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4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11"/>
  </p:notesMasterIdLst>
  <p:handoutMasterIdLst>
    <p:handoutMasterId r:id="rId12"/>
  </p:handoutMasterIdLst>
  <p:sldIdLst>
    <p:sldId id="2147483637" r:id="rId5"/>
    <p:sldId id="2147483638" r:id="rId6"/>
    <p:sldId id="2147483641" r:id="rId7"/>
    <p:sldId id="2147483634" r:id="rId8"/>
    <p:sldId id="268" r:id="rId9"/>
    <p:sldId id="2147483642" r:id="rId10"/>
  </p:sldIdLst>
  <p:sldSz cx="12192000" cy="6858000"/>
  <p:notesSz cx="7099300" cy="10234613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AA7871F-EF79-E351-671A-7ED60DBF0856}" name="Peter, Tatjana" initials="PT" userId="S::peterta4@novartis.net::498cdb32-93ae-473f-a913-3db738834ba6" providerId="AD"/>
  <p188:author id="{B0127184-0F00-C23E-79F0-543ED6C869A7}" name="Tagari, Eleni" initials="ET" userId="S::TAGAREL1@novartis.net::698b4a75-4965-49df-b4c2-d2566eb8ce59" providerId="AD"/>
  <p188:author id="{3CF45D8C-7687-7AB1-FAF3-FB1105885397}" name="Feldmann, Melanie" initials="FM" userId="S::zehacme1@novartis.net::54421fe6-56b6-4786-befb-04cd5f47f1e2" providerId="AD"/>
  <p188:author id="{69D80695-D809-CF8A-AF2B-51EBB2EDEA48}" name="Viktoria Antonow" initials="VA" userId="S::vantonow@kwmedipoint.de::c0c716d9-e399-40a8-95b8-0c6fcc6f3858" providerId="AD"/>
  <p188:author id="{9C49F5BF-6A0D-1646-E8E8-970C9387729C}" name="Barbara Knapp" initials="BK" userId="S::bknapp@kwmedipoint.de::4f0281da-259f-4bb5-b86a-8d73f35d4d6d" providerId="AD"/>
  <p188:author id="{710D53CA-70D4-3CE1-9158-E44BEF2D826C}" name="Peter, Tatjana" initials="" userId="S::PETERTA4@novartis.net::498cdb32-93ae-473f-a913-3db738834ba6" providerId="AD"/>
  <p188:author id="{1611A7F6-52DA-55C1-3072-E4B0572853E1}" name="Christian Adler" initials="CA" userId="S::cadler@kwmedipoint.de::cee0bd82-541c-49f9-a0c3-e539f9fd4960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60A9"/>
    <a:srgbClr val="002068"/>
    <a:srgbClr val="FFC100"/>
    <a:srgbClr val="F2F2F2"/>
    <a:srgbClr val="D0D0D0"/>
    <a:srgbClr val="A7A8AA"/>
    <a:srgbClr val="50E2D0"/>
    <a:srgbClr val="8F2DDE"/>
    <a:srgbClr val="000000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8D230F3-CF80-4859-8CE7-A43EE81993B5}" styleName="Helle Formatvorlage 1 - Akz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FD0F851-EC5A-4D38-B0AD-8093EC10F338}" styleName="Helle Formatvorlage 1 - Akz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486" autoAdjust="0"/>
    <p:restoredTop sz="96247" autoAdjust="0"/>
  </p:normalViewPr>
  <p:slideViewPr>
    <p:cSldViewPr snapToGrid="0">
      <p:cViewPr>
        <p:scale>
          <a:sx n="125" d="100"/>
          <a:sy n="125" d="100"/>
        </p:scale>
        <p:origin x="576" y="-72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gs" Target="tags/tag1.xml"/><Relationship Id="rId18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agari, Eleni" userId="698b4a75-4965-49df-b4c2-d2566eb8ce59" providerId="ADAL" clId="{360B0185-181A-417B-975E-4CF609964C2C}"/>
    <pc:docChg chg="modSld">
      <pc:chgData name="Tagari, Eleni" userId="698b4a75-4965-49df-b4c2-d2566eb8ce59" providerId="ADAL" clId="{360B0185-181A-417B-975E-4CF609964C2C}" dt="2025-09-04T11:31:55.230" v="3" actId="20577"/>
      <pc:docMkLst>
        <pc:docMk/>
      </pc:docMkLst>
      <pc:sldChg chg="modSp mod">
        <pc:chgData name="Tagari, Eleni" userId="698b4a75-4965-49df-b4c2-d2566eb8ce59" providerId="ADAL" clId="{360B0185-181A-417B-975E-4CF609964C2C}" dt="2025-09-04T11:31:55.230" v="3" actId="20577"/>
        <pc:sldMkLst>
          <pc:docMk/>
          <pc:sldMk cId="259460367" sldId="2147483638"/>
        </pc:sldMkLst>
        <pc:spChg chg="mod">
          <ac:chgData name="Tagari, Eleni" userId="698b4a75-4965-49df-b4c2-d2566eb8ce59" providerId="ADAL" clId="{360B0185-181A-417B-975E-4CF609964C2C}" dt="2025-09-04T11:31:49.475" v="1" actId="20577"/>
          <ac:spMkLst>
            <pc:docMk/>
            <pc:sldMk cId="259460367" sldId="2147483638"/>
            <ac:spMk id="13" creationId="{7A4EE347-A369-5B3D-1CCE-09CAB770F254}"/>
          </ac:spMkLst>
        </pc:spChg>
        <pc:spChg chg="mod">
          <ac:chgData name="Tagari, Eleni" userId="698b4a75-4965-49df-b4c2-d2566eb8ce59" providerId="ADAL" clId="{360B0185-181A-417B-975E-4CF609964C2C}" dt="2025-09-04T11:31:55.230" v="3" actId="20577"/>
          <ac:spMkLst>
            <pc:docMk/>
            <pc:sldMk cId="259460367" sldId="2147483638"/>
            <ac:spMk id="15" creationId="{7070041A-CD92-4ED8-7DDC-303050A595CF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633517353596281"/>
          <c:y val="4.3514284359834121E-2"/>
          <c:w val="0.84221398857039664"/>
          <c:h val="0.78404976662625725"/>
        </c:manualLayout>
      </c:layout>
      <c:line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Tabelle1!$A$2:$A$11</c:f>
              <c:numCache>
                <c:formatCode>General</c:formatCode>
                <c:ptCount val="10"/>
                <c:pt idx="0">
                  <c:v>0</c:v>
                </c:pt>
                <c:pt idx="1">
                  <c:v>6</c:v>
                </c:pt>
                <c:pt idx="2">
                  <c:v>12</c:v>
                </c:pt>
                <c:pt idx="3">
                  <c:v>18</c:v>
                </c:pt>
                <c:pt idx="4">
                  <c:v>24</c:v>
                </c:pt>
                <c:pt idx="5">
                  <c:v>30</c:v>
                </c:pt>
                <c:pt idx="6">
                  <c:v>36</c:v>
                </c:pt>
                <c:pt idx="7">
                  <c:v>42</c:v>
                </c:pt>
                <c:pt idx="8">
                  <c:v>48</c:v>
                </c:pt>
                <c:pt idx="9">
                  <c:v>54</c:v>
                </c:pt>
              </c:numCache>
            </c:numRef>
          </c:cat>
          <c:val>
            <c:numRef>
              <c:f>Tabelle1!$B$2:$B$11</c:f>
              <c:numCache>
                <c:formatCode>General</c:formatCode>
                <c:ptCount val="10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3D3-4D5E-B4CB-4028802A4F48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Tabelle1!$A$2:$A$11</c:f>
              <c:numCache>
                <c:formatCode>General</c:formatCode>
                <c:ptCount val="10"/>
                <c:pt idx="0">
                  <c:v>0</c:v>
                </c:pt>
                <c:pt idx="1">
                  <c:v>6</c:v>
                </c:pt>
                <c:pt idx="2">
                  <c:v>12</c:v>
                </c:pt>
                <c:pt idx="3">
                  <c:v>18</c:v>
                </c:pt>
                <c:pt idx="4">
                  <c:v>24</c:v>
                </c:pt>
                <c:pt idx="5">
                  <c:v>30</c:v>
                </c:pt>
                <c:pt idx="6">
                  <c:v>36</c:v>
                </c:pt>
                <c:pt idx="7">
                  <c:v>42</c:v>
                </c:pt>
                <c:pt idx="8">
                  <c:v>48</c:v>
                </c:pt>
                <c:pt idx="9">
                  <c:v>54</c:v>
                </c:pt>
              </c:numCache>
            </c:numRef>
          </c:cat>
          <c:val>
            <c:numRef>
              <c:f>Tabelle1!$C$2:$C$11</c:f>
              <c:numCache>
                <c:formatCode>General</c:formatCode>
                <c:ptCount val="10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3D3-4D5E-B4CB-4028802A4F4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859162703"/>
        <c:axId val="859163183"/>
      </c:lineChart>
      <c:catAx>
        <c:axId val="859162703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de-DE" sz="1200" b="1" dirty="0">
                    <a:solidFill>
                      <a:schemeClr val="tx1"/>
                    </a:solidFill>
                  </a:rPr>
                  <a:t>Zeit (Monate)</a:t>
                </a:r>
              </a:p>
            </c:rich>
          </c:tx>
          <c:layout>
            <c:manualLayout>
              <c:xMode val="edge"/>
              <c:yMode val="edge"/>
              <c:x val="0.47358732520626134"/>
              <c:y val="0.92233549300976625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859163183"/>
        <c:crosses val="autoZero"/>
        <c:auto val="1"/>
        <c:lblAlgn val="ctr"/>
        <c:lblOffset val="100"/>
        <c:noMultiLvlLbl val="0"/>
      </c:catAx>
      <c:valAx>
        <c:axId val="859163183"/>
        <c:scaling>
          <c:orientation val="minMax"/>
          <c:max val="1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de-DE" sz="1200" b="1" dirty="0">
                    <a:solidFill>
                      <a:schemeClr val="tx1"/>
                    </a:solidFill>
                  </a:rPr>
                  <a:t>RFS-Wahrscheinlichkeit  (%)</a:t>
                </a:r>
              </a:p>
            </c:rich>
          </c:tx>
          <c:layout>
            <c:manualLayout>
              <c:xMode val="edge"/>
              <c:yMode val="edge"/>
              <c:x val="4.764132310832999E-3"/>
              <c:y val="5.1280699681390519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0\ 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859162703"/>
        <c:crosses val="autoZero"/>
        <c:crossBetween val="between"/>
        <c:majorUnit val="0.2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633517353596281"/>
          <c:y val="4.3514284359834121E-2"/>
          <c:w val="0.84221398857039664"/>
          <c:h val="0.78404976662625725"/>
        </c:manualLayout>
      </c:layout>
      <c:line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Tabelle1!$A$2:$A$11</c:f>
              <c:numCache>
                <c:formatCode>General</c:formatCode>
                <c:ptCount val="10"/>
                <c:pt idx="0">
                  <c:v>0</c:v>
                </c:pt>
                <c:pt idx="1">
                  <c:v>6</c:v>
                </c:pt>
                <c:pt idx="2">
                  <c:v>12</c:v>
                </c:pt>
                <c:pt idx="3">
                  <c:v>18</c:v>
                </c:pt>
                <c:pt idx="4">
                  <c:v>24</c:v>
                </c:pt>
                <c:pt idx="5">
                  <c:v>30</c:v>
                </c:pt>
                <c:pt idx="6">
                  <c:v>36</c:v>
                </c:pt>
                <c:pt idx="7">
                  <c:v>42</c:v>
                </c:pt>
                <c:pt idx="8">
                  <c:v>48</c:v>
                </c:pt>
                <c:pt idx="9">
                  <c:v>54</c:v>
                </c:pt>
              </c:numCache>
            </c:numRef>
          </c:cat>
          <c:val>
            <c:numRef>
              <c:f>Tabelle1!$B$2:$B$11</c:f>
              <c:numCache>
                <c:formatCode>General</c:formatCode>
                <c:ptCount val="10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DC25-486F-B512-383773DF05BD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Tabelle1!$A$2:$A$11</c:f>
              <c:numCache>
                <c:formatCode>General</c:formatCode>
                <c:ptCount val="10"/>
                <c:pt idx="0">
                  <c:v>0</c:v>
                </c:pt>
                <c:pt idx="1">
                  <c:v>6</c:v>
                </c:pt>
                <c:pt idx="2">
                  <c:v>12</c:v>
                </c:pt>
                <c:pt idx="3">
                  <c:v>18</c:v>
                </c:pt>
                <c:pt idx="4">
                  <c:v>24</c:v>
                </c:pt>
                <c:pt idx="5">
                  <c:v>30</c:v>
                </c:pt>
                <c:pt idx="6">
                  <c:v>36</c:v>
                </c:pt>
                <c:pt idx="7">
                  <c:v>42</c:v>
                </c:pt>
                <c:pt idx="8">
                  <c:v>48</c:v>
                </c:pt>
                <c:pt idx="9">
                  <c:v>54</c:v>
                </c:pt>
              </c:numCache>
            </c:numRef>
          </c:cat>
          <c:val>
            <c:numRef>
              <c:f>Tabelle1!$C$2:$C$11</c:f>
              <c:numCache>
                <c:formatCode>General</c:formatCode>
                <c:ptCount val="10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C25-486F-B512-383773DF05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859162703"/>
        <c:axId val="859163183"/>
      </c:lineChart>
      <c:catAx>
        <c:axId val="859162703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de-DE" sz="1200" b="1" dirty="0">
                    <a:solidFill>
                      <a:schemeClr val="tx1"/>
                    </a:solidFill>
                  </a:rPr>
                  <a:t>Zeit (Monate)</a:t>
                </a:r>
              </a:p>
            </c:rich>
          </c:tx>
          <c:layout>
            <c:manualLayout>
              <c:xMode val="edge"/>
              <c:yMode val="edge"/>
              <c:x val="0.47358732520626134"/>
              <c:y val="0.92233549300976625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859163183"/>
        <c:crosses val="autoZero"/>
        <c:auto val="1"/>
        <c:lblAlgn val="ctr"/>
        <c:lblOffset val="100"/>
        <c:noMultiLvlLbl val="0"/>
      </c:catAx>
      <c:valAx>
        <c:axId val="859163183"/>
        <c:scaling>
          <c:orientation val="minMax"/>
          <c:max val="1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de-DE" sz="1200" b="1" dirty="0">
                    <a:solidFill>
                      <a:schemeClr val="tx1"/>
                    </a:solidFill>
                  </a:rPr>
                  <a:t>RFS-Wahrscheinlichkeit (%)</a:t>
                </a:r>
              </a:p>
            </c:rich>
          </c:tx>
          <c:layout>
            <c:manualLayout>
              <c:xMode val="edge"/>
              <c:yMode val="edge"/>
              <c:x val="4.764132310832999E-3"/>
              <c:y val="7.3745391200491894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0\ 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859162703"/>
        <c:crosses val="autoZero"/>
        <c:crossBetween val="between"/>
        <c:majorUnit val="0.2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633517353596281"/>
          <c:y val="4.3514284359834121E-2"/>
          <c:w val="0.84221398857039664"/>
          <c:h val="0.78404976662625725"/>
        </c:manualLayout>
      </c:layout>
      <c:line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Tabelle1!$A$2:$A$11</c:f>
              <c:numCache>
                <c:formatCode>General</c:formatCode>
                <c:ptCount val="10"/>
                <c:pt idx="0">
                  <c:v>0</c:v>
                </c:pt>
                <c:pt idx="1">
                  <c:v>6</c:v>
                </c:pt>
                <c:pt idx="2">
                  <c:v>12</c:v>
                </c:pt>
                <c:pt idx="3">
                  <c:v>18</c:v>
                </c:pt>
                <c:pt idx="4">
                  <c:v>24</c:v>
                </c:pt>
                <c:pt idx="5">
                  <c:v>30</c:v>
                </c:pt>
                <c:pt idx="6">
                  <c:v>36</c:v>
                </c:pt>
                <c:pt idx="7">
                  <c:v>42</c:v>
                </c:pt>
                <c:pt idx="8">
                  <c:v>48</c:v>
                </c:pt>
                <c:pt idx="9">
                  <c:v>54</c:v>
                </c:pt>
              </c:numCache>
            </c:numRef>
          </c:cat>
          <c:val>
            <c:numRef>
              <c:f>Tabelle1!$B$2:$B$11</c:f>
              <c:numCache>
                <c:formatCode>General</c:formatCode>
                <c:ptCount val="10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1BA-4F81-9C73-9512AFCC5372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Tabelle1!$A$2:$A$11</c:f>
              <c:numCache>
                <c:formatCode>General</c:formatCode>
                <c:ptCount val="10"/>
                <c:pt idx="0">
                  <c:v>0</c:v>
                </c:pt>
                <c:pt idx="1">
                  <c:v>6</c:v>
                </c:pt>
                <c:pt idx="2">
                  <c:v>12</c:v>
                </c:pt>
                <c:pt idx="3">
                  <c:v>18</c:v>
                </c:pt>
                <c:pt idx="4">
                  <c:v>24</c:v>
                </c:pt>
                <c:pt idx="5">
                  <c:v>30</c:v>
                </c:pt>
                <c:pt idx="6">
                  <c:v>36</c:v>
                </c:pt>
                <c:pt idx="7">
                  <c:v>42</c:v>
                </c:pt>
                <c:pt idx="8">
                  <c:v>48</c:v>
                </c:pt>
                <c:pt idx="9">
                  <c:v>54</c:v>
                </c:pt>
              </c:numCache>
            </c:numRef>
          </c:cat>
          <c:val>
            <c:numRef>
              <c:f>Tabelle1!$C$2:$C$11</c:f>
              <c:numCache>
                <c:formatCode>General</c:formatCode>
                <c:ptCount val="10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1BA-4F81-9C73-9512AFCC53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859162703"/>
        <c:axId val="859163183"/>
      </c:lineChart>
      <c:catAx>
        <c:axId val="859162703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de-DE" sz="1200" b="1" i="0" u="none" strike="noStrike" kern="1200" baseline="0" dirty="0">
                    <a:solidFill>
                      <a:schemeClr val="tx1"/>
                    </a:solidFill>
                  </a:rPr>
                  <a:t>Zeit (Monate)</a:t>
                </a:r>
              </a:p>
            </c:rich>
          </c:tx>
          <c:layout>
            <c:manualLayout>
              <c:xMode val="edge"/>
              <c:yMode val="edge"/>
              <c:x val="0.47358732520626134"/>
              <c:y val="0.92233549300976625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859163183"/>
        <c:crosses val="autoZero"/>
        <c:auto val="1"/>
        <c:lblAlgn val="ctr"/>
        <c:lblOffset val="100"/>
        <c:noMultiLvlLbl val="0"/>
      </c:catAx>
      <c:valAx>
        <c:axId val="859163183"/>
        <c:scaling>
          <c:orientation val="minMax"/>
          <c:max val="1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de-DE" sz="1200" b="1" dirty="0">
                    <a:solidFill>
                      <a:schemeClr val="tx1"/>
                    </a:solidFill>
                  </a:rPr>
                  <a:t>RFS-Wahrscheinlichkeit (%)</a:t>
                </a:r>
              </a:p>
            </c:rich>
          </c:tx>
          <c:layout>
            <c:manualLayout>
              <c:xMode val="edge"/>
              <c:yMode val="edge"/>
              <c:x val="0"/>
              <c:y val="0.1456324040616162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0\ 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859162703"/>
        <c:crosses val="autoZero"/>
        <c:crossBetween val="between"/>
        <c:majorUnit val="0.2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633517353596281"/>
          <c:y val="4.3514284359834121E-2"/>
          <c:w val="0.84221398857039664"/>
          <c:h val="0.78404976662625725"/>
        </c:manualLayout>
      </c:layout>
      <c:line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Tabelle1!$A$2:$A$11</c:f>
              <c:numCache>
                <c:formatCode>General</c:formatCode>
                <c:ptCount val="10"/>
                <c:pt idx="0">
                  <c:v>0</c:v>
                </c:pt>
                <c:pt idx="1">
                  <c:v>6</c:v>
                </c:pt>
                <c:pt idx="2">
                  <c:v>12</c:v>
                </c:pt>
                <c:pt idx="3">
                  <c:v>18</c:v>
                </c:pt>
                <c:pt idx="4">
                  <c:v>24</c:v>
                </c:pt>
                <c:pt idx="5">
                  <c:v>30</c:v>
                </c:pt>
                <c:pt idx="6">
                  <c:v>36</c:v>
                </c:pt>
                <c:pt idx="7">
                  <c:v>42</c:v>
                </c:pt>
                <c:pt idx="8">
                  <c:v>48</c:v>
                </c:pt>
                <c:pt idx="9">
                  <c:v>54</c:v>
                </c:pt>
              </c:numCache>
            </c:numRef>
          </c:cat>
          <c:val>
            <c:numRef>
              <c:f>Tabelle1!$B$2:$B$11</c:f>
              <c:numCache>
                <c:formatCode>General</c:formatCode>
                <c:ptCount val="10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547-405D-957B-2CE1D0FD2C84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Tabelle1!$A$2:$A$11</c:f>
              <c:numCache>
                <c:formatCode>General</c:formatCode>
                <c:ptCount val="10"/>
                <c:pt idx="0">
                  <c:v>0</c:v>
                </c:pt>
                <c:pt idx="1">
                  <c:v>6</c:v>
                </c:pt>
                <c:pt idx="2">
                  <c:v>12</c:v>
                </c:pt>
                <c:pt idx="3">
                  <c:v>18</c:v>
                </c:pt>
                <c:pt idx="4">
                  <c:v>24</c:v>
                </c:pt>
                <c:pt idx="5">
                  <c:v>30</c:v>
                </c:pt>
                <c:pt idx="6">
                  <c:v>36</c:v>
                </c:pt>
                <c:pt idx="7">
                  <c:v>42</c:v>
                </c:pt>
                <c:pt idx="8">
                  <c:v>48</c:v>
                </c:pt>
                <c:pt idx="9">
                  <c:v>54</c:v>
                </c:pt>
              </c:numCache>
            </c:numRef>
          </c:cat>
          <c:val>
            <c:numRef>
              <c:f>Tabelle1!$C$2:$C$11</c:f>
              <c:numCache>
                <c:formatCode>General</c:formatCode>
                <c:ptCount val="10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547-405D-957B-2CE1D0FD2C8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859162703"/>
        <c:axId val="859163183"/>
      </c:lineChart>
      <c:catAx>
        <c:axId val="859162703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de-DE" sz="1200" b="1" dirty="0">
                    <a:solidFill>
                      <a:schemeClr val="tx1"/>
                    </a:solidFill>
                  </a:rPr>
                  <a:t>Zeit (Monate)</a:t>
                </a:r>
              </a:p>
            </c:rich>
          </c:tx>
          <c:layout>
            <c:manualLayout>
              <c:xMode val="edge"/>
              <c:yMode val="edge"/>
              <c:x val="0.47358732520626134"/>
              <c:y val="0.92233549300976625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859163183"/>
        <c:crosses val="autoZero"/>
        <c:auto val="1"/>
        <c:lblAlgn val="ctr"/>
        <c:lblOffset val="100"/>
        <c:noMultiLvlLbl val="0"/>
      </c:catAx>
      <c:valAx>
        <c:axId val="859163183"/>
        <c:scaling>
          <c:orientation val="minMax"/>
          <c:max val="1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de-DE" sz="1200" b="1" dirty="0">
                    <a:solidFill>
                      <a:schemeClr val="tx1"/>
                    </a:solidFill>
                  </a:rPr>
                  <a:t>OS-Wahrscheinlichkeit (%)</a:t>
                </a:r>
              </a:p>
            </c:rich>
          </c:tx>
          <c:layout>
            <c:manualLayout>
              <c:xMode val="edge"/>
              <c:yMode val="edge"/>
              <c:x val="0"/>
              <c:y val="0.1456324040616162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0\ 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859162703"/>
        <c:crosses val="autoZero"/>
        <c:crossBetween val="between"/>
        <c:majorUnit val="0.2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905393C-279E-C9B0-6414-753F3C5AC3C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0"/>
            <a:ext cx="3076363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9E548BD-3BF5-C546-597C-CDDEBB5060F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1295" y="0"/>
            <a:ext cx="3076363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4C5D6D29-B0AC-4F17-B48C-0DD4C2CD20D2}" type="datetimeFigureOut">
              <a:rPr lang="en-GB" smtClean="0"/>
              <a:t>04/09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D599E39-A58A-EE61-F03E-E373F660B4B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1" y="9721108"/>
            <a:ext cx="3076363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7CA5418-7089-7ED5-A1DA-A7670647F24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1295" y="9721108"/>
            <a:ext cx="3076363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AFEE6E49-F2EA-4DFD-BA31-A3CAB8E0D7E3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83150165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3224" userDrawn="1">
          <p15:clr>
            <a:srgbClr val="F26B43"/>
          </p15:clr>
        </p15:guide>
        <p15:guide id="2" pos="2236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76363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1295" y="0"/>
            <a:ext cx="3076363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333B3FB0-12FC-4420-880E-3E7AA3DB0BD4}" type="datetimeFigureOut">
              <a:rPr lang="en-GB" smtClean="0"/>
              <a:t>04/09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81013" y="1279525"/>
            <a:ext cx="6138862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5" tIns="49538" rIns="99075" bIns="49538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9930" y="4925408"/>
            <a:ext cx="5679440" cy="4029879"/>
          </a:xfrm>
          <a:prstGeom prst="rect">
            <a:avLst/>
          </a:prstGeom>
        </p:spPr>
        <p:txBody>
          <a:bodyPr vert="horz" lIns="99075" tIns="49538" rIns="99075" bIns="49538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721108"/>
            <a:ext cx="3076363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1295" y="9721108"/>
            <a:ext cx="3076363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3E5F80CA-0B62-4806-84EF-87D648B4ECD5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45538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FD28B2-E108-D690-07E4-4B941ACC7F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F3E920A-05C9-A55F-D9E5-9B08E7E4A45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4C10EAC-2228-78BD-87B8-57891637BE0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90752">
              <a:defRPr/>
            </a:pP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B9D7E6D-498D-547E-7292-8C17EC82B3B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90752">
              <a:defRPr/>
            </a:pPr>
            <a:fld id="{3E5F80CA-0B62-4806-84EF-87D648B4ECD5}" type="slidenum">
              <a:rPr lang="en-GB">
                <a:solidFill>
                  <a:prstClr val="black"/>
                </a:solidFill>
                <a:latin typeface="Calibri" panose="020F0502020204030204"/>
              </a:rPr>
              <a:pPr defTabSz="990752">
                <a:defRPr/>
              </a:pPr>
              <a:t>1</a:t>
            </a:fld>
            <a:endParaRPr lang="en-GB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9902363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i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90752">
              <a:defRPr/>
            </a:pPr>
            <a:fld id="{3E5F80CA-0B62-4806-84EF-87D648B4ECD5}" type="slidenum">
              <a:rPr lang="en-GB">
                <a:solidFill>
                  <a:prstClr val="black"/>
                </a:solidFill>
                <a:latin typeface="Calibri" panose="020F0502020204030204"/>
              </a:rPr>
              <a:pPr defTabSz="990752">
                <a:defRPr/>
              </a:pPr>
              <a:t>2</a:t>
            </a:fld>
            <a:endParaRPr lang="en-GB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418091569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5F80CA-0B62-4806-84EF-87D648B4ECD5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3107654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5F80CA-0B62-4806-84EF-87D648B4ECD5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0019435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5F80CA-0B62-4806-84EF-87D648B4ECD5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2252446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A4DC57-214F-77B4-1842-4510C83E25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A0161092-6460-5464-E9E5-BA4368C439C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5063874F-2641-3F7F-5E12-A27809670F6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1949E79-977B-621D-3456-B2634F71E26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90752">
              <a:defRPr/>
            </a:pPr>
            <a:fld id="{3E5F80CA-0B62-4806-84EF-87D648B4ECD5}" type="slidenum">
              <a:rPr lang="en-GB">
                <a:solidFill>
                  <a:prstClr val="black"/>
                </a:solidFill>
                <a:latin typeface="Calibri" panose="020F0502020204030204"/>
              </a:rPr>
              <a:pPr defTabSz="990752">
                <a:defRPr/>
              </a:pPr>
              <a:t>6</a:t>
            </a:fld>
            <a:endParaRPr lang="en-GB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363259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2.emf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emf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emf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Orange, Image)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11" descr="A yellow and orange curved object&#10;&#10;Description automatically generated">
            <a:extLst>
              <a:ext uri="{FF2B5EF4-FFF2-40B4-BE49-F238E27FC236}">
                <a16:creationId xmlns:a16="http://schemas.microsoft.com/office/drawing/2014/main" id="{07C4262D-922A-2725-8808-A732A2277E2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2613" y="-1"/>
            <a:ext cx="5829388" cy="4260915"/>
          </a:xfrm>
          <a:prstGeom prst="rect">
            <a:avLst/>
          </a:prstGeom>
        </p:spPr>
      </p:pic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BCF3EA86-16EB-319B-4E59-5E2806AF7B7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396052" y="1140643"/>
            <a:ext cx="4795948" cy="5712595"/>
          </a:xfrm>
          <a:custGeom>
            <a:avLst/>
            <a:gdLst>
              <a:gd name="connsiteX0" fmla="*/ 1269090 w 3292262"/>
              <a:gd name="connsiteY0" fmla="*/ 142 h 3921510"/>
              <a:gd name="connsiteX1" fmla="*/ 1586011 w 3292262"/>
              <a:gd name="connsiteY1" fmla="*/ 45942 h 3921510"/>
              <a:gd name="connsiteX2" fmla="*/ 1602376 w 3292262"/>
              <a:gd name="connsiteY2" fmla="*/ 51394 h 3921510"/>
              <a:gd name="connsiteX3" fmla="*/ 1612194 w 3292262"/>
              <a:gd name="connsiteY3" fmla="*/ 53575 h 3921510"/>
              <a:gd name="connsiteX4" fmla="*/ 1968936 w 3292262"/>
              <a:gd name="connsiteY4" fmla="*/ 153900 h 3921510"/>
              <a:gd name="connsiteX5" fmla="*/ 3292262 w 3292262"/>
              <a:gd name="connsiteY5" fmla="*/ 523573 h 3921510"/>
              <a:gd name="connsiteX6" fmla="*/ 3292262 w 3292262"/>
              <a:gd name="connsiteY6" fmla="*/ 3921510 h 3921510"/>
              <a:gd name="connsiteX7" fmla="*/ 301960 w 3292262"/>
              <a:gd name="connsiteY7" fmla="*/ 3921510 h 3921510"/>
              <a:gd name="connsiteX8" fmla="*/ 661974 w 3292262"/>
              <a:gd name="connsiteY8" fmla="*/ 3351189 h 3921510"/>
              <a:gd name="connsiteX9" fmla="*/ 671793 w 3292262"/>
              <a:gd name="connsiteY9" fmla="*/ 3313022 h 3921510"/>
              <a:gd name="connsiteX10" fmla="*/ 673975 w 3292262"/>
              <a:gd name="connsiteY10" fmla="*/ 2685996 h 3921510"/>
              <a:gd name="connsiteX11" fmla="*/ 370690 w 3292262"/>
              <a:gd name="connsiteY11" fmla="*/ 2136393 h 3921510"/>
              <a:gd name="connsiteX12" fmla="*/ 342325 w 3292262"/>
              <a:gd name="connsiteY12" fmla="*/ 2108041 h 3921510"/>
              <a:gd name="connsiteX13" fmla="*/ 39040 w 3292262"/>
              <a:gd name="connsiteY13" fmla="*/ 1559529 h 3921510"/>
              <a:gd name="connsiteX14" fmla="*/ 41222 w 3292262"/>
              <a:gd name="connsiteY14" fmla="*/ 931412 h 3921510"/>
              <a:gd name="connsiteX15" fmla="*/ 52131 w 3292262"/>
              <a:gd name="connsiteY15" fmla="*/ 893245 h 3921510"/>
              <a:gd name="connsiteX16" fmla="*/ 939076 w 3292262"/>
              <a:gd name="connsiteY16" fmla="*/ 39399 h 3921510"/>
              <a:gd name="connsiteX17" fmla="*/ 1269090 w 3292262"/>
              <a:gd name="connsiteY17" fmla="*/ 142 h 39215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3292262" h="3921510">
                <a:moveTo>
                  <a:pt x="1269090" y="142"/>
                </a:moveTo>
                <a:cubicBezTo>
                  <a:pt x="1377639" y="1778"/>
                  <a:pt x="1484007" y="17590"/>
                  <a:pt x="1586011" y="45942"/>
                </a:cubicBezTo>
                <a:cubicBezTo>
                  <a:pt x="1591466" y="48123"/>
                  <a:pt x="1596921" y="49214"/>
                  <a:pt x="1602376" y="51394"/>
                </a:cubicBezTo>
                <a:cubicBezTo>
                  <a:pt x="1605649" y="51394"/>
                  <a:pt x="1608921" y="52485"/>
                  <a:pt x="1612194" y="53575"/>
                </a:cubicBezTo>
                <a:cubicBezTo>
                  <a:pt x="1744200" y="90652"/>
                  <a:pt x="1863114" y="123366"/>
                  <a:pt x="1968936" y="153900"/>
                </a:cubicBezTo>
                <a:cubicBezTo>
                  <a:pt x="2574415" y="322924"/>
                  <a:pt x="2807879" y="388353"/>
                  <a:pt x="3292262" y="523573"/>
                </a:cubicBezTo>
                <a:cubicBezTo>
                  <a:pt x="3292262" y="3921510"/>
                  <a:pt x="3292262" y="3921510"/>
                  <a:pt x="3292262" y="3921510"/>
                </a:cubicBezTo>
                <a:lnTo>
                  <a:pt x="301960" y="3921510"/>
                </a:lnTo>
                <a:cubicBezTo>
                  <a:pt x="472148" y="3767752"/>
                  <a:pt x="596517" y="3570375"/>
                  <a:pt x="661974" y="3351189"/>
                </a:cubicBezTo>
                <a:cubicBezTo>
                  <a:pt x="665247" y="3338103"/>
                  <a:pt x="669611" y="3326108"/>
                  <a:pt x="671793" y="3313022"/>
                </a:cubicBezTo>
                <a:cubicBezTo>
                  <a:pt x="725249" y="3113464"/>
                  <a:pt x="728522" y="2898639"/>
                  <a:pt x="673975" y="2685996"/>
                </a:cubicBezTo>
                <a:cubicBezTo>
                  <a:pt x="619427" y="2472261"/>
                  <a:pt x="512514" y="2285789"/>
                  <a:pt x="370690" y="2136393"/>
                </a:cubicBezTo>
                <a:cubicBezTo>
                  <a:pt x="361962" y="2126579"/>
                  <a:pt x="352143" y="2116765"/>
                  <a:pt x="342325" y="2108041"/>
                </a:cubicBezTo>
                <a:cubicBezTo>
                  <a:pt x="200501" y="1958645"/>
                  <a:pt x="94678" y="1772173"/>
                  <a:pt x="39040" y="1559529"/>
                </a:cubicBezTo>
                <a:cubicBezTo>
                  <a:pt x="-15508" y="1345795"/>
                  <a:pt x="-11144" y="1130970"/>
                  <a:pt x="41222" y="931412"/>
                </a:cubicBezTo>
                <a:cubicBezTo>
                  <a:pt x="44495" y="919417"/>
                  <a:pt x="48858" y="906331"/>
                  <a:pt x="52131" y="893245"/>
                </a:cubicBezTo>
                <a:cubicBezTo>
                  <a:pt x="173227" y="487587"/>
                  <a:pt x="498331" y="152809"/>
                  <a:pt x="939076" y="39399"/>
                </a:cubicBezTo>
                <a:cubicBezTo>
                  <a:pt x="1049808" y="11047"/>
                  <a:pt x="1160540" y="-1494"/>
                  <a:pt x="1269090" y="142"/>
                </a:cubicBezTo>
                <a:close/>
              </a:path>
            </a:pathLst>
          </a:custGeom>
        </p:spPr>
        <p:txBody>
          <a:bodyPr wrap="square" tIns="1548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B56A187-5C21-6D84-21C3-FDB317F97CE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351" y="5643500"/>
            <a:ext cx="5003993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55545879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Orange, Pink, Image)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9" descr="A colorful background with circles&#10;&#10;Description automatically generated with medium confidence">
            <a:extLst>
              <a:ext uri="{FF2B5EF4-FFF2-40B4-BE49-F238E27FC236}">
                <a16:creationId xmlns:a16="http://schemas.microsoft.com/office/drawing/2014/main" id="{553CAFF3-88CC-A44E-5E3C-DD2FD58608B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90495" y="2315189"/>
            <a:ext cx="3404695" cy="4543836"/>
          </a:xfrm>
          <a:prstGeom prst="rect">
            <a:avLst/>
          </a:prstGeom>
        </p:spPr>
      </p:pic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37A3F113-29C8-F197-A2C1-B43918C6C90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348953" y="-5786"/>
            <a:ext cx="5847811" cy="4749490"/>
          </a:xfrm>
          <a:custGeom>
            <a:avLst/>
            <a:gdLst>
              <a:gd name="connsiteX0" fmla="*/ 1348177 w 5886451"/>
              <a:gd name="connsiteY0" fmla="*/ 0 h 4780873"/>
              <a:gd name="connsiteX1" fmla="*/ 5886451 w 5886451"/>
              <a:gd name="connsiteY1" fmla="*/ 0 h 4780873"/>
              <a:gd name="connsiteX2" fmla="*/ 5886451 w 5886451"/>
              <a:gd name="connsiteY2" fmla="*/ 2351144 h 4780873"/>
              <a:gd name="connsiteX3" fmla="*/ 3685444 w 5886451"/>
              <a:gd name="connsiteY3" fmla="*/ 4780873 h 4780873"/>
              <a:gd name="connsiteX4" fmla="*/ 3685444 w 5886451"/>
              <a:gd name="connsiteY4" fmla="*/ 4777665 h 4780873"/>
              <a:gd name="connsiteX5" fmla="*/ 3685444 w 5886451"/>
              <a:gd name="connsiteY5" fmla="*/ 4776061 h 4780873"/>
              <a:gd name="connsiteX6" fmla="*/ 3520329 w 5886451"/>
              <a:gd name="connsiteY6" fmla="*/ 4181058 h 4780873"/>
              <a:gd name="connsiteX7" fmla="*/ 3087501 w 5886451"/>
              <a:gd name="connsiteY7" fmla="*/ 3740018 h 4780873"/>
              <a:gd name="connsiteX8" fmla="*/ 3053837 w 5886451"/>
              <a:gd name="connsiteY8" fmla="*/ 3720773 h 4780873"/>
              <a:gd name="connsiteX9" fmla="*/ 1845127 w 5886451"/>
              <a:gd name="connsiteY9" fmla="*/ 3728792 h 4780873"/>
              <a:gd name="connsiteX10" fmla="*/ 1841921 w 5886451"/>
              <a:gd name="connsiteY10" fmla="*/ 3730396 h 4780873"/>
              <a:gd name="connsiteX11" fmla="*/ 1777798 w 5886451"/>
              <a:gd name="connsiteY11" fmla="*/ 3765679 h 4780873"/>
              <a:gd name="connsiteX12" fmla="*/ 1750546 w 5886451"/>
              <a:gd name="connsiteY12" fmla="*/ 3780113 h 4780873"/>
              <a:gd name="connsiteX13" fmla="*/ 1721691 w 5886451"/>
              <a:gd name="connsiteY13" fmla="*/ 3791339 h 4780873"/>
              <a:gd name="connsiteX14" fmla="*/ 1694439 w 5886451"/>
              <a:gd name="connsiteY14" fmla="*/ 3804170 h 4780873"/>
              <a:gd name="connsiteX15" fmla="*/ 1665584 w 5886451"/>
              <a:gd name="connsiteY15" fmla="*/ 3815396 h 4780873"/>
              <a:gd name="connsiteX16" fmla="*/ 1636729 w 5886451"/>
              <a:gd name="connsiteY16" fmla="*/ 3826623 h 4780873"/>
              <a:gd name="connsiteX17" fmla="*/ 1607873 w 5886451"/>
              <a:gd name="connsiteY17" fmla="*/ 3836245 h 4780873"/>
              <a:gd name="connsiteX18" fmla="*/ 1149397 w 5886451"/>
              <a:gd name="connsiteY18" fmla="*/ 3893981 h 4780873"/>
              <a:gd name="connsiteX19" fmla="*/ 1120542 w 5886451"/>
              <a:gd name="connsiteY19" fmla="*/ 3890774 h 4780873"/>
              <a:gd name="connsiteX20" fmla="*/ 1091687 w 5886451"/>
              <a:gd name="connsiteY20" fmla="*/ 3887566 h 4780873"/>
              <a:gd name="connsiteX21" fmla="*/ 1090084 w 5886451"/>
              <a:gd name="connsiteY21" fmla="*/ 3887566 h 4780873"/>
              <a:gd name="connsiteX22" fmla="*/ 1064435 w 5886451"/>
              <a:gd name="connsiteY22" fmla="*/ 3884359 h 4780873"/>
              <a:gd name="connsiteX23" fmla="*/ 1061229 w 5886451"/>
              <a:gd name="connsiteY23" fmla="*/ 3884359 h 4780873"/>
              <a:gd name="connsiteX24" fmla="*/ 1045198 w 5886451"/>
              <a:gd name="connsiteY24" fmla="*/ 3881151 h 4780873"/>
              <a:gd name="connsiteX25" fmla="*/ 1043595 w 5886451"/>
              <a:gd name="connsiteY25" fmla="*/ 3881151 h 4780873"/>
              <a:gd name="connsiteX26" fmla="*/ 1035579 w 5886451"/>
              <a:gd name="connsiteY26" fmla="*/ 3881151 h 4780873"/>
              <a:gd name="connsiteX27" fmla="*/ 1030770 w 5886451"/>
              <a:gd name="connsiteY27" fmla="*/ 3879547 h 4780873"/>
              <a:gd name="connsiteX28" fmla="*/ 1019549 w 5886451"/>
              <a:gd name="connsiteY28" fmla="*/ 3877944 h 4780873"/>
              <a:gd name="connsiteX29" fmla="*/ 1013137 w 5886451"/>
              <a:gd name="connsiteY29" fmla="*/ 3876340 h 4780873"/>
              <a:gd name="connsiteX30" fmla="*/ 1006724 w 5886451"/>
              <a:gd name="connsiteY30" fmla="*/ 3876340 h 4780873"/>
              <a:gd name="connsiteX31" fmla="*/ 1000312 w 5886451"/>
              <a:gd name="connsiteY31" fmla="*/ 3874736 h 4780873"/>
              <a:gd name="connsiteX32" fmla="*/ 992297 w 5886451"/>
              <a:gd name="connsiteY32" fmla="*/ 3873132 h 4780873"/>
              <a:gd name="connsiteX33" fmla="*/ 984281 w 5886451"/>
              <a:gd name="connsiteY33" fmla="*/ 3871528 h 4780873"/>
              <a:gd name="connsiteX34" fmla="*/ 979472 w 5886451"/>
              <a:gd name="connsiteY34" fmla="*/ 3869925 h 4780873"/>
              <a:gd name="connsiteX35" fmla="*/ 971457 w 5886451"/>
              <a:gd name="connsiteY35" fmla="*/ 3868321 h 4780873"/>
              <a:gd name="connsiteX36" fmla="*/ 966648 w 5886451"/>
              <a:gd name="connsiteY36" fmla="*/ 3866717 h 4780873"/>
              <a:gd name="connsiteX37" fmla="*/ 955426 w 5886451"/>
              <a:gd name="connsiteY37" fmla="*/ 3865113 h 4780873"/>
              <a:gd name="connsiteX38" fmla="*/ 950617 w 5886451"/>
              <a:gd name="connsiteY38" fmla="*/ 3863510 h 4780873"/>
              <a:gd name="connsiteX39" fmla="*/ 940999 w 5886451"/>
              <a:gd name="connsiteY39" fmla="*/ 3861906 h 4780873"/>
              <a:gd name="connsiteX40" fmla="*/ 937793 w 5886451"/>
              <a:gd name="connsiteY40" fmla="*/ 3860302 h 4780873"/>
              <a:gd name="connsiteX41" fmla="*/ 926571 w 5886451"/>
              <a:gd name="connsiteY41" fmla="*/ 3858698 h 4780873"/>
              <a:gd name="connsiteX42" fmla="*/ 923365 w 5886451"/>
              <a:gd name="connsiteY42" fmla="*/ 3857094 h 4780873"/>
              <a:gd name="connsiteX43" fmla="*/ 897716 w 5886451"/>
              <a:gd name="connsiteY43" fmla="*/ 3850679 h 4780873"/>
              <a:gd name="connsiteX44" fmla="*/ 894510 w 5886451"/>
              <a:gd name="connsiteY44" fmla="*/ 3849075 h 4780873"/>
              <a:gd name="connsiteX45" fmla="*/ 867258 w 5886451"/>
              <a:gd name="connsiteY45" fmla="*/ 3841057 h 4780873"/>
              <a:gd name="connsiteX46" fmla="*/ 630004 w 5886451"/>
              <a:gd name="connsiteY46" fmla="*/ 3740018 h 4780873"/>
              <a:gd name="connsiteX47" fmla="*/ 581912 w 5886451"/>
              <a:gd name="connsiteY47" fmla="*/ 3711150 h 4780873"/>
              <a:gd name="connsiteX48" fmla="*/ 578706 w 5886451"/>
              <a:gd name="connsiteY48" fmla="*/ 3709547 h 4780873"/>
              <a:gd name="connsiteX49" fmla="*/ 569088 w 5886451"/>
              <a:gd name="connsiteY49" fmla="*/ 3704735 h 4780873"/>
              <a:gd name="connsiteX50" fmla="*/ 562676 w 5886451"/>
              <a:gd name="connsiteY50" fmla="*/ 3699924 h 4780873"/>
              <a:gd name="connsiteX51" fmla="*/ 559469 w 5886451"/>
              <a:gd name="connsiteY51" fmla="*/ 3698320 h 4780873"/>
              <a:gd name="connsiteX52" fmla="*/ 163513 w 5886451"/>
              <a:gd name="connsiteY52" fmla="*/ 3281337 h 4780873"/>
              <a:gd name="connsiteX53" fmla="*/ 0 w 5886451"/>
              <a:gd name="connsiteY53" fmla="*/ 2687938 h 4780873"/>
              <a:gd name="connsiteX54" fmla="*/ 0 w 5886451"/>
              <a:gd name="connsiteY54" fmla="*/ 2649447 h 4780873"/>
              <a:gd name="connsiteX55" fmla="*/ 0 w 5886451"/>
              <a:gd name="connsiteY55" fmla="*/ 2647843 h 4780873"/>
              <a:gd name="connsiteX56" fmla="*/ 176337 w 5886451"/>
              <a:gd name="connsiteY56" fmla="*/ 2031991 h 4780873"/>
              <a:gd name="connsiteX57" fmla="*/ 1348177 w 5886451"/>
              <a:gd name="connsiteY57" fmla="*/ 0 h 4780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5886451" h="4780873">
                <a:moveTo>
                  <a:pt x="1348177" y="0"/>
                </a:moveTo>
                <a:cubicBezTo>
                  <a:pt x="1348177" y="0"/>
                  <a:pt x="1348177" y="0"/>
                  <a:pt x="5886451" y="0"/>
                </a:cubicBezTo>
                <a:cubicBezTo>
                  <a:pt x="5886451" y="0"/>
                  <a:pt x="5886451" y="0"/>
                  <a:pt x="5886451" y="2351144"/>
                </a:cubicBezTo>
                <a:cubicBezTo>
                  <a:pt x="4653695" y="2477842"/>
                  <a:pt x="3693460" y="3517093"/>
                  <a:pt x="3685444" y="4780873"/>
                </a:cubicBezTo>
                <a:lnTo>
                  <a:pt x="3685444" y="4777665"/>
                </a:lnTo>
                <a:cubicBezTo>
                  <a:pt x="3685444" y="4777665"/>
                  <a:pt x="3685444" y="4776061"/>
                  <a:pt x="3685444" y="4776061"/>
                </a:cubicBezTo>
                <a:cubicBezTo>
                  <a:pt x="3682238" y="4573985"/>
                  <a:pt x="3629337" y="4368701"/>
                  <a:pt x="3520329" y="4181058"/>
                </a:cubicBezTo>
                <a:cubicBezTo>
                  <a:pt x="3412923" y="3993416"/>
                  <a:pt x="3262235" y="3844264"/>
                  <a:pt x="3087501" y="3740018"/>
                </a:cubicBezTo>
                <a:cubicBezTo>
                  <a:pt x="3076280" y="3733603"/>
                  <a:pt x="3065058" y="3727188"/>
                  <a:pt x="3053837" y="3720773"/>
                </a:cubicBezTo>
                <a:cubicBezTo>
                  <a:pt x="2689942" y="3518697"/>
                  <a:pt x="2231465" y="3507470"/>
                  <a:pt x="1845127" y="3728792"/>
                </a:cubicBezTo>
                <a:cubicBezTo>
                  <a:pt x="1843524" y="3730396"/>
                  <a:pt x="1843524" y="3730396"/>
                  <a:pt x="1841921" y="3730396"/>
                </a:cubicBezTo>
                <a:cubicBezTo>
                  <a:pt x="1821081" y="3743226"/>
                  <a:pt x="1800241" y="3754452"/>
                  <a:pt x="1777798" y="3765679"/>
                </a:cubicBezTo>
                <a:cubicBezTo>
                  <a:pt x="1769783" y="3770490"/>
                  <a:pt x="1760164" y="3775302"/>
                  <a:pt x="1750546" y="3780113"/>
                </a:cubicBezTo>
                <a:cubicBezTo>
                  <a:pt x="1740928" y="3783320"/>
                  <a:pt x="1731309" y="3788132"/>
                  <a:pt x="1721691" y="3791339"/>
                </a:cubicBezTo>
                <a:cubicBezTo>
                  <a:pt x="1713676" y="3796151"/>
                  <a:pt x="1704057" y="3799358"/>
                  <a:pt x="1694439" y="3804170"/>
                </a:cubicBezTo>
                <a:cubicBezTo>
                  <a:pt x="1684820" y="3807377"/>
                  <a:pt x="1675202" y="3812189"/>
                  <a:pt x="1665584" y="3815396"/>
                </a:cubicBezTo>
                <a:cubicBezTo>
                  <a:pt x="1655965" y="3818604"/>
                  <a:pt x="1646347" y="3821811"/>
                  <a:pt x="1636729" y="3826623"/>
                </a:cubicBezTo>
                <a:cubicBezTo>
                  <a:pt x="1627110" y="3829830"/>
                  <a:pt x="1617492" y="3833038"/>
                  <a:pt x="1607873" y="3836245"/>
                </a:cubicBezTo>
                <a:cubicBezTo>
                  <a:pt x="1457185" y="3884359"/>
                  <a:pt x="1303291" y="3903604"/>
                  <a:pt x="1149397" y="3893981"/>
                </a:cubicBezTo>
                <a:cubicBezTo>
                  <a:pt x="1139779" y="3892378"/>
                  <a:pt x="1130160" y="3892378"/>
                  <a:pt x="1120542" y="3890774"/>
                </a:cubicBezTo>
                <a:cubicBezTo>
                  <a:pt x="1110924" y="3890774"/>
                  <a:pt x="1101305" y="3889170"/>
                  <a:pt x="1091687" y="3887566"/>
                </a:cubicBezTo>
                <a:cubicBezTo>
                  <a:pt x="1091687" y="3887566"/>
                  <a:pt x="1091687" y="3887566"/>
                  <a:pt x="1090084" y="3887566"/>
                </a:cubicBezTo>
                <a:cubicBezTo>
                  <a:pt x="1082068" y="3887566"/>
                  <a:pt x="1072450" y="3885962"/>
                  <a:pt x="1064435" y="3884359"/>
                </a:cubicBezTo>
                <a:cubicBezTo>
                  <a:pt x="1064435" y="3884359"/>
                  <a:pt x="1064435" y="3884359"/>
                  <a:pt x="1061229" y="3884359"/>
                </a:cubicBezTo>
                <a:cubicBezTo>
                  <a:pt x="1054816" y="3882755"/>
                  <a:pt x="1050007" y="3882755"/>
                  <a:pt x="1045198" y="3881151"/>
                </a:cubicBezTo>
                <a:cubicBezTo>
                  <a:pt x="1043595" y="3881151"/>
                  <a:pt x="1043595" y="3881151"/>
                  <a:pt x="1043595" y="3881151"/>
                </a:cubicBezTo>
                <a:cubicBezTo>
                  <a:pt x="1040389" y="3881151"/>
                  <a:pt x="1038786" y="3881151"/>
                  <a:pt x="1035579" y="3881151"/>
                </a:cubicBezTo>
                <a:cubicBezTo>
                  <a:pt x="1033976" y="3879547"/>
                  <a:pt x="1032373" y="3879547"/>
                  <a:pt x="1030770" y="3879547"/>
                </a:cubicBezTo>
                <a:cubicBezTo>
                  <a:pt x="1027564" y="3879547"/>
                  <a:pt x="1022755" y="3877944"/>
                  <a:pt x="1019549" y="3877944"/>
                </a:cubicBezTo>
                <a:cubicBezTo>
                  <a:pt x="1017946" y="3877944"/>
                  <a:pt x="1016343" y="3877944"/>
                  <a:pt x="1013137" y="3876340"/>
                </a:cubicBezTo>
                <a:cubicBezTo>
                  <a:pt x="1011534" y="3876340"/>
                  <a:pt x="1009931" y="3876340"/>
                  <a:pt x="1006724" y="3876340"/>
                </a:cubicBezTo>
                <a:cubicBezTo>
                  <a:pt x="1005121" y="3874736"/>
                  <a:pt x="1003518" y="3874736"/>
                  <a:pt x="1000312" y="3874736"/>
                </a:cubicBezTo>
                <a:cubicBezTo>
                  <a:pt x="998709" y="3874736"/>
                  <a:pt x="995503" y="3873132"/>
                  <a:pt x="992297" y="3873132"/>
                </a:cubicBezTo>
                <a:cubicBezTo>
                  <a:pt x="990694" y="3873132"/>
                  <a:pt x="987488" y="3871528"/>
                  <a:pt x="984281" y="3871528"/>
                </a:cubicBezTo>
                <a:cubicBezTo>
                  <a:pt x="982679" y="3871528"/>
                  <a:pt x="981076" y="3869925"/>
                  <a:pt x="979472" y="3869925"/>
                </a:cubicBezTo>
                <a:cubicBezTo>
                  <a:pt x="976266" y="3869925"/>
                  <a:pt x="973060" y="3868321"/>
                  <a:pt x="971457" y="3868321"/>
                </a:cubicBezTo>
                <a:cubicBezTo>
                  <a:pt x="969854" y="3868321"/>
                  <a:pt x="968251" y="3868321"/>
                  <a:pt x="966648" y="3866717"/>
                </a:cubicBezTo>
                <a:cubicBezTo>
                  <a:pt x="961839" y="3866717"/>
                  <a:pt x="958632" y="3865113"/>
                  <a:pt x="955426" y="3865113"/>
                </a:cubicBezTo>
                <a:cubicBezTo>
                  <a:pt x="953823" y="3865113"/>
                  <a:pt x="952220" y="3863510"/>
                  <a:pt x="950617" y="3863510"/>
                </a:cubicBezTo>
                <a:cubicBezTo>
                  <a:pt x="947411" y="3863510"/>
                  <a:pt x="944205" y="3861906"/>
                  <a:pt x="940999" y="3861906"/>
                </a:cubicBezTo>
                <a:cubicBezTo>
                  <a:pt x="939396" y="3861906"/>
                  <a:pt x="939396" y="3861906"/>
                  <a:pt x="937793" y="3860302"/>
                </a:cubicBezTo>
                <a:cubicBezTo>
                  <a:pt x="934586" y="3860302"/>
                  <a:pt x="929777" y="3858698"/>
                  <a:pt x="926571" y="3858698"/>
                </a:cubicBezTo>
                <a:cubicBezTo>
                  <a:pt x="924968" y="3857094"/>
                  <a:pt x="923365" y="3857094"/>
                  <a:pt x="923365" y="3857094"/>
                </a:cubicBezTo>
                <a:cubicBezTo>
                  <a:pt x="913747" y="3855491"/>
                  <a:pt x="905732" y="3852283"/>
                  <a:pt x="897716" y="3850679"/>
                </a:cubicBezTo>
                <a:cubicBezTo>
                  <a:pt x="896113" y="3850679"/>
                  <a:pt x="896113" y="3849075"/>
                  <a:pt x="894510" y="3849075"/>
                </a:cubicBezTo>
                <a:cubicBezTo>
                  <a:pt x="886495" y="3847472"/>
                  <a:pt x="876876" y="3844264"/>
                  <a:pt x="867258" y="3841057"/>
                </a:cubicBezTo>
                <a:cubicBezTo>
                  <a:pt x="785502" y="3817000"/>
                  <a:pt x="705348" y="3783320"/>
                  <a:pt x="630004" y="3740018"/>
                </a:cubicBezTo>
                <a:cubicBezTo>
                  <a:pt x="612371" y="3730396"/>
                  <a:pt x="596340" y="3720773"/>
                  <a:pt x="581912" y="3711150"/>
                </a:cubicBezTo>
                <a:cubicBezTo>
                  <a:pt x="580309" y="3711150"/>
                  <a:pt x="580309" y="3711150"/>
                  <a:pt x="578706" y="3709547"/>
                </a:cubicBezTo>
                <a:cubicBezTo>
                  <a:pt x="575500" y="3707943"/>
                  <a:pt x="572294" y="3706339"/>
                  <a:pt x="569088" y="3704735"/>
                </a:cubicBezTo>
                <a:cubicBezTo>
                  <a:pt x="567485" y="3703131"/>
                  <a:pt x="564279" y="3701528"/>
                  <a:pt x="562676" y="3699924"/>
                </a:cubicBezTo>
                <a:cubicBezTo>
                  <a:pt x="561073" y="3698320"/>
                  <a:pt x="559469" y="3698320"/>
                  <a:pt x="559469" y="3698320"/>
                </a:cubicBezTo>
                <a:cubicBezTo>
                  <a:pt x="400766" y="3595678"/>
                  <a:pt x="264506" y="3454545"/>
                  <a:pt x="163513" y="3281337"/>
                </a:cubicBezTo>
                <a:cubicBezTo>
                  <a:pt x="56107" y="3093694"/>
                  <a:pt x="3206" y="2890014"/>
                  <a:pt x="0" y="2687938"/>
                </a:cubicBezTo>
                <a:cubicBezTo>
                  <a:pt x="0" y="2675108"/>
                  <a:pt x="0" y="2662277"/>
                  <a:pt x="0" y="2649447"/>
                </a:cubicBezTo>
                <a:cubicBezTo>
                  <a:pt x="0" y="2647843"/>
                  <a:pt x="0" y="2647843"/>
                  <a:pt x="0" y="2647843"/>
                </a:cubicBezTo>
                <a:cubicBezTo>
                  <a:pt x="3206" y="2429729"/>
                  <a:pt x="64123" y="2218030"/>
                  <a:pt x="176337" y="2031991"/>
                </a:cubicBezTo>
                <a:cubicBezTo>
                  <a:pt x="763059" y="1013590"/>
                  <a:pt x="782295" y="981514"/>
                  <a:pt x="1348177" y="0"/>
                </a:cubicBezTo>
                <a:close/>
              </a:path>
            </a:pathLst>
          </a:custGeom>
        </p:spPr>
        <p:txBody>
          <a:bodyPr wrap="square" tIns="1944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4C4DAE7-361A-9A7C-2ED8-C9B08AC3081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351" y="5643500"/>
            <a:ext cx="5003993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76453010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Orange, Image)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4510395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13" descr="A yellow and white wave&#10;&#10;Description automatically generated">
            <a:extLst>
              <a:ext uri="{FF2B5EF4-FFF2-40B4-BE49-F238E27FC236}">
                <a16:creationId xmlns:a16="http://schemas.microsoft.com/office/drawing/2014/main" id="{E3AE4C31-1513-8690-5A19-C5DAE722457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9406" y="3356815"/>
            <a:ext cx="4452594" cy="3501185"/>
          </a:xfrm>
          <a:prstGeom prst="rect">
            <a:avLst/>
          </a:prstGeom>
        </p:spPr>
      </p:pic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61892DA-CFC4-B8E3-39CB-54CC852A6B7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656493" y="576296"/>
            <a:ext cx="6130366" cy="5583110"/>
          </a:xfrm>
          <a:custGeom>
            <a:avLst/>
            <a:gdLst>
              <a:gd name="connsiteX0" fmla="*/ 1801914 w 5494338"/>
              <a:gd name="connsiteY0" fmla="*/ 636 h 5003860"/>
              <a:gd name="connsiteX1" fmla="*/ 1846212 w 5494338"/>
              <a:gd name="connsiteY1" fmla="*/ 636 h 5003860"/>
              <a:gd name="connsiteX2" fmla="*/ 3645268 w 5494338"/>
              <a:gd name="connsiteY2" fmla="*/ 636 h 5003860"/>
              <a:gd name="connsiteX3" fmla="*/ 4108250 w 5494338"/>
              <a:gd name="connsiteY3" fmla="*/ 114958 h 5003860"/>
              <a:gd name="connsiteX4" fmla="*/ 4108250 w 5494338"/>
              <a:gd name="connsiteY4" fmla="*/ 116387 h 5003860"/>
              <a:gd name="connsiteX5" fmla="*/ 4163980 w 5494338"/>
              <a:gd name="connsiteY5" fmla="*/ 149254 h 5003860"/>
              <a:gd name="connsiteX6" fmla="*/ 4166837 w 5494338"/>
              <a:gd name="connsiteY6" fmla="*/ 152112 h 5003860"/>
              <a:gd name="connsiteX7" fmla="*/ 4169695 w 5494338"/>
              <a:gd name="connsiteY7" fmla="*/ 153541 h 5003860"/>
              <a:gd name="connsiteX8" fmla="*/ 4172553 w 5494338"/>
              <a:gd name="connsiteY8" fmla="*/ 154970 h 5003860"/>
              <a:gd name="connsiteX9" fmla="*/ 4176840 w 5494338"/>
              <a:gd name="connsiteY9" fmla="*/ 157828 h 5003860"/>
              <a:gd name="connsiteX10" fmla="*/ 4178269 w 5494338"/>
              <a:gd name="connsiteY10" fmla="*/ 159257 h 5003860"/>
              <a:gd name="connsiteX11" fmla="*/ 4455487 w 5494338"/>
              <a:gd name="connsiteY11" fmla="*/ 457923 h 5003860"/>
              <a:gd name="connsiteX12" fmla="*/ 5371448 w 5494338"/>
              <a:gd name="connsiteY12" fmla="*/ 2044135 h 5003860"/>
              <a:gd name="connsiteX13" fmla="*/ 5488622 w 5494338"/>
              <a:gd name="connsiteY13" fmla="*/ 2404248 h 5003860"/>
              <a:gd name="connsiteX14" fmla="*/ 5488622 w 5494338"/>
              <a:gd name="connsiteY14" fmla="*/ 2405677 h 5003860"/>
              <a:gd name="connsiteX15" fmla="*/ 5490051 w 5494338"/>
              <a:gd name="connsiteY15" fmla="*/ 2411393 h 5003860"/>
              <a:gd name="connsiteX16" fmla="*/ 5490051 w 5494338"/>
              <a:gd name="connsiteY16" fmla="*/ 2414251 h 5003860"/>
              <a:gd name="connsiteX17" fmla="*/ 5490051 w 5494338"/>
              <a:gd name="connsiteY17" fmla="*/ 2417109 h 5003860"/>
              <a:gd name="connsiteX18" fmla="*/ 5490051 w 5494338"/>
              <a:gd name="connsiteY18" fmla="*/ 2422825 h 5003860"/>
              <a:gd name="connsiteX19" fmla="*/ 5491480 w 5494338"/>
              <a:gd name="connsiteY19" fmla="*/ 2424254 h 5003860"/>
              <a:gd name="connsiteX20" fmla="*/ 5494338 w 5494338"/>
              <a:gd name="connsiteY20" fmla="*/ 2515711 h 5003860"/>
              <a:gd name="connsiteX21" fmla="*/ 5490051 w 5494338"/>
              <a:gd name="connsiteY21" fmla="*/ 2585733 h 5003860"/>
              <a:gd name="connsiteX22" fmla="*/ 5490051 w 5494338"/>
              <a:gd name="connsiteY22" fmla="*/ 2592878 h 5003860"/>
              <a:gd name="connsiteX23" fmla="*/ 5488622 w 5494338"/>
              <a:gd name="connsiteY23" fmla="*/ 2600023 h 5003860"/>
              <a:gd name="connsiteX24" fmla="*/ 5487193 w 5494338"/>
              <a:gd name="connsiteY24" fmla="*/ 2607168 h 5003860"/>
              <a:gd name="connsiteX25" fmla="*/ 5487193 w 5494338"/>
              <a:gd name="connsiteY25" fmla="*/ 2608597 h 5003860"/>
              <a:gd name="connsiteX26" fmla="*/ 5487193 w 5494338"/>
              <a:gd name="connsiteY26" fmla="*/ 2614313 h 5003860"/>
              <a:gd name="connsiteX27" fmla="*/ 5487193 w 5494338"/>
              <a:gd name="connsiteY27" fmla="*/ 2615742 h 5003860"/>
              <a:gd name="connsiteX28" fmla="*/ 5485764 w 5494338"/>
              <a:gd name="connsiteY28" fmla="*/ 2621459 h 5003860"/>
              <a:gd name="connsiteX29" fmla="*/ 5485764 w 5494338"/>
              <a:gd name="connsiteY29" fmla="*/ 2622888 h 5003860"/>
              <a:gd name="connsiteX30" fmla="*/ 5485764 w 5494338"/>
              <a:gd name="connsiteY30" fmla="*/ 2628604 h 5003860"/>
              <a:gd name="connsiteX31" fmla="*/ 5484336 w 5494338"/>
              <a:gd name="connsiteY31" fmla="*/ 2630033 h 5003860"/>
              <a:gd name="connsiteX32" fmla="*/ 5484336 w 5494338"/>
              <a:gd name="connsiteY32" fmla="*/ 2635749 h 5003860"/>
              <a:gd name="connsiteX33" fmla="*/ 5484336 w 5494338"/>
              <a:gd name="connsiteY33" fmla="*/ 2638607 h 5003860"/>
              <a:gd name="connsiteX34" fmla="*/ 5482906 w 5494338"/>
              <a:gd name="connsiteY34" fmla="*/ 2642894 h 5003860"/>
              <a:gd name="connsiteX35" fmla="*/ 5482906 w 5494338"/>
              <a:gd name="connsiteY35" fmla="*/ 2645752 h 5003860"/>
              <a:gd name="connsiteX36" fmla="*/ 5481478 w 5494338"/>
              <a:gd name="connsiteY36" fmla="*/ 2650039 h 5003860"/>
              <a:gd name="connsiteX37" fmla="*/ 5481478 w 5494338"/>
              <a:gd name="connsiteY37" fmla="*/ 2652897 h 5003860"/>
              <a:gd name="connsiteX38" fmla="*/ 5481478 w 5494338"/>
              <a:gd name="connsiteY38" fmla="*/ 2655755 h 5003860"/>
              <a:gd name="connsiteX39" fmla="*/ 5480048 w 5494338"/>
              <a:gd name="connsiteY39" fmla="*/ 2660042 h 5003860"/>
              <a:gd name="connsiteX40" fmla="*/ 5480048 w 5494338"/>
              <a:gd name="connsiteY40" fmla="*/ 2662900 h 5003860"/>
              <a:gd name="connsiteX41" fmla="*/ 5478620 w 5494338"/>
              <a:gd name="connsiteY41" fmla="*/ 2667187 h 5003860"/>
              <a:gd name="connsiteX42" fmla="*/ 5478620 w 5494338"/>
              <a:gd name="connsiteY42" fmla="*/ 2668616 h 5003860"/>
              <a:gd name="connsiteX43" fmla="*/ 5362874 w 5494338"/>
              <a:gd name="connsiteY43" fmla="*/ 2974426 h 5003860"/>
              <a:gd name="connsiteX44" fmla="*/ 4462632 w 5494338"/>
              <a:gd name="connsiteY44" fmla="*/ 4532058 h 5003860"/>
              <a:gd name="connsiteX45" fmla="*/ 4121111 w 5494338"/>
              <a:gd name="connsiteY45" fmla="*/ 4880739 h 5003860"/>
              <a:gd name="connsiteX46" fmla="*/ 3376624 w 5494338"/>
              <a:gd name="connsiteY46" fmla="*/ 4957906 h 5003860"/>
              <a:gd name="connsiteX47" fmla="*/ 3358048 w 5494338"/>
              <a:gd name="connsiteY47" fmla="*/ 4950761 h 5003860"/>
              <a:gd name="connsiteX48" fmla="*/ 3355190 w 5494338"/>
              <a:gd name="connsiteY48" fmla="*/ 4950761 h 5003860"/>
              <a:gd name="connsiteX49" fmla="*/ 3349474 w 5494338"/>
              <a:gd name="connsiteY49" fmla="*/ 4947903 h 5003860"/>
              <a:gd name="connsiteX50" fmla="*/ 3348045 w 5494338"/>
              <a:gd name="connsiteY50" fmla="*/ 4947903 h 5003860"/>
              <a:gd name="connsiteX51" fmla="*/ 3338043 w 5494338"/>
              <a:gd name="connsiteY51" fmla="*/ 4943616 h 5003860"/>
              <a:gd name="connsiteX52" fmla="*/ 3335185 w 5494338"/>
              <a:gd name="connsiteY52" fmla="*/ 4942187 h 5003860"/>
              <a:gd name="connsiteX53" fmla="*/ 3329469 w 5494338"/>
              <a:gd name="connsiteY53" fmla="*/ 4940758 h 5003860"/>
              <a:gd name="connsiteX54" fmla="*/ 3325182 w 5494338"/>
              <a:gd name="connsiteY54" fmla="*/ 4939329 h 5003860"/>
              <a:gd name="connsiteX55" fmla="*/ 3318037 w 5494338"/>
              <a:gd name="connsiteY55" fmla="*/ 4936471 h 5003860"/>
              <a:gd name="connsiteX56" fmla="*/ 3313750 w 5494338"/>
              <a:gd name="connsiteY56" fmla="*/ 4935042 h 5003860"/>
              <a:gd name="connsiteX57" fmla="*/ 3309464 w 5494338"/>
              <a:gd name="connsiteY57" fmla="*/ 4932184 h 5003860"/>
              <a:gd name="connsiteX58" fmla="*/ 3302319 w 5494338"/>
              <a:gd name="connsiteY58" fmla="*/ 4929326 h 5003860"/>
              <a:gd name="connsiteX59" fmla="*/ 3299461 w 5494338"/>
              <a:gd name="connsiteY59" fmla="*/ 4927897 h 5003860"/>
              <a:gd name="connsiteX60" fmla="*/ 3292316 w 5494338"/>
              <a:gd name="connsiteY60" fmla="*/ 4925039 h 5003860"/>
              <a:gd name="connsiteX61" fmla="*/ 3289458 w 5494338"/>
              <a:gd name="connsiteY61" fmla="*/ 4923610 h 5003860"/>
              <a:gd name="connsiteX62" fmla="*/ 3282313 w 5494338"/>
              <a:gd name="connsiteY62" fmla="*/ 4920752 h 5003860"/>
              <a:gd name="connsiteX63" fmla="*/ 3279455 w 5494338"/>
              <a:gd name="connsiteY63" fmla="*/ 4919323 h 5003860"/>
              <a:gd name="connsiteX64" fmla="*/ 3272311 w 5494338"/>
              <a:gd name="connsiteY64" fmla="*/ 4916465 h 5003860"/>
              <a:gd name="connsiteX65" fmla="*/ 3270882 w 5494338"/>
              <a:gd name="connsiteY65" fmla="*/ 4915036 h 5003860"/>
              <a:gd name="connsiteX66" fmla="*/ 3260879 w 5494338"/>
              <a:gd name="connsiteY66" fmla="*/ 4910749 h 5003860"/>
              <a:gd name="connsiteX67" fmla="*/ 3250876 w 5494338"/>
              <a:gd name="connsiteY67" fmla="*/ 4906461 h 5003860"/>
              <a:gd name="connsiteX68" fmla="*/ 3240874 w 5494338"/>
              <a:gd name="connsiteY68" fmla="*/ 4900745 h 5003860"/>
              <a:gd name="connsiteX69" fmla="*/ 3216581 w 5494338"/>
              <a:gd name="connsiteY69" fmla="*/ 4887884 h 5003860"/>
              <a:gd name="connsiteX70" fmla="*/ 3137989 w 5494338"/>
              <a:gd name="connsiteY70" fmla="*/ 4839298 h 5003860"/>
              <a:gd name="connsiteX71" fmla="*/ 3135131 w 5494338"/>
              <a:gd name="connsiteY71" fmla="*/ 4836439 h 5003860"/>
              <a:gd name="connsiteX72" fmla="*/ 3129415 w 5494338"/>
              <a:gd name="connsiteY72" fmla="*/ 4832152 h 5003860"/>
              <a:gd name="connsiteX73" fmla="*/ 3127986 w 5494338"/>
              <a:gd name="connsiteY73" fmla="*/ 4830723 h 5003860"/>
              <a:gd name="connsiteX74" fmla="*/ 3119412 w 5494338"/>
              <a:gd name="connsiteY74" fmla="*/ 4825007 h 5003860"/>
              <a:gd name="connsiteX75" fmla="*/ 3117983 w 5494338"/>
              <a:gd name="connsiteY75" fmla="*/ 4825007 h 5003860"/>
              <a:gd name="connsiteX76" fmla="*/ 2869345 w 5494338"/>
              <a:gd name="connsiteY76" fmla="*/ 4544919 h 5003860"/>
              <a:gd name="connsiteX77" fmla="*/ 2749313 w 5494338"/>
              <a:gd name="connsiteY77" fmla="*/ 4154797 h 5003860"/>
              <a:gd name="connsiteX78" fmla="*/ 2749313 w 5494338"/>
              <a:gd name="connsiteY78" fmla="*/ 4149081 h 5003860"/>
              <a:gd name="connsiteX79" fmla="*/ 2749313 w 5494338"/>
              <a:gd name="connsiteY79" fmla="*/ 4146223 h 5003860"/>
              <a:gd name="connsiteX80" fmla="*/ 2747884 w 5494338"/>
              <a:gd name="connsiteY80" fmla="*/ 4141936 h 5003860"/>
              <a:gd name="connsiteX81" fmla="*/ 2747884 w 5494338"/>
              <a:gd name="connsiteY81" fmla="*/ 4137649 h 5003860"/>
              <a:gd name="connsiteX82" fmla="*/ 2747884 w 5494338"/>
              <a:gd name="connsiteY82" fmla="*/ 4136220 h 5003860"/>
              <a:gd name="connsiteX83" fmla="*/ 2746455 w 5494338"/>
              <a:gd name="connsiteY83" fmla="*/ 4074772 h 5003860"/>
              <a:gd name="connsiteX84" fmla="*/ 2746455 w 5494338"/>
              <a:gd name="connsiteY84" fmla="*/ 4073343 h 5003860"/>
              <a:gd name="connsiteX85" fmla="*/ 2623564 w 5494338"/>
              <a:gd name="connsiteY85" fmla="*/ 3630347 h 5003860"/>
              <a:gd name="connsiteX86" fmla="*/ 2302049 w 5494338"/>
              <a:gd name="connsiteY86" fmla="*/ 3301672 h 5003860"/>
              <a:gd name="connsiteX87" fmla="*/ 2276328 w 5494338"/>
              <a:gd name="connsiteY87" fmla="*/ 3287382 h 5003860"/>
              <a:gd name="connsiteX88" fmla="*/ 1376085 w 5494338"/>
              <a:gd name="connsiteY88" fmla="*/ 3293098 h 5003860"/>
              <a:gd name="connsiteX89" fmla="*/ 1373227 w 5494338"/>
              <a:gd name="connsiteY89" fmla="*/ 3294527 h 5003860"/>
              <a:gd name="connsiteX90" fmla="*/ 1326072 w 5494338"/>
              <a:gd name="connsiteY90" fmla="*/ 3320249 h 5003860"/>
              <a:gd name="connsiteX91" fmla="*/ 1304638 w 5494338"/>
              <a:gd name="connsiteY91" fmla="*/ 3330252 h 5003860"/>
              <a:gd name="connsiteX92" fmla="*/ 1283203 w 5494338"/>
              <a:gd name="connsiteY92" fmla="*/ 3340256 h 5003860"/>
              <a:gd name="connsiteX93" fmla="*/ 1263198 w 5494338"/>
              <a:gd name="connsiteY93" fmla="*/ 3348830 h 5003860"/>
              <a:gd name="connsiteX94" fmla="*/ 1241763 w 5494338"/>
              <a:gd name="connsiteY94" fmla="*/ 3357404 h 5003860"/>
              <a:gd name="connsiteX95" fmla="*/ 1220329 w 5494338"/>
              <a:gd name="connsiteY95" fmla="*/ 3365978 h 5003860"/>
              <a:gd name="connsiteX96" fmla="*/ 1198895 w 5494338"/>
              <a:gd name="connsiteY96" fmla="*/ 3373123 h 5003860"/>
              <a:gd name="connsiteX97" fmla="*/ 857374 w 5494338"/>
              <a:gd name="connsiteY97" fmla="*/ 3415994 h 5003860"/>
              <a:gd name="connsiteX98" fmla="*/ 834511 w 5494338"/>
              <a:gd name="connsiteY98" fmla="*/ 3414565 h 5003860"/>
              <a:gd name="connsiteX99" fmla="*/ 814505 w 5494338"/>
              <a:gd name="connsiteY99" fmla="*/ 3411707 h 5003860"/>
              <a:gd name="connsiteX100" fmla="*/ 813076 w 5494338"/>
              <a:gd name="connsiteY100" fmla="*/ 3411707 h 5003860"/>
              <a:gd name="connsiteX101" fmla="*/ 793071 w 5494338"/>
              <a:gd name="connsiteY101" fmla="*/ 3408849 h 5003860"/>
              <a:gd name="connsiteX102" fmla="*/ 791642 w 5494338"/>
              <a:gd name="connsiteY102" fmla="*/ 3408849 h 5003860"/>
              <a:gd name="connsiteX103" fmla="*/ 778782 w 5494338"/>
              <a:gd name="connsiteY103" fmla="*/ 3407419 h 5003860"/>
              <a:gd name="connsiteX104" fmla="*/ 777353 w 5494338"/>
              <a:gd name="connsiteY104" fmla="*/ 3407419 h 5003860"/>
              <a:gd name="connsiteX105" fmla="*/ 771637 w 5494338"/>
              <a:gd name="connsiteY105" fmla="*/ 3405990 h 5003860"/>
              <a:gd name="connsiteX106" fmla="*/ 768779 w 5494338"/>
              <a:gd name="connsiteY106" fmla="*/ 3405990 h 5003860"/>
              <a:gd name="connsiteX107" fmla="*/ 760205 w 5494338"/>
              <a:gd name="connsiteY107" fmla="*/ 3404561 h 5003860"/>
              <a:gd name="connsiteX108" fmla="*/ 755918 w 5494338"/>
              <a:gd name="connsiteY108" fmla="*/ 3403132 h 5003860"/>
              <a:gd name="connsiteX109" fmla="*/ 751631 w 5494338"/>
              <a:gd name="connsiteY109" fmla="*/ 3403132 h 5003860"/>
              <a:gd name="connsiteX110" fmla="*/ 745915 w 5494338"/>
              <a:gd name="connsiteY110" fmla="*/ 3401703 h 5003860"/>
              <a:gd name="connsiteX111" fmla="*/ 740200 w 5494338"/>
              <a:gd name="connsiteY111" fmla="*/ 3400274 h 5003860"/>
              <a:gd name="connsiteX112" fmla="*/ 734484 w 5494338"/>
              <a:gd name="connsiteY112" fmla="*/ 3398845 h 5003860"/>
              <a:gd name="connsiteX113" fmla="*/ 730197 w 5494338"/>
              <a:gd name="connsiteY113" fmla="*/ 3398845 h 5003860"/>
              <a:gd name="connsiteX114" fmla="*/ 724481 w 5494338"/>
              <a:gd name="connsiteY114" fmla="*/ 3397416 h 5003860"/>
              <a:gd name="connsiteX115" fmla="*/ 720194 w 5494338"/>
              <a:gd name="connsiteY115" fmla="*/ 3395987 h 5003860"/>
              <a:gd name="connsiteX116" fmla="*/ 711621 w 5494338"/>
              <a:gd name="connsiteY116" fmla="*/ 3394558 h 5003860"/>
              <a:gd name="connsiteX117" fmla="*/ 708763 w 5494338"/>
              <a:gd name="connsiteY117" fmla="*/ 3393129 h 5003860"/>
              <a:gd name="connsiteX118" fmla="*/ 701618 w 5494338"/>
              <a:gd name="connsiteY118" fmla="*/ 3391700 h 5003860"/>
              <a:gd name="connsiteX119" fmla="*/ 700189 w 5494338"/>
              <a:gd name="connsiteY119" fmla="*/ 3391700 h 5003860"/>
              <a:gd name="connsiteX120" fmla="*/ 690186 w 5494338"/>
              <a:gd name="connsiteY120" fmla="*/ 3388842 h 5003860"/>
              <a:gd name="connsiteX121" fmla="*/ 688757 w 5494338"/>
              <a:gd name="connsiteY121" fmla="*/ 3388842 h 5003860"/>
              <a:gd name="connsiteX122" fmla="*/ 668752 w 5494338"/>
              <a:gd name="connsiteY122" fmla="*/ 3383126 h 5003860"/>
              <a:gd name="connsiteX123" fmla="*/ 667323 w 5494338"/>
              <a:gd name="connsiteY123" fmla="*/ 3383126 h 5003860"/>
              <a:gd name="connsiteX124" fmla="*/ 647317 w 5494338"/>
              <a:gd name="connsiteY124" fmla="*/ 3377410 h 5003860"/>
              <a:gd name="connsiteX125" fmla="*/ 470127 w 5494338"/>
              <a:gd name="connsiteY125" fmla="*/ 3301672 h 5003860"/>
              <a:gd name="connsiteX126" fmla="*/ 468698 w 5494338"/>
              <a:gd name="connsiteY126" fmla="*/ 3301672 h 5003860"/>
              <a:gd name="connsiteX127" fmla="*/ 432974 w 5494338"/>
              <a:gd name="connsiteY127" fmla="*/ 3280237 h 5003860"/>
              <a:gd name="connsiteX128" fmla="*/ 431545 w 5494338"/>
              <a:gd name="connsiteY128" fmla="*/ 3278808 h 5003860"/>
              <a:gd name="connsiteX129" fmla="*/ 424400 w 5494338"/>
              <a:gd name="connsiteY129" fmla="*/ 3274521 h 5003860"/>
              <a:gd name="connsiteX130" fmla="*/ 418684 w 5494338"/>
              <a:gd name="connsiteY130" fmla="*/ 3271663 h 5003860"/>
              <a:gd name="connsiteX131" fmla="*/ 417255 w 5494338"/>
              <a:gd name="connsiteY131" fmla="*/ 3270234 h 5003860"/>
              <a:gd name="connsiteX132" fmla="*/ 122891 w 5494338"/>
              <a:gd name="connsiteY132" fmla="*/ 2960136 h 5003860"/>
              <a:gd name="connsiteX133" fmla="*/ 0 w 5494338"/>
              <a:gd name="connsiteY133" fmla="*/ 2517140 h 5003860"/>
              <a:gd name="connsiteX134" fmla="*/ 0 w 5494338"/>
              <a:gd name="connsiteY134" fmla="*/ 2488560 h 5003860"/>
              <a:gd name="connsiteX135" fmla="*/ 0 w 5494338"/>
              <a:gd name="connsiteY135" fmla="*/ 2487131 h 5003860"/>
              <a:gd name="connsiteX136" fmla="*/ 131464 w 5494338"/>
              <a:gd name="connsiteY136" fmla="*/ 2028415 h 5003860"/>
              <a:gd name="connsiteX137" fmla="*/ 1030278 w 5494338"/>
              <a:gd name="connsiteY137" fmla="*/ 470784 h 5003860"/>
              <a:gd name="connsiteX138" fmla="*/ 1033136 w 5494338"/>
              <a:gd name="connsiteY138" fmla="*/ 467926 h 5003860"/>
              <a:gd name="connsiteX139" fmla="*/ 1034565 w 5494338"/>
              <a:gd name="connsiteY139" fmla="*/ 465068 h 5003860"/>
              <a:gd name="connsiteX140" fmla="*/ 1038852 w 5494338"/>
              <a:gd name="connsiteY140" fmla="*/ 456494 h 5003860"/>
              <a:gd name="connsiteX141" fmla="*/ 1040281 w 5494338"/>
              <a:gd name="connsiteY141" fmla="*/ 453635 h 5003860"/>
              <a:gd name="connsiteX142" fmla="*/ 1043138 w 5494338"/>
              <a:gd name="connsiteY142" fmla="*/ 447919 h 5003860"/>
              <a:gd name="connsiteX143" fmla="*/ 1045996 w 5494338"/>
              <a:gd name="connsiteY143" fmla="*/ 445061 h 5003860"/>
              <a:gd name="connsiteX144" fmla="*/ 1050283 w 5494338"/>
              <a:gd name="connsiteY144" fmla="*/ 437916 h 5003860"/>
              <a:gd name="connsiteX145" fmla="*/ 1051712 w 5494338"/>
              <a:gd name="connsiteY145" fmla="*/ 435058 h 5003860"/>
              <a:gd name="connsiteX146" fmla="*/ 1054570 w 5494338"/>
              <a:gd name="connsiteY146" fmla="*/ 429342 h 5003860"/>
              <a:gd name="connsiteX147" fmla="*/ 1057428 w 5494338"/>
              <a:gd name="connsiteY147" fmla="*/ 426484 h 5003860"/>
              <a:gd name="connsiteX148" fmla="*/ 1061715 w 5494338"/>
              <a:gd name="connsiteY148" fmla="*/ 419339 h 5003860"/>
              <a:gd name="connsiteX149" fmla="*/ 1063144 w 5494338"/>
              <a:gd name="connsiteY149" fmla="*/ 416481 h 5003860"/>
              <a:gd name="connsiteX150" fmla="*/ 1067431 w 5494338"/>
              <a:gd name="connsiteY150" fmla="*/ 410765 h 5003860"/>
              <a:gd name="connsiteX151" fmla="*/ 1068860 w 5494338"/>
              <a:gd name="connsiteY151" fmla="*/ 407907 h 5003860"/>
              <a:gd name="connsiteX152" fmla="*/ 1074576 w 5494338"/>
              <a:gd name="connsiteY152" fmla="*/ 400762 h 5003860"/>
              <a:gd name="connsiteX153" fmla="*/ 1076004 w 5494338"/>
              <a:gd name="connsiteY153" fmla="*/ 397904 h 5003860"/>
              <a:gd name="connsiteX154" fmla="*/ 1080291 w 5494338"/>
              <a:gd name="connsiteY154" fmla="*/ 392188 h 5003860"/>
              <a:gd name="connsiteX155" fmla="*/ 1081720 w 5494338"/>
              <a:gd name="connsiteY155" fmla="*/ 389330 h 5003860"/>
              <a:gd name="connsiteX156" fmla="*/ 1087436 w 5494338"/>
              <a:gd name="connsiteY156" fmla="*/ 382185 h 5003860"/>
              <a:gd name="connsiteX157" fmla="*/ 1088865 w 5494338"/>
              <a:gd name="connsiteY157" fmla="*/ 379326 h 5003860"/>
              <a:gd name="connsiteX158" fmla="*/ 1093152 w 5494338"/>
              <a:gd name="connsiteY158" fmla="*/ 373610 h 5003860"/>
              <a:gd name="connsiteX159" fmla="*/ 1094581 w 5494338"/>
              <a:gd name="connsiteY159" fmla="*/ 372181 h 5003860"/>
              <a:gd name="connsiteX160" fmla="*/ 1100297 w 5494338"/>
              <a:gd name="connsiteY160" fmla="*/ 365036 h 5003860"/>
              <a:gd name="connsiteX161" fmla="*/ 1101726 w 5494338"/>
              <a:gd name="connsiteY161" fmla="*/ 362178 h 5003860"/>
              <a:gd name="connsiteX162" fmla="*/ 1107442 w 5494338"/>
              <a:gd name="connsiteY162" fmla="*/ 353604 h 5003860"/>
              <a:gd name="connsiteX163" fmla="*/ 1113157 w 5494338"/>
              <a:gd name="connsiteY163" fmla="*/ 346459 h 5003860"/>
              <a:gd name="connsiteX164" fmla="*/ 1114586 w 5494338"/>
              <a:gd name="connsiteY164" fmla="*/ 345030 h 5003860"/>
              <a:gd name="connsiteX165" fmla="*/ 1127447 w 5494338"/>
              <a:gd name="connsiteY165" fmla="*/ 329311 h 5003860"/>
              <a:gd name="connsiteX166" fmla="*/ 1128876 w 5494338"/>
              <a:gd name="connsiteY166" fmla="*/ 327882 h 5003860"/>
              <a:gd name="connsiteX167" fmla="*/ 1143165 w 5494338"/>
              <a:gd name="connsiteY167" fmla="*/ 312163 h 5003860"/>
              <a:gd name="connsiteX168" fmla="*/ 1143165 w 5494338"/>
              <a:gd name="connsiteY168" fmla="*/ 310734 h 5003860"/>
              <a:gd name="connsiteX169" fmla="*/ 1157455 w 5494338"/>
              <a:gd name="connsiteY169" fmla="*/ 295014 h 5003860"/>
              <a:gd name="connsiteX170" fmla="*/ 1158884 w 5494338"/>
              <a:gd name="connsiteY170" fmla="*/ 293585 h 5003860"/>
              <a:gd name="connsiteX171" fmla="*/ 1173174 w 5494338"/>
              <a:gd name="connsiteY171" fmla="*/ 277866 h 5003860"/>
              <a:gd name="connsiteX172" fmla="*/ 1373227 w 5494338"/>
              <a:gd name="connsiteY172" fmla="*/ 122103 h 5003860"/>
              <a:gd name="connsiteX173" fmla="*/ 1543273 w 5494338"/>
              <a:gd name="connsiteY173" fmla="*/ 46365 h 5003860"/>
              <a:gd name="connsiteX174" fmla="*/ 1553276 w 5494338"/>
              <a:gd name="connsiteY174" fmla="*/ 43507 h 5003860"/>
              <a:gd name="connsiteX175" fmla="*/ 1563279 w 5494338"/>
              <a:gd name="connsiteY175" fmla="*/ 39220 h 5003860"/>
              <a:gd name="connsiteX176" fmla="*/ 1564708 w 5494338"/>
              <a:gd name="connsiteY176" fmla="*/ 39220 h 5003860"/>
              <a:gd name="connsiteX177" fmla="*/ 1574710 w 5494338"/>
              <a:gd name="connsiteY177" fmla="*/ 36362 h 5003860"/>
              <a:gd name="connsiteX178" fmla="*/ 1576139 w 5494338"/>
              <a:gd name="connsiteY178" fmla="*/ 36362 h 5003860"/>
              <a:gd name="connsiteX179" fmla="*/ 1584713 w 5494338"/>
              <a:gd name="connsiteY179" fmla="*/ 33504 h 5003860"/>
              <a:gd name="connsiteX180" fmla="*/ 1587571 w 5494338"/>
              <a:gd name="connsiteY180" fmla="*/ 33504 h 5003860"/>
              <a:gd name="connsiteX181" fmla="*/ 1596145 w 5494338"/>
              <a:gd name="connsiteY181" fmla="*/ 30646 h 5003860"/>
              <a:gd name="connsiteX182" fmla="*/ 1597574 w 5494338"/>
              <a:gd name="connsiteY182" fmla="*/ 30646 h 5003860"/>
              <a:gd name="connsiteX183" fmla="*/ 1607576 w 5494338"/>
              <a:gd name="connsiteY183" fmla="*/ 27788 h 5003860"/>
              <a:gd name="connsiteX184" fmla="*/ 1609005 w 5494338"/>
              <a:gd name="connsiteY184" fmla="*/ 27788 h 5003860"/>
              <a:gd name="connsiteX185" fmla="*/ 1617579 w 5494338"/>
              <a:gd name="connsiteY185" fmla="*/ 24930 h 5003860"/>
              <a:gd name="connsiteX186" fmla="*/ 1619008 w 5494338"/>
              <a:gd name="connsiteY186" fmla="*/ 24930 h 5003860"/>
              <a:gd name="connsiteX187" fmla="*/ 1629011 w 5494338"/>
              <a:gd name="connsiteY187" fmla="*/ 22072 h 5003860"/>
              <a:gd name="connsiteX188" fmla="*/ 1631869 w 5494338"/>
              <a:gd name="connsiteY188" fmla="*/ 22072 h 5003860"/>
              <a:gd name="connsiteX189" fmla="*/ 1636155 w 5494338"/>
              <a:gd name="connsiteY189" fmla="*/ 20643 h 5003860"/>
              <a:gd name="connsiteX190" fmla="*/ 1639013 w 5494338"/>
              <a:gd name="connsiteY190" fmla="*/ 20643 h 5003860"/>
              <a:gd name="connsiteX191" fmla="*/ 1641871 w 5494338"/>
              <a:gd name="connsiteY191" fmla="*/ 19213 h 5003860"/>
              <a:gd name="connsiteX192" fmla="*/ 1643300 w 5494338"/>
              <a:gd name="connsiteY192" fmla="*/ 19213 h 5003860"/>
              <a:gd name="connsiteX193" fmla="*/ 1650445 w 5494338"/>
              <a:gd name="connsiteY193" fmla="*/ 17784 h 5003860"/>
              <a:gd name="connsiteX194" fmla="*/ 1654732 w 5494338"/>
              <a:gd name="connsiteY194" fmla="*/ 17784 h 5003860"/>
              <a:gd name="connsiteX195" fmla="*/ 1657590 w 5494338"/>
              <a:gd name="connsiteY195" fmla="*/ 16355 h 5003860"/>
              <a:gd name="connsiteX196" fmla="*/ 1660448 w 5494338"/>
              <a:gd name="connsiteY196" fmla="*/ 16355 h 5003860"/>
              <a:gd name="connsiteX197" fmla="*/ 1664735 w 5494338"/>
              <a:gd name="connsiteY197" fmla="*/ 14926 h 5003860"/>
              <a:gd name="connsiteX198" fmla="*/ 1666164 w 5494338"/>
              <a:gd name="connsiteY198" fmla="*/ 14926 h 5003860"/>
              <a:gd name="connsiteX199" fmla="*/ 1671879 w 5494338"/>
              <a:gd name="connsiteY199" fmla="*/ 13497 h 5003860"/>
              <a:gd name="connsiteX200" fmla="*/ 1676166 w 5494338"/>
              <a:gd name="connsiteY200" fmla="*/ 13497 h 5003860"/>
              <a:gd name="connsiteX201" fmla="*/ 1679024 w 5494338"/>
              <a:gd name="connsiteY201" fmla="*/ 12068 h 5003860"/>
              <a:gd name="connsiteX202" fmla="*/ 1681882 w 5494338"/>
              <a:gd name="connsiteY202" fmla="*/ 12068 h 5003860"/>
              <a:gd name="connsiteX203" fmla="*/ 1687598 w 5494338"/>
              <a:gd name="connsiteY203" fmla="*/ 10639 h 5003860"/>
              <a:gd name="connsiteX204" fmla="*/ 1689027 w 5494338"/>
              <a:gd name="connsiteY204" fmla="*/ 10639 h 5003860"/>
              <a:gd name="connsiteX205" fmla="*/ 1693314 w 5494338"/>
              <a:gd name="connsiteY205" fmla="*/ 10639 h 5003860"/>
              <a:gd name="connsiteX206" fmla="*/ 1699030 w 5494338"/>
              <a:gd name="connsiteY206" fmla="*/ 9210 h 5003860"/>
              <a:gd name="connsiteX207" fmla="*/ 1701887 w 5494338"/>
              <a:gd name="connsiteY207" fmla="*/ 9210 h 5003860"/>
              <a:gd name="connsiteX208" fmla="*/ 1703316 w 5494338"/>
              <a:gd name="connsiteY208" fmla="*/ 9210 h 5003860"/>
              <a:gd name="connsiteX209" fmla="*/ 1710461 w 5494338"/>
              <a:gd name="connsiteY209" fmla="*/ 7781 h 5003860"/>
              <a:gd name="connsiteX210" fmla="*/ 1711890 w 5494338"/>
              <a:gd name="connsiteY210" fmla="*/ 7781 h 5003860"/>
              <a:gd name="connsiteX211" fmla="*/ 1713319 w 5494338"/>
              <a:gd name="connsiteY211" fmla="*/ 7781 h 5003860"/>
              <a:gd name="connsiteX212" fmla="*/ 1714748 w 5494338"/>
              <a:gd name="connsiteY212" fmla="*/ 7781 h 5003860"/>
              <a:gd name="connsiteX213" fmla="*/ 1721893 w 5494338"/>
              <a:gd name="connsiteY213" fmla="*/ 6352 h 5003860"/>
              <a:gd name="connsiteX214" fmla="*/ 1723322 w 5494338"/>
              <a:gd name="connsiteY214" fmla="*/ 6352 h 5003860"/>
              <a:gd name="connsiteX215" fmla="*/ 1724751 w 5494338"/>
              <a:gd name="connsiteY215" fmla="*/ 6352 h 5003860"/>
              <a:gd name="connsiteX216" fmla="*/ 1726180 w 5494338"/>
              <a:gd name="connsiteY216" fmla="*/ 6352 h 5003860"/>
              <a:gd name="connsiteX217" fmla="*/ 1733325 w 5494338"/>
              <a:gd name="connsiteY217" fmla="*/ 4923 h 5003860"/>
              <a:gd name="connsiteX218" fmla="*/ 1734753 w 5494338"/>
              <a:gd name="connsiteY218" fmla="*/ 4923 h 5003860"/>
              <a:gd name="connsiteX219" fmla="*/ 1736182 w 5494338"/>
              <a:gd name="connsiteY219" fmla="*/ 4923 h 5003860"/>
              <a:gd name="connsiteX220" fmla="*/ 1744756 w 5494338"/>
              <a:gd name="connsiteY220" fmla="*/ 3494 h 5003860"/>
              <a:gd name="connsiteX221" fmla="*/ 1756188 w 5494338"/>
              <a:gd name="connsiteY221" fmla="*/ 3494 h 5003860"/>
              <a:gd name="connsiteX222" fmla="*/ 1759046 w 5494338"/>
              <a:gd name="connsiteY222" fmla="*/ 3494 h 5003860"/>
              <a:gd name="connsiteX223" fmla="*/ 1779051 w 5494338"/>
              <a:gd name="connsiteY223" fmla="*/ 2065 h 5003860"/>
              <a:gd name="connsiteX224" fmla="*/ 1801914 w 5494338"/>
              <a:gd name="connsiteY224" fmla="*/ 636 h 50038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</a:cxnLst>
            <a:rect l="l" t="t" r="r" b="b"/>
            <a:pathLst>
              <a:path w="5494338" h="5003860">
                <a:moveTo>
                  <a:pt x="1801914" y="636"/>
                </a:moveTo>
                <a:cubicBezTo>
                  <a:pt x="1816204" y="636"/>
                  <a:pt x="1831923" y="-793"/>
                  <a:pt x="1846212" y="636"/>
                </a:cubicBezTo>
                <a:cubicBezTo>
                  <a:pt x="2740739" y="636"/>
                  <a:pt x="2752170" y="636"/>
                  <a:pt x="3645268" y="636"/>
                </a:cubicBezTo>
                <a:cubicBezTo>
                  <a:pt x="3806740" y="-2222"/>
                  <a:pt x="3966784" y="37791"/>
                  <a:pt x="4108250" y="114958"/>
                </a:cubicBezTo>
                <a:cubicBezTo>
                  <a:pt x="4108250" y="114958"/>
                  <a:pt x="4108250" y="116387"/>
                  <a:pt x="4108250" y="116387"/>
                </a:cubicBezTo>
                <a:cubicBezTo>
                  <a:pt x="4126827" y="126390"/>
                  <a:pt x="4145403" y="136393"/>
                  <a:pt x="4163980" y="149254"/>
                </a:cubicBezTo>
                <a:cubicBezTo>
                  <a:pt x="4163980" y="149254"/>
                  <a:pt x="4165409" y="150683"/>
                  <a:pt x="4166837" y="152112"/>
                </a:cubicBezTo>
                <a:cubicBezTo>
                  <a:pt x="4168266" y="152112"/>
                  <a:pt x="4169695" y="152112"/>
                  <a:pt x="4169695" y="153541"/>
                </a:cubicBezTo>
                <a:cubicBezTo>
                  <a:pt x="4171124" y="153541"/>
                  <a:pt x="4171124" y="154970"/>
                  <a:pt x="4172553" y="154970"/>
                </a:cubicBezTo>
                <a:cubicBezTo>
                  <a:pt x="4173982" y="156399"/>
                  <a:pt x="4175411" y="156399"/>
                  <a:pt x="4176840" y="157828"/>
                </a:cubicBezTo>
                <a:cubicBezTo>
                  <a:pt x="4176840" y="157828"/>
                  <a:pt x="4178269" y="157828"/>
                  <a:pt x="4178269" y="159257"/>
                </a:cubicBezTo>
                <a:cubicBezTo>
                  <a:pt x="4288299" y="233566"/>
                  <a:pt x="4384039" y="335027"/>
                  <a:pt x="4455487" y="457923"/>
                </a:cubicBezTo>
                <a:cubicBezTo>
                  <a:pt x="4455487" y="457923"/>
                  <a:pt x="4455487" y="457923"/>
                  <a:pt x="5371448" y="2044135"/>
                </a:cubicBezTo>
                <a:cubicBezTo>
                  <a:pt x="5437180" y="2158456"/>
                  <a:pt x="5475762" y="2281352"/>
                  <a:pt x="5488622" y="2404248"/>
                </a:cubicBezTo>
                <a:cubicBezTo>
                  <a:pt x="5488622" y="2404248"/>
                  <a:pt x="5488622" y="2404248"/>
                  <a:pt x="5488622" y="2405677"/>
                </a:cubicBezTo>
                <a:cubicBezTo>
                  <a:pt x="5488622" y="2407106"/>
                  <a:pt x="5490051" y="2408535"/>
                  <a:pt x="5490051" y="2411393"/>
                </a:cubicBezTo>
                <a:cubicBezTo>
                  <a:pt x="5490051" y="2411393"/>
                  <a:pt x="5490051" y="2412822"/>
                  <a:pt x="5490051" y="2414251"/>
                </a:cubicBezTo>
                <a:cubicBezTo>
                  <a:pt x="5490051" y="2415680"/>
                  <a:pt x="5490051" y="2417109"/>
                  <a:pt x="5490051" y="2417109"/>
                </a:cubicBezTo>
                <a:cubicBezTo>
                  <a:pt x="5490051" y="2418538"/>
                  <a:pt x="5490051" y="2421396"/>
                  <a:pt x="5490051" y="2422825"/>
                </a:cubicBezTo>
                <a:cubicBezTo>
                  <a:pt x="5490051" y="2422825"/>
                  <a:pt x="5490051" y="2424254"/>
                  <a:pt x="5491480" y="2424254"/>
                </a:cubicBezTo>
                <a:cubicBezTo>
                  <a:pt x="5492909" y="2454263"/>
                  <a:pt x="5494338" y="2485702"/>
                  <a:pt x="5494338" y="2515711"/>
                </a:cubicBezTo>
                <a:cubicBezTo>
                  <a:pt x="5492909" y="2538575"/>
                  <a:pt x="5492909" y="2562869"/>
                  <a:pt x="5490051" y="2585733"/>
                </a:cubicBezTo>
                <a:cubicBezTo>
                  <a:pt x="5490051" y="2587162"/>
                  <a:pt x="5490051" y="2590020"/>
                  <a:pt x="5490051" y="2592878"/>
                </a:cubicBezTo>
                <a:cubicBezTo>
                  <a:pt x="5488622" y="2595736"/>
                  <a:pt x="5488622" y="2597165"/>
                  <a:pt x="5488622" y="2600023"/>
                </a:cubicBezTo>
                <a:cubicBezTo>
                  <a:pt x="5488622" y="2602881"/>
                  <a:pt x="5488622" y="2604310"/>
                  <a:pt x="5487193" y="2607168"/>
                </a:cubicBezTo>
                <a:cubicBezTo>
                  <a:pt x="5487193" y="2607168"/>
                  <a:pt x="5487193" y="2607168"/>
                  <a:pt x="5487193" y="2608597"/>
                </a:cubicBezTo>
                <a:cubicBezTo>
                  <a:pt x="5487193" y="2610026"/>
                  <a:pt x="5487193" y="2611455"/>
                  <a:pt x="5487193" y="2614313"/>
                </a:cubicBezTo>
                <a:cubicBezTo>
                  <a:pt x="5487193" y="2614313"/>
                  <a:pt x="5487193" y="2615742"/>
                  <a:pt x="5487193" y="2615742"/>
                </a:cubicBezTo>
                <a:cubicBezTo>
                  <a:pt x="5487193" y="2617172"/>
                  <a:pt x="5485764" y="2618601"/>
                  <a:pt x="5485764" y="2621459"/>
                </a:cubicBezTo>
                <a:cubicBezTo>
                  <a:pt x="5485764" y="2621459"/>
                  <a:pt x="5485764" y="2622888"/>
                  <a:pt x="5485764" y="2622888"/>
                </a:cubicBezTo>
                <a:cubicBezTo>
                  <a:pt x="5485764" y="2624317"/>
                  <a:pt x="5485764" y="2627175"/>
                  <a:pt x="5485764" y="2628604"/>
                </a:cubicBezTo>
                <a:cubicBezTo>
                  <a:pt x="5484336" y="2628604"/>
                  <a:pt x="5484336" y="2630033"/>
                  <a:pt x="5484336" y="2630033"/>
                </a:cubicBezTo>
                <a:cubicBezTo>
                  <a:pt x="5484336" y="2632891"/>
                  <a:pt x="5484336" y="2634320"/>
                  <a:pt x="5484336" y="2635749"/>
                </a:cubicBezTo>
                <a:cubicBezTo>
                  <a:pt x="5484336" y="2635749"/>
                  <a:pt x="5484336" y="2637178"/>
                  <a:pt x="5484336" y="2638607"/>
                </a:cubicBezTo>
                <a:cubicBezTo>
                  <a:pt x="5482906" y="2640036"/>
                  <a:pt x="5482906" y="2641465"/>
                  <a:pt x="5482906" y="2642894"/>
                </a:cubicBezTo>
                <a:cubicBezTo>
                  <a:pt x="5482906" y="2642894"/>
                  <a:pt x="5482906" y="2644323"/>
                  <a:pt x="5482906" y="2645752"/>
                </a:cubicBezTo>
                <a:cubicBezTo>
                  <a:pt x="5482906" y="2647181"/>
                  <a:pt x="5481478" y="2648610"/>
                  <a:pt x="5481478" y="2650039"/>
                </a:cubicBezTo>
                <a:cubicBezTo>
                  <a:pt x="5481478" y="2650039"/>
                  <a:pt x="5481478" y="2651468"/>
                  <a:pt x="5481478" y="2652897"/>
                </a:cubicBezTo>
                <a:cubicBezTo>
                  <a:pt x="5481478" y="2654326"/>
                  <a:pt x="5481478" y="2655755"/>
                  <a:pt x="5481478" y="2655755"/>
                </a:cubicBezTo>
                <a:cubicBezTo>
                  <a:pt x="5480048" y="2657184"/>
                  <a:pt x="5480048" y="2658613"/>
                  <a:pt x="5480048" y="2660042"/>
                </a:cubicBezTo>
                <a:cubicBezTo>
                  <a:pt x="5480048" y="2661471"/>
                  <a:pt x="5480048" y="2661471"/>
                  <a:pt x="5480048" y="2662900"/>
                </a:cubicBezTo>
                <a:cubicBezTo>
                  <a:pt x="5478620" y="2664329"/>
                  <a:pt x="5478620" y="2665758"/>
                  <a:pt x="5478620" y="2667187"/>
                </a:cubicBezTo>
                <a:cubicBezTo>
                  <a:pt x="5478620" y="2668616"/>
                  <a:pt x="5478620" y="2668616"/>
                  <a:pt x="5478620" y="2668616"/>
                </a:cubicBezTo>
                <a:cubicBezTo>
                  <a:pt x="5458614" y="2775793"/>
                  <a:pt x="5420033" y="2880111"/>
                  <a:pt x="5362874" y="2974426"/>
                </a:cubicBezTo>
                <a:cubicBezTo>
                  <a:pt x="4915611" y="3748955"/>
                  <a:pt x="4909895" y="3757529"/>
                  <a:pt x="4462632" y="4532058"/>
                </a:cubicBezTo>
                <a:cubicBezTo>
                  <a:pt x="4385468" y="4673531"/>
                  <a:pt x="4269722" y="4794998"/>
                  <a:pt x="4121111" y="4880739"/>
                </a:cubicBezTo>
                <a:cubicBezTo>
                  <a:pt x="3885333" y="5016496"/>
                  <a:pt x="3615260" y="5036502"/>
                  <a:pt x="3376624" y="4957906"/>
                </a:cubicBezTo>
                <a:cubicBezTo>
                  <a:pt x="3370909" y="4955048"/>
                  <a:pt x="3363764" y="4953619"/>
                  <a:pt x="3358048" y="4950761"/>
                </a:cubicBezTo>
                <a:cubicBezTo>
                  <a:pt x="3356619" y="4950761"/>
                  <a:pt x="3356619" y="4950761"/>
                  <a:pt x="3355190" y="4950761"/>
                </a:cubicBezTo>
                <a:cubicBezTo>
                  <a:pt x="3353761" y="4949332"/>
                  <a:pt x="3350903" y="4949332"/>
                  <a:pt x="3349474" y="4947903"/>
                </a:cubicBezTo>
                <a:cubicBezTo>
                  <a:pt x="3349474" y="4947903"/>
                  <a:pt x="3349474" y="4947903"/>
                  <a:pt x="3348045" y="4947903"/>
                </a:cubicBezTo>
                <a:cubicBezTo>
                  <a:pt x="3345187" y="4946474"/>
                  <a:pt x="3340901" y="4945045"/>
                  <a:pt x="3338043" y="4943616"/>
                </a:cubicBezTo>
                <a:cubicBezTo>
                  <a:pt x="3336614" y="4943616"/>
                  <a:pt x="3335185" y="4943616"/>
                  <a:pt x="3335185" y="4942187"/>
                </a:cubicBezTo>
                <a:cubicBezTo>
                  <a:pt x="3332327" y="4942187"/>
                  <a:pt x="3330898" y="4940758"/>
                  <a:pt x="3329469" y="4940758"/>
                </a:cubicBezTo>
                <a:cubicBezTo>
                  <a:pt x="3328040" y="4940758"/>
                  <a:pt x="3326611" y="4939329"/>
                  <a:pt x="3325182" y="4939329"/>
                </a:cubicBezTo>
                <a:cubicBezTo>
                  <a:pt x="3322324" y="4937900"/>
                  <a:pt x="3320895" y="4937900"/>
                  <a:pt x="3318037" y="4936471"/>
                </a:cubicBezTo>
                <a:cubicBezTo>
                  <a:pt x="3316608" y="4935042"/>
                  <a:pt x="3315179" y="4935042"/>
                  <a:pt x="3313750" y="4935042"/>
                </a:cubicBezTo>
                <a:cubicBezTo>
                  <a:pt x="3312321" y="4933613"/>
                  <a:pt x="3310892" y="4933613"/>
                  <a:pt x="3309464" y="4932184"/>
                </a:cubicBezTo>
                <a:cubicBezTo>
                  <a:pt x="3306606" y="4932184"/>
                  <a:pt x="3305177" y="4930755"/>
                  <a:pt x="3302319" y="4929326"/>
                </a:cubicBezTo>
                <a:cubicBezTo>
                  <a:pt x="3300890" y="4929326"/>
                  <a:pt x="3299461" y="4929326"/>
                  <a:pt x="3299461" y="4927897"/>
                </a:cubicBezTo>
                <a:cubicBezTo>
                  <a:pt x="3296603" y="4927897"/>
                  <a:pt x="3295174" y="4926468"/>
                  <a:pt x="3292316" y="4925039"/>
                </a:cubicBezTo>
                <a:cubicBezTo>
                  <a:pt x="3292316" y="4925039"/>
                  <a:pt x="3290887" y="4925039"/>
                  <a:pt x="3289458" y="4923610"/>
                </a:cubicBezTo>
                <a:cubicBezTo>
                  <a:pt x="3286600" y="4923610"/>
                  <a:pt x="3283742" y="4922181"/>
                  <a:pt x="3282313" y="4920752"/>
                </a:cubicBezTo>
                <a:cubicBezTo>
                  <a:pt x="3280884" y="4920752"/>
                  <a:pt x="3280884" y="4919323"/>
                  <a:pt x="3279455" y="4919323"/>
                </a:cubicBezTo>
                <a:cubicBezTo>
                  <a:pt x="3276598" y="4917894"/>
                  <a:pt x="3275169" y="4917894"/>
                  <a:pt x="3272311" y="4916465"/>
                </a:cubicBezTo>
                <a:cubicBezTo>
                  <a:pt x="3270882" y="4916465"/>
                  <a:pt x="3270882" y="4915036"/>
                  <a:pt x="3270882" y="4915036"/>
                </a:cubicBezTo>
                <a:cubicBezTo>
                  <a:pt x="3266595" y="4913607"/>
                  <a:pt x="3263737" y="4912178"/>
                  <a:pt x="3260879" y="4910749"/>
                </a:cubicBezTo>
                <a:cubicBezTo>
                  <a:pt x="3258021" y="4909319"/>
                  <a:pt x="3253734" y="4907890"/>
                  <a:pt x="3250876" y="4906461"/>
                </a:cubicBezTo>
                <a:cubicBezTo>
                  <a:pt x="3248018" y="4903603"/>
                  <a:pt x="3245160" y="4902174"/>
                  <a:pt x="3240874" y="4900745"/>
                </a:cubicBezTo>
                <a:cubicBezTo>
                  <a:pt x="3233729" y="4896458"/>
                  <a:pt x="3225155" y="4892171"/>
                  <a:pt x="3216581" y="4887884"/>
                </a:cubicBezTo>
                <a:cubicBezTo>
                  <a:pt x="3189431" y="4872165"/>
                  <a:pt x="3163710" y="4856446"/>
                  <a:pt x="3137989" y="4839298"/>
                </a:cubicBezTo>
                <a:cubicBezTo>
                  <a:pt x="3137989" y="4837868"/>
                  <a:pt x="3136560" y="4837868"/>
                  <a:pt x="3135131" y="4836439"/>
                </a:cubicBezTo>
                <a:cubicBezTo>
                  <a:pt x="3133702" y="4835010"/>
                  <a:pt x="3130844" y="4833581"/>
                  <a:pt x="3129415" y="4832152"/>
                </a:cubicBezTo>
                <a:cubicBezTo>
                  <a:pt x="3129415" y="4832152"/>
                  <a:pt x="3127986" y="4832152"/>
                  <a:pt x="3127986" y="4830723"/>
                </a:cubicBezTo>
                <a:cubicBezTo>
                  <a:pt x="3125128" y="4829294"/>
                  <a:pt x="3122270" y="4827865"/>
                  <a:pt x="3119412" y="4825007"/>
                </a:cubicBezTo>
                <a:cubicBezTo>
                  <a:pt x="3119412" y="4825007"/>
                  <a:pt x="3119412" y="4825007"/>
                  <a:pt x="3117983" y="4825007"/>
                </a:cubicBezTo>
                <a:cubicBezTo>
                  <a:pt x="3019385" y="4752127"/>
                  <a:pt x="2935077" y="4657812"/>
                  <a:pt x="2869345" y="4544919"/>
                </a:cubicBezTo>
                <a:cubicBezTo>
                  <a:pt x="2797897" y="4422024"/>
                  <a:pt x="2759315" y="4289125"/>
                  <a:pt x="2749313" y="4154797"/>
                </a:cubicBezTo>
                <a:cubicBezTo>
                  <a:pt x="2749313" y="4153368"/>
                  <a:pt x="2749313" y="4150510"/>
                  <a:pt x="2749313" y="4149081"/>
                </a:cubicBezTo>
                <a:cubicBezTo>
                  <a:pt x="2749313" y="4147652"/>
                  <a:pt x="2749313" y="4147652"/>
                  <a:pt x="2749313" y="4146223"/>
                </a:cubicBezTo>
                <a:cubicBezTo>
                  <a:pt x="2747884" y="4144794"/>
                  <a:pt x="2747884" y="4143365"/>
                  <a:pt x="2747884" y="4141936"/>
                </a:cubicBezTo>
                <a:cubicBezTo>
                  <a:pt x="2747884" y="4140507"/>
                  <a:pt x="2747884" y="4139078"/>
                  <a:pt x="2747884" y="4137649"/>
                </a:cubicBezTo>
                <a:cubicBezTo>
                  <a:pt x="2747884" y="4137649"/>
                  <a:pt x="2747884" y="4137649"/>
                  <a:pt x="2747884" y="4136220"/>
                </a:cubicBezTo>
                <a:cubicBezTo>
                  <a:pt x="2746455" y="4116213"/>
                  <a:pt x="2746455" y="4094778"/>
                  <a:pt x="2746455" y="4074772"/>
                </a:cubicBezTo>
                <a:cubicBezTo>
                  <a:pt x="2746455" y="4073343"/>
                  <a:pt x="2746455" y="4073343"/>
                  <a:pt x="2746455" y="4073343"/>
                </a:cubicBezTo>
                <a:cubicBezTo>
                  <a:pt x="2745026" y="3921867"/>
                  <a:pt x="2705015" y="3770391"/>
                  <a:pt x="2623564" y="3630347"/>
                </a:cubicBezTo>
                <a:cubicBezTo>
                  <a:pt x="2543543" y="3490303"/>
                  <a:pt x="2430655" y="3378839"/>
                  <a:pt x="2302049" y="3301672"/>
                </a:cubicBezTo>
                <a:cubicBezTo>
                  <a:pt x="2293475" y="3297385"/>
                  <a:pt x="2284902" y="3291669"/>
                  <a:pt x="2276328" y="3287382"/>
                </a:cubicBezTo>
                <a:cubicBezTo>
                  <a:pt x="2004826" y="3137335"/>
                  <a:pt x="1663306" y="3127332"/>
                  <a:pt x="1376085" y="3293098"/>
                </a:cubicBezTo>
                <a:cubicBezTo>
                  <a:pt x="1374656" y="3294527"/>
                  <a:pt x="1374656" y="3294527"/>
                  <a:pt x="1373227" y="3294527"/>
                </a:cubicBezTo>
                <a:cubicBezTo>
                  <a:pt x="1357509" y="3304530"/>
                  <a:pt x="1341790" y="3311675"/>
                  <a:pt x="1326072" y="3320249"/>
                </a:cubicBezTo>
                <a:cubicBezTo>
                  <a:pt x="1318927" y="3324536"/>
                  <a:pt x="1311782" y="3327394"/>
                  <a:pt x="1304638" y="3330252"/>
                </a:cubicBezTo>
                <a:cubicBezTo>
                  <a:pt x="1297493" y="3334539"/>
                  <a:pt x="1291777" y="3337398"/>
                  <a:pt x="1283203" y="3340256"/>
                </a:cubicBezTo>
                <a:cubicBezTo>
                  <a:pt x="1277487" y="3343114"/>
                  <a:pt x="1270343" y="3345972"/>
                  <a:pt x="1263198" y="3348830"/>
                </a:cubicBezTo>
                <a:cubicBezTo>
                  <a:pt x="1256053" y="3351688"/>
                  <a:pt x="1248908" y="3354546"/>
                  <a:pt x="1241763" y="3357404"/>
                </a:cubicBezTo>
                <a:cubicBezTo>
                  <a:pt x="1234619" y="3360262"/>
                  <a:pt x="1227474" y="3363120"/>
                  <a:pt x="1220329" y="3365978"/>
                </a:cubicBezTo>
                <a:cubicBezTo>
                  <a:pt x="1213184" y="3367407"/>
                  <a:pt x="1206040" y="3370265"/>
                  <a:pt x="1198895" y="3373123"/>
                </a:cubicBezTo>
                <a:cubicBezTo>
                  <a:pt x="1087436" y="3408849"/>
                  <a:pt x="971691" y="3423139"/>
                  <a:pt x="857374" y="3415994"/>
                </a:cubicBezTo>
                <a:cubicBezTo>
                  <a:pt x="850229" y="3414565"/>
                  <a:pt x="843085" y="3414565"/>
                  <a:pt x="834511" y="3414565"/>
                </a:cubicBezTo>
                <a:cubicBezTo>
                  <a:pt x="828795" y="3413136"/>
                  <a:pt x="821650" y="3413136"/>
                  <a:pt x="814505" y="3411707"/>
                </a:cubicBezTo>
                <a:cubicBezTo>
                  <a:pt x="814505" y="3411707"/>
                  <a:pt x="813076" y="3411707"/>
                  <a:pt x="813076" y="3411707"/>
                </a:cubicBezTo>
                <a:cubicBezTo>
                  <a:pt x="805932" y="3410278"/>
                  <a:pt x="800216" y="3410278"/>
                  <a:pt x="793071" y="3408849"/>
                </a:cubicBezTo>
                <a:cubicBezTo>
                  <a:pt x="793071" y="3408849"/>
                  <a:pt x="793071" y="3408849"/>
                  <a:pt x="791642" y="3408849"/>
                </a:cubicBezTo>
                <a:cubicBezTo>
                  <a:pt x="787355" y="3408849"/>
                  <a:pt x="783068" y="3407419"/>
                  <a:pt x="778782" y="3407419"/>
                </a:cubicBezTo>
                <a:cubicBezTo>
                  <a:pt x="778782" y="3407419"/>
                  <a:pt x="778782" y="3407419"/>
                  <a:pt x="777353" y="3407419"/>
                </a:cubicBezTo>
                <a:cubicBezTo>
                  <a:pt x="775924" y="3407419"/>
                  <a:pt x="774495" y="3405990"/>
                  <a:pt x="771637" y="3405990"/>
                </a:cubicBezTo>
                <a:cubicBezTo>
                  <a:pt x="771637" y="3405990"/>
                  <a:pt x="770208" y="3405990"/>
                  <a:pt x="768779" y="3405990"/>
                </a:cubicBezTo>
                <a:cubicBezTo>
                  <a:pt x="765921" y="3404561"/>
                  <a:pt x="763063" y="3404561"/>
                  <a:pt x="760205" y="3404561"/>
                </a:cubicBezTo>
                <a:cubicBezTo>
                  <a:pt x="758776" y="3404561"/>
                  <a:pt x="757347" y="3403132"/>
                  <a:pt x="755918" y="3403132"/>
                </a:cubicBezTo>
                <a:cubicBezTo>
                  <a:pt x="754489" y="3403132"/>
                  <a:pt x="753060" y="3403132"/>
                  <a:pt x="751631" y="3403132"/>
                </a:cubicBezTo>
                <a:cubicBezTo>
                  <a:pt x="748774" y="3401703"/>
                  <a:pt x="747344" y="3401703"/>
                  <a:pt x="745915" y="3401703"/>
                </a:cubicBezTo>
                <a:cubicBezTo>
                  <a:pt x="744487" y="3401703"/>
                  <a:pt x="741629" y="3400274"/>
                  <a:pt x="740200" y="3400274"/>
                </a:cubicBezTo>
                <a:cubicBezTo>
                  <a:pt x="738771" y="3400274"/>
                  <a:pt x="735913" y="3400274"/>
                  <a:pt x="734484" y="3398845"/>
                </a:cubicBezTo>
                <a:cubicBezTo>
                  <a:pt x="733055" y="3398845"/>
                  <a:pt x="731626" y="3398845"/>
                  <a:pt x="730197" y="3398845"/>
                </a:cubicBezTo>
                <a:cubicBezTo>
                  <a:pt x="727339" y="3397416"/>
                  <a:pt x="725910" y="3397416"/>
                  <a:pt x="724481" y="3397416"/>
                </a:cubicBezTo>
                <a:cubicBezTo>
                  <a:pt x="723052" y="3397416"/>
                  <a:pt x="721623" y="3395987"/>
                  <a:pt x="720194" y="3395987"/>
                </a:cubicBezTo>
                <a:cubicBezTo>
                  <a:pt x="717336" y="3395987"/>
                  <a:pt x="714478" y="3394558"/>
                  <a:pt x="711621" y="3394558"/>
                </a:cubicBezTo>
                <a:cubicBezTo>
                  <a:pt x="711621" y="3394558"/>
                  <a:pt x="710192" y="3394558"/>
                  <a:pt x="708763" y="3393129"/>
                </a:cubicBezTo>
                <a:cubicBezTo>
                  <a:pt x="705905" y="3393129"/>
                  <a:pt x="704476" y="3393129"/>
                  <a:pt x="701618" y="3391700"/>
                </a:cubicBezTo>
                <a:cubicBezTo>
                  <a:pt x="700189" y="3391700"/>
                  <a:pt x="700189" y="3391700"/>
                  <a:pt x="700189" y="3391700"/>
                </a:cubicBezTo>
                <a:cubicBezTo>
                  <a:pt x="695902" y="3390271"/>
                  <a:pt x="693044" y="3390271"/>
                  <a:pt x="690186" y="3388842"/>
                </a:cubicBezTo>
                <a:cubicBezTo>
                  <a:pt x="690186" y="3388842"/>
                  <a:pt x="688757" y="3388842"/>
                  <a:pt x="688757" y="3388842"/>
                </a:cubicBezTo>
                <a:cubicBezTo>
                  <a:pt x="681612" y="3387413"/>
                  <a:pt x="675897" y="3385984"/>
                  <a:pt x="668752" y="3383126"/>
                </a:cubicBezTo>
                <a:cubicBezTo>
                  <a:pt x="668752" y="3383126"/>
                  <a:pt x="667323" y="3383126"/>
                  <a:pt x="667323" y="3383126"/>
                </a:cubicBezTo>
                <a:cubicBezTo>
                  <a:pt x="660178" y="3381697"/>
                  <a:pt x="654462" y="3378839"/>
                  <a:pt x="647317" y="3377410"/>
                </a:cubicBezTo>
                <a:cubicBezTo>
                  <a:pt x="585872" y="3358833"/>
                  <a:pt x="525856" y="3333110"/>
                  <a:pt x="470127" y="3301672"/>
                </a:cubicBezTo>
                <a:cubicBezTo>
                  <a:pt x="470127" y="3301672"/>
                  <a:pt x="470127" y="3301672"/>
                  <a:pt x="468698" y="3301672"/>
                </a:cubicBezTo>
                <a:cubicBezTo>
                  <a:pt x="457266" y="3294527"/>
                  <a:pt x="445835" y="3287382"/>
                  <a:pt x="432974" y="3280237"/>
                </a:cubicBezTo>
                <a:cubicBezTo>
                  <a:pt x="432974" y="3280237"/>
                  <a:pt x="432974" y="3280237"/>
                  <a:pt x="431545" y="3278808"/>
                </a:cubicBezTo>
                <a:cubicBezTo>
                  <a:pt x="430116" y="3277379"/>
                  <a:pt x="427258" y="3275950"/>
                  <a:pt x="424400" y="3274521"/>
                </a:cubicBezTo>
                <a:cubicBezTo>
                  <a:pt x="422972" y="3273092"/>
                  <a:pt x="421542" y="3273092"/>
                  <a:pt x="418684" y="3271663"/>
                </a:cubicBezTo>
                <a:cubicBezTo>
                  <a:pt x="418684" y="3270234"/>
                  <a:pt x="417255" y="3270234"/>
                  <a:pt x="417255" y="3270234"/>
                </a:cubicBezTo>
                <a:cubicBezTo>
                  <a:pt x="298652" y="3193067"/>
                  <a:pt x="197196" y="3088748"/>
                  <a:pt x="122891" y="2960136"/>
                </a:cubicBezTo>
                <a:cubicBezTo>
                  <a:pt x="42869" y="2820092"/>
                  <a:pt x="2858" y="2668616"/>
                  <a:pt x="0" y="2517140"/>
                </a:cubicBezTo>
                <a:cubicBezTo>
                  <a:pt x="0" y="2508566"/>
                  <a:pt x="0" y="2498563"/>
                  <a:pt x="0" y="2488560"/>
                </a:cubicBezTo>
                <a:cubicBezTo>
                  <a:pt x="0" y="2488560"/>
                  <a:pt x="0" y="2487131"/>
                  <a:pt x="0" y="2487131"/>
                </a:cubicBezTo>
                <a:cubicBezTo>
                  <a:pt x="2858" y="2325651"/>
                  <a:pt x="48585" y="2167030"/>
                  <a:pt x="131464" y="2028415"/>
                </a:cubicBezTo>
                <a:cubicBezTo>
                  <a:pt x="577299" y="1255316"/>
                  <a:pt x="583014" y="1245313"/>
                  <a:pt x="1030278" y="470784"/>
                </a:cubicBezTo>
                <a:cubicBezTo>
                  <a:pt x="1031707" y="470784"/>
                  <a:pt x="1031707" y="469355"/>
                  <a:pt x="1033136" y="467926"/>
                </a:cubicBezTo>
                <a:cubicBezTo>
                  <a:pt x="1033136" y="466497"/>
                  <a:pt x="1034565" y="465068"/>
                  <a:pt x="1034565" y="465068"/>
                </a:cubicBezTo>
                <a:cubicBezTo>
                  <a:pt x="1035994" y="462210"/>
                  <a:pt x="1037423" y="459352"/>
                  <a:pt x="1038852" y="456494"/>
                </a:cubicBezTo>
                <a:cubicBezTo>
                  <a:pt x="1038852" y="456494"/>
                  <a:pt x="1040281" y="455065"/>
                  <a:pt x="1040281" y="453635"/>
                </a:cubicBezTo>
                <a:cubicBezTo>
                  <a:pt x="1041709" y="452206"/>
                  <a:pt x="1043138" y="450777"/>
                  <a:pt x="1043138" y="447919"/>
                </a:cubicBezTo>
                <a:cubicBezTo>
                  <a:pt x="1044567" y="447919"/>
                  <a:pt x="1044567" y="446490"/>
                  <a:pt x="1045996" y="445061"/>
                </a:cubicBezTo>
                <a:cubicBezTo>
                  <a:pt x="1047425" y="443632"/>
                  <a:pt x="1048854" y="440774"/>
                  <a:pt x="1050283" y="437916"/>
                </a:cubicBezTo>
                <a:cubicBezTo>
                  <a:pt x="1050283" y="436487"/>
                  <a:pt x="1051712" y="436487"/>
                  <a:pt x="1051712" y="435058"/>
                </a:cubicBezTo>
                <a:cubicBezTo>
                  <a:pt x="1053141" y="433629"/>
                  <a:pt x="1054570" y="430771"/>
                  <a:pt x="1054570" y="429342"/>
                </a:cubicBezTo>
                <a:cubicBezTo>
                  <a:pt x="1055999" y="427913"/>
                  <a:pt x="1055999" y="427913"/>
                  <a:pt x="1057428" y="426484"/>
                </a:cubicBezTo>
                <a:cubicBezTo>
                  <a:pt x="1058857" y="423626"/>
                  <a:pt x="1060286" y="422197"/>
                  <a:pt x="1061715" y="419339"/>
                </a:cubicBezTo>
                <a:cubicBezTo>
                  <a:pt x="1061715" y="417910"/>
                  <a:pt x="1063144" y="417910"/>
                  <a:pt x="1063144" y="416481"/>
                </a:cubicBezTo>
                <a:cubicBezTo>
                  <a:pt x="1064573" y="413623"/>
                  <a:pt x="1066002" y="412194"/>
                  <a:pt x="1067431" y="410765"/>
                </a:cubicBezTo>
                <a:cubicBezTo>
                  <a:pt x="1067431" y="409336"/>
                  <a:pt x="1068860" y="409336"/>
                  <a:pt x="1068860" y="407907"/>
                </a:cubicBezTo>
                <a:cubicBezTo>
                  <a:pt x="1070289" y="405049"/>
                  <a:pt x="1071718" y="403620"/>
                  <a:pt x="1074576" y="400762"/>
                </a:cubicBezTo>
                <a:cubicBezTo>
                  <a:pt x="1074576" y="399333"/>
                  <a:pt x="1074576" y="399333"/>
                  <a:pt x="1076004" y="397904"/>
                </a:cubicBezTo>
                <a:cubicBezTo>
                  <a:pt x="1077433" y="396475"/>
                  <a:pt x="1078863" y="393617"/>
                  <a:pt x="1080291" y="392188"/>
                </a:cubicBezTo>
                <a:cubicBezTo>
                  <a:pt x="1080291" y="390759"/>
                  <a:pt x="1081720" y="390759"/>
                  <a:pt x="1081720" y="389330"/>
                </a:cubicBezTo>
                <a:cubicBezTo>
                  <a:pt x="1083149" y="387901"/>
                  <a:pt x="1084578" y="385043"/>
                  <a:pt x="1087436" y="382185"/>
                </a:cubicBezTo>
                <a:cubicBezTo>
                  <a:pt x="1087436" y="382185"/>
                  <a:pt x="1087436" y="380755"/>
                  <a:pt x="1088865" y="379326"/>
                </a:cubicBezTo>
                <a:cubicBezTo>
                  <a:pt x="1090294" y="377897"/>
                  <a:pt x="1091723" y="375039"/>
                  <a:pt x="1093152" y="373610"/>
                </a:cubicBezTo>
                <a:cubicBezTo>
                  <a:pt x="1094581" y="372181"/>
                  <a:pt x="1094581" y="372181"/>
                  <a:pt x="1094581" y="372181"/>
                </a:cubicBezTo>
                <a:cubicBezTo>
                  <a:pt x="1096010" y="369323"/>
                  <a:pt x="1098868" y="366465"/>
                  <a:pt x="1100297" y="365036"/>
                </a:cubicBezTo>
                <a:cubicBezTo>
                  <a:pt x="1100297" y="363607"/>
                  <a:pt x="1101726" y="363607"/>
                  <a:pt x="1101726" y="362178"/>
                </a:cubicBezTo>
                <a:cubicBezTo>
                  <a:pt x="1103155" y="359320"/>
                  <a:pt x="1106013" y="356462"/>
                  <a:pt x="1107442" y="353604"/>
                </a:cubicBezTo>
                <a:cubicBezTo>
                  <a:pt x="1110299" y="352175"/>
                  <a:pt x="1111728" y="349317"/>
                  <a:pt x="1113157" y="346459"/>
                </a:cubicBezTo>
                <a:cubicBezTo>
                  <a:pt x="1114586" y="346459"/>
                  <a:pt x="1114586" y="345030"/>
                  <a:pt x="1114586" y="345030"/>
                </a:cubicBezTo>
                <a:cubicBezTo>
                  <a:pt x="1118873" y="339314"/>
                  <a:pt x="1123160" y="333598"/>
                  <a:pt x="1127447" y="329311"/>
                </a:cubicBezTo>
                <a:cubicBezTo>
                  <a:pt x="1128876" y="329311"/>
                  <a:pt x="1128876" y="327882"/>
                  <a:pt x="1128876" y="327882"/>
                </a:cubicBezTo>
                <a:cubicBezTo>
                  <a:pt x="1133163" y="322166"/>
                  <a:pt x="1137450" y="316450"/>
                  <a:pt x="1143165" y="312163"/>
                </a:cubicBezTo>
                <a:cubicBezTo>
                  <a:pt x="1143165" y="312163"/>
                  <a:pt x="1143165" y="310734"/>
                  <a:pt x="1143165" y="310734"/>
                </a:cubicBezTo>
                <a:cubicBezTo>
                  <a:pt x="1148881" y="305017"/>
                  <a:pt x="1153168" y="300730"/>
                  <a:pt x="1157455" y="295014"/>
                </a:cubicBezTo>
                <a:cubicBezTo>
                  <a:pt x="1157455" y="295014"/>
                  <a:pt x="1158884" y="295014"/>
                  <a:pt x="1158884" y="293585"/>
                </a:cubicBezTo>
                <a:cubicBezTo>
                  <a:pt x="1163171" y="289298"/>
                  <a:pt x="1168887" y="283582"/>
                  <a:pt x="1173174" y="277866"/>
                </a:cubicBezTo>
                <a:cubicBezTo>
                  <a:pt x="1231761" y="219276"/>
                  <a:pt x="1298922" y="166403"/>
                  <a:pt x="1373227" y="122103"/>
                </a:cubicBezTo>
                <a:cubicBezTo>
                  <a:pt x="1427528" y="90664"/>
                  <a:pt x="1484686" y="66371"/>
                  <a:pt x="1543273" y="46365"/>
                </a:cubicBezTo>
                <a:cubicBezTo>
                  <a:pt x="1546131" y="44936"/>
                  <a:pt x="1548989" y="44936"/>
                  <a:pt x="1553276" y="43507"/>
                </a:cubicBezTo>
                <a:cubicBezTo>
                  <a:pt x="1557563" y="42078"/>
                  <a:pt x="1560421" y="40649"/>
                  <a:pt x="1563279" y="39220"/>
                </a:cubicBezTo>
                <a:cubicBezTo>
                  <a:pt x="1564708" y="39220"/>
                  <a:pt x="1564708" y="39220"/>
                  <a:pt x="1564708" y="39220"/>
                </a:cubicBezTo>
                <a:cubicBezTo>
                  <a:pt x="1567566" y="39220"/>
                  <a:pt x="1571852" y="37791"/>
                  <a:pt x="1574710" y="36362"/>
                </a:cubicBezTo>
                <a:cubicBezTo>
                  <a:pt x="1574710" y="36362"/>
                  <a:pt x="1574710" y="36362"/>
                  <a:pt x="1576139" y="36362"/>
                </a:cubicBezTo>
                <a:cubicBezTo>
                  <a:pt x="1578997" y="34933"/>
                  <a:pt x="1581855" y="34933"/>
                  <a:pt x="1584713" y="33504"/>
                </a:cubicBezTo>
                <a:cubicBezTo>
                  <a:pt x="1586142" y="33504"/>
                  <a:pt x="1586142" y="33504"/>
                  <a:pt x="1587571" y="33504"/>
                </a:cubicBezTo>
                <a:cubicBezTo>
                  <a:pt x="1590429" y="32075"/>
                  <a:pt x="1593287" y="32075"/>
                  <a:pt x="1596145" y="30646"/>
                </a:cubicBezTo>
                <a:cubicBezTo>
                  <a:pt x="1596145" y="30646"/>
                  <a:pt x="1597574" y="30646"/>
                  <a:pt x="1597574" y="30646"/>
                </a:cubicBezTo>
                <a:cubicBezTo>
                  <a:pt x="1600432" y="29217"/>
                  <a:pt x="1603289" y="29217"/>
                  <a:pt x="1607576" y="27788"/>
                </a:cubicBezTo>
                <a:cubicBezTo>
                  <a:pt x="1607576" y="27788"/>
                  <a:pt x="1609005" y="27788"/>
                  <a:pt x="1609005" y="27788"/>
                </a:cubicBezTo>
                <a:cubicBezTo>
                  <a:pt x="1611863" y="26359"/>
                  <a:pt x="1614721" y="26359"/>
                  <a:pt x="1617579" y="24930"/>
                </a:cubicBezTo>
                <a:cubicBezTo>
                  <a:pt x="1617579" y="24930"/>
                  <a:pt x="1619008" y="24930"/>
                  <a:pt x="1619008" y="24930"/>
                </a:cubicBezTo>
                <a:cubicBezTo>
                  <a:pt x="1621866" y="23501"/>
                  <a:pt x="1624724" y="23501"/>
                  <a:pt x="1629011" y="22072"/>
                </a:cubicBezTo>
                <a:cubicBezTo>
                  <a:pt x="1629011" y="22072"/>
                  <a:pt x="1630440" y="22072"/>
                  <a:pt x="1631869" y="22072"/>
                </a:cubicBezTo>
                <a:cubicBezTo>
                  <a:pt x="1633298" y="22072"/>
                  <a:pt x="1634727" y="20643"/>
                  <a:pt x="1636155" y="20643"/>
                </a:cubicBezTo>
                <a:cubicBezTo>
                  <a:pt x="1636155" y="20643"/>
                  <a:pt x="1637584" y="20643"/>
                  <a:pt x="1639013" y="20643"/>
                </a:cubicBezTo>
                <a:cubicBezTo>
                  <a:pt x="1639013" y="20643"/>
                  <a:pt x="1640442" y="19213"/>
                  <a:pt x="1641871" y="19213"/>
                </a:cubicBezTo>
                <a:cubicBezTo>
                  <a:pt x="1641871" y="19213"/>
                  <a:pt x="1641871" y="19213"/>
                  <a:pt x="1643300" y="19213"/>
                </a:cubicBezTo>
                <a:cubicBezTo>
                  <a:pt x="1644729" y="19213"/>
                  <a:pt x="1647587" y="17784"/>
                  <a:pt x="1650445" y="17784"/>
                </a:cubicBezTo>
                <a:cubicBezTo>
                  <a:pt x="1651874" y="17784"/>
                  <a:pt x="1653303" y="17784"/>
                  <a:pt x="1654732" y="17784"/>
                </a:cubicBezTo>
                <a:cubicBezTo>
                  <a:pt x="1654732" y="16355"/>
                  <a:pt x="1656161" y="16355"/>
                  <a:pt x="1657590" y="16355"/>
                </a:cubicBezTo>
                <a:cubicBezTo>
                  <a:pt x="1657590" y="16355"/>
                  <a:pt x="1659019" y="16355"/>
                  <a:pt x="1660448" y="16355"/>
                </a:cubicBezTo>
                <a:cubicBezTo>
                  <a:pt x="1661877" y="16355"/>
                  <a:pt x="1663306" y="14926"/>
                  <a:pt x="1664735" y="14926"/>
                </a:cubicBezTo>
                <a:cubicBezTo>
                  <a:pt x="1666164" y="14926"/>
                  <a:pt x="1666164" y="14926"/>
                  <a:pt x="1666164" y="14926"/>
                </a:cubicBezTo>
                <a:cubicBezTo>
                  <a:pt x="1669021" y="14926"/>
                  <a:pt x="1670450" y="13497"/>
                  <a:pt x="1671879" y="13497"/>
                </a:cubicBezTo>
                <a:cubicBezTo>
                  <a:pt x="1673308" y="13497"/>
                  <a:pt x="1674737" y="13497"/>
                  <a:pt x="1676166" y="13497"/>
                </a:cubicBezTo>
                <a:cubicBezTo>
                  <a:pt x="1677595" y="13497"/>
                  <a:pt x="1679024" y="12068"/>
                  <a:pt x="1679024" y="12068"/>
                </a:cubicBezTo>
                <a:cubicBezTo>
                  <a:pt x="1680453" y="12068"/>
                  <a:pt x="1680453" y="12068"/>
                  <a:pt x="1681882" y="12068"/>
                </a:cubicBezTo>
                <a:cubicBezTo>
                  <a:pt x="1683311" y="12068"/>
                  <a:pt x="1686169" y="12068"/>
                  <a:pt x="1687598" y="10639"/>
                </a:cubicBezTo>
                <a:cubicBezTo>
                  <a:pt x="1687598" y="10639"/>
                  <a:pt x="1689027" y="10639"/>
                  <a:pt x="1689027" y="10639"/>
                </a:cubicBezTo>
                <a:cubicBezTo>
                  <a:pt x="1690456" y="10639"/>
                  <a:pt x="1691885" y="10639"/>
                  <a:pt x="1693314" y="10639"/>
                </a:cubicBezTo>
                <a:cubicBezTo>
                  <a:pt x="1694743" y="10639"/>
                  <a:pt x="1697601" y="9210"/>
                  <a:pt x="1699030" y="9210"/>
                </a:cubicBezTo>
                <a:cubicBezTo>
                  <a:pt x="1700459" y="9210"/>
                  <a:pt x="1700459" y="9210"/>
                  <a:pt x="1701887" y="9210"/>
                </a:cubicBezTo>
                <a:cubicBezTo>
                  <a:pt x="1701887" y="9210"/>
                  <a:pt x="1703316" y="9210"/>
                  <a:pt x="1703316" y="9210"/>
                </a:cubicBezTo>
                <a:cubicBezTo>
                  <a:pt x="1706174" y="9210"/>
                  <a:pt x="1707603" y="7781"/>
                  <a:pt x="1710461" y="7781"/>
                </a:cubicBezTo>
                <a:cubicBezTo>
                  <a:pt x="1710461" y="7781"/>
                  <a:pt x="1711890" y="7781"/>
                  <a:pt x="1711890" y="7781"/>
                </a:cubicBezTo>
                <a:cubicBezTo>
                  <a:pt x="1711890" y="7781"/>
                  <a:pt x="1711890" y="7781"/>
                  <a:pt x="1713319" y="7781"/>
                </a:cubicBezTo>
                <a:cubicBezTo>
                  <a:pt x="1713319" y="7781"/>
                  <a:pt x="1714748" y="7781"/>
                  <a:pt x="1714748" y="7781"/>
                </a:cubicBezTo>
                <a:cubicBezTo>
                  <a:pt x="1717606" y="6352"/>
                  <a:pt x="1719035" y="6352"/>
                  <a:pt x="1721893" y="6352"/>
                </a:cubicBezTo>
                <a:cubicBezTo>
                  <a:pt x="1721893" y="6352"/>
                  <a:pt x="1721893" y="6352"/>
                  <a:pt x="1723322" y="6352"/>
                </a:cubicBezTo>
                <a:cubicBezTo>
                  <a:pt x="1723322" y="6352"/>
                  <a:pt x="1724751" y="6352"/>
                  <a:pt x="1724751" y="6352"/>
                </a:cubicBezTo>
                <a:cubicBezTo>
                  <a:pt x="1724751" y="6352"/>
                  <a:pt x="1724751" y="6352"/>
                  <a:pt x="1726180" y="6352"/>
                </a:cubicBezTo>
                <a:cubicBezTo>
                  <a:pt x="1727609" y="6352"/>
                  <a:pt x="1730467" y="4923"/>
                  <a:pt x="1733325" y="4923"/>
                </a:cubicBezTo>
                <a:cubicBezTo>
                  <a:pt x="1733325" y="4923"/>
                  <a:pt x="1733325" y="4923"/>
                  <a:pt x="1734753" y="4923"/>
                </a:cubicBezTo>
                <a:cubicBezTo>
                  <a:pt x="1734753" y="4923"/>
                  <a:pt x="1734753" y="4923"/>
                  <a:pt x="1736182" y="4923"/>
                </a:cubicBezTo>
                <a:cubicBezTo>
                  <a:pt x="1739040" y="4923"/>
                  <a:pt x="1741898" y="4923"/>
                  <a:pt x="1744756" y="3494"/>
                </a:cubicBezTo>
                <a:cubicBezTo>
                  <a:pt x="1747614" y="3494"/>
                  <a:pt x="1751901" y="3494"/>
                  <a:pt x="1756188" y="3494"/>
                </a:cubicBezTo>
                <a:cubicBezTo>
                  <a:pt x="1757617" y="3494"/>
                  <a:pt x="1757617" y="3494"/>
                  <a:pt x="1759046" y="3494"/>
                </a:cubicBezTo>
                <a:cubicBezTo>
                  <a:pt x="1764762" y="2065"/>
                  <a:pt x="1771906" y="2065"/>
                  <a:pt x="1779051" y="2065"/>
                </a:cubicBezTo>
                <a:cubicBezTo>
                  <a:pt x="1786196" y="636"/>
                  <a:pt x="1793341" y="636"/>
                  <a:pt x="1801914" y="636"/>
                </a:cubicBezTo>
                <a:close/>
              </a:path>
            </a:pathLst>
          </a:custGeom>
        </p:spPr>
        <p:txBody>
          <a:bodyPr wrap="square" tIns="1908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B6BD396-A9EF-4F5D-5D74-70405F6299B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351" y="5643500"/>
            <a:ext cx="5003993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06220252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Orange, Image)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7" y="1376363"/>
            <a:ext cx="5705475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5465762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9" descr="A yellow and orange wave&#10;&#10;Description automatically generated with medium confidence">
            <a:extLst>
              <a:ext uri="{FF2B5EF4-FFF2-40B4-BE49-F238E27FC236}">
                <a16:creationId xmlns:a16="http://schemas.microsoft.com/office/drawing/2014/main" id="{C125A928-702B-F863-2447-9BBC0DB4852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7877" y="2479031"/>
            <a:ext cx="4674124" cy="4379994"/>
          </a:xfrm>
          <a:prstGeom prst="rect">
            <a:avLst/>
          </a:prstGeom>
        </p:spPr>
      </p:pic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219B4C3-ECD6-8B72-6D18-DB4040D28FD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841024" y="0"/>
            <a:ext cx="5350976" cy="5712643"/>
          </a:xfrm>
          <a:custGeom>
            <a:avLst/>
            <a:gdLst>
              <a:gd name="connsiteX0" fmla="*/ 2441813 w 5182014"/>
              <a:gd name="connsiteY0" fmla="*/ 0 h 5532261"/>
              <a:gd name="connsiteX1" fmla="*/ 5182014 w 5182014"/>
              <a:gd name="connsiteY1" fmla="*/ 0 h 5532261"/>
              <a:gd name="connsiteX2" fmla="*/ 5182014 w 5182014"/>
              <a:gd name="connsiteY2" fmla="*/ 2429538 h 5532261"/>
              <a:gd name="connsiteX3" fmla="*/ 4889685 w 5182014"/>
              <a:gd name="connsiteY3" fmla="*/ 2509548 h 5532261"/>
              <a:gd name="connsiteX4" fmla="*/ 4835835 w 5182014"/>
              <a:gd name="connsiteY4" fmla="*/ 2531089 h 5532261"/>
              <a:gd name="connsiteX5" fmla="*/ 3694213 w 5182014"/>
              <a:gd name="connsiteY5" fmla="*/ 3965116 h 5532261"/>
              <a:gd name="connsiteX6" fmla="*/ 2552590 w 5182014"/>
              <a:gd name="connsiteY6" fmla="*/ 5397605 h 5532261"/>
              <a:gd name="connsiteX7" fmla="*/ 2497202 w 5182014"/>
              <a:gd name="connsiteY7" fmla="*/ 5419146 h 5532261"/>
              <a:gd name="connsiteX8" fmla="*/ 1567903 w 5182014"/>
              <a:gd name="connsiteY8" fmla="*/ 5508388 h 5532261"/>
              <a:gd name="connsiteX9" fmla="*/ 712455 w 5182014"/>
              <a:gd name="connsiteY9" fmla="*/ 5136033 h 5532261"/>
              <a:gd name="connsiteX10" fmla="*/ 666298 w 5182014"/>
              <a:gd name="connsiteY10" fmla="*/ 5099106 h 5532261"/>
              <a:gd name="connsiteX11" fmla="*/ 23174 w 5182014"/>
              <a:gd name="connsiteY11" fmla="*/ 3383504 h 5532261"/>
              <a:gd name="connsiteX12" fmla="*/ 413972 w 5182014"/>
              <a:gd name="connsiteY12" fmla="*/ 2504932 h 5532261"/>
              <a:gd name="connsiteX13" fmla="*/ 430896 w 5182014"/>
              <a:gd name="connsiteY13" fmla="*/ 2484929 h 5532261"/>
              <a:gd name="connsiteX14" fmla="*/ 440127 w 5182014"/>
              <a:gd name="connsiteY14" fmla="*/ 2474159 h 5532261"/>
              <a:gd name="connsiteX15" fmla="*/ 787845 w 5182014"/>
              <a:gd name="connsiteY15" fmla="*/ 2044874 h 5532261"/>
              <a:gd name="connsiteX16" fmla="*/ 2380270 w 5182014"/>
              <a:gd name="connsiteY16" fmla="*/ 76933 h 5532261"/>
              <a:gd name="connsiteX17" fmla="*/ 2441813 w 5182014"/>
              <a:gd name="connsiteY17" fmla="*/ 0 h 55322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5182014" h="5532261">
                <a:moveTo>
                  <a:pt x="2441813" y="0"/>
                </a:moveTo>
                <a:cubicBezTo>
                  <a:pt x="2441813" y="0"/>
                  <a:pt x="2441813" y="0"/>
                  <a:pt x="5182014" y="0"/>
                </a:cubicBezTo>
                <a:cubicBezTo>
                  <a:pt x="5182014" y="0"/>
                  <a:pt x="5182014" y="0"/>
                  <a:pt x="5182014" y="2429538"/>
                </a:cubicBezTo>
                <a:cubicBezTo>
                  <a:pt x="5082007" y="2448001"/>
                  <a:pt x="4985077" y="2475697"/>
                  <a:pt x="4889685" y="2509548"/>
                </a:cubicBezTo>
                <a:cubicBezTo>
                  <a:pt x="4871222" y="2517241"/>
                  <a:pt x="4852759" y="2523396"/>
                  <a:pt x="4835835" y="2531089"/>
                </a:cubicBezTo>
                <a:cubicBezTo>
                  <a:pt x="4249638" y="2766503"/>
                  <a:pt x="3798836" y="3295801"/>
                  <a:pt x="3694213" y="3965116"/>
                </a:cubicBezTo>
                <a:cubicBezTo>
                  <a:pt x="3588051" y="4632893"/>
                  <a:pt x="3137249" y="5162190"/>
                  <a:pt x="2552590" y="5397605"/>
                </a:cubicBezTo>
                <a:cubicBezTo>
                  <a:pt x="2532589" y="5403759"/>
                  <a:pt x="2514126" y="5411453"/>
                  <a:pt x="2497202" y="5419146"/>
                </a:cubicBezTo>
                <a:cubicBezTo>
                  <a:pt x="2209488" y="5525313"/>
                  <a:pt x="1891003" y="5560702"/>
                  <a:pt x="1567903" y="5508388"/>
                </a:cubicBezTo>
                <a:cubicBezTo>
                  <a:pt x="1244802" y="5457612"/>
                  <a:pt x="952473" y="5325288"/>
                  <a:pt x="712455" y="5136033"/>
                </a:cubicBezTo>
                <a:cubicBezTo>
                  <a:pt x="697069" y="5123724"/>
                  <a:pt x="681684" y="5111415"/>
                  <a:pt x="666298" y="5099106"/>
                </a:cubicBezTo>
                <a:cubicBezTo>
                  <a:pt x="183186" y="4694439"/>
                  <a:pt x="-82988" y="4051281"/>
                  <a:pt x="23174" y="3383504"/>
                </a:cubicBezTo>
                <a:cubicBezTo>
                  <a:pt x="77024" y="3048077"/>
                  <a:pt x="215496" y="2749578"/>
                  <a:pt x="413972" y="2504932"/>
                </a:cubicBezTo>
                <a:cubicBezTo>
                  <a:pt x="420126" y="2498777"/>
                  <a:pt x="424742" y="2491084"/>
                  <a:pt x="430896" y="2484929"/>
                </a:cubicBezTo>
                <a:cubicBezTo>
                  <a:pt x="433973" y="2480313"/>
                  <a:pt x="437050" y="2477236"/>
                  <a:pt x="440127" y="2474159"/>
                </a:cubicBezTo>
                <a:cubicBezTo>
                  <a:pt x="569368" y="2314138"/>
                  <a:pt x="683222" y="2172582"/>
                  <a:pt x="787845" y="2044874"/>
                </a:cubicBezTo>
                <a:cubicBezTo>
                  <a:pt x="1490974" y="1175533"/>
                  <a:pt x="1677141" y="944735"/>
                  <a:pt x="2380270" y="76933"/>
                </a:cubicBezTo>
                <a:cubicBezTo>
                  <a:pt x="2400271" y="52314"/>
                  <a:pt x="2421811" y="26157"/>
                  <a:pt x="2441813" y="0"/>
                </a:cubicBezTo>
                <a:close/>
              </a:path>
            </a:pathLst>
          </a:custGeom>
        </p:spPr>
        <p:txBody>
          <a:bodyPr wrap="square" tIns="2232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8232FB1-F3D9-9063-6297-166EBA25264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351" y="5643500"/>
            <a:ext cx="5003993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62850986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Orange, Image)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4320667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5465762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14" descr="A yellow and pink gradient&#10;&#10;Description automatically generated">
            <a:extLst>
              <a:ext uri="{FF2B5EF4-FFF2-40B4-BE49-F238E27FC236}">
                <a16:creationId xmlns:a16="http://schemas.microsoft.com/office/drawing/2014/main" id="{42CDA96A-9BD0-0CE9-B6BA-1C92DC5B86D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6161" y="3208054"/>
            <a:ext cx="3905839" cy="3650972"/>
          </a:xfrm>
          <a:prstGeom prst="rect">
            <a:avLst/>
          </a:prstGeom>
        </p:spPr>
      </p:pic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C1EF5172-2DF4-5C2C-6504-29D22487319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236311" y="0"/>
            <a:ext cx="6965115" cy="5439266"/>
          </a:xfrm>
          <a:custGeom>
            <a:avLst/>
            <a:gdLst>
              <a:gd name="connsiteX0" fmla="*/ 453997 w 6042287"/>
              <a:gd name="connsiteY0" fmla="*/ 0 h 4718602"/>
              <a:gd name="connsiteX1" fmla="*/ 6042287 w 6042287"/>
              <a:gd name="connsiteY1" fmla="*/ 0 h 4718602"/>
              <a:gd name="connsiteX2" fmla="*/ 6040911 w 6042287"/>
              <a:gd name="connsiteY2" fmla="*/ 2791979 h 4718602"/>
              <a:gd name="connsiteX3" fmla="*/ 5183820 w 6042287"/>
              <a:gd name="connsiteY3" fmla="*/ 4276722 h 4718602"/>
              <a:gd name="connsiteX4" fmla="*/ 4871525 w 6042287"/>
              <a:gd name="connsiteY4" fmla="*/ 4593211 h 4718602"/>
              <a:gd name="connsiteX5" fmla="*/ 4848138 w 6042287"/>
              <a:gd name="connsiteY5" fmla="*/ 4606971 h 4718602"/>
              <a:gd name="connsiteX6" fmla="*/ 3975913 w 6042287"/>
              <a:gd name="connsiteY6" fmla="*/ 4600091 h 4718602"/>
              <a:gd name="connsiteX7" fmla="*/ 3534298 w 6042287"/>
              <a:gd name="connsiteY7" fmla="*/ 3848775 h 4718602"/>
              <a:gd name="connsiteX8" fmla="*/ 3534298 w 6042287"/>
              <a:gd name="connsiteY8" fmla="*/ 3819878 h 4718602"/>
              <a:gd name="connsiteX9" fmla="*/ 3092683 w 6042287"/>
              <a:gd name="connsiteY9" fmla="*/ 3068562 h 4718602"/>
              <a:gd name="connsiteX10" fmla="*/ 2220458 w 6042287"/>
              <a:gd name="connsiteY10" fmla="*/ 3061682 h 4718602"/>
              <a:gd name="connsiteX11" fmla="*/ 2197070 w 6042287"/>
              <a:gd name="connsiteY11" fmla="*/ 3075442 h 4718602"/>
              <a:gd name="connsiteX12" fmla="*/ 1324846 w 6042287"/>
              <a:gd name="connsiteY12" fmla="*/ 3068562 h 4718602"/>
              <a:gd name="connsiteX13" fmla="*/ 1001545 w 6042287"/>
              <a:gd name="connsiteY13" fmla="*/ 2745193 h 4718602"/>
              <a:gd name="connsiteX14" fmla="*/ 996042 w 6042287"/>
              <a:gd name="connsiteY14" fmla="*/ 2734185 h 4718602"/>
              <a:gd name="connsiteX15" fmla="*/ 991915 w 6042287"/>
              <a:gd name="connsiteY15" fmla="*/ 2728681 h 4718602"/>
              <a:gd name="connsiteX16" fmla="*/ 861219 w 6042287"/>
              <a:gd name="connsiteY16" fmla="*/ 2501635 h 4718602"/>
              <a:gd name="connsiteX17" fmla="*/ 258641 w 6042287"/>
              <a:gd name="connsiteY17" fmla="*/ 1458599 h 4718602"/>
              <a:gd name="connsiteX18" fmla="*/ 130696 w 6042287"/>
              <a:gd name="connsiteY18" fmla="*/ 1234305 h 4718602"/>
              <a:gd name="connsiteX19" fmla="*/ 118315 w 6042287"/>
              <a:gd name="connsiteY19" fmla="*/ 1215041 h 4718602"/>
              <a:gd name="connsiteX20" fmla="*/ 0 w 6042287"/>
              <a:gd name="connsiteY20" fmla="*/ 787093 h 4718602"/>
              <a:gd name="connsiteX21" fmla="*/ 0 w 6042287"/>
              <a:gd name="connsiteY21" fmla="*/ 758196 h 4718602"/>
              <a:gd name="connsiteX22" fmla="*/ 118315 w 6042287"/>
              <a:gd name="connsiteY22" fmla="*/ 330249 h 4718602"/>
              <a:gd name="connsiteX23" fmla="*/ 429234 w 6042287"/>
              <a:gd name="connsiteY23" fmla="*/ 13761 h 4718602"/>
              <a:gd name="connsiteX24" fmla="*/ 453997 w 6042287"/>
              <a:gd name="connsiteY24" fmla="*/ 0 h 47186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6042287" h="4718602">
                <a:moveTo>
                  <a:pt x="453997" y="0"/>
                </a:moveTo>
                <a:cubicBezTo>
                  <a:pt x="6042287" y="0"/>
                  <a:pt x="6042287" y="0"/>
                  <a:pt x="6042287" y="0"/>
                </a:cubicBezTo>
                <a:lnTo>
                  <a:pt x="6040911" y="2791979"/>
                </a:lnTo>
                <a:cubicBezTo>
                  <a:pt x="5183820" y="4276722"/>
                  <a:pt x="5183820" y="4276722"/>
                  <a:pt x="5183820" y="4276722"/>
                </a:cubicBezTo>
                <a:cubicBezTo>
                  <a:pt x="5105403" y="4411574"/>
                  <a:pt x="4996718" y="4517529"/>
                  <a:pt x="4871525" y="4593211"/>
                </a:cubicBezTo>
                <a:cubicBezTo>
                  <a:pt x="4864647" y="4597339"/>
                  <a:pt x="4856392" y="4601467"/>
                  <a:pt x="4848138" y="4606971"/>
                </a:cubicBezTo>
                <a:cubicBezTo>
                  <a:pt x="4585370" y="4752831"/>
                  <a:pt x="4255190" y="4761087"/>
                  <a:pt x="3975913" y="4600091"/>
                </a:cubicBezTo>
                <a:cubicBezTo>
                  <a:pt x="3698012" y="4439095"/>
                  <a:pt x="3539801" y="4148751"/>
                  <a:pt x="3534298" y="3848775"/>
                </a:cubicBezTo>
                <a:cubicBezTo>
                  <a:pt x="3534298" y="3839143"/>
                  <a:pt x="3534298" y="3829510"/>
                  <a:pt x="3534298" y="3819878"/>
                </a:cubicBezTo>
                <a:cubicBezTo>
                  <a:pt x="3528795" y="3519902"/>
                  <a:pt x="3371959" y="3229558"/>
                  <a:pt x="3092683" y="3068562"/>
                </a:cubicBezTo>
                <a:cubicBezTo>
                  <a:pt x="2813406" y="2907566"/>
                  <a:pt x="2483226" y="2915822"/>
                  <a:pt x="2220458" y="3061682"/>
                </a:cubicBezTo>
                <a:cubicBezTo>
                  <a:pt x="2213579" y="3065810"/>
                  <a:pt x="2205325" y="3071314"/>
                  <a:pt x="2197070" y="3075442"/>
                </a:cubicBezTo>
                <a:cubicBezTo>
                  <a:pt x="1934302" y="3221302"/>
                  <a:pt x="1604123" y="3229558"/>
                  <a:pt x="1324846" y="3068562"/>
                </a:cubicBezTo>
                <a:cubicBezTo>
                  <a:pt x="1185895" y="2988752"/>
                  <a:pt x="1077211" y="2875917"/>
                  <a:pt x="1001545" y="2745193"/>
                </a:cubicBezTo>
                <a:cubicBezTo>
                  <a:pt x="1000169" y="2741065"/>
                  <a:pt x="997418" y="2738313"/>
                  <a:pt x="996042" y="2734185"/>
                </a:cubicBezTo>
                <a:cubicBezTo>
                  <a:pt x="994666" y="2732809"/>
                  <a:pt x="993291" y="2730057"/>
                  <a:pt x="991915" y="2728681"/>
                </a:cubicBezTo>
                <a:cubicBezTo>
                  <a:pt x="943764" y="2644743"/>
                  <a:pt x="899740" y="2569061"/>
                  <a:pt x="861219" y="2501635"/>
                </a:cubicBezTo>
                <a:cubicBezTo>
                  <a:pt x="595699" y="2040663"/>
                  <a:pt x="524160" y="1918195"/>
                  <a:pt x="258641" y="1458599"/>
                </a:cubicBezTo>
                <a:cubicBezTo>
                  <a:pt x="220120" y="1391173"/>
                  <a:pt x="177472" y="1318243"/>
                  <a:pt x="130696" y="1234305"/>
                </a:cubicBezTo>
                <a:cubicBezTo>
                  <a:pt x="126569" y="1228801"/>
                  <a:pt x="122442" y="1221921"/>
                  <a:pt x="118315" y="1215041"/>
                </a:cubicBezTo>
                <a:cubicBezTo>
                  <a:pt x="42649" y="1084317"/>
                  <a:pt x="2752" y="937081"/>
                  <a:pt x="0" y="787093"/>
                </a:cubicBezTo>
                <a:cubicBezTo>
                  <a:pt x="0" y="777461"/>
                  <a:pt x="0" y="767829"/>
                  <a:pt x="0" y="758196"/>
                </a:cubicBezTo>
                <a:cubicBezTo>
                  <a:pt x="1376" y="612336"/>
                  <a:pt x="39897" y="465101"/>
                  <a:pt x="118315" y="330249"/>
                </a:cubicBezTo>
                <a:cubicBezTo>
                  <a:pt x="196732" y="195397"/>
                  <a:pt x="304041" y="88067"/>
                  <a:pt x="429234" y="13761"/>
                </a:cubicBezTo>
                <a:cubicBezTo>
                  <a:pt x="437488" y="9632"/>
                  <a:pt x="445743" y="5504"/>
                  <a:pt x="453997" y="0"/>
                </a:cubicBezTo>
                <a:close/>
              </a:path>
            </a:pathLst>
          </a:custGeom>
        </p:spPr>
        <p:txBody>
          <a:bodyPr wrap="square" tIns="1764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2F39E32-B5DC-1A0F-FE03-D516787C61A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351" y="5643500"/>
            <a:ext cx="5003993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27463669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Full Colour)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colorful background with circles&#10;&#10;Description automatically generated">
            <a:extLst>
              <a:ext uri="{FF2B5EF4-FFF2-40B4-BE49-F238E27FC236}">
                <a16:creationId xmlns:a16="http://schemas.microsoft.com/office/drawing/2014/main" id="{9B766DFA-E0BC-C5FD-80A0-412708AC29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1107" y="0"/>
            <a:ext cx="5230893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736441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5465762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20" name="AutoShape 3">
            <a:extLst>
              <a:ext uri="{FF2B5EF4-FFF2-40B4-BE49-F238E27FC236}">
                <a16:creationId xmlns:a16="http://schemas.microsoft.com/office/drawing/2014/main" id="{8823F573-A3DF-8EC5-FC9A-A27AF8C52AE5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057775" y="0"/>
            <a:ext cx="713422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516A8C1-385A-FC93-A973-EE9DEE4C9B7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351" y="5643500"/>
            <a:ext cx="5003993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39527897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Full Colour)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5465762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20" name="AutoShape 3">
            <a:extLst>
              <a:ext uri="{FF2B5EF4-FFF2-40B4-BE49-F238E27FC236}">
                <a16:creationId xmlns:a16="http://schemas.microsoft.com/office/drawing/2014/main" id="{8823F573-A3DF-8EC5-FC9A-A27AF8C52AE5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057775" y="0"/>
            <a:ext cx="713422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11" name="Picture 10" descr="A colorful circle shapes&#10;&#10;Description automatically generated with medium confidence">
            <a:extLst>
              <a:ext uri="{FF2B5EF4-FFF2-40B4-BE49-F238E27FC236}">
                <a16:creationId xmlns:a16="http://schemas.microsoft.com/office/drawing/2014/main" id="{5B3C8BB0-8ED8-BDC1-E290-09F266D75D0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2190" y="-1"/>
            <a:ext cx="5179810" cy="5898875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7874D4D-5560-51DA-891E-7FA0C2E6ECD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351" y="5643500"/>
            <a:ext cx="5003993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2355736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CCA893B-12FC-BEFE-9665-A9C624A56CB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8" y="1573619"/>
            <a:ext cx="9267825" cy="447793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0230BA0-2D1F-683C-E805-0BB253A299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4838" y="5464175"/>
            <a:ext cx="9267825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5931716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5465762" cy="447793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C3183D8-01C0-CEE2-0ACB-5C2FB5701040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10313" y="1573619"/>
            <a:ext cx="5465762" cy="447793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5D219D62-CABA-69E2-E4EB-156330B1824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4838" y="5464175"/>
            <a:ext cx="9267825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3630F0D-3887-6D2F-5720-3333334C13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8376106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3562350" cy="4477931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F11EDDC-1465-A78B-C3BD-A70D9121A33B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406900" y="1573619"/>
            <a:ext cx="3562350" cy="4477931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73E3490-C5C2-7754-8FFF-150028EB9BC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4626" y="1573619"/>
            <a:ext cx="3562350" cy="4477931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14D0B233-2FE1-9855-6829-FEF22EE733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4838" y="5464175"/>
            <a:ext cx="9267825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BF39D8E-4140-1FAB-7479-6231CA188BB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0940774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Full Wid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8" y="1573619"/>
            <a:ext cx="11168062" cy="447793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163FBBE-05C7-4083-A849-9413DA7CDD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693058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Orange, Blue, Image)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blue and orange triangle&#10;&#10;Description automatically generated">
            <a:extLst>
              <a:ext uri="{FF2B5EF4-FFF2-40B4-BE49-F238E27FC236}">
                <a16:creationId xmlns:a16="http://schemas.microsoft.com/office/drawing/2014/main" id="{E10F1A70-AC56-37C5-4032-BA65164EF43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9850" y="0"/>
            <a:ext cx="577215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06632FEF-3500-BBEB-544E-998F0101D8B2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7715250" y="-2"/>
            <a:ext cx="4476750" cy="5069657"/>
          </a:xfrm>
          <a:custGeom>
            <a:avLst/>
            <a:gdLst>
              <a:gd name="connsiteX0" fmla="*/ 3625174 w 4884974"/>
              <a:gd name="connsiteY0" fmla="*/ 0 h 5531947"/>
              <a:gd name="connsiteX1" fmla="*/ 4884974 w 4884974"/>
              <a:gd name="connsiteY1" fmla="*/ 0 h 5531947"/>
              <a:gd name="connsiteX2" fmla="*/ 4884974 w 4884974"/>
              <a:gd name="connsiteY2" fmla="*/ 5531947 h 5531947"/>
              <a:gd name="connsiteX3" fmla="*/ 1296191 w 4884974"/>
              <a:gd name="connsiteY3" fmla="*/ 4570397 h 5531947"/>
              <a:gd name="connsiteX4" fmla="*/ 809253 w 4884974"/>
              <a:gd name="connsiteY4" fmla="*/ 4400610 h 5531947"/>
              <a:gd name="connsiteX5" fmla="*/ 547589 w 4884974"/>
              <a:gd name="connsiteY5" fmla="*/ 4263740 h 5531947"/>
              <a:gd name="connsiteX6" fmla="*/ 393363 w 4884974"/>
              <a:gd name="connsiteY6" fmla="*/ 4164986 h 5531947"/>
              <a:gd name="connsiteX7" fmla="*/ 391630 w 4884974"/>
              <a:gd name="connsiteY7" fmla="*/ 4163254 h 5531947"/>
              <a:gd name="connsiteX8" fmla="*/ 389897 w 4884974"/>
              <a:gd name="connsiteY8" fmla="*/ 4161521 h 5531947"/>
              <a:gd name="connsiteX9" fmla="*/ 377767 w 4884974"/>
              <a:gd name="connsiteY9" fmla="*/ 4152859 h 5531947"/>
              <a:gd name="connsiteX10" fmla="*/ 372568 w 4884974"/>
              <a:gd name="connsiteY10" fmla="*/ 4151126 h 5531947"/>
              <a:gd name="connsiteX11" fmla="*/ 370835 w 4884974"/>
              <a:gd name="connsiteY11" fmla="*/ 4149394 h 5531947"/>
              <a:gd name="connsiteX12" fmla="*/ 367370 w 4884974"/>
              <a:gd name="connsiteY12" fmla="*/ 4147661 h 5531947"/>
              <a:gd name="connsiteX13" fmla="*/ 360438 w 4884974"/>
              <a:gd name="connsiteY13" fmla="*/ 4142463 h 5531947"/>
              <a:gd name="connsiteX14" fmla="*/ 355239 w 4884974"/>
              <a:gd name="connsiteY14" fmla="*/ 4138998 h 5531947"/>
              <a:gd name="connsiteX15" fmla="*/ 351774 w 4884974"/>
              <a:gd name="connsiteY15" fmla="*/ 4135533 h 5531947"/>
              <a:gd name="connsiteX16" fmla="*/ 343109 w 4884974"/>
              <a:gd name="connsiteY16" fmla="*/ 4130336 h 5531947"/>
              <a:gd name="connsiteX17" fmla="*/ 332712 w 4884974"/>
              <a:gd name="connsiteY17" fmla="*/ 4123406 h 5531947"/>
              <a:gd name="connsiteX18" fmla="*/ 325781 w 4884974"/>
              <a:gd name="connsiteY18" fmla="*/ 4118208 h 5531947"/>
              <a:gd name="connsiteX19" fmla="*/ 322315 w 4884974"/>
              <a:gd name="connsiteY19" fmla="*/ 4114743 h 5531947"/>
              <a:gd name="connsiteX20" fmla="*/ 315383 w 4884974"/>
              <a:gd name="connsiteY20" fmla="*/ 4109545 h 5531947"/>
              <a:gd name="connsiteX21" fmla="*/ 308452 w 4884974"/>
              <a:gd name="connsiteY21" fmla="*/ 4104348 h 5531947"/>
              <a:gd name="connsiteX22" fmla="*/ 299787 w 4884974"/>
              <a:gd name="connsiteY22" fmla="*/ 4099150 h 5531947"/>
              <a:gd name="connsiteX23" fmla="*/ 296322 w 4884974"/>
              <a:gd name="connsiteY23" fmla="*/ 4095685 h 5531947"/>
              <a:gd name="connsiteX24" fmla="*/ 291123 w 4884974"/>
              <a:gd name="connsiteY24" fmla="*/ 4090488 h 5531947"/>
              <a:gd name="connsiteX25" fmla="*/ 285924 w 4884974"/>
              <a:gd name="connsiteY25" fmla="*/ 4088755 h 5531947"/>
              <a:gd name="connsiteX26" fmla="*/ 278993 w 4884974"/>
              <a:gd name="connsiteY26" fmla="*/ 4081825 h 5531947"/>
              <a:gd name="connsiteX27" fmla="*/ 275527 w 4884974"/>
              <a:gd name="connsiteY27" fmla="*/ 4080093 h 5531947"/>
              <a:gd name="connsiteX28" fmla="*/ 272061 w 4884974"/>
              <a:gd name="connsiteY28" fmla="*/ 4076628 h 5531947"/>
              <a:gd name="connsiteX29" fmla="*/ 266863 w 4884974"/>
              <a:gd name="connsiteY29" fmla="*/ 4073162 h 5531947"/>
              <a:gd name="connsiteX30" fmla="*/ 259931 w 4884974"/>
              <a:gd name="connsiteY30" fmla="*/ 4067965 h 5531947"/>
              <a:gd name="connsiteX31" fmla="*/ 256466 w 4884974"/>
              <a:gd name="connsiteY31" fmla="*/ 4064500 h 5531947"/>
              <a:gd name="connsiteX32" fmla="*/ 242603 w 4884974"/>
              <a:gd name="connsiteY32" fmla="*/ 4054105 h 5531947"/>
              <a:gd name="connsiteX33" fmla="*/ 239137 w 4884974"/>
              <a:gd name="connsiteY33" fmla="*/ 4050640 h 5531947"/>
              <a:gd name="connsiteX34" fmla="*/ 228740 w 4884974"/>
              <a:gd name="connsiteY34" fmla="*/ 4043710 h 5531947"/>
              <a:gd name="connsiteX35" fmla="*/ 223541 w 4884974"/>
              <a:gd name="connsiteY35" fmla="*/ 4038512 h 5531947"/>
              <a:gd name="connsiteX36" fmla="*/ 206212 w 4884974"/>
              <a:gd name="connsiteY36" fmla="*/ 4024652 h 5531947"/>
              <a:gd name="connsiteX37" fmla="*/ 201014 w 4884974"/>
              <a:gd name="connsiteY37" fmla="*/ 4021187 h 5531947"/>
              <a:gd name="connsiteX38" fmla="*/ 195815 w 4884974"/>
              <a:gd name="connsiteY38" fmla="*/ 4015989 h 5531947"/>
              <a:gd name="connsiteX39" fmla="*/ 187151 w 4884974"/>
              <a:gd name="connsiteY39" fmla="*/ 4009059 h 5531947"/>
              <a:gd name="connsiteX40" fmla="*/ 157692 w 4884974"/>
              <a:gd name="connsiteY40" fmla="*/ 3984804 h 5531947"/>
              <a:gd name="connsiteX41" fmla="*/ 97041 w 4884974"/>
              <a:gd name="connsiteY41" fmla="*/ 3931096 h 5531947"/>
              <a:gd name="connsiteX42" fmla="*/ 31192 w 4884974"/>
              <a:gd name="connsiteY42" fmla="*/ 3870457 h 5531947"/>
              <a:gd name="connsiteX43" fmla="*/ 0 w 4884974"/>
              <a:gd name="connsiteY43" fmla="*/ 3839272 h 5531947"/>
              <a:gd name="connsiteX44" fmla="*/ 0 w 4884974"/>
              <a:gd name="connsiteY44" fmla="*/ 3835807 h 5531947"/>
              <a:gd name="connsiteX45" fmla="*/ 3466 w 4884974"/>
              <a:gd name="connsiteY45" fmla="*/ 3825412 h 5531947"/>
              <a:gd name="connsiteX46" fmla="*/ 20795 w 4884974"/>
              <a:gd name="connsiteY46" fmla="*/ 3764773 h 5531947"/>
              <a:gd name="connsiteX47" fmla="*/ 25993 w 4884974"/>
              <a:gd name="connsiteY47" fmla="*/ 3745716 h 5531947"/>
              <a:gd name="connsiteX48" fmla="*/ 72781 w 4884974"/>
              <a:gd name="connsiteY48" fmla="*/ 3589788 h 5531947"/>
              <a:gd name="connsiteX49" fmla="*/ 77979 w 4884974"/>
              <a:gd name="connsiteY49" fmla="*/ 3570731 h 5531947"/>
              <a:gd name="connsiteX50" fmla="*/ 98774 w 4884974"/>
              <a:gd name="connsiteY50" fmla="*/ 3511825 h 5531947"/>
              <a:gd name="connsiteX51" fmla="*/ 105705 w 4884974"/>
              <a:gd name="connsiteY51" fmla="*/ 3491035 h 5531947"/>
              <a:gd name="connsiteX52" fmla="*/ 131699 w 4884974"/>
              <a:gd name="connsiteY52" fmla="*/ 3414804 h 5531947"/>
              <a:gd name="connsiteX53" fmla="*/ 159425 w 4884974"/>
              <a:gd name="connsiteY53" fmla="*/ 3338573 h 5531947"/>
              <a:gd name="connsiteX54" fmla="*/ 166356 w 4884974"/>
              <a:gd name="connsiteY54" fmla="*/ 3317782 h 5531947"/>
              <a:gd name="connsiteX55" fmla="*/ 188883 w 4884974"/>
              <a:gd name="connsiteY55" fmla="*/ 3260609 h 5531947"/>
              <a:gd name="connsiteX56" fmla="*/ 197548 w 4884974"/>
              <a:gd name="connsiteY56" fmla="*/ 3239819 h 5531947"/>
              <a:gd name="connsiteX57" fmla="*/ 227007 w 4884974"/>
              <a:gd name="connsiteY57" fmla="*/ 3165320 h 5531947"/>
              <a:gd name="connsiteX58" fmla="*/ 258198 w 4884974"/>
              <a:gd name="connsiteY58" fmla="*/ 3089089 h 5531947"/>
              <a:gd name="connsiteX59" fmla="*/ 266863 w 4884974"/>
              <a:gd name="connsiteY59" fmla="*/ 3070031 h 5531947"/>
              <a:gd name="connsiteX60" fmla="*/ 291123 w 4884974"/>
              <a:gd name="connsiteY60" fmla="*/ 3012858 h 5531947"/>
              <a:gd name="connsiteX61" fmla="*/ 301520 w 4884974"/>
              <a:gd name="connsiteY61" fmla="*/ 2992068 h 5531947"/>
              <a:gd name="connsiteX62" fmla="*/ 334445 w 4884974"/>
              <a:gd name="connsiteY62" fmla="*/ 2919302 h 5531947"/>
              <a:gd name="connsiteX63" fmla="*/ 370835 w 4884974"/>
              <a:gd name="connsiteY63" fmla="*/ 2844803 h 5531947"/>
              <a:gd name="connsiteX64" fmla="*/ 379500 w 4884974"/>
              <a:gd name="connsiteY64" fmla="*/ 2825746 h 5531947"/>
              <a:gd name="connsiteX65" fmla="*/ 407226 w 4884974"/>
              <a:gd name="connsiteY65" fmla="*/ 2770305 h 5531947"/>
              <a:gd name="connsiteX66" fmla="*/ 417623 w 4884974"/>
              <a:gd name="connsiteY66" fmla="*/ 2749515 h 5531947"/>
              <a:gd name="connsiteX67" fmla="*/ 493869 w 4884974"/>
              <a:gd name="connsiteY67" fmla="*/ 2605715 h 5531947"/>
              <a:gd name="connsiteX68" fmla="*/ 504267 w 4884974"/>
              <a:gd name="connsiteY68" fmla="*/ 2586657 h 5531947"/>
              <a:gd name="connsiteX69" fmla="*/ 535458 w 4884974"/>
              <a:gd name="connsiteY69" fmla="*/ 2531217 h 5531947"/>
              <a:gd name="connsiteX70" fmla="*/ 545856 w 4884974"/>
              <a:gd name="connsiteY70" fmla="*/ 2512159 h 5531947"/>
              <a:gd name="connsiteX71" fmla="*/ 630767 w 4884974"/>
              <a:gd name="connsiteY71" fmla="*/ 2370092 h 5531947"/>
              <a:gd name="connsiteX72" fmla="*/ 642897 w 4884974"/>
              <a:gd name="connsiteY72" fmla="*/ 2351034 h 5531947"/>
              <a:gd name="connsiteX73" fmla="*/ 675821 w 4884974"/>
              <a:gd name="connsiteY73" fmla="*/ 2297326 h 5531947"/>
              <a:gd name="connsiteX74" fmla="*/ 687951 w 4884974"/>
              <a:gd name="connsiteY74" fmla="*/ 2280001 h 5531947"/>
              <a:gd name="connsiteX75" fmla="*/ 779794 w 4884974"/>
              <a:gd name="connsiteY75" fmla="*/ 2141399 h 5531947"/>
              <a:gd name="connsiteX76" fmla="*/ 791924 w 4884974"/>
              <a:gd name="connsiteY76" fmla="*/ 2122341 h 5531947"/>
              <a:gd name="connsiteX77" fmla="*/ 828314 w 4884974"/>
              <a:gd name="connsiteY77" fmla="*/ 2070366 h 5531947"/>
              <a:gd name="connsiteX78" fmla="*/ 842177 w 4884974"/>
              <a:gd name="connsiteY78" fmla="*/ 2051308 h 5531947"/>
              <a:gd name="connsiteX79" fmla="*/ 940951 w 4884974"/>
              <a:gd name="connsiteY79" fmla="*/ 1917904 h 5531947"/>
              <a:gd name="connsiteX80" fmla="*/ 954814 w 4884974"/>
              <a:gd name="connsiteY80" fmla="*/ 1898846 h 5531947"/>
              <a:gd name="connsiteX81" fmla="*/ 994670 w 4884974"/>
              <a:gd name="connsiteY81" fmla="*/ 1848603 h 5531947"/>
              <a:gd name="connsiteX82" fmla="*/ 1008533 w 4884974"/>
              <a:gd name="connsiteY82" fmla="*/ 1831277 h 5531947"/>
              <a:gd name="connsiteX83" fmla="*/ 1114239 w 4884974"/>
              <a:gd name="connsiteY83" fmla="*/ 1701338 h 5531947"/>
              <a:gd name="connsiteX84" fmla="*/ 1129835 w 4884974"/>
              <a:gd name="connsiteY84" fmla="*/ 1682280 h 5531947"/>
              <a:gd name="connsiteX85" fmla="*/ 1171424 w 4884974"/>
              <a:gd name="connsiteY85" fmla="*/ 1633770 h 5531947"/>
              <a:gd name="connsiteX86" fmla="*/ 1187019 w 4884974"/>
              <a:gd name="connsiteY86" fmla="*/ 1616444 h 5531947"/>
              <a:gd name="connsiteX87" fmla="*/ 1301389 w 4884974"/>
              <a:gd name="connsiteY87" fmla="*/ 1489970 h 5531947"/>
              <a:gd name="connsiteX88" fmla="*/ 1318718 w 4884974"/>
              <a:gd name="connsiteY88" fmla="*/ 1472645 h 5531947"/>
              <a:gd name="connsiteX89" fmla="*/ 1362040 w 4884974"/>
              <a:gd name="connsiteY89" fmla="*/ 1427599 h 5531947"/>
              <a:gd name="connsiteX90" fmla="*/ 1379369 w 4884974"/>
              <a:gd name="connsiteY90" fmla="*/ 1408542 h 5531947"/>
              <a:gd name="connsiteX91" fmla="*/ 1436553 w 4884974"/>
              <a:gd name="connsiteY91" fmla="*/ 1349636 h 5531947"/>
              <a:gd name="connsiteX92" fmla="*/ 1438286 w 4884974"/>
              <a:gd name="connsiteY92" fmla="*/ 1347903 h 5531947"/>
              <a:gd name="connsiteX93" fmla="*/ 3625174 w 4884974"/>
              <a:gd name="connsiteY93" fmla="*/ 0 h 55319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</a:cxnLst>
            <a:rect l="l" t="t" r="r" b="b"/>
            <a:pathLst>
              <a:path w="4884974" h="5531947">
                <a:moveTo>
                  <a:pt x="3625174" y="0"/>
                </a:moveTo>
                <a:lnTo>
                  <a:pt x="4884974" y="0"/>
                </a:lnTo>
                <a:cubicBezTo>
                  <a:pt x="4884974" y="0"/>
                  <a:pt x="4884974" y="0"/>
                  <a:pt x="4884974" y="5531947"/>
                </a:cubicBezTo>
                <a:cubicBezTo>
                  <a:pt x="3732612" y="5223558"/>
                  <a:pt x="3193688" y="5079759"/>
                  <a:pt x="1296191" y="4570397"/>
                </a:cubicBezTo>
                <a:cubicBezTo>
                  <a:pt x="1128102" y="4528816"/>
                  <a:pt x="965211" y="4471643"/>
                  <a:pt x="809253" y="4400610"/>
                </a:cubicBezTo>
                <a:cubicBezTo>
                  <a:pt x="720876" y="4359029"/>
                  <a:pt x="632499" y="4313983"/>
                  <a:pt x="547589" y="4263740"/>
                </a:cubicBezTo>
                <a:cubicBezTo>
                  <a:pt x="493869" y="4232555"/>
                  <a:pt x="443616" y="4199637"/>
                  <a:pt x="393363" y="4164986"/>
                </a:cubicBezTo>
                <a:cubicBezTo>
                  <a:pt x="391630" y="4164986"/>
                  <a:pt x="391630" y="4163254"/>
                  <a:pt x="391630" y="4163254"/>
                </a:cubicBezTo>
                <a:cubicBezTo>
                  <a:pt x="391630" y="4163254"/>
                  <a:pt x="389897" y="4163254"/>
                  <a:pt x="389897" y="4161521"/>
                </a:cubicBezTo>
                <a:cubicBezTo>
                  <a:pt x="384698" y="4159789"/>
                  <a:pt x="381233" y="4156324"/>
                  <a:pt x="377767" y="4152859"/>
                </a:cubicBezTo>
                <a:cubicBezTo>
                  <a:pt x="376034" y="4152859"/>
                  <a:pt x="374301" y="4151126"/>
                  <a:pt x="372568" y="4151126"/>
                </a:cubicBezTo>
                <a:cubicBezTo>
                  <a:pt x="372568" y="4149394"/>
                  <a:pt x="370835" y="4149394"/>
                  <a:pt x="370835" y="4149394"/>
                </a:cubicBezTo>
                <a:cubicBezTo>
                  <a:pt x="369102" y="4147661"/>
                  <a:pt x="369102" y="4147661"/>
                  <a:pt x="367370" y="4147661"/>
                </a:cubicBezTo>
                <a:cubicBezTo>
                  <a:pt x="365637" y="4145928"/>
                  <a:pt x="362171" y="4144196"/>
                  <a:pt x="360438" y="4142463"/>
                </a:cubicBezTo>
                <a:cubicBezTo>
                  <a:pt x="358705" y="4140731"/>
                  <a:pt x="356972" y="4138998"/>
                  <a:pt x="355239" y="4138998"/>
                </a:cubicBezTo>
                <a:cubicBezTo>
                  <a:pt x="353507" y="4137266"/>
                  <a:pt x="353507" y="4137266"/>
                  <a:pt x="351774" y="4135533"/>
                </a:cubicBezTo>
                <a:cubicBezTo>
                  <a:pt x="348308" y="4133801"/>
                  <a:pt x="346575" y="4132068"/>
                  <a:pt x="343109" y="4130336"/>
                </a:cubicBezTo>
                <a:cubicBezTo>
                  <a:pt x="339644" y="4126871"/>
                  <a:pt x="336178" y="4125138"/>
                  <a:pt x="332712" y="4123406"/>
                </a:cubicBezTo>
                <a:cubicBezTo>
                  <a:pt x="330979" y="4121673"/>
                  <a:pt x="329246" y="4119941"/>
                  <a:pt x="325781" y="4118208"/>
                </a:cubicBezTo>
                <a:cubicBezTo>
                  <a:pt x="324048" y="4116476"/>
                  <a:pt x="324048" y="4114743"/>
                  <a:pt x="322315" y="4114743"/>
                </a:cubicBezTo>
                <a:cubicBezTo>
                  <a:pt x="318849" y="4113011"/>
                  <a:pt x="317116" y="4111278"/>
                  <a:pt x="315383" y="4109545"/>
                </a:cubicBezTo>
                <a:cubicBezTo>
                  <a:pt x="313650" y="4107813"/>
                  <a:pt x="310185" y="4106080"/>
                  <a:pt x="308452" y="4104348"/>
                </a:cubicBezTo>
                <a:cubicBezTo>
                  <a:pt x="304986" y="4102615"/>
                  <a:pt x="303253" y="4100883"/>
                  <a:pt x="299787" y="4099150"/>
                </a:cubicBezTo>
                <a:cubicBezTo>
                  <a:pt x="299787" y="4097418"/>
                  <a:pt x="298055" y="4097418"/>
                  <a:pt x="296322" y="4095685"/>
                </a:cubicBezTo>
                <a:cubicBezTo>
                  <a:pt x="294589" y="4093953"/>
                  <a:pt x="292856" y="4092220"/>
                  <a:pt x="291123" y="4090488"/>
                </a:cubicBezTo>
                <a:cubicBezTo>
                  <a:pt x="289390" y="4090488"/>
                  <a:pt x="287657" y="4088755"/>
                  <a:pt x="285924" y="4088755"/>
                </a:cubicBezTo>
                <a:cubicBezTo>
                  <a:pt x="284192" y="4085290"/>
                  <a:pt x="280726" y="4083558"/>
                  <a:pt x="278993" y="4081825"/>
                </a:cubicBezTo>
                <a:cubicBezTo>
                  <a:pt x="277260" y="4081825"/>
                  <a:pt x="277260" y="4080093"/>
                  <a:pt x="275527" y="4080093"/>
                </a:cubicBezTo>
                <a:cubicBezTo>
                  <a:pt x="275527" y="4078360"/>
                  <a:pt x="273794" y="4078360"/>
                  <a:pt x="272061" y="4076628"/>
                </a:cubicBezTo>
                <a:cubicBezTo>
                  <a:pt x="270329" y="4076628"/>
                  <a:pt x="268596" y="4074895"/>
                  <a:pt x="266863" y="4073162"/>
                </a:cubicBezTo>
                <a:cubicBezTo>
                  <a:pt x="265130" y="4071430"/>
                  <a:pt x="263397" y="4069697"/>
                  <a:pt x="259931" y="4067965"/>
                </a:cubicBezTo>
                <a:cubicBezTo>
                  <a:pt x="258198" y="4066232"/>
                  <a:pt x="256466" y="4066232"/>
                  <a:pt x="256466" y="4064500"/>
                </a:cubicBezTo>
                <a:cubicBezTo>
                  <a:pt x="251267" y="4061035"/>
                  <a:pt x="246068" y="4057570"/>
                  <a:pt x="242603" y="4054105"/>
                </a:cubicBezTo>
                <a:cubicBezTo>
                  <a:pt x="240870" y="4052372"/>
                  <a:pt x="239137" y="4052372"/>
                  <a:pt x="239137" y="4050640"/>
                </a:cubicBezTo>
                <a:cubicBezTo>
                  <a:pt x="235671" y="4048907"/>
                  <a:pt x="232205" y="4045442"/>
                  <a:pt x="228740" y="4043710"/>
                </a:cubicBezTo>
                <a:cubicBezTo>
                  <a:pt x="227007" y="4041977"/>
                  <a:pt x="225274" y="4040245"/>
                  <a:pt x="223541" y="4038512"/>
                </a:cubicBezTo>
                <a:cubicBezTo>
                  <a:pt x="216609" y="4033314"/>
                  <a:pt x="211411" y="4028117"/>
                  <a:pt x="206212" y="4024652"/>
                </a:cubicBezTo>
                <a:cubicBezTo>
                  <a:pt x="204479" y="4022919"/>
                  <a:pt x="202746" y="4022919"/>
                  <a:pt x="201014" y="4021187"/>
                </a:cubicBezTo>
                <a:cubicBezTo>
                  <a:pt x="199281" y="4019454"/>
                  <a:pt x="197548" y="4017722"/>
                  <a:pt x="195815" y="4015989"/>
                </a:cubicBezTo>
                <a:cubicBezTo>
                  <a:pt x="192349" y="4014257"/>
                  <a:pt x="190616" y="4012524"/>
                  <a:pt x="187151" y="4009059"/>
                </a:cubicBezTo>
                <a:cubicBezTo>
                  <a:pt x="176753" y="4000396"/>
                  <a:pt x="168089" y="3993466"/>
                  <a:pt x="157692" y="3984804"/>
                </a:cubicBezTo>
                <a:cubicBezTo>
                  <a:pt x="136897" y="3967479"/>
                  <a:pt x="117836" y="3950153"/>
                  <a:pt x="97041" y="3931096"/>
                </a:cubicBezTo>
                <a:cubicBezTo>
                  <a:pt x="76247" y="3912038"/>
                  <a:pt x="53719" y="3891248"/>
                  <a:pt x="31192" y="3870457"/>
                </a:cubicBezTo>
                <a:cubicBezTo>
                  <a:pt x="20795" y="3858330"/>
                  <a:pt x="10397" y="3849667"/>
                  <a:pt x="0" y="3839272"/>
                </a:cubicBezTo>
                <a:cubicBezTo>
                  <a:pt x="0" y="3839272"/>
                  <a:pt x="0" y="3839272"/>
                  <a:pt x="0" y="3835807"/>
                </a:cubicBezTo>
                <a:cubicBezTo>
                  <a:pt x="1733" y="3832342"/>
                  <a:pt x="1733" y="3828877"/>
                  <a:pt x="3466" y="3825412"/>
                </a:cubicBezTo>
                <a:cubicBezTo>
                  <a:pt x="8664" y="3806354"/>
                  <a:pt x="13863" y="3785564"/>
                  <a:pt x="20795" y="3764773"/>
                </a:cubicBezTo>
                <a:cubicBezTo>
                  <a:pt x="22527" y="3757843"/>
                  <a:pt x="24260" y="3750913"/>
                  <a:pt x="25993" y="3745716"/>
                </a:cubicBezTo>
                <a:cubicBezTo>
                  <a:pt x="39856" y="3693740"/>
                  <a:pt x="55452" y="3641764"/>
                  <a:pt x="72781" y="3589788"/>
                </a:cubicBezTo>
                <a:cubicBezTo>
                  <a:pt x="74514" y="3582858"/>
                  <a:pt x="76247" y="3577661"/>
                  <a:pt x="77979" y="3570731"/>
                </a:cubicBezTo>
                <a:cubicBezTo>
                  <a:pt x="84911" y="3549940"/>
                  <a:pt x="91842" y="3530883"/>
                  <a:pt x="98774" y="3511825"/>
                </a:cubicBezTo>
                <a:cubicBezTo>
                  <a:pt x="100507" y="3504895"/>
                  <a:pt x="102240" y="3497965"/>
                  <a:pt x="105705" y="3491035"/>
                </a:cubicBezTo>
                <a:cubicBezTo>
                  <a:pt x="114370" y="3465047"/>
                  <a:pt x="123034" y="3440791"/>
                  <a:pt x="131699" y="3414804"/>
                </a:cubicBezTo>
                <a:cubicBezTo>
                  <a:pt x="140363" y="3388816"/>
                  <a:pt x="149027" y="3362828"/>
                  <a:pt x="159425" y="3338573"/>
                </a:cubicBezTo>
                <a:cubicBezTo>
                  <a:pt x="161157" y="3331642"/>
                  <a:pt x="164623" y="3324712"/>
                  <a:pt x="166356" y="3317782"/>
                </a:cubicBezTo>
                <a:cubicBezTo>
                  <a:pt x="173288" y="3298725"/>
                  <a:pt x="181952" y="3279667"/>
                  <a:pt x="188883" y="3260609"/>
                </a:cubicBezTo>
                <a:cubicBezTo>
                  <a:pt x="190616" y="3253679"/>
                  <a:pt x="194082" y="3246749"/>
                  <a:pt x="197548" y="3239819"/>
                </a:cubicBezTo>
                <a:cubicBezTo>
                  <a:pt x="206212" y="3215563"/>
                  <a:pt x="216609" y="3189576"/>
                  <a:pt x="227007" y="3165320"/>
                </a:cubicBezTo>
                <a:cubicBezTo>
                  <a:pt x="237404" y="3139332"/>
                  <a:pt x="247801" y="3115077"/>
                  <a:pt x="258198" y="3089089"/>
                </a:cubicBezTo>
                <a:cubicBezTo>
                  <a:pt x="261664" y="3083892"/>
                  <a:pt x="263397" y="3076962"/>
                  <a:pt x="266863" y="3070031"/>
                </a:cubicBezTo>
                <a:cubicBezTo>
                  <a:pt x="275527" y="3050974"/>
                  <a:pt x="284192" y="3031916"/>
                  <a:pt x="291123" y="3012858"/>
                </a:cubicBezTo>
                <a:cubicBezTo>
                  <a:pt x="294589" y="3005928"/>
                  <a:pt x="298055" y="2998998"/>
                  <a:pt x="301520" y="2992068"/>
                </a:cubicBezTo>
                <a:cubicBezTo>
                  <a:pt x="311918" y="2967813"/>
                  <a:pt x="324048" y="2943557"/>
                  <a:pt x="334445" y="2919302"/>
                </a:cubicBezTo>
                <a:cubicBezTo>
                  <a:pt x="346575" y="2895047"/>
                  <a:pt x="358705" y="2869059"/>
                  <a:pt x="370835" y="2844803"/>
                </a:cubicBezTo>
                <a:cubicBezTo>
                  <a:pt x="372568" y="2839606"/>
                  <a:pt x="376034" y="2832676"/>
                  <a:pt x="379500" y="2825746"/>
                </a:cubicBezTo>
                <a:cubicBezTo>
                  <a:pt x="388164" y="2806688"/>
                  <a:pt x="398561" y="2789363"/>
                  <a:pt x="407226" y="2770305"/>
                </a:cubicBezTo>
                <a:cubicBezTo>
                  <a:pt x="410691" y="2763375"/>
                  <a:pt x="414157" y="2756445"/>
                  <a:pt x="417623" y="2749515"/>
                </a:cubicBezTo>
                <a:cubicBezTo>
                  <a:pt x="441883" y="2701004"/>
                  <a:pt x="467876" y="2652493"/>
                  <a:pt x="493869" y="2605715"/>
                </a:cubicBezTo>
                <a:cubicBezTo>
                  <a:pt x="497335" y="2598785"/>
                  <a:pt x="500801" y="2591855"/>
                  <a:pt x="504267" y="2586657"/>
                </a:cubicBezTo>
                <a:cubicBezTo>
                  <a:pt x="514664" y="2567600"/>
                  <a:pt x="525061" y="2550274"/>
                  <a:pt x="535458" y="2531217"/>
                </a:cubicBezTo>
                <a:cubicBezTo>
                  <a:pt x="538924" y="2524287"/>
                  <a:pt x="542390" y="2519089"/>
                  <a:pt x="545856" y="2512159"/>
                </a:cubicBezTo>
                <a:cubicBezTo>
                  <a:pt x="573582" y="2463648"/>
                  <a:pt x="601308" y="2416870"/>
                  <a:pt x="630767" y="2370092"/>
                </a:cubicBezTo>
                <a:cubicBezTo>
                  <a:pt x="634232" y="2364894"/>
                  <a:pt x="637698" y="2357964"/>
                  <a:pt x="642897" y="2351034"/>
                </a:cubicBezTo>
                <a:cubicBezTo>
                  <a:pt x="653294" y="2333709"/>
                  <a:pt x="665424" y="2316384"/>
                  <a:pt x="675821" y="2297326"/>
                </a:cubicBezTo>
                <a:cubicBezTo>
                  <a:pt x="679287" y="2292128"/>
                  <a:pt x="684486" y="2285198"/>
                  <a:pt x="687951" y="2280001"/>
                </a:cubicBezTo>
                <a:cubicBezTo>
                  <a:pt x="717410" y="2233223"/>
                  <a:pt x="748602" y="2186445"/>
                  <a:pt x="779794" y="2141399"/>
                </a:cubicBezTo>
                <a:cubicBezTo>
                  <a:pt x="783260" y="2134469"/>
                  <a:pt x="788458" y="2129271"/>
                  <a:pt x="791924" y="2122341"/>
                </a:cubicBezTo>
                <a:cubicBezTo>
                  <a:pt x="804054" y="2105016"/>
                  <a:pt x="816184" y="2087691"/>
                  <a:pt x="828314" y="2070366"/>
                </a:cubicBezTo>
                <a:cubicBezTo>
                  <a:pt x="833513" y="2065168"/>
                  <a:pt x="836979" y="2058238"/>
                  <a:pt x="842177" y="2051308"/>
                </a:cubicBezTo>
                <a:cubicBezTo>
                  <a:pt x="875102" y="2006262"/>
                  <a:pt x="908027" y="1961217"/>
                  <a:pt x="940951" y="1917904"/>
                </a:cubicBezTo>
                <a:cubicBezTo>
                  <a:pt x="946150" y="1910973"/>
                  <a:pt x="951348" y="1905776"/>
                  <a:pt x="954814" y="1898846"/>
                </a:cubicBezTo>
                <a:cubicBezTo>
                  <a:pt x="968677" y="1883253"/>
                  <a:pt x="980807" y="1865928"/>
                  <a:pt x="994670" y="1848603"/>
                </a:cubicBezTo>
                <a:cubicBezTo>
                  <a:pt x="999869" y="1843405"/>
                  <a:pt x="1003335" y="1836475"/>
                  <a:pt x="1008533" y="1831277"/>
                </a:cubicBezTo>
                <a:cubicBezTo>
                  <a:pt x="1043191" y="1786232"/>
                  <a:pt x="1079581" y="1742919"/>
                  <a:pt x="1114239" y="1701338"/>
                </a:cubicBezTo>
                <a:cubicBezTo>
                  <a:pt x="1119437" y="1694408"/>
                  <a:pt x="1124636" y="1689210"/>
                  <a:pt x="1129835" y="1682280"/>
                </a:cubicBezTo>
                <a:cubicBezTo>
                  <a:pt x="1143698" y="1666688"/>
                  <a:pt x="1157561" y="1651095"/>
                  <a:pt x="1171424" y="1633770"/>
                </a:cubicBezTo>
                <a:cubicBezTo>
                  <a:pt x="1176622" y="1628572"/>
                  <a:pt x="1181821" y="1621642"/>
                  <a:pt x="1187019" y="1616444"/>
                </a:cubicBezTo>
                <a:cubicBezTo>
                  <a:pt x="1225143" y="1574864"/>
                  <a:pt x="1263266" y="1531551"/>
                  <a:pt x="1301389" y="1489970"/>
                </a:cubicBezTo>
                <a:cubicBezTo>
                  <a:pt x="1306588" y="1484773"/>
                  <a:pt x="1311786" y="1477843"/>
                  <a:pt x="1318718" y="1472645"/>
                </a:cubicBezTo>
                <a:cubicBezTo>
                  <a:pt x="1332581" y="1457052"/>
                  <a:pt x="1346444" y="1441460"/>
                  <a:pt x="1362040" y="1427599"/>
                </a:cubicBezTo>
                <a:cubicBezTo>
                  <a:pt x="1367238" y="1420669"/>
                  <a:pt x="1374170" y="1415472"/>
                  <a:pt x="1379369" y="1408542"/>
                </a:cubicBezTo>
                <a:cubicBezTo>
                  <a:pt x="1398430" y="1389484"/>
                  <a:pt x="1417492" y="1368694"/>
                  <a:pt x="1436553" y="1349636"/>
                </a:cubicBezTo>
                <a:cubicBezTo>
                  <a:pt x="1438286" y="1349636"/>
                  <a:pt x="1438286" y="1347903"/>
                  <a:pt x="1438286" y="1347903"/>
                </a:cubicBezTo>
                <a:cubicBezTo>
                  <a:pt x="2074251" y="712067"/>
                  <a:pt x="2826319" y="263344"/>
                  <a:pt x="3625174" y="0"/>
                </a:cubicBezTo>
                <a:close/>
              </a:path>
            </a:pathLst>
          </a:custGeom>
        </p:spPr>
        <p:txBody>
          <a:bodyPr wrap="square" tIns="2232000" anchor="t" anchorCtr="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A39898F-060B-CC91-8A38-3BFBD5354CC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351" y="5643500"/>
            <a:ext cx="5003993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85697597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Colou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E6BBC6-4CC2-A65A-176C-CB76BE218F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5961795C-4FB4-1DBF-B2FF-C135024E7FB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 l="-3487" t="24275" r="36846" b="22968"/>
          <a:stretch/>
        </p:blipFill>
        <p:spPr>
          <a:xfrm>
            <a:off x="6547164" y="0"/>
            <a:ext cx="5644837" cy="68580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7650427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Colou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E6BBC6-4CC2-A65A-176C-CB76BE218F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69A043F-EC5B-3888-7E67-3E0F750A412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 l="39825" t="27472" b="16565"/>
          <a:stretch/>
        </p:blipFill>
        <p:spPr>
          <a:xfrm flipH="1">
            <a:off x="7378342" y="-26896"/>
            <a:ext cx="4840550" cy="6884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1571225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Colou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E6BBC6-4CC2-A65A-176C-CB76BE218F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E07F4C44-6C60-E7C8-7939-876180F32FC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 t="6011" r="25038" b="12622"/>
          <a:stretch/>
        </p:blipFill>
        <p:spPr>
          <a:xfrm>
            <a:off x="6957081" y="-13449"/>
            <a:ext cx="5247299" cy="6885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5828121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Colou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AEE5F76A-EDD2-2CEE-5784-EFB92164D43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b="2447"/>
          <a:stretch/>
        </p:blipFill>
        <p:spPr>
          <a:xfrm>
            <a:off x="6270172" y="-11148"/>
            <a:ext cx="5959342" cy="688259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Nr.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E6BBC6-4CC2-A65A-176C-CB76BE218F4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97377082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Colou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E6BBC6-4CC2-A65A-176C-CB76BE218F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4959EBCC-B1E4-EAD3-432C-B443C192BEF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 l="-1" t="6603" r="35729" b="10052"/>
          <a:stretch/>
        </p:blipFill>
        <p:spPr>
          <a:xfrm>
            <a:off x="6514138" y="-13445"/>
            <a:ext cx="5687802" cy="6871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8102315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Colou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E6BBC6-4CC2-A65A-176C-CB76BE218F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1B67F3C-B23F-37FD-2273-51EAAF7FF8A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 t="20488" r="31419" b="6693"/>
          <a:stretch/>
        </p:blipFill>
        <p:spPr>
          <a:xfrm>
            <a:off x="6026568" y="-13447"/>
            <a:ext cx="6192326" cy="6871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2853962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E6BBC6-4CC2-A65A-176C-CB76BE218F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2A7B6C5-FF22-1A7A-56C3-FB036A8167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4838" y="2022689"/>
            <a:ext cx="5040312" cy="400050"/>
          </a:xfrm>
        </p:spPr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en-GB"/>
              <a:t>0.0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D89675DD-EABB-93F2-6CB5-06B224AE5028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5720303" y="0"/>
            <a:ext cx="6471348" cy="6858000"/>
          </a:xfrm>
          <a:custGeom>
            <a:avLst/>
            <a:gdLst>
              <a:gd name="connsiteX0" fmla="*/ 1206092 w 4755846"/>
              <a:gd name="connsiteY0" fmla="*/ 0 h 5038725"/>
              <a:gd name="connsiteX1" fmla="*/ 3359508 w 4755846"/>
              <a:gd name="connsiteY1" fmla="*/ 0 h 5038725"/>
              <a:gd name="connsiteX2" fmla="*/ 4194745 w 4755846"/>
              <a:gd name="connsiteY2" fmla="*/ 565690 h 5038725"/>
              <a:gd name="connsiteX3" fmla="*/ 4755846 w 4755846"/>
              <a:gd name="connsiteY3" fmla="*/ 1347159 h 5038725"/>
              <a:gd name="connsiteX4" fmla="*/ 4755846 w 4755846"/>
              <a:gd name="connsiteY4" fmla="*/ 3775545 h 5038725"/>
              <a:gd name="connsiteX5" fmla="*/ 4233240 w 4755846"/>
              <a:gd name="connsiteY5" fmla="*/ 4519690 h 5038725"/>
              <a:gd name="connsiteX6" fmla="*/ 3533322 w 4755846"/>
              <a:gd name="connsiteY6" fmla="*/ 5038725 h 5038725"/>
              <a:gd name="connsiteX7" fmla="*/ 941290 w 4755846"/>
              <a:gd name="connsiteY7" fmla="*/ 5038725 h 5038725"/>
              <a:gd name="connsiteX8" fmla="*/ 281033 w 4755846"/>
              <a:gd name="connsiteY8" fmla="*/ 4558180 h 5038725"/>
              <a:gd name="connsiteX9" fmla="*/ 278700 w 4755846"/>
              <a:gd name="connsiteY9" fmla="*/ 4557014 h 5038725"/>
              <a:gd name="connsiteX10" fmla="*/ 25563 w 4755846"/>
              <a:gd name="connsiteY10" fmla="*/ 3674070 h 5038725"/>
              <a:gd name="connsiteX11" fmla="*/ 32562 w 4755846"/>
              <a:gd name="connsiteY11" fmla="*/ 3644911 h 5038725"/>
              <a:gd name="connsiteX12" fmla="*/ 267035 w 4755846"/>
              <a:gd name="connsiteY12" fmla="*/ 3239014 h 5038725"/>
              <a:gd name="connsiteX13" fmla="*/ 668321 w 4755846"/>
              <a:gd name="connsiteY13" fmla="*/ 2997575 h 5038725"/>
              <a:gd name="connsiteX14" fmla="*/ 696318 w 4755846"/>
              <a:gd name="connsiteY14" fmla="*/ 2990577 h 5038725"/>
              <a:gd name="connsiteX15" fmla="*/ 1097605 w 4755846"/>
              <a:gd name="connsiteY15" fmla="*/ 2749138 h 5038725"/>
              <a:gd name="connsiteX16" fmla="*/ 1330911 w 4755846"/>
              <a:gd name="connsiteY16" fmla="*/ 2343241 h 5038725"/>
              <a:gd name="connsiteX17" fmla="*/ 1337910 w 4755846"/>
              <a:gd name="connsiteY17" fmla="*/ 2314081 h 5038725"/>
              <a:gd name="connsiteX18" fmla="*/ 1084773 w 4755846"/>
              <a:gd name="connsiteY18" fmla="*/ 1431138 h 5038725"/>
              <a:gd name="connsiteX19" fmla="*/ 831636 w 4755846"/>
              <a:gd name="connsiteY19" fmla="*/ 548195 h 5038725"/>
              <a:gd name="connsiteX20" fmla="*/ 838635 w 4755846"/>
              <a:gd name="connsiteY20" fmla="*/ 519035 h 5038725"/>
              <a:gd name="connsiteX21" fmla="*/ 1071941 w 4755846"/>
              <a:gd name="connsiteY21" fmla="*/ 113138 h 5038725"/>
              <a:gd name="connsiteX22" fmla="*/ 1206092 w 4755846"/>
              <a:gd name="connsiteY22" fmla="*/ 0 h 50387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4755846" h="5038725">
                <a:moveTo>
                  <a:pt x="1206092" y="0"/>
                </a:moveTo>
                <a:cubicBezTo>
                  <a:pt x="1206092" y="0"/>
                  <a:pt x="1206092" y="0"/>
                  <a:pt x="3359508" y="0"/>
                </a:cubicBezTo>
                <a:cubicBezTo>
                  <a:pt x="3661640" y="132967"/>
                  <a:pt x="3945107" y="320752"/>
                  <a:pt x="4194745" y="565690"/>
                </a:cubicBezTo>
                <a:cubicBezTo>
                  <a:pt x="4432717" y="798965"/>
                  <a:pt x="4619362" y="1063731"/>
                  <a:pt x="4755846" y="1347159"/>
                </a:cubicBezTo>
                <a:lnTo>
                  <a:pt x="4755846" y="3775545"/>
                </a:lnTo>
                <a:cubicBezTo>
                  <a:pt x="4627528" y="4043810"/>
                  <a:pt x="4452548" y="4295747"/>
                  <a:pt x="4233240" y="4519690"/>
                </a:cubicBezTo>
                <a:cubicBezTo>
                  <a:pt x="4022098" y="4733136"/>
                  <a:pt x="3786459" y="4906925"/>
                  <a:pt x="3533322" y="5038725"/>
                </a:cubicBezTo>
                <a:cubicBezTo>
                  <a:pt x="3533322" y="5038725"/>
                  <a:pt x="3533322" y="5038725"/>
                  <a:pt x="941290" y="5038725"/>
                </a:cubicBezTo>
                <a:cubicBezTo>
                  <a:pt x="704484" y="4915090"/>
                  <a:pt x="481676" y="4755297"/>
                  <a:pt x="281033" y="4558180"/>
                </a:cubicBezTo>
                <a:cubicBezTo>
                  <a:pt x="279866" y="4558180"/>
                  <a:pt x="279866" y="4557014"/>
                  <a:pt x="278700" y="4557014"/>
                </a:cubicBezTo>
                <a:cubicBezTo>
                  <a:pt x="37228" y="4319074"/>
                  <a:pt x="-47929" y="3980826"/>
                  <a:pt x="25563" y="3674070"/>
                </a:cubicBezTo>
                <a:cubicBezTo>
                  <a:pt x="27896" y="3663573"/>
                  <a:pt x="31395" y="3654242"/>
                  <a:pt x="32562" y="3644911"/>
                </a:cubicBezTo>
                <a:cubicBezTo>
                  <a:pt x="73390" y="3496782"/>
                  <a:pt x="151548" y="3356817"/>
                  <a:pt x="267035" y="3239014"/>
                </a:cubicBezTo>
                <a:cubicBezTo>
                  <a:pt x="381355" y="3122377"/>
                  <a:pt x="520172" y="3041897"/>
                  <a:pt x="668321" y="2997575"/>
                </a:cubicBezTo>
                <a:cubicBezTo>
                  <a:pt x="677654" y="2995242"/>
                  <a:pt x="686986" y="2992909"/>
                  <a:pt x="696318" y="2990577"/>
                </a:cubicBezTo>
                <a:cubicBezTo>
                  <a:pt x="843301" y="2946255"/>
                  <a:pt x="982118" y="2865775"/>
                  <a:pt x="1097605" y="2749138"/>
                </a:cubicBezTo>
                <a:cubicBezTo>
                  <a:pt x="1213091" y="2631334"/>
                  <a:pt x="1290082" y="2491370"/>
                  <a:pt x="1330911" y="2343241"/>
                </a:cubicBezTo>
                <a:cubicBezTo>
                  <a:pt x="1333244" y="2333910"/>
                  <a:pt x="1335577" y="2324579"/>
                  <a:pt x="1337910" y="2314081"/>
                </a:cubicBezTo>
                <a:cubicBezTo>
                  <a:pt x="1412568" y="2007326"/>
                  <a:pt x="1327411" y="1669078"/>
                  <a:pt x="1084773" y="1431138"/>
                </a:cubicBezTo>
                <a:cubicBezTo>
                  <a:pt x="842134" y="1193198"/>
                  <a:pt x="756978" y="856117"/>
                  <a:pt x="831636" y="548195"/>
                </a:cubicBezTo>
                <a:cubicBezTo>
                  <a:pt x="833969" y="537697"/>
                  <a:pt x="836302" y="528366"/>
                  <a:pt x="838635" y="519035"/>
                </a:cubicBezTo>
                <a:cubicBezTo>
                  <a:pt x="879463" y="370906"/>
                  <a:pt x="957621" y="230942"/>
                  <a:pt x="1071941" y="113138"/>
                </a:cubicBezTo>
                <a:cubicBezTo>
                  <a:pt x="1113936" y="71149"/>
                  <a:pt x="1159431" y="32658"/>
                  <a:pt x="1206092" y="0"/>
                </a:cubicBezTo>
                <a:close/>
              </a:path>
            </a:pathLst>
          </a:custGeom>
        </p:spPr>
        <p:txBody>
          <a:bodyPr wrap="square" tIns="1584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58568557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D236CBE7-63A4-7E81-513A-64746A20A0CE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6178937" y="-1"/>
            <a:ext cx="6013063" cy="6858000"/>
          </a:xfrm>
          <a:custGeom>
            <a:avLst/>
            <a:gdLst>
              <a:gd name="connsiteX0" fmla="*/ 1551800 w 3242487"/>
              <a:gd name="connsiteY0" fmla="*/ 0 h 3698111"/>
              <a:gd name="connsiteX1" fmla="*/ 2712596 w 3242487"/>
              <a:gd name="connsiteY1" fmla="*/ 0 h 3698111"/>
              <a:gd name="connsiteX2" fmla="*/ 3242487 w 3242487"/>
              <a:gd name="connsiteY2" fmla="*/ 395493 h 3698111"/>
              <a:gd name="connsiteX3" fmla="*/ 3242487 w 3242487"/>
              <a:gd name="connsiteY3" fmla="*/ 2062211 h 3698111"/>
              <a:gd name="connsiteX4" fmla="*/ 2603022 w 3242487"/>
              <a:gd name="connsiteY4" fmla="*/ 2336145 h 3698111"/>
              <a:gd name="connsiteX5" fmla="*/ 2589325 w 3242487"/>
              <a:gd name="connsiteY5" fmla="*/ 2354122 h 3698111"/>
              <a:gd name="connsiteX6" fmla="*/ 2459207 w 3242487"/>
              <a:gd name="connsiteY6" fmla="*/ 2687979 h 3698111"/>
              <a:gd name="connsiteX7" fmla="*/ 2508001 w 3242487"/>
              <a:gd name="connsiteY7" fmla="*/ 3043237 h 3698111"/>
              <a:gd name="connsiteX8" fmla="*/ 2508001 w 3242487"/>
              <a:gd name="connsiteY8" fmla="*/ 3044093 h 3698111"/>
              <a:gd name="connsiteX9" fmla="*/ 2526834 w 3242487"/>
              <a:gd name="connsiteY9" fmla="*/ 3088608 h 3698111"/>
              <a:gd name="connsiteX10" fmla="*/ 2526834 w 3242487"/>
              <a:gd name="connsiteY10" fmla="*/ 3090320 h 3698111"/>
              <a:gd name="connsiteX11" fmla="*/ 2528546 w 3242487"/>
              <a:gd name="connsiteY11" fmla="*/ 3092888 h 3698111"/>
              <a:gd name="connsiteX12" fmla="*/ 2529402 w 3242487"/>
              <a:gd name="connsiteY12" fmla="*/ 3095456 h 3698111"/>
              <a:gd name="connsiteX13" fmla="*/ 2530258 w 3242487"/>
              <a:gd name="connsiteY13" fmla="*/ 3098024 h 3698111"/>
              <a:gd name="connsiteX14" fmla="*/ 2531114 w 3242487"/>
              <a:gd name="connsiteY14" fmla="*/ 3102304 h 3698111"/>
              <a:gd name="connsiteX15" fmla="*/ 2565356 w 3242487"/>
              <a:gd name="connsiteY15" fmla="*/ 3419041 h 3698111"/>
              <a:gd name="connsiteX16" fmla="*/ 2472903 w 3242487"/>
              <a:gd name="connsiteY16" fmla="*/ 3694687 h 3698111"/>
              <a:gd name="connsiteX17" fmla="*/ 2472903 w 3242487"/>
              <a:gd name="connsiteY17" fmla="*/ 3695543 h 3698111"/>
              <a:gd name="connsiteX18" fmla="*/ 2471191 w 3242487"/>
              <a:gd name="connsiteY18" fmla="*/ 3698111 h 3698111"/>
              <a:gd name="connsiteX19" fmla="*/ 1150315 w 3242487"/>
              <a:gd name="connsiteY19" fmla="*/ 3698111 h 3698111"/>
              <a:gd name="connsiteX20" fmla="*/ 297695 w 3242487"/>
              <a:gd name="connsiteY20" fmla="*/ 3061214 h 3698111"/>
              <a:gd name="connsiteX21" fmla="*/ 120494 w 3242487"/>
              <a:gd name="connsiteY21" fmla="*/ 2878877 h 3698111"/>
              <a:gd name="connsiteX22" fmla="*/ 120494 w 3242487"/>
              <a:gd name="connsiteY22" fmla="*/ 2878021 h 3698111"/>
              <a:gd name="connsiteX23" fmla="*/ 117926 w 3242487"/>
              <a:gd name="connsiteY23" fmla="*/ 2874597 h 3698111"/>
              <a:gd name="connsiteX24" fmla="*/ 117070 w 3242487"/>
              <a:gd name="connsiteY24" fmla="*/ 2872885 h 3698111"/>
              <a:gd name="connsiteX25" fmla="*/ 115357 w 3242487"/>
              <a:gd name="connsiteY25" fmla="*/ 2870316 h 3698111"/>
              <a:gd name="connsiteX26" fmla="*/ 113645 w 3242487"/>
              <a:gd name="connsiteY26" fmla="*/ 2867748 h 3698111"/>
              <a:gd name="connsiteX27" fmla="*/ 111933 w 3242487"/>
              <a:gd name="connsiteY27" fmla="*/ 2865180 h 3698111"/>
              <a:gd name="connsiteX28" fmla="*/ 110221 w 3242487"/>
              <a:gd name="connsiteY28" fmla="*/ 2862612 h 3698111"/>
              <a:gd name="connsiteX29" fmla="*/ 109365 w 3242487"/>
              <a:gd name="connsiteY29" fmla="*/ 2860900 h 3698111"/>
              <a:gd name="connsiteX30" fmla="*/ 107653 w 3242487"/>
              <a:gd name="connsiteY30" fmla="*/ 2858332 h 3698111"/>
              <a:gd name="connsiteX31" fmla="*/ 105941 w 3242487"/>
              <a:gd name="connsiteY31" fmla="*/ 2856620 h 3698111"/>
              <a:gd name="connsiteX32" fmla="*/ 104229 w 3242487"/>
              <a:gd name="connsiteY32" fmla="*/ 2853195 h 3698111"/>
              <a:gd name="connsiteX33" fmla="*/ 103373 w 3242487"/>
              <a:gd name="connsiteY33" fmla="*/ 2851483 h 3698111"/>
              <a:gd name="connsiteX34" fmla="*/ 101661 w 3242487"/>
              <a:gd name="connsiteY34" fmla="*/ 2848059 h 3698111"/>
              <a:gd name="connsiteX35" fmla="*/ 100805 w 3242487"/>
              <a:gd name="connsiteY35" fmla="*/ 2846347 h 3698111"/>
              <a:gd name="connsiteX36" fmla="*/ 98237 w 3242487"/>
              <a:gd name="connsiteY36" fmla="*/ 2842923 h 3698111"/>
              <a:gd name="connsiteX37" fmla="*/ 97381 w 3242487"/>
              <a:gd name="connsiteY37" fmla="*/ 2841211 h 3698111"/>
              <a:gd name="connsiteX38" fmla="*/ 95668 w 3242487"/>
              <a:gd name="connsiteY38" fmla="*/ 2837787 h 3698111"/>
              <a:gd name="connsiteX39" fmla="*/ 94812 w 3242487"/>
              <a:gd name="connsiteY39" fmla="*/ 2836931 h 3698111"/>
              <a:gd name="connsiteX40" fmla="*/ 92244 w 3242487"/>
              <a:gd name="connsiteY40" fmla="*/ 2832650 h 3698111"/>
              <a:gd name="connsiteX41" fmla="*/ 89676 w 3242487"/>
              <a:gd name="connsiteY41" fmla="*/ 2827514 h 3698111"/>
              <a:gd name="connsiteX42" fmla="*/ 86252 w 3242487"/>
              <a:gd name="connsiteY42" fmla="*/ 2822378 h 3698111"/>
              <a:gd name="connsiteX43" fmla="*/ 62283 w 3242487"/>
              <a:gd name="connsiteY43" fmla="*/ 2773583 h 3698111"/>
              <a:gd name="connsiteX44" fmla="*/ 36601 w 3242487"/>
              <a:gd name="connsiteY44" fmla="*/ 2706812 h 3698111"/>
              <a:gd name="connsiteX45" fmla="*/ 35745 w 3242487"/>
              <a:gd name="connsiteY45" fmla="*/ 2705956 h 3698111"/>
              <a:gd name="connsiteX46" fmla="*/ 34889 w 3242487"/>
              <a:gd name="connsiteY46" fmla="*/ 2702532 h 3698111"/>
              <a:gd name="connsiteX47" fmla="*/ 34033 w 3242487"/>
              <a:gd name="connsiteY47" fmla="*/ 2699964 h 3698111"/>
              <a:gd name="connsiteX48" fmla="*/ 33177 w 3242487"/>
              <a:gd name="connsiteY48" fmla="*/ 2697395 h 3698111"/>
              <a:gd name="connsiteX49" fmla="*/ 32321 w 3242487"/>
              <a:gd name="connsiteY49" fmla="*/ 2693115 h 3698111"/>
              <a:gd name="connsiteX50" fmla="*/ 31465 w 3242487"/>
              <a:gd name="connsiteY50" fmla="*/ 2692259 h 3698111"/>
              <a:gd name="connsiteX51" fmla="*/ 4928 w 3242487"/>
              <a:gd name="connsiteY51" fmla="*/ 2397780 h 3698111"/>
              <a:gd name="connsiteX52" fmla="*/ 172712 w 3242487"/>
              <a:gd name="connsiteY52" fmla="*/ 981027 h 3698111"/>
              <a:gd name="connsiteX53" fmla="*/ 278862 w 3242487"/>
              <a:gd name="connsiteY53" fmla="*/ 681411 h 3698111"/>
              <a:gd name="connsiteX54" fmla="*/ 279718 w 3242487"/>
              <a:gd name="connsiteY54" fmla="*/ 680555 h 3698111"/>
              <a:gd name="connsiteX55" fmla="*/ 281430 w 3242487"/>
              <a:gd name="connsiteY55" fmla="*/ 677131 h 3698111"/>
              <a:gd name="connsiteX56" fmla="*/ 283142 w 3242487"/>
              <a:gd name="connsiteY56" fmla="*/ 675419 h 3698111"/>
              <a:gd name="connsiteX57" fmla="*/ 284854 w 3242487"/>
              <a:gd name="connsiteY57" fmla="*/ 673707 h 3698111"/>
              <a:gd name="connsiteX58" fmla="*/ 286566 w 3242487"/>
              <a:gd name="connsiteY58" fmla="*/ 670283 h 3698111"/>
              <a:gd name="connsiteX59" fmla="*/ 315672 w 3242487"/>
              <a:gd name="connsiteY59" fmla="*/ 630049 h 3698111"/>
              <a:gd name="connsiteX60" fmla="*/ 315672 w 3242487"/>
              <a:gd name="connsiteY60" fmla="*/ 629193 h 3698111"/>
              <a:gd name="connsiteX61" fmla="*/ 611007 w 3242487"/>
              <a:gd name="connsiteY61" fmla="*/ 404053 h 3698111"/>
              <a:gd name="connsiteX62" fmla="*/ 1551800 w 3242487"/>
              <a:gd name="connsiteY62" fmla="*/ 0 h 36981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</a:cxnLst>
            <a:rect l="l" t="t" r="r" b="b"/>
            <a:pathLst>
              <a:path w="3242487" h="3698111">
                <a:moveTo>
                  <a:pt x="1551800" y="0"/>
                </a:moveTo>
                <a:cubicBezTo>
                  <a:pt x="1551800" y="0"/>
                  <a:pt x="1551800" y="0"/>
                  <a:pt x="2712596" y="0"/>
                </a:cubicBezTo>
                <a:cubicBezTo>
                  <a:pt x="2968553" y="190898"/>
                  <a:pt x="3096960" y="286775"/>
                  <a:pt x="3242487" y="395493"/>
                </a:cubicBezTo>
                <a:lnTo>
                  <a:pt x="3242487" y="2062211"/>
                </a:lnTo>
                <a:cubicBezTo>
                  <a:pt x="2987386" y="2035673"/>
                  <a:pt x="2749406" y="2146103"/>
                  <a:pt x="2603022" y="2336145"/>
                </a:cubicBezTo>
                <a:cubicBezTo>
                  <a:pt x="2597886" y="2342137"/>
                  <a:pt x="2593606" y="2348129"/>
                  <a:pt x="2589325" y="2354122"/>
                </a:cubicBezTo>
                <a:cubicBezTo>
                  <a:pt x="2519986" y="2449143"/>
                  <a:pt x="2473759" y="2562996"/>
                  <a:pt x="2459207" y="2687979"/>
                </a:cubicBezTo>
                <a:cubicBezTo>
                  <a:pt x="2444654" y="2812961"/>
                  <a:pt x="2463487" y="2934520"/>
                  <a:pt x="2508001" y="3043237"/>
                </a:cubicBezTo>
                <a:cubicBezTo>
                  <a:pt x="2508001" y="3043237"/>
                  <a:pt x="2508001" y="3043237"/>
                  <a:pt x="2508001" y="3044093"/>
                </a:cubicBezTo>
                <a:cubicBezTo>
                  <a:pt x="2514850" y="3058646"/>
                  <a:pt x="2520842" y="3073199"/>
                  <a:pt x="2526834" y="3088608"/>
                </a:cubicBezTo>
                <a:cubicBezTo>
                  <a:pt x="2526834" y="3089464"/>
                  <a:pt x="2526834" y="3089464"/>
                  <a:pt x="2526834" y="3090320"/>
                </a:cubicBezTo>
                <a:cubicBezTo>
                  <a:pt x="2527690" y="3091176"/>
                  <a:pt x="2527690" y="3092032"/>
                  <a:pt x="2528546" y="3092888"/>
                </a:cubicBezTo>
                <a:cubicBezTo>
                  <a:pt x="2528546" y="3093744"/>
                  <a:pt x="2528546" y="3094600"/>
                  <a:pt x="2529402" y="3095456"/>
                </a:cubicBezTo>
                <a:cubicBezTo>
                  <a:pt x="2529402" y="3096312"/>
                  <a:pt x="2529402" y="3097168"/>
                  <a:pt x="2530258" y="3098024"/>
                </a:cubicBezTo>
                <a:cubicBezTo>
                  <a:pt x="2530258" y="3098880"/>
                  <a:pt x="2531114" y="3100592"/>
                  <a:pt x="2531114" y="3102304"/>
                </a:cubicBezTo>
                <a:cubicBezTo>
                  <a:pt x="2565356" y="3200749"/>
                  <a:pt x="2578197" y="3308611"/>
                  <a:pt x="2565356" y="3419041"/>
                </a:cubicBezTo>
                <a:cubicBezTo>
                  <a:pt x="2553371" y="3519198"/>
                  <a:pt x="2521698" y="3612507"/>
                  <a:pt x="2472903" y="3694687"/>
                </a:cubicBezTo>
                <a:cubicBezTo>
                  <a:pt x="2472903" y="3694687"/>
                  <a:pt x="2472903" y="3694687"/>
                  <a:pt x="2472903" y="3695543"/>
                </a:cubicBezTo>
                <a:cubicBezTo>
                  <a:pt x="2472047" y="3696399"/>
                  <a:pt x="2472047" y="3697255"/>
                  <a:pt x="2471191" y="3698111"/>
                </a:cubicBezTo>
                <a:cubicBezTo>
                  <a:pt x="2471191" y="3698111"/>
                  <a:pt x="2471191" y="3698111"/>
                  <a:pt x="1150315" y="3698111"/>
                </a:cubicBezTo>
                <a:cubicBezTo>
                  <a:pt x="838715" y="3465267"/>
                  <a:pt x="747974" y="3397640"/>
                  <a:pt x="297695" y="3061214"/>
                </a:cubicBezTo>
                <a:cubicBezTo>
                  <a:pt x="227499" y="3011564"/>
                  <a:pt x="168432" y="2949072"/>
                  <a:pt x="120494" y="2878877"/>
                </a:cubicBezTo>
                <a:cubicBezTo>
                  <a:pt x="120494" y="2878021"/>
                  <a:pt x="120494" y="2878021"/>
                  <a:pt x="120494" y="2878021"/>
                </a:cubicBezTo>
                <a:cubicBezTo>
                  <a:pt x="119638" y="2876309"/>
                  <a:pt x="118782" y="2875453"/>
                  <a:pt x="117926" y="2874597"/>
                </a:cubicBezTo>
                <a:cubicBezTo>
                  <a:pt x="117926" y="2873741"/>
                  <a:pt x="117070" y="2873741"/>
                  <a:pt x="117070" y="2872885"/>
                </a:cubicBezTo>
                <a:cubicBezTo>
                  <a:pt x="116214" y="2872028"/>
                  <a:pt x="115357" y="2871172"/>
                  <a:pt x="115357" y="2870316"/>
                </a:cubicBezTo>
                <a:cubicBezTo>
                  <a:pt x="114501" y="2869460"/>
                  <a:pt x="114501" y="2868604"/>
                  <a:pt x="113645" y="2867748"/>
                </a:cubicBezTo>
                <a:cubicBezTo>
                  <a:pt x="113645" y="2866892"/>
                  <a:pt x="112789" y="2866036"/>
                  <a:pt x="111933" y="2865180"/>
                </a:cubicBezTo>
                <a:cubicBezTo>
                  <a:pt x="111933" y="2864324"/>
                  <a:pt x="111077" y="2863468"/>
                  <a:pt x="110221" y="2862612"/>
                </a:cubicBezTo>
                <a:cubicBezTo>
                  <a:pt x="110221" y="2862612"/>
                  <a:pt x="109365" y="2861756"/>
                  <a:pt x="109365" y="2860900"/>
                </a:cubicBezTo>
                <a:cubicBezTo>
                  <a:pt x="108509" y="2860044"/>
                  <a:pt x="108509" y="2859188"/>
                  <a:pt x="107653" y="2858332"/>
                </a:cubicBezTo>
                <a:cubicBezTo>
                  <a:pt x="106797" y="2857476"/>
                  <a:pt x="106797" y="2856620"/>
                  <a:pt x="105941" y="2856620"/>
                </a:cubicBezTo>
                <a:cubicBezTo>
                  <a:pt x="105941" y="2854908"/>
                  <a:pt x="105085" y="2854052"/>
                  <a:pt x="104229" y="2853195"/>
                </a:cubicBezTo>
                <a:cubicBezTo>
                  <a:pt x="104229" y="2852339"/>
                  <a:pt x="103373" y="2852339"/>
                  <a:pt x="103373" y="2851483"/>
                </a:cubicBezTo>
                <a:cubicBezTo>
                  <a:pt x="102517" y="2850627"/>
                  <a:pt x="101661" y="2848915"/>
                  <a:pt x="101661" y="2848059"/>
                </a:cubicBezTo>
                <a:cubicBezTo>
                  <a:pt x="100805" y="2847203"/>
                  <a:pt x="100805" y="2847203"/>
                  <a:pt x="100805" y="2846347"/>
                </a:cubicBezTo>
                <a:cubicBezTo>
                  <a:pt x="99949" y="2845491"/>
                  <a:pt x="99093" y="2843779"/>
                  <a:pt x="98237" y="2842923"/>
                </a:cubicBezTo>
                <a:cubicBezTo>
                  <a:pt x="98237" y="2842923"/>
                  <a:pt x="98237" y="2842067"/>
                  <a:pt x="97381" y="2841211"/>
                </a:cubicBezTo>
                <a:cubicBezTo>
                  <a:pt x="96524" y="2840355"/>
                  <a:pt x="96524" y="2839499"/>
                  <a:pt x="95668" y="2837787"/>
                </a:cubicBezTo>
                <a:cubicBezTo>
                  <a:pt x="94812" y="2837787"/>
                  <a:pt x="94812" y="2836931"/>
                  <a:pt x="94812" y="2836931"/>
                </a:cubicBezTo>
                <a:cubicBezTo>
                  <a:pt x="93956" y="2835219"/>
                  <a:pt x="93100" y="2834363"/>
                  <a:pt x="92244" y="2832650"/>
                </a:cubicBezTo>
                <a:cubicBezTo>
                  <a:pt x="91388" y="2830082"/>
                  <a:pt x="90532" y="2829226"/>
                  <a:pt x="89676" y="2827514"/>
                </a:cubicBezTo>
                <a:cubicBezTo>
                  <a:pt x="87964" y="2824946"/>
                  <a:pt x="87108" y="2824090"/>
                  <a:pt x="86252" y="2822378"/>
                </a:cubicBezTo>
                <a:cubicBezTo>
                  <a:pt x="77692" y="2806113"/>
                  <a:pt x="69987" y="2790704"/>
                  <a:pt x="62283" y="2773583"/>
                </a:cubicBezTo>
                <a:cubicBezTo>
                  <a:pt x="52866" y="2752182"/>
                  <a:pt x="44306" y="2729925"/>
                  <a:pt x="36601" y="2706812"/>
                </a:cubicBezTo>
                <a:cubicBezTo>
                  <a:pt x="36601" y="2706812"/>
                  <a:pt x="36601" y="2705956"/>
                  <a:pt x="35745" y="2705956"/>
                </a:cubicBezTo>
                <a:cubicBezTo>
                  <a:pt x="35745" y="2704244"/>
                  <a:pt x="35745" y="2703388"/>
                  <a:pt x="34889" y="2702532"/>
                </a:cubicBezTo>
                <a:cubicBezTo>
                  <a:pt x="34889" y="2701676"/>
                  <a:pt x="34033" y="2700820"/>
                  <a:pt x="34033" y="2699964"/>
                </a:cubicBezTo>
                <a:cubicBezTo>
                  <a:pt x="34033" y="2699108"/>
                  <a:pt x="33177" y="2698251"/>
                  <a:pt x="33177" y="2697395"/>
                </a:cubicBezTo>
                <a:cubicBezTo>
                  <a:pt x="33177" y="2695683"/>
                  <a:pt x="32321" y="2693971"/>
                  <a:pt x="32321" y="2693115"/>
                </a:cubicBezTo>
                <a:cubicBezTo>
                  <a:pt x="32321" y="2692259"/>
                  <a:pt x="31465" y="2692259"/>
                  <a:pt x="31465" y="2692259"/>
                </a:cubicBezTo>
                <a:cubicBezTo>
                  <a:pt x="3216" y="2599806"/>
                  <a:pt x="-7057" y="2500505"/>
                  <a:pt x="4928" y="2397780"/>
                </a:cubicBezTo>
                <a:cubicBezTo>
                  <a:pt x="4928" y="2397780"/>
                  <a:pt x="4928" y="2397780"/>
                  <a:pt x="172712" y="981027"/>
                </a:cubicBezTo>
                <a:cubicBezTo>
                  <a:pt x="185553" y="870597"/>
                  <a:pt x="223219" y="769584"/>
                  <a:pt x="278862" y="681411"/>
                </a:cubicBezTo>
                <a:cubicBezTo>
                  <a:pt x="278862" y="681411"/>
                  <a:pt x="279718" y="681411"/>
                  <a:pt x="279718" y="680555"/>
                </a:cubicBezTo>
                <a:cubicBezTo>
                  <a:pt x="280574" y="679699"/>
                  <a:pt x="281430" y="678843"/>
                  <a:pt x="281430" y="677131"/>
                </a:cubicBezTo>
                <a:cubicBezTo>
                  <a:pt x="282286" y="676275"/>
                  <a:pt x="282286" y="676275"/>
                  <a:pt x="283142" y="675419"/>
                </a:cubicBezTo>
                <a:cubicBezTo>
                  <a:pt x="283142" y="674563"/>
                  <a:pt x="283998" y="673707"/>
                  <a:pt x="284854" y="673707"/>
                </a:cubicBezTo>
                <a:cubicBezTo>
                  <a:pt x="284854" y="671995"/>
                  <a:pt x="285710" y="671139"/>
                  <a:pt x="286566" y="670283"/>
                </a:cubicBezTo>
                <a:cubicBezTo>
                  <a:pt x="295983" y="655730"/>
                  <a:pt x="305399" y="642889"/>
                  <a:pt x="315672" y="630049"/>
                </a:cubicBezTo>
                <a:cubicBezTo>
                  <a:pt x="315672" y="629193"/>
                  <a:pt x="315672" y="629193"/>
                  <a:pt x="315672" y="629193"/>
                </a:cubicBezTo>
                <a:cubicBezTo>
                  <a:pt x="392716" y="529892"/>
                  <a:pt x="494585" y="451991"/>
                  <a:pt x="611007" y="404053"/>
                </a:cubicBezTo>
                <a:cubicBezTo>
                  <a:pt x="1108369" y="190898"/>
                  <a:pt x="1223935" y="141247"/>
                  <a:pt x="1551800" y="0"/>
                </a:cubicBezTo>
                <a:close/>
              </a:path>
            </a:pathLst>
          </a:custGeom>
        </p:spPr>
        <p:txBody>
          <a:bodyPr wrap="square" tIns="1296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E6BBC6-4CC2-A65A-176C-CB76BE218F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2A7B6C5-FF22-1A7A-56C3-FB036A8167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4838" y="2022689"/>
            <a:ext cx="5040312" cy="400050"/>
          </a:xfrm>
        </p:spPr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en-GB"/>
              <a:t>0.0</a:t>
            </a:r>
          </a:p>
        </p:txBody>
      </p:sp>
    </p:spTree>
    <p:extLst>
      <p:ext uri="{BB962C8B-B14F-4D97-AF65-F5344CB8AC3E}">
        <p14:creationId xmlns:p14="http://schemas.microsoft.com/office/powerpoint/2010/main" val="3798147553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Im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E6BBC6-4CC2-A65A-176C-CB76BE218F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2A7B6C5-FF22-1A7A-56C3-FB036A8167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4838" y="2022689"/>
            <a:ext cx="5040312" cy="400050"/>
          </a:xfrm>
        </p:spPr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en-GB"/>
              <a:t>0.0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A65BE384-1ABB-6156-E7AC-98E94BD06433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5886921" y="0"/>
            <a:ext cx="6305079" cy="6858000"/>
          </a:xfrm>
          <a:custGeom>
            <a:avLst/>
            <a:gdLst>
              <a:gd name="connsiteX0" fmla="*/ 2584350 w 4378527"/>
              <a:gd name="connsiteY0" fmla="*/ 0 h 4762500"/>
              <a:gd name="connsiteX1" fmla="*/ 4378527 w 4378527"/>
              <a:gd name="connsiteY1" fmla="*/ 0 h 4762500"/>
              <a:gd name="connsiteX2" fmla="*/ 4378527 w 4378527"/>
              <a:gd name="connsiteY2" fmla="*/ 3060347 h 4762500"/>
              <a:gd name="connsiteX3" fmla="*/ 3913166 w 4378527"/>
              <a:gd name="connsiteY3" fmla="*/ 2973255 h 4762500"/>
              <a:gd name="connsiteX4" fmla="*/ 3183144 w 4378527"/>
              <a:gd name="connsiteY4" fmla="*/ 3464939 h 4762500"/>
              <a:gd name="connsiteX5" fmla="*/ 3171014 w 4378527"/>
              <a:gd name="connsiteY5" fmla="*/ 3490295 h 4762500"/>
              <a:gd name="connsiteX6" fmla="*/ 3092718 w 4378527"/>
              <a:gd name="connsiteY6" fmla="*/ 3929063 h 4762500"/>
              <a:gd name="connsiteX7" fmla="*/ 3239384 w 4378527"/>
              <a:gd name="connsiteY7" fmla="*/ 4351294 h 4762500"/>
              <a:gd name="connsiteX8" fmla="*/ 3400386 w 4378527"/>
              <a:gd name="connsiteY8" fmla="*/ 4762500 h 4762500"/>
              <a:gd name="connsiteX9" fmla="*/ 293935 w 4378527"/>
              <a:gd name="connsiteY9" fmla="*/ 4762500 h 4762500"/>
              <a:gd name="connsiteX10" fmla="*/ 168221 w 4378527"/>
              <a:gd name="connsiteY10" fmla="*/ 4622492 h 4762500"/>
              <a:gd name="connsiteX11" fmla="*/ 148372 w 4378527"/>
              <a:gd name="connsiteY11" fmla="*/ 4593828 h 4762500"/>
              <a:gd name="connsiteX12" fmla="*/ 147269 w 4378527"/>
              <a:gd name="connsiteY12" fmla="*/ 4592726 h 4762500"/>
              <a:gd name="connsiteX13" fmla="*/ 2809 w 4378527"/>
              <a:gd name="connsiteY13" fmla="*/ 4174905 h 4762500"/>
              <a:gd name="connsiteX14" fmla="*/ 77796 w 4378527"/>
              <a:gd name="connsiteY14" fmla="*/ 3739445 h 4762500"/>
              <a:gd name="connsiteX15" fmla="*/ 78898 w 4378527"/>
              <a:gd name="connsiteY15" fmla="*/ 3738342 h 4762500"/>
              <a:gd name="connsiteX16" fmla="*/ 94337 w 4378527"/>
              <a:gd name="connsiteY16" fmla="*/ 3707474 h 4762500"/>
              <a:gd name="connsiteX17" fmla="*/ 95440 w 4378527"/>
              <a:gd name="connsiteY17" fmla="*/ 3705269 h 4762500"/>
              <a:gd name="connsiteX18" fmla="*/ 823256 w 4378527"/>
              <a:gd name="connsiteY18" fmla="*/ 3219097 h 4762500"/>
              <a:gd name="connsiteX19" fmla="*/ 1554380 w 4378527"/>
              <a:gd name="connsiteY19" fmla="*/ 2727413 h 4762500"/>
              <a:gd name="connsiteX20" fmla="*/ 1566510 w 4378527"/>
              <a:gd name="connsiteY20" fmla="*/ 2702057 h 4762500"/>
              <a:gd name="connsiteX21" fmla="*/ 1643703 w 4378527"/>
              <a:gd name="connsiteY21" fmla="*/ 2262188 h 4762500"/>
              <a:gd name="connsiteX22" fmla="*/ 1497037 w 4378527"/>
              <a:gd name="connsiteY22" fmla="*/ 1839957 h 4762500"/>
              <a:gd name="connsiteX23" fmla="*/ 1480496 w 4378527"/>
              <a:gd name="connsiteY23" fmla="*/ 1816806 h 4762500"/>
              <a:gd name="connsiteX24" fmla="*/ 1333830 w 4378527"/>
              <a:gd name="connsiteY24" fmla="*/ 1395677 h 4762500"/>
              <a:gd name="connsiteX25" fmla="*/ 1411022 w 4378527"/>
              <a:gd name="connsiteY25" fmla="*/ 956910 h 4762500"/>
              <a:gd name="connsiteX26" fmla="*/ 1423153 w 4378527"/>
              <a:gd name="connsiteY26" fmla="*/ 931554 h 4762500"/>
              <a:gd name="connsiteX27" fmla="*/ 1423153 w 4378527"/>
              <a:gd name="connsiteY27" fmla="*/ 930451 h 4762500"/>
              <a:gd name="connsiteX28" fmla="*/ 1731923 w 4378527"/>
              <a:gd name="connsiteY28" fmla="*/ 583186 h 4762500"/>
              <a:gd name="connsiteX29" fmla="*/ 2584350 w 4378527"/>
              <a:gd name="connsiteY29" fmla="*/ 0 h 4762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4378527" h="4762500">
                <a:moveTo>
                  <a:pt x="2584350" y="0"/>
                </a:moveTo>
                <a:cubicBezTo>
                  <a:pt x="2584350" y="0"/>
                  <a:pt x="2584350" y="0"/>
                  <a:pt x="4378527" y="0"/>
                </a:cubicBezTo>
                <a:lnTo>
                  <a:pt x="4378527" y="3060347"/>
                </a:lnTo>
                <a:cubicBezTo>
                  <a:pt x="4239580" y="2993099"/>
                  <a:pt x="4079681" y="2960026"/>
                  <a:pt x="3913166" y="2973255"/>
                </a:cubicBezTo>
                <a:cubicBezTo>
                  <a:pt x="3588957" y="2998611"/>
                  <a:pt x="3317680" y="3193741"/>
                  <a:pt x="3183144" y="3464939"/>
                </a:cubicBezTo>
                <a:cubicBezTo>
                  <a:pt x="3178733" y="3472656"/>
                  <a:pt x="3174322" y="3481476"/>
                  <a:pt x="3171014" y="3490295"/>
                </a:cubicBezTo>
                <a:cubicBezTo>
                  <a:pt x="3109260" y="3622587"/>
                  <a:pt x="3080588" y="3773620"/>
                  <a:pt x="3092718" y="3929063"/>
                </a:cubicBezTo>
                <a:cubicBezTo>
                  <a:pt x="3105952" y="4085608"/>
                  <a:pt x="3157781" y="4228924"/>
                  <a:pt x="3239384" y="4351294"/>
                </a:cubicBezTo>
                <a:cubicBezTo>
                  <a:pt x="3325399" y="4469254"/>
                  <a:pt x="3381640" y="4609262"/>
                  <a:pt x="3400386" y="4762500"/>
                </a:cubicBezTo>
                <a:cubicBezTo>
                  <a:pt x="3400386" y="4762500"/>
                  <a:pt x="3400386" y="4762500"/>
                  <a:pt x="293935" y="4762500"/>
                </a:cubicBezTo>
                <a:cubicBezTo>
                  <a:pt x="247619" y="4720608"/>
                  <a:pt x="204612" y="4674306"/>
                  <a:pt x="168221" y="4622492"/>
                </a:cubicBezTo>
                <a:cubicBezTo>
                  <a:pt x="161605" y="4613672"/>
                  <a:pt x="153885" y="4603750"/>
                  <a:pt x="148372" y="4593828"/>
                </a:cubicBezTo>
                <a:cubicBezTo>
                  <a:pt x="147269" y="4593828"/>
                  <a:pt x="147269" y="4592726"/>
                  <a:pt x="147269" y="4592726"/>
                </a:cubicBezTo>
                <a:cubicBezTo>
                  <a:pt x="66768" y="4471459"/>
                  <a:pt x="14939" y="4329245"/>
                  <a:pt x="2809" y="4174905"/>
                </a:cubicBezTo>
                <a:cubicBezTo>
                  <a:pt x="-9322" y="4020564"/>
                  <a:pt x="18247" y="3872839"/>
                  <a:pt x="77796" y="3739445"/>
                </a:cubicBezTo>
                <a:cubicBezTo>
                  <a:pt x="78898" y="3739445"/>
                  <a:pt x="78898" y="3739445"/>
                  <a:pt x="78898" y="3738342"/>
                </a:cubicBezTo>
                <a:cubicBezTo>
                  <a:pt x="84412" y="3728420"/>
                  <a:pt x="88823" y="3717396"/>
                  <a:pt x="94337" y="3707474"/>
                </a:cubicBezTo>
                <a:cubicBezTo>
                  <a:pt x="94337" y="3706372"/>
                  <a:pt x="94337" y="3706372"/>
                  <a:pt x="95440" y="3705269"/>
                </a:cubicBezTo>
                <a:cubicBezTo>
                  <a:pt x="231078" y="3437379"/>
                  <a:pt x="500150" y="3244453"/>
                  <a:pt x="823256" y="3219097"/>
                </a:cubicBezTo>
                <a:cubicBezTo>
                  <a:pt x="1148567" y="3192639"/>
                  <a:pt x="1418742" y="2997509"/>
                  <a:pt x="1554380" y="2727413"/>
                </a:cubicBezTo>
                <a:cubicBezTo>
                  <a:pt x="1558791" y="2718594"/>
                  <a:pt x="1562099" y="2710877"/>
                  <a:pt x="1566510" y="2702057"/>
                </a:cubicBezTo>
                <a:cubicBezTo>
                  <a:pt x="1627162" y="2568663"/>
                  <a:pt x="1656936" y="2418733"/>
                  <a:pt x="1643703" y="2262188"/>
                </a:cubicBezTo>
                <a:cubicBezTo>
                  <a:pt x="1631573" y="2105642"/>
                  <a:pt x="1578641" y="1962327"/>
                  <a:pt x="1497037" y="1839957"/>
                </a:cubicBezTo>
                <a:cubicBezTo>
                  <a:pt x="1491523" y="1832240"/>
                  <a:pt x="1486009" y="1824523"/>
                  <a:pt x="1480496" y="1816806"/>
                </a:cubicBezTo>
                <a:cubicBezTo>
                  <a:pt x="1398892" y="1695538"/>
                  <a:pt x="1345960" y="1552222"/>
                  <a:pt x="1333830" y="1395677"/>
                </a:cubicBezTo>
                <a:cubicBezTo>
                  <a:pt x="1320597" y="1240235"/>
                  <a:pt x="1349268" y="1090304"/>
                  <a:pt x="1411022" y="956910"/>
                </a:cubicBezTo>
                <a:cubicBezTo>
                  <a:pt x="1414331" y="949193"/>
                  <a:pt x="1418742" y="940373"/>
                  <a:pt x="1423153" y="931554"/>
                </a:cubicBezTo>
                <a:cubicBezTo>
                  <a:pt x="1423153" y="931554"/>
                  <a:pt x="1423153" y="931554"/>
                  <a:pt x="1423153" y="930451"/>
                </a:cubicBezTo>
                <a:cubicBezTo>
                  <a:pt x="1493729" y="790443"/>
                  <a:pt x="1600696" y="670278"/>
                  <a:pt x="1731923" y="583186"/>
                </a:cubicBezTo>
                <a:cubicBezTo>
                  <a:pt x="1731923" y="583186"/>
                  <a:pt x="1731923" y="583186"/>
                  <a:pt x="2584350" y="0"/>
                </a:cubicBezTo>
                <a:close/>
              </a:path>
            </a:pathLst>
          </a:custGeom>
        </p:spPr>
        <p:txBody>
          <a:bodyPr wrap="square" lIns="1512000" tIns="1548000" rIns="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36906153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Imag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578A25DA-B163-D89A-66DE-A62B12EB1A9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76035" y="0"/>
            <a:ext cx="5715965" cy="6858000"/>
          </a:xfrm>
          <a:custGeom>
            <a:avLst/>
            <a:gdLst>
              <a:gd name="connsiteX0" fmla="*/ 526794 w 3550098"/>
              <a:gd name="connsiteY0" fmla="*/ 0 h 4254499"/>
              <a:gd name="connsiteX1" fmla="*/ 1612386 w 3550098"/>
              <a:gd name="connsiteY1" fmla="*/ 0 h 4254499"/>
              <a:gd name="connsiteX2" fmla="*/ 1722718 w 3550098"/>
              <a:gd name="connsiteY2" fmla="*/ 111287 h 4254499"/>
              <a:gd name="connsiteX3" fmla="*/ 2400474 w 3550098"/>
              <a:gd name="connsiteY3" fmla="*/ 787870 h 4254499"/>
              <a:gd name="connsiteX4" fmla="*/ 2548241 w 3550098"/>
              <a:gd name="connsiteY4" fmla="*/ 935596 h 4254499"/>
              <a:gd name="connsiteX5" fmla="*/ 2549226 w 3550098"/>
              <a:gd name="connsiteY5" fmla="*/ 937566 h 4254499"/>
              <a:gd name="connsiteX6" fmla="*/ 2569913 w 3550098"/>
              <a:gd name="connsiteY6" fmla="*/ 958247 h 4254499"/>
              <a:gd name="connsiteX7" fmla="*/ 2571883 w 3550098"/>
              <a:gd name="connsiteY7" fmla="*/ 960217 h 4254499"/>
              <a:gd name="connsiteX8" fmla="*/ 2716694 w 3550098"/>
              <a:gd name="connsiteY8" fmla="*/ 1104988 h 4254499"/>
              <a:gd name="connsiteX9" fmla="*/ 3394450 w 3550098"/>
              <a:gd name="connsiteY9" fmla="*/ 1782556 h 4254499"/>
              <a:gd name="connsiteX10" fmla="*/ 3542217 w 3550098"/>
              <a:gd name="connsiteY10" fmla="*/ 1930282 h 4254499"/>
              <a:gd name="connsiteX11" fmla="*/ 3545172 w 3550098"/>
              <a:gd name="connsiteY11" fmla="*/ 1932252 h 4254499"/>
              <a:gd name="connsiteX12" fmla="*/ 3550098 w 3550098"/>
              <a:gd name="connsiteY12" fmla="*/ 1937176 h 4254499"/>
              <a:gd name="connsiteX13" fmla="*/ 3550098 w 3550098"/>
              <a:gd name="connsiteY13" fmla="*/ 4254499 h 4254499"/>
              <a:gd name="connsiteX14" fmla="*/ 637127 w 3550098"/>
              <a:gd name="connsiteY14" fmla="*/ 4254499 h 4254499"/>
              <a:gd name="connsiteX15" fmla="*/ 829223 w 3550098"/>
              <a:gd name="connsiteY15" fmla="*/ 3669506 h 4254499"/>
              <a:gd name="connsiteX16" fmla="*/ 844985 w 3550098"/>
              <a:gd name="connsiteY16" fmla="*/ 3653748 h 4254499"/>
              <a:gd name="connsiteX17" fmla="*/ 1018364 w 3550098"/>
              <a:gd name="connsiteY17" fmla="*/ 2983074 h 4254499"/>
              <a:gd name="connsiteX18" fmla="*/ 532705 w 3550098"/>
              <a:gd name="connsiteY18" fmla="*/ 2488685 h 4254499"/>
              <a:gd name="connsiteX19" fmla="*/ 511033 w 3550098"/>
              <a:gd name="connsiteY19" fmla="*/ 2483761 h 4254499"/>
              <a:gd name="connsiteX20" fmla="*/ 24388 w 3550098"/>
              <a:gd name="connsiteY20" fmla="*/ 1989372 h 4254499"/>
              <a:gd name="connsiteX21" fmla="*/ 24388 w 3550098"/>
              <a:gd name="connsiteY21" fmla="*/ 1624982 h 4254499"/>
              <a:gd name="connsiteX22" fmla="*/ 27343 w 3550098"/>
              <a:gd name="connsiteY22" fmla="*/ 1616119 h 4254499"/>
              <a:gd name="connsiteX23" fmla="*/ 28328 w 3550098"/>
              <a:gd name="connsiteY23" fmla="*/ 1611195 h 4254499"/>
              <a:gd name="connsiteX24" fmla="*/ 82510 w 3550098"/>
              <a:gd name="connsiteY24" fmla="*/ 1409303 h 4254499"/>
              <a:gd name="connsiteX25" fmla="*/ 330757 w 3550098"/>
              <a:gd name="connsiteY25" fmla="*/ 483555 h 4254499"/>
              <a:gd name="connsiteX26" fmla="*/ 383953 w 3550098"/>
              <a:gd name="connsiteY26" fmla="*/ 285603 h 4254499"/>
              <a:gd name="connsiteX27" fmla="*/ 387894 w 3550098"/>
              <a:gd name="connsiteY27" fmla="*/ 267876 h 4254499"/>
              <a:gd name="connsiteX28" fmla="*/ 526794 w 3550098"/>
              <a:gd name="connsiteY28" fmla="*/ 0 h 4254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3550098" h="4254499">
                <a:moveTo>
                  <a:pt x="526794" y="0"/>
                </a:moveTo>
                <a:cubicBezTo>
                  <a:pt x="526794" y="0"/>
                  <a:pt x="526794" y="0"/>
                  <a:pt x="1612386" y="0"/>
                </a:cubicBezTo>
                <a:cubicBezTo>
                  <a:pt x="1648835" y="37424"/>
                  <a:pt x="1686269" y="73863"/>
                  <a:pt x="1722718" y="111287"/>
                </a:cubicBezTo>
                <a:cubicBezTo>
                  <a:pt x="1948308" y="336815"/>
                  <a:pt x="2174884" y="562343"/>
                  <a:pt x="2400474" y="787870"/>
                </a:cubicBezTo>
                <a:cubicBezTo>
                  <a:pt x="2449730" y="837112"/>
                  <a:pt x="2498985" y="886354"/>
                  <a:pt x="2548241" y="935596"/>
                </a:cubicBezTo>
                <a:cubicBezTo>
                  <a:pt x="2548241" y="936581"/>
                  <a:pt x="2549226" y="936581"/>
                  <a:pt x="2549226" y="937566"/>
                </a:cubicBezTo>
                <a:cubicBezTo>
                  <a:pt x="2556122" y="944460"/>
                  <a:pt x="2563017" y="951353"/>
                  <a:pt x="2569913" y="958247"/>
                </a:cubicBezTo>
                <a:cubicBezTo>
                  <a:pt x="2570898" y="958247"/>
                  <a:pt x="2571883" y="959232"/>
                  <a:pt x="2571883" y="960217"/>
                </a:cubicBezTo>
                <a:cubicBezTo>
                  <a:pt x="2620154" y="1008474"/>
                  <a:pt x="2668424" y="1056731"/>
                  <a:pt x="2716694" y="1104988"/>
                </a:cubicBezTo>
                <a:cubicBezTo>
                  <a:pt x="2943270" y="1330516"/>
                  <a:pt x="3168860" y="1556044"/>
                  <a:pt x="3394450" y="1782556"/>
                </a:cubicBezTo>
                <a:cubicBezTo>
                  <a:pt x="3443706" y="1830814"/>
                  <a:pt x="3492962" y="1880055"/>
                  <a:pt x="3542217" y="1930282"/>
                </a:cubicBezTo>
                <a:cubicBezTo>
                  <a:pt x="3543202" y="1930282"/>
                  <a:pt x="3544187" y="1931267"/>
                  <a:pt x="3545172" y="1932252"/>
                </a:cubicBezTo>
                <a:cubicBezTo>
                  <a:pt x="3547143" y="1934221"/>
                  <a:pt x="3548128" y="1936191"/>
                  <a:pt x="3550098" y="1937176"/>
                </a:cubicBezTo>
                <a:lnTo>
                  <a:pt x="3550098" y="4254499"/>
                </a:lnTo>
                <a:cubicBezTo>
                  <a:pt x="3550098" y="4254499"/>
                  <a:pt x="3550098" y="4254499"/>
                  <a:pt x="637127" y="4254499"/>
                </a:cubicBezTo>
                <a:cubicBezTo>
                  <a:pt x="606588" y="4035865"/>
                  <a:pt x="682442" y="3822155"/>
                  <a:pt x="829223" y="3669506"/>
                </a:cubicBezTo>
                <a:cubicBezTo>
                  <a:pt x="834149" y="3664581"/>
                  <a:pt x="839074" y="3659657"/>
                  <a:pt x="844985" y="3653748"/>
                </a:cubicBezTo>
                <a:cubicBezTo>
                  <a:pt x="1010483" y="3482386"/>
                  <a:pt x="1085352" y="3230268"/>
                  <a:pt x="1018364" y="2983074"/>
                </a:cubicBezTo>
                <a:cubicBezTo>
                  <a:pt x="952362" y="2735879"/>
                  <a:pt x="762236" y="2554669"/>
                  <a:pt x="532705" y="2488685"/>
                </a:cubicBezTo>
                <a:cubicBezTo>
                  <a:pt x="524824" y="2486715"/>
                  <a:pt x="517928" y="2484746"/>
                  <a:pt x="511033" y="2483761"/>
                </a:cubicBezTo>
                <a:cubicBezTo>
                  <a:pt x="281502" y="2417777"/>
                  <a:pt x="90390" y="2236567"/>
                  <a:pt x="24388" y="1989372"/>
                </a:cubicBezTo>
                <a:cubicBezTo>
                  <a:pt x="-9106" y="1865283"/>
                  <a:pt x="-7136" y="1741193"/>
                  <a:pt x="24388" y="1624982"/>
                </a:cubicBezTo>
                <a:cubicBezTo>
                  <a:pt x="25373" y="1622028"/>
                  <a:pt x="26358" y="1619073"/>
                  <a:pt x="27343" y="1616119"/>
                </a:cubicBezTo>
                <a:cubicBezTo>
                  <a:pt x="27343" y="1614149"/>
                  <a:pt x="28328" y="1612180"/>
                  <a:pt x="28328" y="1611195"/>
                </a:cubicBezTo>
                <a:cubicBezTo>
                  <a:pt x="48031" y="1536347"/>
                  <a:pt x="65763" y="1469378"/>
                  <a:pt x="82510" y="1409303"/>
                </a:cubicBezTo>
                <a:cubicBezTo>
                  <a:pt x="191857" y="1000595"/>
                  <a:pt x="220425" y="892263"/>
                  <a:pt x="330757" y="483555"/>
                </a:cubicBezTo>
                <a:cubicBezTo>
                  <a:pt x="346519" y="424465"/>
                  <a:pt x="363266" y="359466"/>
                  <a:pt x="383953" y="285603"/>
                </a:cubicBezTo>
                <a:cubicBezTo>
                  <a:pt x="384938" y="279694"/>
                  <a:pt x="386909" y="273785"/>
                  <a:pt x="387894" y="267876"/>
                </a:cubicBezTo>
                <a:cubicBezTo>
                  <a:pt x="414492" y="169392"/>
                  <a:pt x="461777" y="77802"/>
                  <a:pt x="526794" y="0"/>
                </a:cubicBezTo>
                <a:close/>
              </a:path>
            </a:pathLst>
          </a:custGeom>
        </p:spPr>
        <p:txBody>
          <a:bodyPr wrap="square" tIns="1656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E6BBC6-4CC2-A65A-176C-CB76BE218F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2A7B6C5-FF22-1A7A-56C3-FB036A8167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4838" y="2022689"/>
            <a:ext cx="5040312" cy="400050"/>
          </a:xfrm>
        </p:spPr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en-GB"/>
              <a:t>0.0</a:t>
            </a:r>
          </a:p>
        </p:txBody>
      </p:sp>
    </p:spTree>
    <p:extLst>
      <p:ext uri="{BB962C8B-B14F-4D97-AF65-F5344CB8AC3E}">
        <p14:creationId xmlns:p14="http://schemas.microsoft.com/office/powerpoint/2010/main" val="774602590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Orange, Pink, Image)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13" descr="A colorful circle with a white background&#10;&#10;Description automatically generated with medium confidence">
            <a:extLst>
              <a:ext uri="{FF2B5EF4-FFF2-40B4-BE49-F238E27FC236}">
                <a16:creationId xmlns:a16="http://schemas.microsoft.com/office/drawing/2014/main" id="{06EE9A53-1C7B-5979-B7CE-200FF761C9D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5971" y="1890464"/>
            <a:ext cx="3656029" cy="4972199"/>
          </a:xfrm>
          <a:prstGeom prst="rect">
            <a:avLst/>
          </a:prstGeom>
        </p:spPr>
      </p:pic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5AC6C5AD-53E7-7B70-DE54-586A3C97E74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881567" y="0"/>
            <a:ext cx="5310433" cy="4803646"/>
          </a:xfrm>
          <a:custGeom>
            <a:avLst/>
            <a:gdLst>
              <a:gd name="connsiteX0" fmla="*/ 426115 w 5528906"/>
              <a:gd name="connsiteY0" fmla="*/ 0 h 5001270"/>
              <a:gd name="connsiteX1" fmla="*/ 5528906 w 5528906"/>
              <a:gd name="connsiteY1" fmla="*/ 0 h 5001270"/>
              <a:gd name="connsiteX2" fmla="*/ 5527248 w 5528906"/>
              <a:gd name="connsiteY2" fmla="*/ 3025644 h 5001270"/>
              <a:gd name="connsiteX3" fmla="*/ 5527248 w 5528906"/>
              <a:gd name="connsiteY3" fmla="*/ 1973967 h 5001270"/>
              <a:gd name="connsiteX4" fmla="*/ 5522272 w 5528906"/>
              <a:gd name="connsiteY4" fmla="*/ 1975626 h 5001270"/>
              <a:gd name="connsiteX5" fmla="*/ 5505689 w 5528906"/>
              <a:gd name="connsiteY5" fmla="*/ 1978944 h 5001270"/>
              <a:gd name="connsiteX6" fmla="*/ 5444330 w 5528906"/>
              <a:gd name="connsiteY6" fmla="*/ 1992214 h 5001270"/>
              <a:gd name="connsiteX7" fmla="*/ 5427746 w 5528906"/>
              <a:gd name="connsiteY7" fmla="*/ 1997191 h 5001270"/>
              <a:gd name="connsiteX8" fmla="*/ 5368044 w 5528906"/>
              <a:gd name="connsiteY8" fmla="*/ 2012120 h 5001270"/>
              <a:gd name="connsiteX9" fmla="*/ 5351461 w 5528906"/>
              <a:gd name="connsiteY9" fmla="*/ 2015437 h 5001270"/>
              <a:gd name="connsiteX10" fmla="*/ 5290102 w 5528906"/>
              <a:gd name="connsiteY10" fmla="*/ 2032025 h 5001270"/>
              <a:gd name="connsiteX11" fmla="*/ 5276834 w 5528906"/>
              <a:gd name="connsiteY11" fmla="*/ 2037002 h 5001270"/>
              <a:gd name="connsiteX12" fmla="*/ 5212158 w 5528906"/>
              <a:gd name="connsiteY12" fmla="*/ 2053590 h 5001270"/>
              <a:gd name="connsiteX13" fmla="*/ 5203867 w 5528906"/>
              <a:gd name="connsiteY13" fmla="*/ 2056907 h 5001270"/>
              <a:gd name="connsiteX14" fmla="*/ 5135874 w 5528906"/>
              <a:gd name="connsiteY14" fmla="*/ 2076813 h 5001270"/>
              <a:gd name="connsiteX15" fmla="*/ 4905361 w 5528906"/>
              <a:gd name="connsiteY15" fmla="*/ 2154776 h 5001270"/>
              <a:gd name="connsiteX16" fmla="*/ 2882155 w 5528906"/>
              <a:gd name="connsiteY16" fmla="*/ 3558118 h 5001270"/>
              <a:gd name="connsiteX17" fmla="*/ 2880496 w 5528906"/>
              <a:gd name="connsiteY17" fmla="*/ 3561435 h 5001270"/>
              <a:gd name="connsiteX18" fmla="*/ 2872204 w 5528906"/>
              <a:gd name="connsiteY18" fmla="*/ 3569729 h 5001270"/>
              <a:gd name="connsiteX19" fmla="*/ 2840696 w 5528906"/>
              <a:gd name="connsiteY19" fmla="*/ 3609540 h 5001270"/>
              <a:gd name="connsiteX20" fmla="*/ 2829087 w 5528906"/>
              <a:gd name="connsiteY20" fmla="*/ 3621152 h 5001270"/>
              <a:gd name="connsiteX21" fmla="*/ 2829087 w 5528906"/>
              <a:gd name="connsiteY21" fmla="*/ 3622811 h 5001270"/>
              <a:gd name="connsiteX22" fmla="*/ 2785969 w 5528906"/>
              <a:gd name="connsiteY22" fmla="*/ 3674233 h 5001270"/>
              <a:gd name="connsiteX23" fmla="*/ 2776019 w 5528906"/>
              <a:gd name="connsiteY23" fmla="*/ 3687504 h 5001270"/>
              <a:gd name="connsiteX24" fmla="*/ 2734560 w 5528906"/>
              <a:gd name="connsiteY24" fmla="*/ 3740585 h 5001270"/>
              <a:gd name="connsiteX25" fmla="*/ 2731243 w 5528906"/>
              <a:gd name="connsiteY25" fmla="*/ 3745562 h 5001270"/>
              <a:gd name="connsiteX26" fmla="*/ 2693101 w 5528906"/>
              <a:gd name="connsiteY26" fmla="*/ 3795325 h 5001270"/>
              <a:gd name="connsiteX27" fmla="*/ 2683151 w 5528906"/>
              <a:gd name="connsiteY27" fmla="*/ 3808596 h 5001270"/>
              <a:gd name="connsiteX28" fmla="*/ 2643350 w 5528906"/>
              <a:gd name="connsiteY28" fmla="*/ 3861677 h 5001270"/>
              <a:gd name="connsiteX29" fmla="*/ 2638375 w 5528906"/>
              <a:gd name="connsiteY29" fmla="*/ 3869971 h 5001270"/>
              <a:gd name="connsiteX30" fmla="*/ 2603549 w 5528906"/>
              <a:gd name="connsiteY30" fmla="*/ 3918076 h 5001270"/>
              <a:gd name="connsiteX31" fmla="*/ 2593599 w 5528906"/>
              <a:gd name="connsiteY31" fmla="*/ 3931347 h 5001270"/>
              <a:gd name="connsiteX32" fmla="*/ 2557115 w 5528906"/>
              <a:gd name="connsiteY32" fmla="*/ 3986087 h 5001270"/>
              <a:gd name="connsiteX33" fmla="*/ 2548823 w 5528906"/>
              <a:gd name="connsiteY33" fmla="*/ 3996040 h 5001270"/>
              <a:gd name="connsiteX34" fmla="*/ 2517314 w 5528906"/>
              <a:gd name="connsiteY34" fmla="*/ 4044145 h 5001270"/>
              <a:gd name="connsiteX35" fmla="*/ 2509022 w 5528906"/>
              <a:gd name="connsiteY35" fmla="*/ 4059074 h 5001270"/>
              <a:gd name="connsiteX36" fmla="*/ 2474197 w 5528906"/>
              <a:gd name="connsiteY36" fmla="*/ 4113814 h 5001270"/>
              <a:gd name="connsiteX37" fmla="*/ 2465905 w 5528906"/>
              <a:gd name="connsiteY37" fmla="*/ 4125426 h 5001270"/>
              <a:gd name="connsiteX38" fmla="*/ 2436054 w 5528906"/>
              <a:gd name="connsiteY38" fmla="*/ 4173531 h 5001270"/>
              <a:gd name="connsiteX39" fmla="*/ 2427762 w 5528906"/>
              <a:gd name="connsiteY39" fmla="*/ 4186801 h 5001270"/>
              <a:gd name="connsiteX40" fmla="*/ 2394595 w 5528906"/>
              <a:gd name="connsiteY40" fmla="*/ 4243200 h 5001270"/>
              <a:gd name="connsiteX41" fmla="*/ 2386303 w 5528906"/>
              <a:gd name="connsiteY41" fmla="*/ 4256471 h 5001270"/>
              <a:gd name="connsiteX42" fmla="*/ 2359769 w 5528906"/>
              <a:gd name="connsiteY42" fmla="*/ 4304576 h 5001270"/>
              <a:gd name="connsiteX43" fmla="*/ 2351478 w 5528906"/>
              <a:gd name="connsiteY43" fmla="*/ 4317846 h 5001270"/>
              <a:gd name="connsiteX44" fmla="*/ 2319969 w 5528906"/>
              <a:gd name="connsiteY44" fmla="*/ 4374245 h 5001270"/>
              <a:gd name="connsiteX45" fmla="*/ 2311677 w 5528906"/>
              <a:gd name="connsiteY45" fmla="*/ 4389175 h 5001270"/>
              <a:gd name="connsiteX46" fmla="*/ 2285143 w 5528906"/>
              <a:gd name="connsiteY46" fmla="*/ 4438938 h 5001270"/>
              <a:gd name="connsiteX47" fmla="*/ 2278510 w 5528906"/>
              <a:gd name="connsiteY47" fmla="*/ 4450550 h 5001270"/>
              <a:gd name="connsiteX48" fmla="*/ 2248659 w 5528906"/>
              <a:gd name="connsiteY48" fmla="*/ 4508608 h 5001270"/>
              <a:gd name="connsiteX49" fmla="*/ 2242026 w 5528906"/>
              <a:gd name="connsiteY49" fmla="*/ 4525196 h 5001270"/>
              <a:gd name="connsiteX50" fmla="*/ 2215492 w 5528906"/>
              <a:gd name="connsiteY50" fmla="*/ 4574960 h 5001270"/>
              <a:gd name="connsiteX51" fmla="*/ 2210517 w 5528906"/>
              <a:gd name="connsiteY51" fmla="*/ 4586571 h 5001270"/>
              <a:gd name="connsiteX52" fmla="*/ 2182324 w 5528906"/>
              <a:gd name="connsiteY52" fmla="*/ 4644629 h 5001270"/>
              <a:gd name="connsiteX53" fmla="*/ 2175691 w 5528906"/>
              <a:gd name="connsiteY53" fmla="*/ 4661217 h 5001270"/>
              <a:gd name="connsiteX54" fmla="*/ 2150815 w 5528906"/>
              <a:gd name="connsiteY54" fmla="*/ 4715957 h 5001270"/>
              <a:gd name="connsiteX55" fmla="*/ 2147499 w 5528906"/>
              <a:gd name="connsiteY55" fmla="*/ 4724251 h 5001270"/>
              <a:gd name="connsiteX56" fmla="*/ 2120965 w 5528906"/>
              <a:gd name="connsiteY56" fmla="*/ 4783968 h 5001270"/>
              <a:gd name="connsiteX57" fmla="*/ 2112673 w 5528906"/>
              <a:gd name="connsiteY57" fmla="*/ 4800556 h 5001270"/>
              <a:gd name="connsiteX58" fmla="*/ 2089456 w 5528906"/>
              <a:gd name="connsiteY58" fmla="*/ 4858614 h 5001270"/>
              <a:gd name="connsiteX59" fmla="*/ 2087798 w 5528906"/>
              <a:gd name="connsiteY59" fmla="*/ 4863590 h 5001270"/>
              <a:gd name="connsiteX60" fmla="*/ 2062922 w 5528906"/>
              <a:gd name="connsiteY60" fmla="*/ 4924966 h 5001270"/>
              <a:gd name="connsiteX61" fmla="*/ 2056289 w 5528906"/>
              <a:gd name="connsiteY61" fmla="*/ 4939895 h 5001270"/>
              <a:gd name="connsiteX62" fmla="*/ 2033072 w 5528906"/>
              <a:gd name="connsiteY62" fmla="*/ 5001270 h 5001270"/>
              <a:gd name="connsiteX63" fmla="*/ 598585 w 5528906"/>
              <a:gd name="connsiteY63" fmla="*/ 3808596 h 5001270"/>
              <a:gd name="connsiteX64" fmla="*/ 106051 w 5528906"/>
              <a:gd name="connsiteY64" fmla="*/ 3128489 h 5001270"/>
              <a:gd name="connsiteX65" fmla="*/ 104392 w 5528906"/>
              <a:gd name="connsiteY65" fmla="*/ 3126831 h 5001270"/>
              <a:gd name="connsiteX66" fmla="*/ 104392 w 5528906"/>
              <a:gd name="connsiteY66" fmla="*/ 3123513 h 5001270"/>
              <a:gd name="connsiteX67" fmla="*/ 101076 w 5528906"/>
              <a:gd name="connsiteY67" fmla="*/ 3116878 h 5001270"/>
              <a:gd name="connsiteX68" fmla="*/ 96100 w 5528906"/>
              <a:gd name="connsiteY68" fmla="*/ 3103607 h 5001270"/>
              <a:gd name="connsiteX69" fmla="*/ 94442 w 5528906"/>
              <a:gd name="connsiteY69" fmla="*/ 3096972 h 5001270"/>
              <a:gd name="connsiteX70" fmla="*/ 91125 w 5528906"/>
              <a:gd name="connsiteY70" fmla="*/ 3087020 h 5001270"/>
              <a:gd name="connsiteX71" fmla="*/ 87809 w 5528906"/>
              <a:gd name="connsiteY71" fmla="*/ 3082043 h 5001270"/>
              <a:gd name="connsiteX72" fmla="*/ 87809 w 5528906"/>
              <a:gd name="connsiteY72" fmla="*/ 3078726 h 5001270"/>
              <a:gd name="connsiteX73" fmla="*/ 82834 w 5528906"/>
              <a:gd name="connsiteY73" fmla="*/ 3065455 h 5001270"/>
              <a:gd name="connsiteX74" fmla="*/ 82834 w 5528906"/>
              <a:gd name="connsiteY74" fmla="*/ 3063796 h 5001270"/>
              <a:gd name="connsiteX75" fmla="*/ 24791 w 5528906"/>
              <a:gd name="connsiteY75" fmla="*/ 2274209 h 5001270"/>
              <a:gd name="connsiteX76" fmla="*/ 28107 w 5528906"/>
              <a:gd name="connsiteY76" fmla="*/ 2259280 h 5001270"/>
              <a:gd name="connsiteX77" fmla="*/ 426115 w 5528906"/>
              <a:gd name="connsiteY77" fmla="*/ 0 h 50012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</a:cxnLst>
            <a:rect l="l" t="t" r="r" b="b"/>
            <a:pathLst>
              <a:path w="5528906" h="5001270">
                <a:moveTo>
                  <a:pt x="426115" y="0"/>
                </a:moveTo>
                <a:cubicBezTo>
                  <a:pt x="426115" y="0"/>
                  <a:pt x="426115" y="0"/>
                  <a:pt x="5528906" y="0"/>
                </a:cubicBezTo>
                <a:cubicBezTo>
                  <a:pt x="5528906" y="0"/>
                  <a:pt x="5528906" y="0"/>
                  <a:pt x="5527248" y="3025644"/>
                </a:cubicBezTo>
                <a:cubicBezTo>
                  <a:pt x="5527248" y="3025644"/>
                  <a:pt x="5527248" y="3025644"/>
                  <a:pt x="5527248" y="1973967"/>
                </a:cubicBezTo>
                <a:cubicBezTo>
                  <a:pt x="5525590" y="1973967"/>
                  <a:pt x="5523931" y="1973967"/>
                  <a:pt x="5522272" y="1975626"/>
                </a:cubicBezTo>
                <a:cubicBezTo>
                  <a:pt x="5517298" y="1975626"/>
                  <a:pt x="5510664" y="1977285"/>
                  <a:pt x="5505689" y="1978944"/>
                </a:cubicBezTo>
                <a:cubicBezTo>
                  <a:pt x="5485788" y="1983920"/>
                  <a:pt x="5464230" y="1987238"/>
                  <a:pt x="5444330" y="1992214"/>
                </a:cubicBezTo>
                <a:cubicBezTo>
                  <a:pt x="5439354" y="1993873"/>
                  <a:pt x="5432721" y="1995532"/>
                  <a:pt x="5427746" y="1997191"/>
                </a:cubicBezTo>
                <a:cubicBezTo>
                  <a:pt x="5407846" y="2002167"/>
                  <a:pt x="5387945" y="2007143"/>
                  <a:pt x="5368044" y="2012120"/>
                </a:cubicBezTo>
                <a:cubicBezTo>
                  <a:pt x="5361411" y="2013779"/>
                  <a:pt x="5356436" y="2015437"/>
                  <a:pt x="5351461" y="2015437"/>
                </a:cubicBezTo>
                <a:cubicBezTo>
                  <a:pt x="5329902" y="2022073"/>
                  <a:pt x="5310002" y="2027049"/>
                  <a:pt x="5290102" y="2032025"/>
                </a:cubicBezTo>
                <a:cubicBezTo>
                  <a:pt x="5285126" y="2033684"/>
                  <a:pt x="5280151" y="2035343"/>
                  <a:pt x="5276834" y="2037002"/>
                </a:cubicBezTo>
                <a:cubicBezTo>
                  <a:pt x="5255276" y="2041978"/>
                  <a:pt x="5233717" y="2048613"/>
                  <a:pt x="5212158" y="2053590"/>
                </a:cubicBezTo>
                <a:cubicBezTo>
                  <a:pt x="5210500" y="2055248"/>
                  <a:pt x="5207183" y="2055248"/>
                  <a:pt x="5203867" y="2056907"/>
                </a:cubicBezTo>
                <a:cubicBezTo>
                  <a:pt x="5180649" y="2063542"/>
                  <a:pt x="5159091" y="2070178"/>
                  <a:pt x="5135874" y="2076813"/>
                </a:cubicBezTo>
                <a:cubicBezTo>
                  <a:pt x="5057930" y="2101695"/>
                  <a:pt x="4981646" y="2126577"/>
                  <a:pt x="4905361" y="2154776"/>
                </a:cubicBezTo>
                <a:cubicBezTo>
                  <a:pt x="4091103" y="2450042"/>
                  <a:pt x="3406198" y="2942704"/>
                  <a:pt x="2882155" y="3558118"/>
                </a:cubicBezTo>
                <a:cubicBezTo>
                  <a:pt x="2882155" y="3559776"/>
                  <a:pt x="2880496" y="3559776"/>
                  <a:pt x="2880496" y="3561435"/>
                </a:cubicBezTo>
                <a:cubicBezTo>
                  <a:pt x="2877180" y="3564753"/>
                  <a:pt x="2875521" y="3568070"/>
                  <a:pt x="2872204" y="3569729"/>
                </a:cubicBezTo>
                <a:cubicBezTo>
                  <a:pt x="2862254" y="3583000"/>
                  <a:pt x="2850646" y="3596270"/>
                  <a:pt x="2840696" y="3609540"/>
                </a:cubicBezTo>
                <a:cubicBezTo>
                  <a:pt x="2835720" y="3612858"/>
                  <a:pt x="2832404" y="3617834"/>
                  <a:pt x="2829087" y="3621152"/>
                </a:cubicBezTo>
                <a:cubicBezTo>
                  <a:pt x="2829087" y="3621152"/>
                  <a:pt x="2829087" y="3621152"/>
                  <a:pt x="2829087" y="3622811"/>
                </a:cubicBezTo>
                <a:cubicBezTo>
                  <a:pt x="2814162" y="3639399"/>
                  <a:pt x="2800895" y="3655987"/>
                  <a:pt x="2785969" y="3674233"/>
                </a:cubicBezTo>
                <a:cubicBezTo>
                  <a:pt x="2782653" y="3679210"/>
                  <a:pt x="2779336" y="3682527"/>
                  <a:pt x="2776019" y="3687504"/>
                </a:cubicBezTo>
                <a:cubicBezTo>
                  <a:pt x="2761094" y="3705750"/>
                  <a:pt x="2747827" y="3722338"/>
                  <a:pt x="2734560" y="3740585"/>
                </a:cubicBezTo>
                <a:cubicBezTo>
                  <a:pt x="2732902" y="3742244"/>
                  <a:pt x="2731243" y="3743903"/>
                  <a:pt x="2731243" y="3745562"/>
                </a:cubicBezTo>
                <a:cubicBezTo>
                  <a:pt x="2717976" y="3762149"/>
                  <a:pt x="2704710" y="3778737"/>
                  <a:pt x="2693101" y="3795325"/>
                </a:cubicBezTo>
                <a:cubicBezTo>
                  <a:pt x="2689784" y="3798643"/>
                  <a:pt x="2686468" y="3803619"/>
                  <a:pt x="2683151" y="3808596"/>
                </a:cubicBezTo>
                <a:cubicBezTo>
                  <a:pt x="2669884" y="3826843"/>
                  <a:pt x="2656617" y="3843431"/>
                  <a:pt x="2643350" y="3861677"/>
                </a:cubicBezTo>
                <a:cubicBezTo>
                  <a:pt x="2641692" y="3864995"/>
                  <a:pt x="2640033" y="3866654"/>
                  <a:pt x="2638375" y="3869971"/>
                </a:cubicBezTo>
                <a:cubicBezTo>
                  <a:pt x="2626766" y="3886559"/>
                  <a:pt x="2615158" y="3901488"/>
                  <a:pt x="2603549" y="3918076"/>
                </a:cubicBezTo>
                <a:cubicBezTo>
                  <a:pt x="2600232" y="3923053"/>
                  <a:pt x="2596916" y="3928029"/>
                  <a:pt x="2593599" y="3931347"/>
                </a:cubicBezTo>
                <a:cubicBezTo>
                  <a:pt x="2581990" y="3949593"/>
                  <a:pt x="2568724" y="3967840"/>
                  <a:pt x="2557115" y="3986087"/>
                </a:cubicBezTo>
                <a:cubicBezTo>
                  <a:pt x="2553798" y="3989405"/>
                  <a:pt x="2552140" y="3992722"/>
                  <a:pt x="2548823" y="3996040"/>
                </a:cubicBezTo>
                <a:cubicBezTo>
                  <a:pt x="2538873" y="4012628"/>
                  <a:pt x="2528923" y="4029216"/>
                  <a:pt x="2517314" y="4044145"/>
                </a:cubicBezTo>
                <a:cubicBezTo>
                  <a:pt x="2515656" y="4049121"/>
                  <a:pt x="2512339" y="4054098"/>
                  <a:pt x="2509022" y="4059074"/>
                </a:cubicBezTo>
                <a:cubicBezTo>
                  <a:pt x="2497414" y="4077321"/>
                  <a:pt x="2485805" y="4095567"/>
                  <a:pt x="2474197" y="4113814"/>
                </a:cubicBezTo>
                <a:cubicBezTo>
                  <a:pt x="2470880" y="4117132"/>
                  <a:pt x="2469222" y="4122108"/>
                  <a:pt x="2465905" y="4125426"/>
                </a:cubicBezTo>
                <a:cubicBezTo>
                  <a:pt x="2455955" y="4142014"/>
                  <a:pt x="2446004" y="4156943"/>
                  <a:pt x="2436054" y="4173531"/>
                </a:cubicBezTo>
                <a:cubicBezTo>
                  <a:pt x="2434396" y="4178507"/>
                  <a:pt x="2431079" y="4181825"/>
                  <a:pt x="2427762" y="4186801"/>
                </a:cubicBezTo>
                <a:cubicBezTo>
                  <a:pt x="2416154" y="4205048"/>
                  <a:pt x="2406204" y="4224954"/>
                  <a:pt x="2394595" y="4243200"/>
                </a:cubicBezTo>
                <a:cubicBezTo>
                  <a:pt x="2391278" y="4248177"/>
                  <a:pt x="2389620" y="4251494"/>
                  <a:pt x="2386303" y="4256471"/>
                </a:cubicBezTo>
                <a:cubicBezTo>
                  <a:pt x="2378012" y="4273059"/>
                  <a:pt x="2368061" y="4287988"/>
                  <a:pt x="2359769" y="4304576"/>
                </a:cubicBezTo>
                <a:cubicBezTo>
                  <a:pt x="2356453" y="4309552"/>
                  <a:pt x="2354794" y="4312870"/>
                  <a:pt x="2351478" y="4317846"/>
                </a:cubicBezTo>
                <a:cubicBezTo>
                  <a:pt x="2341527" y="4336093"/>
                  <a:pt x="2329919" y="4355999"/>
                  <a:pt x="2319969" y="4374245"/>
                </a:cubicBezTo>
                <a:cubicBezTo>
                  <a:pt x="2316652" y="4379222"/>
                  <a:pt x="2314994" y="4384198"/>
                  <a:pt x="2311677" y="4389175"/>
                </a:cubicBezTo>
                <a:cubicBezTo>
                  <a:pt x="2303385" y="4405762"/>
                  <a:pt x="2295093" y="4422350"/>
                  <a:pt x="2285143" y="4438938"/>
                </a:cubicBezTo>
                <a:cubicBezTo>
                  <a:pt x="2283485" y="4442256"/>
                  <a:pt x="2281826" y="4447232"/>
                  <a:pt x="2278510" y="4450550"/>
                </a:cubicBezTo>
                <a:cubicBezTo>
                  <a:pt x="2268559" y="4470456"/>
                  <a:pt x="2258609" y="4488702"/>
                  <a:pt x="2248659" y="4508608"/>
                </a:cubicBezTo>
                <a:cubicBezTo>
                  <a:pt x="2247001" y="4513584"/>
                  <a:pt x="2243684" y="4520219"/>
                  <a:pt x="2242026" y="4525196"/>
                </a:cubicBezTo>
                <a:cubicBezTo>
                  <a:pt x="2232075" y="4541784"/>
                  <a:pt x="2223784" y="4558372"/>
                  <a:pt x="2215492" y="4574960"/>
                </a:cubicBezTo>
                <a:cubicBezTo>
                  <a:pt x="2213833" y="4578277"/>
                  <a:pt x="2212175" y="4583254"/>
                  <a:pt x="2210517" y="4586571"/>
                </a:cubicBezTo>
                <a:cubicBezTo>
                  <a:pt x="2202225" y="4606477"/>
                  <a:pt x="2192275" y="4624724"/>
                  <a:pt x="2182324" y="4644629"/>
                </a:cubicBezTo>
                <a:cubicBezTo>
                  <a:pt x="2180666" y="4651264"/>
                  <a:pt x="2177349" y="4656241"/>
                  <a:pt x="2175691" y="4661217"/>
                </a:cubicBezTo>
                <a:cubicBezTo>
                  <a:pt x="2167399" y="4679464"/>
                  <a:pt x="2159107" y="4697711"/>
                  <a:pt x="2150815" y="4715957"/>
                </a:cubicBezTo>
                <a:cubicBezTo>
                  <a:pt x="2149157" y="4717616"/>
                  <a:pt x="2147499" y="4720934"/>
                  <a:pt x="2147499" y="4724251"/>
                </a:cubicBezTo>
                <a:cubicBezTo>
                  <a:pt x="2137548" y="4744157"/>
                  <a:pt x="2129257" y="4764062"/>
                  <a:pt x="2120965" y="4783968"/>
                </a:cubicBezTo>
                <a:cubicBezTo>
                  <a:pt x="2117648" y="4788944"/>
                  <a:pt x="2115990" y="4793921"/>
                  <a:pt x="2112673" y="4800556"/>
                </a:cubicBezTo>
                <a:cubicBezTo>
                  <a:pt x="2104381" y="4820461"/>
                  <a:pt x="2096089" y="4838708"/>
                  <a:pt x="2089456" y="4858614"/>
                </a:cubicBezTo>
                <a:cubicBezTo>
                  <a:pt x="2087798" y="4860273"/>
                  <a:pt x="2087798" y="4861931"/>
                  <a:pt x="2087798" y="4863590"/>
                </a:cubicBezTo>
                <a:cubicBezTo>
                  <a:pt x="2079506" y="4883496"/>
                  <a:pt x="2071214" y="4903401"/>
                  <a:pt x="2062922" y="4924966"/>
                </a:cubicBezTo>
                <a:cubicBezTo>
                  <a:pt x="2061264" y="4929942"/>
                  <a:pt x="2057947" y="4934918"/>
                  <a:pt x="2056289" y="4939895"/>
                </a:cubicBezTo>
                <a:cubicBezTo>
                  <a:pt x="2047997" y="4961459"/>
                  <a:pt x="2039705" y="4981365"/>
                  <a:pt x="2033072" y="5001270"/>
                </a:cubicBezTo>
                <a:lnTo>
                  <a:pt x="598585" y="3808596"/>
                </a:lnTo>
                <a:cubicBezTo>
                  <a:pt x="378023" y="3629446"/>
                  <a:pt x="207211" y="3393897"/>
                  <a:pt x="106051" y="3128489"/>
                </a:cubicBezTo>
                <a:cubicBezTo>
                  <a:pt x="106051" y="3128489"/>
                  <a:pt x="104392" y="3126831"/>
                  <a:pt x="104392" y="3126831"/>
                </a:cubicBezTo>
                <a:cubicBezTo>
                  <a:pt x="104392" y="3125172"/>
                  <a:pt x="104392" y="3125172"/>
                  <a:pt x="104392" y="3123513"/>
                </a:cubicBezTo>
                <a:cubicBezTo>
                  <a:pt x="102734" y="3121854"/>
                  <a:pt x="102734" y="3118537"/>
                  <a:pt x="101076" y="3116878"/>
                </a:cubicBezTo>
                <a:cubicBezTo>
                  <a:pt x="99417" y="3111901"/>
                  <a:pt x="97759" y="3108584"/>
                  <a:pt x="96100" y="3103607"/>
                </a:cubicBezTo>
                <a:cubicBezTo>
                  <a:pt x="96100" y="3101949"/>
                  <a:pt x="94442" y="3100290"/>
                  <a:pt x="94442" y="3096972"/>
                </a:cubicBezTo>
                <a:cubicBezTo>
                  <a:pt x="92784" y="3093655"/>
                  <a:pt x="91125" y="3090337"/>
                  <a:pt x="91125" y="3087020"/>
                </a:cubicBezTo>
                <a:cubicBezTo>
                  <a:pt x="89467" y="3085361"/>
                  <a:pt x="89467" y="3083702"/>
                  <a:pt x="87809" y="3082043"/>
                </a:cubicBezTo>
                <a:cubicBezTo>
                  <a:pt x="87809" y="3080384"/>
                  <a:pt x="87809" y="3080384"/>
                  <a:pt x="87809" y="3078726"/>
                </a:cubicBezTo>
                <a:cubicBezTo>
                  <a:pt x="86150" y="3073749"/>
                  <a:pt x="84492" y="3070432"/>
                  <a:pt x="82834" y="3065455"/>
                </a:cubicBezTo>
                <a:cubicBezTo>
                  <a:pt x="82834" y="3065455"/>
                  <a:pt x="82834" y="3063796"/>
                  <a:pt x="82834" y="3063796"/>
                </a:cubicBezTo>
                <a:cubicBezTo>
                  <a:pt x="-85" y="2816636"/>
                  <a:pt x="-23302" y="2547911"/>
                  <a:pt x="24791" y="2274209"/>
                </a:cubicBezTo>
                <a:cubicBezTo>
                  <a:pt x="24791" y="2269233"/>
                  <a:pt x="26449" y="2264257"/>
                  <a:pt x="28107" y="2259280"/>
                </a:cubicBezTo>
                <a:cubicBezTo>
                  <a:pt x="28107" y="2259280"/>
                  <a:pt x="28107" y="2259280"/>
                  <a:pt x="426115" y="0"/>
                </a:cubicBezTo>
                <a:close/>
              </a:path>
            </a:pathLst>
          </a:custGeom>
        </p:spPr>
        <p:txBody>
          <a:bodyPr wrap="square" tIns="1800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BA4DE77-9882-E7B6-8FB7-7ECB44BA0D8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351" y="5643500"/>
            <a:ext cx="5003993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7221098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Imag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9286995F-47F2-C84B-CE54-21B45DE47A0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947007" y="0"/>
            <a:ext cx="6244994" cy="6858000"/>
          </a:xfrm>
          <a:custGeom>
            <a:avLst/>
            <a:gdLst>
              <a:gd name="connsiteX0" fmla="*/ 0 w 3622675"/>
              <a:gd name="connsiteY0" fmla="*/ 0 h 3978275"/>
              <a:gd name="connsiteX1" fmla="*/ 3622675 w 3622675"/>
              <a:gd name="connsiteY1" fmla="*/ 0 h 3978275"/>
              <a:gd name="connsiteX2" fmla="*/ 3622675 w 3622675"/>
              <a:gd name="connsiteY2" fmla="*/ 2856907 h 3978275"/>
              <a:gd name="connsiteX3" fmla="*/ 3259116 w 3622675"/>
              <a:gd name="connsiteY3" fmla="*/ 2791432 h 3978275"/>
              <a:gd name="connsiteX4" fmla="*/ 2894633 w 3622675"/>
              <a:gd name="connsiteY4" fmla="*/ 2909471 h 3978275"/>
              <a:gd name="connsiteX5" fmla="*/ 2866951 w 3622675"/>
              <a:gd name="connsiteY5" fmla="*/ 2928837 h 3978275"/>
              <a:gd name="connsiteX6" fmla="*/ 2539379 w 3622675"/>
              <a:gd name="connsiteY6" fmla="*/ 3608482 h 3978275"/>
              <a:gd name="connsiteX7" fmla="*/ 2471096 w 3622675"/>
              <a:gd name="connsiteY7" fmla="*/ 3978275 h 3978275"/>
              <a:gd name="connsiteX8" fmla="*/ 1068532 w 3622675"/>
              <a:gd name="connsiteY8" fmla="*/ 3978275 h 3978275"/>
              <a:gd name="connsiteX9" fmla="*/ 1001172 w 3622675"/>
              <a:gd name="connsiteY9" fmla="*/ 3708077 h 3978275"/>
              <a:gd name="connsiteX10" fmla="*/ 1328745 w 3622675"/>
              <a:gd name="connsiteY10" fmla="*/ 3027510 h 3978275"/>
              <a:gd name="connsiteX11" fmla="*/ 1356427 w 3622675"/>
              <a:gd name="connsiteY11" fmla="*/ 3009066 h 3978275"/>
              <a:gd name="connsiteX12" fmla="*/ 1684000 w 3622675"/>
              <a:gd name="connsiteY12" fmla="*/ 2328499 h 3978275"/>
              <a:gd name="connsiteX13" fmla="*/ 1267844 w 3622675"/>
              <a:gd name="connsiteY13" fmla="*/ 1694041 h 3978275"/>
              <a:gd name="connsiteX14" fmla="*/ 1245698 w 3622675"/>
              <a:gd name="connsiteY14" fmla="*/ 1682975 h 3978275"/>
              <a:gd name="connsiteX15" fmla="*/ 1237394 w 3622675"/>
              <a:gd name="connsiteY15" fmla="*/ 1679286 h 3978275"/>
              <a:gd name="connsiteX16" fmla="*/ 0 w 3622675"/>
              <a:gd name="connsiteY16" fmla="*/ 0 h 3978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622675" h="3978275">
                <a:moveTo>
                  <a:pt x="0" y="0"/>
                </a:moveTo>
                <a:cubicBezTo>
                  <a:pt x="0" y="0"/>
                  <a:pt x="0" y="0"/>
                  <a:pt x="3622675" y="0"/>
                </a:cubicBezTo>
                <a:cubicBezTo>
                  <a:pt x="3622675" y="0"/>
                  <a:pt x="3622675" y="0"/>
                  <a:pt x="3622675" y="2856907"/>
                </a:cubicBezTo>
                <a:cubicBezTo>
                  <a:pt x="3511946" y="2807109"/>
                  <a:pt x="3388299" y="2783133"/>
                  <a:pt x="3259116" y="2791432"/>
                </a:cubicBezTo>
                <a:cubicBezTo>
                  <a:pt x="3124396" y="2799732"/>
                  <a:pt x="3000749" y="2842152"/>
                  <a:pt x="2894633" y="2909471"/>
                </a:cubicBezTo>
                <a:cubicBezTo>
                  <a:pt x="2885406" y="2915926"/>
                  <a:pt x="2876179" y="2922382"/>
                  <a:pt x="2866951" y="2928837"/>
                </a:cubicBezTo>
                <a:cubicBezTo>
                  <a:pt x="2653799" y="3077307"/>
                  <a:pt x="2520924" y="3330906"/>
                  <a:pt x="2539379" y="3608482"/>
                </a:cubicBezTo>
                <a:cubicBezTo>
                  <a:pt x="2547683" y="3740353"/>
                  <a:pt x="2522769" y="3865769"/>
                  <a:pt x="2471096" y="3978275"/>
                </a:cubicBezTo>
                <a:cubicBezTo>
                  <a:pt x="2471096" y="3978275"/>
                  <a:pt x="2471096" y="3978275"/>
                  <a:pt x="1068532" y="3978275"/>
                </a:cubicBezTo>
                <a:cubicBezTo>
                  <a:pt x="1030700" y="3895279"/>
                  <a:pt x="1006709" y="3803984"/>
                  <a:pt x="1001172" y="3708077"/>
                </a:cubicBezTo>
                <a:cubicBezTo>
                  <a:pt x="982718" y="3429579"/>
                  <a:pt x="1115592" y="3176903"/>
                  <a:pt x="1328745" y="3027510"/>
                </a:cubicBezTo>
                <a:cubicBezTo>
                  <a:pt x="1337972" y="3021977"/>
                  <a:pt x="1347200" y="3015522"/>
                  <a:pt x="1356427" y="3009066"/>
                </a:cubicBezTo>
                <a:cubicBezTo>
                  <a:pt x="1569580" y="2859673"/>
                  <a:pt x="1702454" y="2606997"/>
                  <a:pt x="1684000" y="2328499"/>
                </a:cubicBezTo>
                <a:cubicBezTo>
                  <a:pt x="1665545" y="2049079"/>
                  <a:pt x="1500374" y="1813924"/>
                  <a:pt x="1267844" y="1694041"/>
                </a:cubicBezTo>
                <a:cubicBezTo>
                  <a:pt x="1260462" y="1690352"/>
                  <a:pt x="1253080" y="1686663"/>
                  <a:pt x="1245698" y="1682975"/>
                </a:cubicBezTo>
                <a:cubicBezTo>
                  <a:pt x="1242930" y="1682052"/>
                  <a:pt x="1240162" y="1680208"/>
                  <a:pt x="1237394" y="1679286"/>
                </a:cubicBezTo>
                <a:cubicBezTo>
                  <a:pt x="597013" y="1355602"/>
                  <a:pt x="123647" y="741431"/>
                  <a:pt x="0" y="0"/>
                </a:cubicBezTo>
                <a:close/>
              </a:path>
            </a:pathLst>
          </a:custGeom>
        </p:spPr>
        <p:txBody>
          <a:bodyPr wrap="square" tIns="864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E6BBC6-4CC2-A65A-176C-CB76BE218F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2A7B6C5-FF22-1A7A-56C3-FB036A8167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4838" y="2022689"/>
            <a:ext cx="5040312" cy="400050"/>
          </a:xfrm>
        </p:spPr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en-GB"/>
              <a:t>0.0</a:t>
            </a:r>
          </a:p>
        </p:txBody>
      </p:sp>
    </p:spTree>
    <p:extLst>
      <p:ext uri="{BB962C8B-B14F-4D97-AF65-F5344CB8AC3E}">
        <p14:creationId xmlns:p14="http://schemas.microsoft.com/office/powerpoint/2010/main" val="618415669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Imag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3562D56E-5889-8C77-A1AE-6B1F43EF5F3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988819" y="0"/>
            <a:ext cx="6203181" cy="6858000"/>
          </a:xfrm>
          <a:custGeom>
            <a:avLst/>
            <a:gdLst>
              <a:gd name="connsiteX0" fmla="*/ 509116 w 2993897"/>
              <a:gd name="connsiteY0" fmla="*/ 0 h 3309938"/>
              <a:gd name="connsiteX1" fmla="*/ 2993897 w 2993897"/>
              <a:gd name="connsiteY1" fmla="*/ 0 h 3309938"/>
              <a:gd name="connsiteX2" fmla="*/ 2993897 w 2993897"/>
              <a:gd name="connsiteY2" fmla="*/ 2783566 h 3309938"/>
              <a:gd name="connsiteX3" fmla="*/ 2916487 w 2993897"/>
              <a:gd name="connsiteY3" fmla="*/ 2641055 h 3309938"/>
              <a:gd name="connsiteX4" fmla="*/ 2507211 w 2993897"/>
              <a:gd name="connsiteY4" fmla="*/ 2292439 h 3309938"/>
              <a:gd name="connsiteX5" fmla="*/ 2506444 w 2993897"/>
              <a:gd name="connsiteY5" fmla="*/ 2291672 h 3309938"/>
              <a:gd name="connsiteX6" fmla="*/ 2491116 w 2993897"/>
              <a:gd name="connsiteY6" fmla="*/ 2289374 h 3309938"/>
              <a:gd name="connsiteX7" fmla="*/ 2490350 w 2993897"/>
              <a:gd name="connsiteY7" fmla="*/ 2289374 h 3309938"/>
              <a:gd name="connsiteX8" fmla="*/ 2473488 w 2993897"/>
              <a:gd name="connsiteY8" fmla="*/ 2286309 h 3309938"/>
              <a:gd name="connsiteX9" fmla="*/ 2472722 w 2993897"/>
              <a:gd name="connsiteY9" fmla="*/ 2286309 h 3309938"/>
              <a:gd name="connsiteX10" fmla="*/ 2458159 w 2993897"/>
              <a:gd name="connsiteY10" fmla="*/ 2284777 h 3309938"/>
              <a:gd name="connsiteX11" fmla="*/ 2455094 w 2993897"/>
              <a:gd name="connsiteY11" fmla="*/ 2284777 h 3309938"/>
              <a:gd name="connsiteX12" fmla="*/ 2441298 w 2993897"/>
              <a:gd name="connsiteY12" fmla="*/ 2283244 h 3309938"/>
              <a:gd name="connsiteX13" fmla="*/ 2438998 w 2993897"/>
              <a:gd name="connsiteY13" fmla="*/ 2283244 h 3309938"/>
              <a:gd name="connsiteX14" fmla="*/ 2406042 w 2993897"/>
              <a:gd name="connsiteY14" fmla="*/ 2282478 h 3309938"/>
              <a:gd name="connsiteX15" fmla="*/ 2404509 w 2993897"/>
              <a:gd name="connsiteY15" fmla="*/ 2282478 h 3309938"/>
              <a:gd name="connsiteX16" fmla="*/ 2390713 w 2993897"/>
              <a:gd name="connsiteY16" fmla="*/ 2282478 h 3309938"/>
              <a:gd name="connsiteX17" fmla="*/ 2386114 w 2993897"/>
              <a:gd name="connsiteY17" fmla="*/ 2282478 h 3309938"/>
              <a:gd name="connsiteX18" fmla="*/ 2374618 w 2993897"/>
              <a:gd name="connsiteY18" fmla="*/ 2283244 h 3309938"/>
              <a:gd name="connsiteX19" fmla="*/ 2369253 w 2993897"/>
              <a:gd name="connsiteY19" fmla="*/ 2283244 h 3309938"/>
              <a:gd name="connsiteX20" fmla="*/ 2358522 w 2993897"/>
              <a:gd name="connsiteY20" fmla="*/ 2284011 h 3309938"/>
              <a:gd name="connsiteX21" fmla="*/ 2353158 w 2993897"/>
              <a:gd name="connsiteY21" fmla="*/ 2284777 h 3309938"/>
              <a:gd name="connsiteX22" fmla="*/ 2338595 w 2993897"/>
              <a:gd name="connsiteY22" fmla="*/ 2286309 h 3309938"/>
              <a:gd name="connsiteX23" fmla="*/ 2332464 w 2993897"/>
              <a:gd name="connsiteY23" fmla="*/ 2287075 h 3309938"/>
              <a:gd name="connsiteX24" fmla="*/ 2322500 w 2993897"/>
              <a:gd name="connsiteY24" fmla="*/ 2288608 h 3309938"/>
              <a:gd name="connsiteX25" fmla="*/ 2315602 w 2993897"/>
              <a:gd name="connsiteY25" fmla="*/ 2289374 h 3309938"/>
              <a:gd name="connsiteX26" fmla="*/ 2307172 w 2993897"/>
              <a:gd name="connsiteY26" fmla="*/ 2290906 h 3309938"/>
              <a:gd name="connsiteX27" fmla="*/ 2299507 w 2993897"/>
              <a:gd name="connsiteY27" fmla="*/ 2292439 h 3309938"/>
              <a:gd name="connsiteX28" fmla="*/ 2290310 w 2993897"/>
              <a:gd name="connsiteY28" fmla="*/ 2293971 h 3309938"/>
              <a:gd name="connsiteX29" fmla="*/ 2284178 w 2993897"/>
              <a:gd name="connsiteY29" fmla="*/ 2295503 h 3309938"/>
              <a:gd name="connsiteX30" fmla="*/ 2268850 w 2993897"/>
              <a:gd name="connsiteY30" fmla="*/ 2299334 h 3309938"/>
              <a:gd name="connsiteX31" fmla="*/ 2252755 w 2993897"/>
              <a:gd name="connsiteY31" fmla="*/ 2303932 h 3309938"/>
              <a:gd name="connsiteX32" fmla="*/ 2251222 w 2993897"/>
              <a:gd name="connsiteY32" fmla="*/ 2303932 h 3309938"/>
              <a:gd name="connsiteX33" fmla="*/ 2217499 w 2993897"/>
              <a:gd name="connsiteY33" fmla="*/ 2315424 h 3309938"/>
              <a:gd name="connsiteX34" fmla="*/ 2184542 w 2993897"/>
              <a:gd name="connsiteY34" fmla="*/ 2328450 h 3309938"/>
              <a:gd name="connsiteX35" fmla="*/ 1992167 w 2993897"/>
              <a:gd name="connsiteY35" fmla="*/ 2470195 h 3309938"/>
              <a:gd name="connsiteX36" fmla="*/ 1981437 w 2993897"/>
              <a:gd name="connsiteY36" fmla="*/ 2483220 h 3309938"/>
              <a:gd name="connsiteX37" fmla="*/ 1891764 w 2993897"/>
              <a:gd name="connsiteY37" fmla="*/ 3013423 h 3309938"/>
              <a:gd name="connsiteX38" fmla="*/ 1913991 w 2993897"/>
              <a:gd name="connsiteY38" fmla="*/ 3309938 h 3309938"/>
              <a:gd name="connsiteX39" fmla="*/ 663169 w 2993897"/>
              <a:gd name="connsiteY39" fmla="*/ 3309938 h 3309938"/>
              <a:gd name="connsiteX40" fmla="*/ 201776 w 2993897"/>
              <a:gd name="connsiteY40" fmla="*/ 2922246 h 3309938"/>
              <a:gd name="connsiteX41" fmla="*/ 33160 w 2993897"/>
              <a:gd name="connsiteY41" fmla="*/ 2685494 h 3309938"/>
              <a:gd name="connsiteX42" fmla="*/ 122066 w 2993897"/>
              <a:gd name="connsiteY42" fmla="*/ 2156057 h 3309938"/>
              <a:gd name="connsiteX43" fmla="*/ 132796 w 2993897"/>
              <a:gd name="connsiteY43" fmla="*/ 2142266 h 3309938"/>
              <a:gd name="connsiteX44" fmla="*/ 358895 w 2993897"/>
              <a:gd name="connsiteY44" fmla="*/ 1987495 h 3309938"/>
              <a:gd name="connsiteX45" fmla="*/ 630979 w 2993897"/>
              <a:gd name="connsiteY45" fmla="*/ 1961445 h 3309938"/>
              <a:gd name="connsiteX46" fmla="*/ 647841 w 2993897"/>
              <a:gd name="connsiteY46" fmla="*/ 1964510 h 3309938"/>
              <a:gd name="connsiteX47" fmla="*/ 920691 w 2993897"/>
              <a:gd name="connsiteY47" fmla="*/ 1938459 h 3309938"/>
              <a:gd name="connsiteX48" fmla="*/ 1146023 w 2993897"/>
              <a:gd name="connsiteY48" fmla="*/ 1782923 h 3309938"/>
              <a:gd name="connsiteX49" fmla="*/ 1157520 w 2993897"/>
              <a:gd name="connsiteY49" fmla="*/ 1769898 h 3309938"/>
              <a:gd name="connsiteX50" fmla="*/ 1159052 w 2993897"/>
              <a:gd name="connsiteY50" fmla="*/ 1767599 h 3309938"/>
              <a:gd name="connsiteX51" fmla="*/ 1167483 w 2993897"/>
              <a:gd name="connsiteY51" fmla="*/ 1756106 h 3309938"/>
              <a:gd name="connsiteX52" fmla="*/ 1172082 w 2993897"/>
              <a:gd name="connsiteY52" fmla="*/ 1751509 h 3309938"/>
              <a:gd name="connsiteX53" fmla="*/ 1178213 w 2993897"/>
              <a:gd name="connsiteY53" fmla="*/ 1742315 h 3309938"/>
              <a:gd name="connsiteX54" fmla="*/ 1182046 w 2993897"/>
              <a:gd name="connsiteY54" fmla="*/ 1736951 h 3309938"/>
              <a:gd name="connsiteX55" fmla="*/ 1187411 w 2993897"/>
              <a:gd name="connsiteY55" fmla="*/ 1728523 h 3309938"/>
              <a:gd name="connsiteX56" fmla="*/ 1192009 w 2993897"/>
              <a:gd name="connsiteY56" fmla="*/ 1722394 h 3309938"/>
              <a:gd name="connsiteX57" fmla="*/ 1196608 w 2993897"/>
              <a:gd name="connsiteY57" fmla="*/ 1713966 h 3309938"/>
              <a:gd name="connsiteX58" fmla="*/ 1201206 w 2993897"/>
              <a:gd name="connsiteY58" fmla="*/ 1707836 h 3309938"/>
              <a:gd name="connsiteX59" fmla="*/ 1205805 w 2993897"/>
              <a:gd name="connsiteY59" fmla="*/ 1699408 h 3309938"/>
              <a:gd name="connsiteX60" fmla="*/ 1209637 w 2993897"/>
              <a:gd name="connsiteY60" fmla="*/ 1692512 h 3309938"/>
              <a:gd name="connsiteX61" fmla="*/ 1214236 w 2993897"/>
              <a:gd name="connsiteY61" fmla="*/ 1684851 h 3309938"/>
              <a:gd name="connsiteX62" fmla="*/ 1217302 w 2993897"/>
              <a:gd name="connsiteY62" fmla="*/ 1677955 h 3309938"/>
              <a:gd name="connsiteX63" fmla="*/ 1221900 w 2993897"/>
              <a:gd name="connsiteY63" fmla="*/ 1669527 h 3309938"/>
              <a:gd name="connsiteX64" fmla="*/ 1224966 w 2993897"/>
              <a:gd name="connsiteY64" fmla="*/ 1662631 h 3309938"/>
              <a:gd name="connsiteX65" fmla="*/ 1228798 w 2993897"/>
              <a:gd name="connsiteY65" fmla="*/ 1654203 h 3309938"/>
              <a:gd name="connsiteX66" fmla="*/ 1232630 w 2993897"/>
              <a:gd name="connsiteY66" fmla="*/ 1646541 h 3309938"/>
              <a:gd name="connsiteX67" fmla="*/ 1235696 w 2993897"/>
              <a:gd name="connsiteY67" fmla="*/ 1638879 h 3309938"/>
              <a:gd name="connsiteX68" fmla="*/ 1239528 w 2993897"/>
              <a:gd name="connsiteY68" fmla="*/ 1631217 h 3309938"/>
              <a:gd name="connsiteX69" fmla="*/ 1242594 w 2993897"/>
              <a:gd name="connsiteY69" fmla="*/ 1622789 h 3309938"/>
              <a:gd name="connsiteX70" fmla="*/ 1245660 w 2993897"/>
              <a:gd name="connsiteY70" fmla="*/ 1615127 h 3309938"/>
              <a:gd name="connsiteX71" fmla="*/ 1248725 w 2993897"/>
              <a:gd name="connsiteY71" fmla="*/ 1606699 h 3309938"/>
              <a:gd name="connsiteX72" fmla="*/ 1251025 w 2993897"/>
              <a:gd name="connsiteY72" fmla="*/ 1599037 h 3309938"/>
              <a:gd name="connsiteX73" fmla="*/ 1254090 w 2993897"/>
              <a:gd name="connsiteY73" fmla="*/ 1590609 h 3309938"/>
              <a:gd name="connsiteX74" fmla="*/ 1256390 w 2993897"/>
              <a:gd name="connsiteY74" fmla="*/ 1582947 h 3309938"/>
              <a:gd name="connsiteX75" fmla="*/ 1258689 w 2993897"/>
              <a:gd name="connsiteY75" fmla="*/ 1574519 h 3309938"/>
              <a:gd name="connsiteX76" fmla="*/ 1260988 w 2993897"/>
              <a:gd name="connsiteY76" fmla="*/ 1566091 h 3309938"/>
              <a:gd name="connsiteX77" fmla="*/ 1263288 w 2993897"/>
              <a:gd name="connsiteY77" fmla="*/ 1557663 h 3309938"/>
              <a:gd name="connsiteX78" fmla="*/ 1264820 w 2993897"/>
              <a:gd name="connsiteY78" fmla="*/ 1550001 h 3309938"/>
              <a:gd name="connsiteX79" fmla="*/ 1267120 w 2993897"/>
              <a:gd name="connsiteY79" fmla="*/ 1541573 h 3309938"/>
              <a:gd name="connsiteX80" fmla="*/ 1268653 w 2993897"/>
              <a:gd name="connsiteY80" fmla="*/ 1533145 h 3309938"/>
              <a:gd name="connsiteX81" fmla="*/ 1270186 w 2993897"/>
              <a:gd name="connsiteY81" fmla="*/ 1524717 h 3309938"/>
              <a:gd name="connsiteX82" fmla="*/ 1271718 w 2993897"/>
              <a:gd name="connsiteY82" fmla="*/ 1516289 h 3309938"/>
              <a:gd name="connsiteX83" fmla="*/ 1273251 w 2993897"/>
              <a:gd name="connsiteY83" fmla="*/ 1507861 h 3309938"/>
              <a:gd name="connsiteX84" fmla="*/ 1274018 w 2993897"/>
              <a:gd name="connsiteY84" fmla="*/ 1499433 h 3309938"/>
              <a:gd name="connsiteX85" fmla="*/ 1275551 w 2993897"/>
              <a:gd name="connsiteY85" fmla="*/ 1490238 h 3309938"/>
              <a:gd name="connsiteX86" fmla="*/ 1276317 w 2993897"/>
              <a:gd name="connsiteY86" fmla="*/ 1481810 h 3309938"/>
              <a:gd name="connsiteX87" fmla="*/ 1277083 w 2993897"/>
              <a:gd name="connsiteY87" fmla="*/ 1473382 h 3309938"/>
              <a:gd name="connsiteX88" fmla="*/ 1277850 w 2993897"/>
              <a:gd name="connsiteY88" fmla="*/ 1464954 h 3309938"/>
              <a:gd name="connsiteX89" fmla="*/ 1278616 w 2993897"/>
              <a:gd name="connsiteY89" fmla="*/ 1456526 h 3309938"/>
              <a:gd name="connsiteX90" fmla="*/ 1278616 w 2993897"/>
              <a:gd name="connsiteY90" fmla="*/ 1447332 h 3309938"/>
              <a:gd name="connsiteX91" fmla="*/ 1279383 w 2993897"/>
              <a:gd name="connsiteY91" fmla="*/ 1438904 h 3309938"/>
              <a:gd name="connsiteX92" fmla="*/ 1279383 w 2993897"/>
              <a:gd name="connsiteY92" fmla="*/ 1430476 h 3309938"/>
              <a:gd name="connsiteX93" fmla="*/ 1279383 w 2993897"/>
              <a:gd name="connsiteY93" fmla="*/ 1421281 h 3309938"/>
              <a:gd name="connsiteX94" fmla="*/ 1279383 w 2993897"/>
              <a:gd name="connsiteY94" fmla="*/ 1412853 h 3309938"/>
              <a:gd name="connsiteX95" fmla="*/ 1278616 w 2993897"/>
              <a:gd name="connsiteY95" fmla="*/ 1404425 h 3309938"/>
              <a:gd name="connsiteX96" fmla="*/ 1278616 w 2993897"/>
              <a:gd name="connsiteY96" fmla="*/ 1395231 h 3309938"/>
              <a:gd name="connsiteX97" fmla="*/ 1277850 w 2993897"/>
              <a:gd name="connsiteY97" fmla="*/ 1386803 h 3309938"/>
              <a:gd name="connsiteX98" fmla="*/ 1277083 w 2993897"/>
              <a:gd name="connsiteY98" fmla="*/ 1377609 h 3309938"/>
              <a:gd name="connsiteX99" fmla="*/ 1276317 w 2993897"/>
              <a:gd name="connsiteY99" fmla="*/ 1369181 h 3309938"/>
              <a:gd name="connsiteX100" fmla="*/ 1275551 w 2993897"/>
              <a:gd name="connsiteY100" fmla="*/ 1360752 h 3309938"/>
              <a:gd name="connsiteX101" fmla="*/ 1274018 w 2993897"/>
              <a:gd name="connsiteY101" fmla="*/ 1351558 h 3309938"/>
              <a:gd name="connsiteX102" fmla="*/ 1272485 w 2993897"/>
              <a:gd name="connsiteY102" fmla="*/ 1343130 h 3309938"/>
              <a:gd name="connsiteX103" fmla="*/ 1271718 w 2993897"/>
              <a:gd name="connsiteY103" fmla="*/ 1333936 h 3309938"/>
              <a:gd name="connsiteX104" fmla="*/ 1270186 w 2993897"/>
              <a:gd name="connsiteY104" fmla="*/ 1325508 h 3309938"/>
              <a:gd name="connsiteX105" fmla="*/ 1267886 w 2993897"/>
              <a:gd name="connsiteY105" fmla="*/ 1316313 h 3309938"/>
              <a:gd name="connsiteX106" fmla="*/ 1266353 w 2993897"/>
              <a:gd name="connsiteY106" fmla="*/ 1307885 h 3309938"/>
              <a:gd name="connsiteX107" fmla="*/ 1264054 w 2993897"/>
              <a:gd name="connsiteY107" fmla="*/ 1299457 h 3309938"/>
              <a:gd name="connsiteX108" fmla="*/ 1261755 w 2993897"/>
              <a:gd name="connsiteY108" fmla="*/ 1290263 h 3309938"/>
              <a:gd name="connsiteX109" fmla="*/ 1259455 w 2993897"/>
              <a:gd name="connsiteY109" fmla="*/ 1281835 h 3309938"/>
              <a:gd name="connsiteX110" fmla="*/ 1257156 w 2993897"/>
              <a:gd name="connsiteY110" fmla="*/ 1273407 h 3309938"/>
              <a:gd name="connsiteX111" fmla="*/ 1257156 w 2993897"/>
              <a:gd name="connsiteY111" fmla="*/ 1272641 h 3309938"/>
              <a:gd name="connsiteX112" fmla="*/ 1254857 w 2993897"/>
              <a:gd name="connsiteY112" fmla="*/ 1264213 h 3309938"/>
              <a:gd name="connsiteX113" fmla="*/ 1251791 w 2993897"/>
              <a:gd name="connsiteY113" fmla="*/ 1255785 h 3309938"/>
              <a:gd name="connsiteX114" fmla="*/ 1250258 w 2993897"/>
              <a:gd name="connsiteY114" fmla="*/ 1251954 h 3309938"/>
              <a:gd name="connsiteX115" fmla="*/ 1241827 w 2993897"/>
              <a:gd name="connsiteY115" fmla="*/ 1227436 h 3309938"/>
              <a:gd name="connsiteX116" fmla="*/ 837150 w 2993897"/>
              <a:gd name="connsiteY116" fmla="*/ 891078 h 3309938"/>
              <a:gd name="connsiteX117" fmla="*/ 820288 w 2993897"/>
              <a:gd name="connsiteY117" fmla="*/ 888014 h 3309938"/>
              <a:gd name="connsiteX118" fmla="*/ 411012 w 2993897"/>
              <a:gd name="connsiteY118" fmla="*/ 539397 h 3309938"/>
              <a:gd name="connsiteX119" fmla="*/ 498386 w 2993897"/>
              <a:gd name="connsiteY119" fmla="*/ 12259 h 3309938"/>
              <a:gd name="connsiteX120" fmla="*/ 509116 w 2993897"/>
              <a:gd name="connsiteY120" fmla="*/ 0 h 33099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</a:cxnLst>
            <a:rect l="l" t="t" r="r" b="b"/>
            <a:pathLst>
              <a:path w="2993897" h="3309938">
                <a:moveTo>
                  <a:pt x="509116" y="0"/>
                </a:moveTo>
                <a:cubicBezTo>
                  <a:pt x="509116" y="0"/>
                  <a:pt x="509116" y="0"/>
                  <a:pt x="2993897" y="0"/>
                </a:cubicBezTo>
                <a:cubicBezTo>
                  <a:pt x="2993897" y="0"/>
                  <a:pt x="2993897" y="0"/>
                  <a:pt x="2993897" y="2783566"/>
                </a:cubicBezTo>
                <a:cubicBezTo>
                  <a:pt x="2961707" y="2740659"/>
                  <a:pt x="2935648" y="2693156"/>
                  <a:pt x="2916487" y="2641055"/>
                </a:cubicBezTo>
                <a:cubicBezTo>
                  <a:pt x="2848274" y="2454105"/>
                  <a:pt x="2688856" y="2326917"/>
                  <a:pt x="2507211" y="2292439"/>
                </a:cubicBezTo>
                <a:cubicBezTo>
                  <a:pt x="2507211" y="2291672"/>
                  <a:pt x="2507211" y="2291672"/>
                  <a:pt x="2506444" y="2291672"/>
                </a:cubicBezTo>
                <a:cubicBezTo>
                  <a:pt x="2501080" y="2290906"/>
                  <a:pt x="2495714" y="2290140"/>
                  <a:pt x="2491116" y="2289374"/>
                </a:cubicBezTo>
                <a:cubicBezTo>
                  <a:pt x="2490350" y="2289374"/>
                  <a:pt x="2490350" y="2289374"/>
                  <a:pt x="2490350" y="2289374"/>
                </a:cubicBezTo>
                <a:cubicBezTo>
                  <a:pt x="2484984" y="2287842"/>
                  <a:pt x="2479619" y="2287075"/>
                  <a:pt x="2473488" y="2286309"/>
                </a:cubicBezTo>
                <a:cubicBezTo>
                  <a:pt x="2473488" y="2286309"/>
                  <a:pt x="2473488" y="2286309"/>
                  <a:pt x="2472722" y="2286309"/>
                </a:cubicBezTo>
                <a:cubicBezTo>
                  <a:pt x="2468123" y="2286309"/>
                  <a:pt x="2462758" y="2285543"/>
                  <a:pt x="2458159" y="2284777"/>
                </a:cubicBezTo>
                <a:cubicBezTo>
                  <a:pt x="2457393" y="2284777"/>
                  <a:pt x="2455860" y="2284777"/>
                  <a:pt x="2455094" y="2284777"/>
                </a:cubicBezTo>
                <a:cubicBezTo>
                  <a:pt x="2450495" y="2284011"/>
                  <a:pt x="2445896" y="2284011"/>
                  <a:pt x="2441298" y="2283244"/>
                </a:cubicBezTo>
                <a:cubicBezTo>
                  <a:pt x="2440531" y="2283244"/>
                  <a:pt x="2439765" y="2283244"/>
                  <a:pt x="2438998" y="2283244"/>
                </a:cubicBezTo>
                <a:cubicBezTo>
                  <a:pt x="2428268" y="2282478"/>
                  <a:pt x="2417538" y="2282478"/>
                  <a:pt x="2406042" y="2282478"/>
                </a:cubicBezTo>
                <a:cubicBezTo>
                  <a:pt x="2406042" y="2282478"/>
                  <a:pt x="2405275" y="2282478"/>
                  <a:pt x="2404509" y="2282478"/>
                </a:cubicBezTo>
                <a:cubicBezTo>
                  <a:pt x="2399910" y="2282478"/>
                  <a:pt x="2395312" y="2282478"/>
                  <a:pt x="2390713" y="2282478"/>
                </a:cubicBezTo>
                <a:cubicBezTo>
                  <a:pt x="2389180" y="2282478"/>
                  <a:pt x="2387647" y="2282478"/>
                  <a:pt x="2386114" y="2282478"/>
                </a:cubicBezTo>
                <a:cubicBezTo>
                  <a:pt x="2382282" y="2282478"/>
                  <a:pt x="2378450" y="2282478"/>
                  <a:pt x="2374618" y="2283244"/>
                </a:cubicBezTo>
                <a:cubicBezTo>
                  <a:pt x="2373085" y="2283244"/>
                  <a:pt x="2371552" y="2283244"/>
                  <a:pt x="2369253" y="2283244"/>
                </a:cubicBezTo>
                <a:cubicBezTo>
                  <a:pt x="2366187" y="2283244"/>
                  <a:pt x="2362355" y="2284011"/>
                  <a:pt x="2358522" y="2284011"/>
                </a:cubicBezTo>
                <a:cubicBezTo>
                  <a:pt x="2356990" y="2284011"/>
                  <a:pt x="2355457" y="2284011"/>
                  <a:pt x="2353158" y="2284777"/>
                </a:cubicBezTo>
                <a:cubicBezTo>
                  <a:pt x="2348559" y="2284777"/>
                  <a:pt x="2343194" y="2285543"/>
                  <a:pt x="2338595" y="2286309"/>
                </a:cubicBezTo>
                <a:cubicBezTo>
                  <a:pt x="2336296" y="2286309"/>
                  <a:pt x="2334763" y="2286309"/>
                  <a:pt x="2332464" y="2287075"/>
                </a:cubicBezTo>
                <a:cubicBezTo>
                  <a:pt x="2329398" y="2287075"/>
                  <a:pt x="2326332" y="2287842"/>
                  <a:pt x="2322500" y="2288608"/>
                </a:cubicBezTo>
                <a:cubicBezTo>
                  <a:pt x="2320201" y="2288608"/>
                  <a:pt x="2317902" y="2289374"/>
                  <a:pt x="2315602" y="2289374"/>
                </a:cubicBezTo>
                <a:cubicBezTo>
                  <a:pt x="2312536" y="2290140"/>
                  <a:pt x="2310237" y="2290140"/>
                  <a:pt x="2307172" y="2290906"/>
                </a:cubicBezTo>
                <a:cubicBezTo>
                  <a:pt x="2304872" y="2291672"/>
                  <a:pt x="2302573" y="2291672"/>
                  <a:pt x="2299507" y="2292439"/>
                </a:cubicBezTo>
                <a:cubicBezTo>
                  <a:pt x="2296442" y="2293205"/>
                  <a:pt x="2293376" y="2293971"/>
                  <a:pt x="2290310" y="2293971"/>
                </a:cubicBezTo>
                <a:cubicBezTo>
                  <a:pt x="2288777" y="2294737"/>
                  <a:pt x="2286478" y="2295503"/>
                  <a:pt x="2284178" y="2295503"/>
                </a:cubicBezTo>
                <a:cubicBezTo>
                  <a:pt x="2279580" y="2297036"/>
                  <a:pt x="2274215" y="2297802"/>
                  <a:pt x="2268850" y="2299334"/>
                </a:cubicBezTo>
                <a:cubicBezTo>
                  <a:pt x="2263485" y="2300867"/>
                  <a:pt x="2258120" y="2302399"/>
                  <a:pt x="2252755" y="2303932"/>
                </a:cubicBezTo>
                <a:cubicBezTo>
                  <a:pt x="2251988" y="2303932"/>
                  <a:pt x="2251222" y="2303932"/>
                  <a:pt x="2251222" y="2303932"/>
                </a:cubicBezTo>
                <a:cubicBezTo>
                  <a:pt x="2239725" y="2307762"/>
                  <a:pt x="2228995" y="2310827"/>
                  <a:pt x="2217499" y="2315424"/>
                </a:cubicBezTo>
                <a:cubicBezTo>
                  <a:pt x="2206768" y="2319255"/>
                  <a:pt x="2195272" y="2323852"/>
                  <a:pt x="2184542" y="2328450"/>
                </a:cubicBezTo>
                <a:cubicBezTo>
                  <a:pt x="2108665" y="2362162"/>
                  <a:pt x="2043518" y="2410432"/>
                  <a:pt x="1992167" y="2470195"/>
                </a:cubicBezTo>
                <a:cubicBezTo>
                  <a:pt x="1988335" y="2474792"/>
                  <a:pt x="1984502" y="2479389"/>
                  <a:pt x="1981437" y="2483220"/>
                </a:cubicBezTo>
                <a:cubicBezTo>
                  <a:pt x="1864172" y="2627263"/>
                  <a:pt x="1824318" y="2827239"/>
                  <a:pt x="1891764" y="3013423"/>
                </a:cubicBezTo>
                <a:cubicBezTo>
                  <a:pt x="1927786" y="3112261"/>
                  <a:pt x="1933918" y="3214164"/>
                  <a:pt x="1913991" y="3309938"/>
                </a:cubicBezTo>
                <a:cubicBezTo>
                  <a:pt x="1913991" y="3309938"/>
                  <a:pt x="1913991" y="3309938"/>
                  <a:pt x="663169" y="3309938"/>
                </a:cubicBezTo>
                <a:cubicBezTo>
                  <a:pt x="539773" y="3206503"/>
                  <a:pt x="438604" y="3121456"/>
                  <a:pt x="201776" y="2922246"/>
                </a:cubicBezTo>
                <a:cubicBezTo>
                  <a:pt x="127431" y="2862484"/>
                  <a:pt x="67649" y="2782034"/>
                  <a:pt x="33160" y="2685494"/>
                </a:cubicBezTo>
                <a:cubicBezTo>
                  <a:pt x="-35053" y="2499310"/>
                  <a:pt x="5568" y="2299334"/>
                  <a:pt x="122066" y="2156057"/>
                </a:cubicBezTo>
                <a:cubicBezTo>
                  <a:pt x="125899" y="2151460"/>
                  <a:pt x="129731" y="2146863"/>
                  <a:pt x="132796" y="2142266"/>
                </a:cubicBezTo>
                <a:cubicBezTo>
                  <a:pt x="191812" y="2074841"/>
                  <a:pt x="268455" y="2020442"/>
                  <a:pt x="358895" y="1987495"/>
                </a:cubicBezTo>
                <a:cubicBezTo>
                  <a:pt x="448568" y="1954549"/>
                  <a:pt x="542073" y="1946887"/>
                  <a:pt x="630979" y="1961445"/>
                </a:cubicBezTo>
                <a:cubicBezTo>
                  <a:pt x="636344" y="1962211"/>
                  <a:pt x="642476" y="1963743"/>
                  <a:pt x="647841" y="1964510"/>
                </a:cubicBezTo>
                <a:cubicBezTo>
                  <a:pt x="736747" y="1978301"/>
                  <a:pt x="830252" y="1971405"/>
                  <a:pt x="920691" y="1938459"/>
                </a:cubicBezTo>
                <a:cubicBezTo>
                  <a:pt x="1011131" y="1905513"/>
                  <a:pt x="1087774" y="1851114"/>
                  <a:pt x="1146023" y="1782923"/>
                </a:cubicBezTo>
                <a:cubicBezTo>
                  <a:pt x="1149855" y="1779092"/>
                  <a:pt x="1153687" y="1774495"/>
                  <a:pt x="1157520" y="1769898"/>
                </a:cubicBezTo>
                <a:cubicBezTo>
                  <a:pt x="1157520" y="1769131"/>
                  <a:pt x="1158286" y="1768365"/>
                  <a:pt x="1159052" y="1767599"/>
                </a:cubicBezTo>
                <a:cubicBezTo>
                  <a:pt x="1162118" y="1763768"/>
                  <a:pt x="1165184" y="1759937"/>
                  <a:pt x="1167483" y="1756106"/>
                </a:cubicBezTo>
                <a:cubicBezTo>
                  <a:pt x="1169016" y="1754574"/>
                  <a:pt x="1170549" y="1753041"/>
                  <a:pt x="1172082" y="1751509"/>
                </a:cubicBezTo>
                <a:cubicBezTo>
                  <a:pt x="1173615" y="1748444"/>
                  <a:pt x="1175914" y="1745380"/>
                  <a:pt x="1178213" y="1742315"/>
                </a:cubicBezTo>
                <a:cubicBezTo>
                  <a:pt x="1179746" y="1740782"/>
                  <a:pt x="1180513" y="1738484"/>
                  <a:pt x="1182046" y="1736951"/>
                </a:cubicBezTo>
                <a:cubicBezTo>
                  <a:pt x="1184345" y="1733887"/>
                  <a:pt x="1185878" y="1731588"/>
                  <a:pt x="1187411" y="1728523"/>
                </a:cubicBezTo>
                <a:cubicBezTo>
                  <a:pt x="1188943" y="1726225"/>
                  <a:pt x="1190476" y="1723926"/>
                  <a:pt x="1192009" y="1722394"/>
                </a:cubicBezTo>
                <a:cubicBezTo>
                  <a:pt x="1193542" y="1719329"/>
                  <a:pt x="1195075" y="1717031"/>
                  <a:pt x="1196608" y="1713966"/>
                </a:cubicBezTo>
                <a:cubicBezTo>
                  <a:pt x="1198141" y="1711667"/>
                  <a:pt x="1199674" y="1710135"/>
                  <a:pt x="1201206" y="1707836"/>
                </a:cubicBezTo>
                <a:cubicBezTo>
                  <a:pt x="1202739" y="1704771"/>
                  <a:pt x="1204272" y="1702473"/>
                  <a:pt x="1205805" y="1699408"/>
                </a:cubicBezTo>
                <a:cubicBezTo>
                  <a:pt x="1207338" y="1697110"/>
                  <a:pt x="1208104" y="1694811"/>
                  <a:pt x="1209637" y="1692512"/>
                </a:cubicBezTo>
                <a:cubicBezTo>
                  <a:pt x="1211170" y="1690214"/>
                  <a:pt x="1212703" y="1687149"/>
                  <a:pt x="1214236" y="1684851"/>
                </a:cubicBezTo>
                <a:cubicBezTo>
                  <a:pt x="1215002" y="1682552"/>
                  <a:pt x="1216535" y="1680253"/>
                  <a:pt x="1217302" y="1677955"/>
                </a:cubicBezTo>
                <a:cubicBezTo>
                  <a:pt x="1218834" y="1674890"/>
                  <a:pt x="1220367" y="1672592"/>
                  <a:pt x="1221900" y="1669527"/>
                </a:cubicBezTo>
                <a:cubicBezTo>
                  <a:pt x="1222667" y="1667228"/>
                  <a:pt x="1224199" y="1664930"/>
                  <a:pt x="1224966" y="1662631"/>
                </a:cubicBezTo>
                <a:cubicBezTo>
                  <a:pt x="1226499" y="1659566"/>
                  <a:pt x="1228032" y="1657268"/>
                  <a:pt x="1228798" y="1654203"/>
                </a:cubicBezTo>
                <a:cubicBezTo>
                  <a:pt x="1230331" y="1651904"/>
                  <a:pt x="1231097" y="1649606"/>
                  <a:pt x="1232630" y="1646541"/>
                </a:cubicBezTo>
                <a:cubicBezTo>
                  <a:pt x="1233397" y="1644243"/>
                  <a:pt x="1234930" y="1641178"/>
                  <a:pt x="1235696" y="1638879"/>
                </a:cubicBezTo>
                <a:cubicBezTo>
                  <a:pt x="1237229" y="1635814"/>
                  <a:pt x="1237995" y="1633516"/>
                  <a:pt x="1239528" y="1631217"/>
                </a:cubicBezTo>
                <a:cubicBezTo>
                  <a:pt x="1240295" y="1628153"/>
                  <a:pt x="1241061" y="1625854"/>
                  <a:pt x="1242594" y="1622789"/>
                </a:cubicBezTo>
                <a:cubicBezTo>
                  <a:pt x="1243360" y="1620491"/>
                  <a:pt x="1244127" y="1617426"/>
                  <a:pt x="1245660" y="1615127"/>
                </a:cubicBezTo>
                <a:cubicBezTo>
                  <a:pt x="1246426" y="1612063"/>
                  <a:pt x="1247192" y="1609764"/>
                  <a:pt x="1248725" y="1606699"/>
                </a:cubicBezTo>
                <a:cubicBezTo>
                  <a:pt x="1249492" y="1604401"/>
                  <a:pt x="1250258" y="1601336"/>
                  <a:pt x="1251025" y="1599037"/>
                </a:cubicBezTo>
                <a:cubicBezTo>
                  <a:pt x="1251791" y="1595973"/>
                  <a:pt x="1252558" y="1593674"/>
                  <a:pt x="1254090" y="1590609"/>
                </a:cubicBezTo>
                <a:cubicBezTo>
                  <a:pt x="1254857" y="1588311"/>
                  <a:pt x="1255623" y="1585246"/>
                  <a:pt x="1256390" y="1582947"/>
                </a:cubicBezTo>
                <a:cubicBezTo>
                  <a:pt x="1257156" y="1579883"/>
                  <a:pt x="1257923" y="1576818"/>
                  <a:pt x="1258689" y="1574519"/>
                </a:cubicBezTo>
                <a:cubicBezTo>
                  <a:pt x="1259455" y="1571455"/>
                  <a:pt x="1260222" y="1569156"/>
                  <a:pt x="1260988" y="1566091"/>
                </a:cubicBezTo>
                <a:cubicBezTo>
                  <a:pt x="1261755" y="1563793"/>
                  <a:pt x="1262521" y="1560728"/>
                  <a:pt x="1263288" y="1557663"/>
                </a:cubicBezTo>
                <a:cubicBezTo>
                  <a:pt x="1264054" y="1555365"/>
                  <a:pt x="1264054" y="1552300"/>
                  <a:pt x="1264820" y="1550001"/>
                </a:cubicBezTo>
                <a:cubicBezTo>
                  <a:pt x="1265587" y="1546936"/>
                  <a:pt x="1266353" y="1543872"/>
                  <a:pt x="1267120" y="1541573"/>
                </a:cubicBezTo>
                <a:cubicBezTo>
                  <a:pt x="1267886" y="1538508"/>
                  <a:pt x="1267886" y="1535444"/>
                  <a:pt x="1268653" y="1533145"/>
                </a:cubicBezTo>
                <a:cubicBezTo>
                  <a:pt x="1269419" y="1530080"/>
                  <a:pt x="1269419" y="1527016"/>
                  <a:pt x="1270186" y="1524717"/>
                </a:cubicBezTo>
                <a:cubicBezTo>
                  <a:pt x="1270952" y="1521652"/>
                  <a:pt x="1270952" y="1518587"/>
                  <a:pt x="1271718" y="1516289"/>
                </a:cubicBezTo>
                <a:cubicBezTo>
                  <a:pt x="1272485" y="1513224"/>
                  <a:pt x="1272485" y="1510159"/>
                  <a:pt x="1273251" y="1507861"/>
                </a:cubicBezTo>
                <a:cubicBezTo>
                  <a:pt x="1273251" y="1504796"/>
                  <a:pt x="1274018" y="1501731"/>
                  <a:pt x="1274018" y="1499433"/>
                </a:cubicBezTo>
                <a:cubicBezTo>
                  <a:pt x="1274784" y="1496368"/>
                  <a:pt x="1274784" y="1493303"/>
                  <a:pt x="1275551" y="1490238"/>
                </a:cubicBezTo>
                <a:cubicBezTo>
                  <a:pt x="1275551" y="1487940"/>
                  <a:pt x="1276317" y="1484875"/>
                  <a:pt x="1276317" y="1481810"/>
                </a:cubicBezTo>
                <a:cubicBezTo>
                  <a:pt x="1277083" y="1479512"/>
                  <a:pt x="1277083" y="1476447"/>
                  <a:pt x="1277083" y="1473382"/>
                </a:cubicBezTo>
                <a:cubicBezTo>
                  <a:pt x="1277850" y="1470318"/>
                  <a:pt x="1277850" y="1468019"/>
                  <a:pt x="1277850" y="1464954"/>
                </a:cubicBezTo>
                <a:cubicBezTo>
                  <a:pt x="1277850" y="1461889"/>
                  <a:pt x="1278616" y="1458825"/>
                  <a:pt x="1278616" y="1456526"/>
                </a:cubicBezTo>
                <a:cubicBezTo>
                  <a:pt x="1278616" y="1453461"/>
                  <a:pt x="1278616" y="1450397"/>
                  <a:pt x="1278616" y="1447332"/>
                </a:cubicBezTo>
                <a:cubicBezTo>
                  <a:pt x="1278616" y="1445033"/>
                  <a:pt x="1279383" y="1441969"/>
                  <a:pt x="1279383" y="1438904"/>
                </a:cubicBezTo>
                <a:cubicBezTo>
                  <a:pt x="1279383" y="1435839"/>
                  <a:pt x="1279383" y="1432774"/>
                  <a:pt x="1279383" y="1430476"/>
                </a:cubicBezTo>
                <a:cubicBezTo>
                  <a:pt x="1279383" y="1427411"/>
                  <a:pt x="1279383" y="1424346"/>
                  <a:pt x="1279383" y="1421281"/>
                </a:cubicBezTo>
                <a:cubicBezTo>
                  <a:pt x="1279383" y="1418983"/>
                  <a:pt x="1279383" y="1415918"/>
                  <a:pt x="1279383" y="1412853"/>
                </a:cubicBezTo>
                <a:cubicBezTo>
                  <a:pt x="1279383" y="1409789"/>
                  <a:pt x="1278616" y="1406724"/>
                  <a:pt x="1278616" y="1404425"/>
                </a:cubicBezTo>
                <a:cubicBezTo>
                  <a:pt x="1278616" y="1401361"/>
                  <a:pt x="1278616" y="1398296"/>
                  <a:pt x="1278616" y="1395231"/>
                </a:cubicBezTo>
                <a:cubicBezTo>
                  <a:pt x="1278616" y="1392166"/>
                  <a:pt x="1277850" y="1389868"/>
                  <a:pt x="1277850" y="1386803"/>
                </a:cubicBezTo>
                <a:cubicBezTo>
                  <a:pt x="1277850" y="1383738"/>
                  <a:pt x="1277083" y="1380673"/>
                  <a:pt x="1277083" y="1377609"/>
                </a:cubicBezTo>
                <a:cubicBezTo>
                  <a:pt x="1277083" y="1375310"/>
                  <a:pt x="1276317" y="1372245"/>
                  <a:pt x="1276317" y="1369181"/>
                </a:cubicBezTo>
                <a:cubicBezTo>
                  <a:pt x="1276317" y="1366116"/>
                  <a:pt x="1275551" y="1363051"/>
                  <a:pt x="1275551" y="1360752"/>
                </a:cubicBezTo>
                <a:cubicBezTo>
                  <a:pt x="1274784" y="1357688"/>
                  <a:pt x="1274784" y="1354623"/>
                  <a:pt x="1274018" y="1351558"/>
                </a:cubicBezTo>
                <a:cubicBezTo>
                  <a:pt x="1274018" y="1348493"/>
                  <a:pt x="1273251" y="1346195"/>
                  <a:pt x="1272485" y="1343130"/>
                </a:cubicBezTo>
                <a:cubicBezTo>
                  <a:pt x="1272485" y="1340065"/>
                  <a:pt x="1271718" y="1337001"/>
                  <a:pt x="1271718" y="1333936"/>
                </a:cubicBezTo>
                <a:cubicBezTo>
                  <a:pt x="1270952" y="1331637"/>
                  <a:pt x="1270186" y="1328573"/>
                  <a:pt x="1270186" y="1325508"/>
                </a:cubicBezTo>
                <a:cubicBezTo>
                  <a:pt x="1269419" y="1322443"/>
                  <a:pt x="1268653" y="1319378"/>
                  <a:pt x="1267886" y="1316313"/>
                </a:cubicBezTo>
                <a:cubicBezTo>
                  <a:pt x="1267120" y="1314015"/>
                  <a:pt x="1267120" y="1310950"/>
                  <a:pt x="1266353" y="1307885"/>
                </a:cubicBezTo>
                <a:cubicBezTo>
                  <a:pt x="1265587" y="1304821"/>
                  <a:pt x="1264820" y="1301756"/>
                  <a:pt x="1264054" y="1299457"/>
                </a:cubicBezTo>
                <a:cubicBezTo>
                  <a:pt x="1263288" y="1296393"/>
                  <a:pt x="1262521" y="1293328"/>
                  <a:pt x="1261755" y="1290263"/>
                </a:cubicBezTo>
                <a:cubicBezTo>
                  <a:pt x="1260988" y="1287964"/>
                  <a:pt x="1260222" y="1284900"/>
                  <a:pt x="1259455" y="1281835"/>
                </a:cubicBezTo>
                <a:cubicBezTo>
                  <a:pt x="1258689" y="1278770"/>
                  <a:pt x="1257923" y="1275705"/>
                  <a:pt x="1257156" y="1273407"/>
                </a:cubicBezTo>
                <a:cubicBezTo>
                  <a:pt x="1257156" y="1273407"/>
                  <a:pt x="1257156" y="1273407"/>
                  <a:pt x="1257156" y="1272641"/>
                </a:cubicBezTo>
                <a:cubicBezTo>
                  <a:pt x="1256390" y="1270342"/>
                  <a:pt x="1255623" y="1267277"/>
                  <a:pt x="1254857" y="1264213"/>
                </a:cubicBezTo>
                <a:cubicBezTo>
                  <a:pt x="1253324" y="1261148"/>
                  <a:pt x="1252558" y="1258849"/>
                  <a:pt x="1251791" y="1255785"/>
                </a:cubicBezTo>
                <a:cubicBezTo>
                  <a:pt x="1251025" y="1254252"/>
                  <a:pt x="1251025" y="1253486"/>
                  <a:pt x="1250258" y="1251954"/>
                </a:cubicBezTo>
                <a:cubicBezTo>
                  <a:pt x="1247192" y="1243526"/>
                  <a:pt x="1244127" y="1235864"/>
                  <a:pt x="1241827" y="1227436"/>
                </a:cubicBezTo>
                <a:cubicBezTo>
                  <a:pt x="1171315" y="1047381"/>
                  <a:pt x="1014963" y="925557"/>
                  <a:pt x="837150" y="891078"/>
                </a:cubicBezTo>
                <a:cubicBezTo>
                  <a:pt x="831785" y="890312"/>
                  <a:pt x="826420" y="888780"/>
                  <a:pt x="820288" y="888014"/>
                </a:cubicBezTo>
                <a:cubicBezTo>
                  <a:pt x="638643" y="852769"/>
                  <a:pt x="479225" y="726348"/>
                  <a:pt x="411012" y="539397"/>
                </a:cubicBezTo>
                <a:cubicBezTo>
                  <a:pt x="343566" y="353980"/>
                  <a:pt x="383421" y="155537"/>
                  <a:pt x="498386" y="12259"/>
                </a:cubicBezTo>
                <a:cubicBezTo>
                  <a:pt x="502218" y="7662"/>
                  <a:pt x="505284" y="3831"/>
                  <a:pt x="509116" y="0"/>
                </a:cubicBezTo>
                <a:close/>
              </a:path>
            </a:pathLst>
          </a:custGeom>
        </p:spPr>
        <p:txBody>
          <a:bodyPr wrap="square" tIns="504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E6BBC6-4CC2-A65A-176C-CB76BE218F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2A7B6C5-FF22-1A7A-56C3-FB036A8167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4838" y="2022689"/>
            <a:ext cx="5040312" cy="400050"/>
          </a:xfrm>
        </p:spPr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en-GB"/>
              <a:t>0.0</a:t>
            </a:r>
          </a:p>
        </p:txBody>
      </p:sp>
    </p:spTree>
    <p:extLst>
      <p:ext uri="{BB962C8B-B14F-4D97-AF65-F5344CB8AC3E}">
        <p14:creationId xmlns:p14="http://schemas.microsoft.com/office/powerpoint/2010/main" val="693612177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Imag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D6B3271-A914-8A1F-BE14-9656DCD9022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4559" y="0"/>
            <a:ext cx="5767441" cy="6858000"/>
          </a:xfrm>
          <a:custGeom>
            <a:avLst/>
            <a:gdLst>
              <a:gd name="connsiteX0" fmla="*/ 472364 w 2560637"/>
              <a:gd name="connsiteY0" fmla="*/ 0 h 3044825"/>
              <a:gd name="connsiteX1" fmla="*/ 1500285 w 2560637"/>
              <a:gd name="connsiteY1" fmla="*/ 0 h 3044825"/>
              <a:gd name="connsiteX2" fmla="*/ 1507335 w 2560637"/>
              <a:gd name="connsiteY2" fmla="*/ 74006 h 3044825"/>
              <a:gd name="connsiteX3" fmla="*/ 1507335 w 2560637"/>
              <a:gd name="connsiteY3" fmla="*/ 89512 h 3044825"/>
              <a:gd name="connsiteX4" fmla="*/ 1574312 w 2560637"/>
              <a:gd name="connsiteY4" fmla="*/ 332675 h 3044825"/>
              <a:gd name="connsiteX5" fmla="*/ 1751273 w 2560637"/>
              <a:gd name="connsiteY5" fmla="*/ 512405 h 3044825"/>
              <a:gd name="connsiteX6" fmla="*/ 1765373 w 2560637"/>
              <a:gd name="connsiteY6" fmla="*/ 520863 h 3044825"/>
              <a:gd name="connsiteX7" fmla="*/ 2260298 w 2560637"/>
              <a:gd name="connsiteY7" fmla="*/ 516634 h 3044825"/>
              <a:gd name="connsiteX8" fmla="*/ 2261003 w 2560637"/>
              <a:gd name="connsiteY8" fmla="*/ 516634 h 3044825"/>
              <a:gd name="connsiteX9" fmla="*/ 2263118 w 2560637"/>
              <a:gd name="connsiteY9" fmla="*/ 515224 h 3044825"/>
              <a:gd name="connsiteX10" fmla="*/ 2263823 w 2560637"/>
              <a:gd name="connsiteY10" fmla="*/ 515224 h 3044825"/>
              <a:gd name="connsiteX11" fmla="*/ 2263823 w 2560637"/>
              <a:gd name="connsiteY11" fmla="*/ 514519 h 3044825"/>
              <a:gd name="connsiteX12" fmla="*/ 2264528 w 2560637"/>
              <a:gd name="connsiteY12" fmla="*/ 514519 h 3044825"/>
              <a:gd name="connsiteX13" fmla="*/ 2270168 w 2560637"/>
              <a:gd name="connsiteY13" fmla="*/ 510995 h 3044825"/>
              <a:gd name="connsiteX14" fmla="*/ 2273693 w 2560637"/>
              <a:gd name="connsiteY14" fmla="*/ 509585 h 3044825"/>
              <a:gd name="connsiteX15" fmla="*/ 2274399 w 2560637"/>
              <a:gd name="connsiteY15" fmla="*/ 508881 h 3044825"/>
              <a:gd name="connsiteX16" fmla="*/ 2275103 w 2560637"/>
              <a:gd name="connsiteY16" fmla="*/ 508176 h 3044825"/>
              <a:gd name="connsiteX17" fmla="*/ 2277923 w 2560637"/>
              <a:gd name="connsiteY17" fmla="*/ 506766 h 3044825"/>
              <a:gd name="connsiteX18" fmla="*/ 2282154 w 2560637"/>
              <a:gd name="connsiteY18" fmla="*/ 504652 h 3044825"/>
              <a:gd name="connsiteX19" fmla="*/ 2284269 w 2560637"/>
              <a:gd name="connsiteY19" fmla="*/ 503947 h 3044825"/>
              <a:gd name="connsiteX20" fmla="*/ 2286384 w 2560637"/>
              <a:gd name="connsiteY20" fmla="*/ 502537 h 3044825"/>
              <a:gd name="connsiteX21" fmla="*/ 2290614 w 2560637"/>
              <a:gd name="connsiteY21" fmla="*/ 500423 h 3044825"/>
              <a:gd name="connsiteX22" fmla="*/ 2293434 w 2560637"/>
              <a:gd name="connsiteY22" fmla="*/ 499013 h 3044825"/>
              <a:gd name="connsiteX23" fmla="*/ 2296254 w 2560637"/>
              <a:gd name="connsiteY23" fmla="*/ 497604 h 3044825"/>
              <a:gd name="connsiteX24" fmla="*/ 2297664 w 2560637"/>
              <a:gd name="connsiteY24" fmla="*/ 496899 h 3044825"/>
              <a:gd name="connsiteX25" fmla="*/ 2301894 w 2560637"/>
              <a:gd name="connsiteY25" fmla="*/ 495489 h 3044825"/>
              <a:gd name="connsiteX26" fmla="*/ 2304714 w 2560637"/>
              <a:gd name="connsiteY26" fmla="*/ 494079 h 3044825"/>
              <a:gd name="connsiteX27" fmla="*/ 2307535 w 2560637"/>
              <a:gd name="connsiteY27" fmla="*/ 492670 h 3044825"/>
              <a:gd name="connsiteX28" fmla="*/ 2309649 w 2560637"/>
              <a:gd name="connsiteY28" fmla="*/ 491965 h 3044825"/>
              <a:gd name="connsiteX29" fmla="*/ 2313175 w 2560637"/>
              <a:gd name="connsiteY29" fmla="*/ 490555 h 3044825"/>
              <a:gd name="connsiteX30" fmla="*/ 2319520 w 2560637"/>
              <a:gd name="connsiteY30" fmla="*/ 487736 h 3044825"/>
              <a:gd name="connsiteX31" fmla="*/ 2323750 w 2560637"/>
              <a:gd name="connsiteY31" fmla="*/ 485621 h 3044825"/>
              <a:gd name="connsiteX32" fmla="*/ 2330800 w 2560637"/>
              <a:gd name="connsiteY32" fmla="*/ 482802 h 3044825"/>
              <a:gd name="connsiteX33" fmla="*/ 2334325 w 2560637"/>
              <a:gd name="connsiteY33" fmla="*/ 481393 h 3044825"/>
              <a:gd name="connsiteX34" fmla="*/ 2335030 w 2560637"/>
              <a:gd name="connsiteY34" fmla="*/ 481393 h 3044825"/>
              <a:gd name="connsiteX35" fmla="*/ 2337850 w 2560637"/>
              <a:gd name="connsiteY35" fmla="*/ 479983 h 3044825"/>
              <a:gd name="connsiteX36" fmla="*/ 2342785 w 2560637"/>
              <a:gd name="connsiteY36" fmla="*/ 478573 h 3044825"/>
              <a:gd name="connsiteX37" fmla="*/ 2344195 w 2560637"/>
              <a:gd name="connsiteY37" fmla="*/ 477868 h 3044825"/>
              <a:gd name="connsiteX38" fmla="*/ 2368166 w 2560637"/>
              <a:gd name="connsiteY38" fmla="*/ 470116 h 3044825"/>
              <a:gd name="connsiteX39" fmla="*/ 2370986 w 2560637"/>
              <a:gd name="connsiteY39" fmla="*/ 469411 h 3044825"/>
              <a:gd name="connsiteX40" fmla="*/ 2375921 w 2560637"/>
              <a:gd name="connsiteY40" fmla="*/ 468001 h 3044825"/>
              <a:gd name="connsiteX41" fmla="*/ 2384382 w 2560637"/>
              <a:gd name="connsiteY41" fmla="*/ 465886 h 3044825"/>
              <a:gd name="connsiteX42" fmla="*/ 2386497 w 2560637"/>
              <a:gd name="connsiteY42" fmla="*/ 465182 h 3044825"/>
              <a:gd name="connsiteX43" fmla="*/ 2387907 w 2560637"/>
              <a:gd name="connsiteY43" fmla="*/ 464477 h 3044825"/>
              <a:gd name="connsiteX44" fmla="*/ 2395662 w 2560637"/>
              <a:gd name="connsiteY44" fmla="*/ 463067 h 3044825"/>
              <a:gd name="connsiteX45" fmla="*/ 2399187 w 2560637"/>
              <a:gd name="connsiteY45" fmla="*/ 461658 h 3044825"/>
              <a:gd name="connsiteX46" fmla="*/ 2402007 w 2560637"/>
              <a:gd name="connsiteY46" fmla="*/ 460953 h 3044825"/>
              <a:gd name="connsiteX47" fmla="*/ 2402712 w 2560637"/>
              <a:gd name="connsiteY47" fmla="*/ 460953 h 3044825"/>
              <a:gd name="connsiteX48" fmla="*/ 2406943 w 2560637"/>
              <a:gd name="connsiteY48" fmla="*/ 460248 h 3044825"/>
              <a:gd name="connsiteX49" fmla="*/ 2411173 w 2560637"/>
              <a:gd name="connsiteY49" fmla="*/ 459543 h 3044825"/>
              <a:gd name="connsiteX50" fmla="*/ 2417518 w 2560637"/>
              <a:gd name="connsiteY50" fmla="*/ 458133 h 3044825"/>
              <a:gd name="connsiteX51" fmla="*/ 2419633 w 2560637"/>
              <a:gd name="connsiteY51" fmla="*/ 457429 h 3044825"/>
              <a:gd name="connsiteX52" fmla="*/ 2422453 w 2560637"/>
              <a:gd name="connsiteY52" fmla="*/ 457429 h 3044825"/>
              <a:gd name="connsiteX53" fmla="*/ 2430208 w 2560637"/>
              <a:gd name="connsiteY53" fmla="*/ 456019 h 3044825"/>
              <a:gd name="connsiteX54" fmla="*/ 2434438 w 2560637"/>
              <a:gd name="connsiteY54" fmla="*/ 455314 h 3044825"/>
              <a:gd name="connsiteX55" fmla="*/ 2435143 w 2560637"/>
              <a:gd name="connsiteY55" fmla="*/ 455314 h 3044825"/>
              <a:gd name="connsiteX56" fmla="*/ 2435848 w 2560637"/>
              <a:gd name="connsiteY56" fmla="*/ 455314 h 3044825"/>
              <a:gd name="connsiteX57" fmla="*/ 2441489 w 2560637"/>
              <a:gd name="connsiteY57" fmla="*/ 453905 h 3044825"/>
              <a:gd name="connsiteX58" fmla="*/ 2445719 w 2560637"/>
              <a:gd name="connsiteY58" fmla="*/ 453905 h 3044825"/>
              <a:gd name="connsiteX59" fmla="*/ 2451359 w 2560637"/>
              <a:gd name="connsiteY59" fmla="*/ 453200 h 3044825"/>
              <a:gd name="connsiteX60" fmla="*/ 2453474 w 2560637"/>
              <a:gd name="connsiteY60" fmla="*/ 452495 h 3044825"/>
              <a:gd name="connsiteX61" fmla="*/ 2457704 w 2560637"/>
              <a:gd name="connsiteY61" fmla="*/ 452495 h 3044825"/>
              <a:gd name="connsiteX62" fmla="*/ 2464754 w 2560637"/>
              <a:gd name="connsiteY62" fmla="*/ 451790 h 3044825"/>
              <a:gd name="connsiteX63" fmla="*/ 2468279 w 2560637"/>
              <a:gd name="connsiteY63" fmla="*/ 451085 h 3044825"/>
              <a:gd name="connsiteX64" fmla="*/ 2470394 w 2560637"/>
              <a:gd name="connsiteY64" fmla="*/ 451085 h 3044825"/>
              <a:gd name="connsiteX65" fmla="*/ 2476739 w 2560637"/>
              <a:gd name="connsiteY65" fmla="*/ 450380 h 3044825"/>
              <a:gd name="connsiteX66" fmla="*/ 2480969 w 2560637"/>
              <a:gd name="connsiteY66" fmla="*/ 450380 h 3044825"/>
              <a:gd name="connsiteX67" fmla="*/ 2488020 w 2560637"/>
              <a:gd name="connsiteY67" fmla="*/ 449676 h 3044825"/>
              <a:gd name="connsiteX68" fmla="*/ 2492955 w 2560637"/>
              <a:gd name="connsiteY68" fmla="*/ 449676 h 3044825"/>
              <a:gd name="connsiteX69" fmla="*/ 2500005 w 2560637"/>
              <a:gd name="connsiteY69" fmla="*/ 449676 h 3044825"/>
              <a:gd name="connsiteX70" fmla="*/ 2502120 w 2560637"/>
              <a:gd name="connsiteY70" fmla="*/ 449676 h 3044825"/>
              <a:gd name="connsiteX71" fmla="*/ 2504940 w 2560637"/>
              <a:gd name="connsiteY71" fmla="*/ 449676 h 3044825"/>
              <a:gd name="connsiteX72" fmla="*/ 2511991 w 2560637"/>
              <a:gd name="connsiteY72" fmla="*/ 449676 h 3044825"/>
              <a:gd name="connsiteX73" fmla="*/ 2515516 w 2560637"/>
              <a:gd name="connsiteY73" fmla="*/ 449676 h 3044825"/>
              <a:gd name="connsiteX74" fmla="*/ 2517631 w 2560637"/>
              <a:gd name="connsiteY74" fmla="*/ 449676 h 3044825"/>
              <a:gd name="connsiteX75" fmla="*/ 2520451 w 2560637"/>
              <a:gd name="connsiteY75" fmla="*/ 449676 h 3044825"/>
              <a:gd name="connsiteX76" fmla="*/ 2523271 w 2560637"/>
              <a:gd name="connsiteY76" fmla="*/ 449676 h 3044825"/>
              <a:gd name="connsiteX77" fmla="*/ 2526091 w 2560637"/>
              <a:gd name="connsiteY77" fmla="*/ 449676 h 3044825"/>
              <a:gd name="connsiteX78" fmla="*/ 2535961 w 2560637"/>
              <a:gd name="connsiteY78" fmla="*/ 449676 h 3044825"/>
              <a:gd name="connsiteX79" fmla="*/ 2537371 w 2560637"/>
              <a:gd name="connsiteY79" fmla="*/ 449676 h 3044825"/>
              <a:gd name="connsiteX80" fmla="*/ 2550767 w 2560637"/>
              <a:gd name="connsiteY80" fmla="*/ 451085 h 3044825"/>
              <a:gd name="connsiteX81" fmla="*/ 2554292 w 2560637"/>
              <a:gd name="connsiteY81" fmla="*/ 451085 h 3044825"/>
              <a:gd name="connsiteX82" fmla="*/ 2554997 w 2560637"/>
              <a:gd name="connsiteY82" fmla="*/ 451085 h 3044825"/>
              <a:gd name="connsiteX83" fmla="*/ 2557817 w 2560637"/>
              <a:gd name="connsiteY83" fmla="*/ 451790 h 3044825"/>
              <a:gd name="connsiteX84" fmla="*/ 2560637 w 2560637"/>
              <a:gd name="connsiteY84" fmla="*/ 451790 h 3044825"/>
              <a:gd name="connsiteX85" fmla="*/ 2560637 w 2560637"/>
              <a:gd name="connsiteY85" fmla="*/ 3044825 h 3044825"/>
              <a:gd name="connsiteX86" fmla="*/ 2134804 w 2560637"/>
              <a:gd name="connsiteY86" fmla="*/ 3044825 h 3044825"/>
              <a:gd name="connsiteX87" fmla="*/ 1593348 w 2560637"/>
              <a:gd name="connsiteY87" fmla="*/ 2323089 h 3044825"/>
              <a:gd name="connsiteX88" fmla="*/ 1014526 w 2560637"/>
              <a:gd name="connsiteY88" fmla="*/ 2323089 h 3044825"/>
              <a:gd name="connsiteX89" fmla="*/ 760718 w 2560637"/>
              <a:gd name="connsiteY89" fmla="*/ 2260360 h 3044825"/>
              <a:gd name="connsiteX90" fmla="*/ 760013 w 2560637"/>
              <a:gd name="connsiteY90" fmla="*/ 2259655 h 3044825"/>
              <a:gd name="connsiteX91" fmla="*/ 758603 w 2560637"/>
              <a:gd name="connsiteY91" fmla="*/ 2258950 h 3044825"/>
              <a:gd name="connsiteX92" fmla="*/ 757193 w 2560637"/>
              <a:gd name="connsiteY92" fmla="*/ 2258245 h 3044825"/>
              <a:gd name="connsiteX93" fmla="*/ 753668 w 2560637"/>
              <a:gd name="connsiteY93" fmla="*/ 2256131 h 3044825"/>
              <a:gd name="connsiteX94" fmla="*/ 751553 w 2560637"/>
              <a:gd name="connsiteY94" fmla="*/ 2254721 h 3044825"/>
              <a:gd name="connsiteX95" fmla="*/ 748733 w 2560637"/>
              <a:gd name="connsiteY95" fmla="*/ 2253312 h 3044825"/>
              <a:gd name="connsiteX96" fmla="*/ 746618 w 2560637"/>
              <a:gd name="connsiteY96" fmla="*/ 2251902 h 3044825"/>
              <a:gd name="connsiteX97" fmla="*/ 745913 w 2560637"/>
              <a:gd name="connsiteY97" fmla="*/ 2251902 h 3044825"/>
              <a:gd name="connsiteX98" fmla="*/ 742388 w 2560637"/>
              <a:gd name="connsiteY98" fmla="*/ 2249787 h 3044825"/>
              <a:gd name="connsiteX99" fmla="*/ 741683 w 2560637"/>
              <a:gd name="connsiteY99" fmla="*/ 2249083 h 3044825"/>
              <a:gd name="connsiteX100" fmla="*/ 569657 w 2560637"/>
              <a:gd name="connsiteY100" fmla="*/ 2072173 h 3044825"/>
              <a:gd name="connsiteX101" fmla="*/ 567542 w 2560637"/>
              <a:gd name="connsiteY101" fmla="*/ 2067944 h 3044825"/>
              <a:gd name="connsiteX102" fmla="*/ 69797 w 2560637"/>
              <a:gd name="connsiteY102" fmla="*/ 1206653 h 3044825"/>
              <a:gd name="connsiteX103" fmla="*/ 67682 w 2560637"/>
              <a:gd name="connsiteY103" fmla="*/ 1202424 h 3044825"/>
              <a:gd name="connsiteX104" fmla="*/ 705 w 2560637"/>
              <a:gd name="connsiteY104" fmla="*/ 977586 h 3044825"/>
              <a:gd name="connsiteX105" fmla="*/ 705 w 2560637"/>
              <a:gd name="connsiteY105" fmla="*/ 976177 h 3044825"/>
              <a:gd name="connsiteX106" fmla="*/ 705 w 2560637"/>
              <a:gd name="connsiteY106" fmla="*/ 972653 h 3044825"/>
              <a:gd name="connsiteX107" fmla="*/ 705 w 2560637"/>
              <a:gd name="connsiteY107" fmla="*/ 967719 h 3044825"/>
              <a:gd name="connsiteX108" fmla="*/ 705 w 2560637"/>
              <a:gd name="connsiteY108" fmla="*/ 967014 h 3044825"/>
              <a:gd name="connsiteX109" fmla="*/ 0 w 2560637"/>
              <a:gd name="connsiteY109" fmla="*/ 962785 h 3044825"/>
              <a:gd name="connsiteX110" fmla="*/ 0 w 2560637"/>
              <a:gd name="connsiteY110" fmla="*/ 959966 h 3044825"/>
              <a:gd name="connsiteX111" fmla="*/ 0 w 2560637"/>
              <a:gd name="connsiteY111" fmla="*/ 944460 h 3044825"/>
              <a:gd name="connsiteX112" fmla="*/ 0 w 2560637"/>
              <a:gd name="connsiteY112" fmla="*/ 943755 h 3044825"/>
              <a:gd name="connsiteX113" fmla="*/ 12691 w 2560637"/>
              <a:gd name="connsiteY113" fmla="*/ 839441 h 3044825"/>
              <a:gd name="connsiteX114" fmla="*/ 15511 w 2560637"/>
              <a:gd name="connsiteY114" fmla="*/ 828164 h 3044825"/>
              <a:gd name="connsiteX115" fmla="*/ 16216 w 2560637"/>
              <a:gd name="connsiteY115" fmla="*/ 826755 h 3044825"/>
              <a:gd name="connsiteX116" fmla="*/ 19036 w 2560637"/>
              <a:gd name="connsiteY116" fmla="*/ 816182 h 3044825"/>
              <a:gd name="connsiteX117" fmla="*/ 19036 w 2560637"/>
              <a:gd name="connsiteY117" fmla="*/ 814773 h 3044825"/>
              <a:gd name="connsiteX118" fmla="*/ 20446 w 2560637"/>
              <a:gd name="connsiteY118" fmla="*/ 810544 h 3044825"/>
              <a:gd name="connsiteX119" fmla="*/ 21151 w 2560637"/>
              <a:gd name="connsiteY119" fmla="*/ 809134 h 3044825"/>
              <a:gd name="connsiteX120" fmla="*/ 21856 w 2560637"/>
              <a:gd name="connsiteY120" fmla="*/ 804905 h 3044825"/>
              <a:gd name="connsiteX121" fmla="*/ 22561 w 2560637"/>
              <a:gd name="connsiteY121" fmla="*/ 803496 h 3044825"/>
              <a:gd name="connsiteX122" fmla="*/ 23971 w 2560637"/>
              <a:gd name="connsiteY122" fmla="*/ 799267 h 3044825"/>
              <a:gd name="connsiteX123" fmla="*/ 24676 w 2560637"/>
              <a:gd name="connsiteY123" fmla="*/ 797152 h 3044825"/>
              <a:gd name="connsiteX124" fmla="*/ 25381 w 2560637"/>
              <a:gd name="connsiteY124" fmla="*/ 794333 h 3044825"/>
              <a:gd name="connsiteX125" fmla="*/ 26086 w 2560637"/>
              <a:gd name="connsiteY125" fmla="*/ 791514 h 3044825"/>
              <a:gd name="connsiteX126" fmla="*/ 27496 w 2560637"/>
              <a:gd name="connsiteY126" fmla="*/ 789399 h 3044825"/>
              <a:gd name="connsiteX127" fmla="*/ 28906 w 2560637"/>
              <a:gd name="connsiteY127" fmla="*/ 785170 h 3044825"/>
              <a:gd name="connsiteX128" fmla="*/ 29611 w 2560637"/>
              <a:gd name="connsiteY128" fmla="*/ 783056 h 3044825"/>
              <a:gd name="connsiteX129" fmla="*/ 30316 w 2560637"/>
              <a:gd name="connsiteY129" fmla="*/ 780237 h 3044825"/>
              <a:gd name="connsiteX130" fmla="*/ 31021 w 2560637"/>
              <a:gd name="connsiteY130" fmla="*/ 778122 h 3044825"/>
              <a:gd name="connsiteX131" fmla="*/ 33136 w 2560637"/>
              <a:gd name="connsiteY131" fmla="*/ 773188 h 3044825"/>
              <a:gd name="connsiteX132" fmla="*/ 33841 w 2560637"/>
              <a:gd name="connsiteY132" fmla="*/ 771779 h 3044825"/>
              <a:gd name="connsiteX133" fmla="*/ 34546 w 2560637"/>
              <a:gd name="connsiteY133" fmla="*/ 768959 h 3044825"/>
              <a:gd name="connsiteX134" fmla="*/ 37366 w 2560637"/>
              <a:gd name="connsiteY134" fmla="*/ 761911 h 3044825"/>
              <a:gd name="connsiteX135" fmla="*/ 38071 w 2560637"/>
              <a:gd name="connsiteY135" fmla="*/ 761206 h 3044825"/>
              <a:gd name="connsiteX136" fmla="*/ 42302 w 2560637"/>
              <a:gd name="connsiteY136" fmla="*/ 750634 h 3044825"/>
              <a:gd name="connsiteX137" fmla="*/ 47237 w 2560637"/>
              <a:gd name="connsiteY137" fmla="*/ 739357 h 3044825"/>
              <a:gd name="connsiteX138" fmla="*/ 49352 w 2560637"/>
              <a:gd name="connsiteY138" fmla="*/ 734423 h 3044825"/>
              <a:gd name="connsiteX139" fmla="*/ 67682 w 2560637"/>
              <a:gd name="connsiteY139" fmla="*/ 700592 h 3044825"/>
              <a:gd name="connsiteX140" fmla="*/ 472364 w 2560637"/>
              <a:gd name="connsiteY140" fmla="*/ 0 h 3044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</a:cxnLst>
            <a:rect l="l" t="t" r="r" b="b"/>
            <a:pathLst>
              <a:path w="2560637" h="3044825">
                <a:moveTo>
                  <a:pt x="472364" y="0"/>
                </a:moveTo>
                <a:cubicBezTo>
                  <a:pt x="472364" y="0"/>
                  <a:pt x="472364" y="0"/>
                  <a:pt x="1500285" y="0"/>
                </a:cubicBezTo>
                <a:cubicBezTo>
                  <a:pt x="1504515" y="24669"/>
                  <a:pt x="1506630" y="49338"/>
                  <a:pt x="1507335" y="74006"/>
                </a:cubicBezTo>
                <a:cubicBezTo>
                  <a:pt x="1506630" y="78940"/>
                  <a:pt x="1506630" y="84579"/>
                  <a:pt x="1507335" y="89512"/>
                </a:cubicBezTo>
                <a:cubicBezTo>
                  <a:pt x="1508040" y="172681"/>
                  <a:pt x="1529896" y="255850"/>
                  <a:pt x="1574312" y="332675"/>
                </a:cubicBezTo>
                <a:cubicBezTo>
                  <a:pt x="1618729" y="409501"/>
                  <a:pt x="1680065" y="470116"/>
                  <a:pt x="1751273" y="512405"/>
                </a:cubicBezTo>
                <a:cubicBezTo>
                  <a:pt x="1755503" y="515224"/>
                  <a:pt x="1760438" y="518043"/>
                  <a:pt x="1765373" y="520863"/>
                </a:cubicBezTo>
                <a:cubicBezTo>
                  <a:pt x="1914133" y="603327"/>
                  <a:pt x="2101668" y="608260"/>
                  <a:pt x="2260298" y="516634"/>
                </a:cubicBezTo>
                <a:cubicBezTo>
                  <a:pt x="2261003" y="516634"/>
                  <a:pt x="2261003" y="516634"/>
                  <a:pt x="2261003" y="516634"/>
                </a:cubicBezTo>
                <a:cubicBezTo>
                  <a:pt x="2261708" y="515929"/>
                  <a:pt x="2262413" y="515224"/>
                  <a:pt x="2263118" y="515224"/>
                </a:cubicBezTo>
                <a:cubicBezTo>
                  <a:pt x="2263118" y="515224"/>
                  <a:pt x="2263118" y="515224"/>
                  <a:pt x="2263823" y="515224"/>
                </a:cubicBezTo>
                <a:cubicBezTo>
                  <a:pt x="2263823" y="514519"/>
                  <a:pt x="2263823" y="514519"/>
                  <a:pt x="2263823" y="514519"/>
                </a:cubicBezTo>
                <a:cubicBezTo>
                  <a:pt x="2264528" y="514519"/>
                  <a:pt x="2264528" y="514519"/>
                  <a:pt x="2264528" y="514519"/>
                </a:cubicBezTo>
                <a:cubicBezTo>
                  <a:pt x="2266643" y="513109"/>
                  <a:pt x="2268758" y="512405"/>
                  <a:pt x="2270168" y="510995"/>
                </a:cubicBezTo>
                <a:cubicBezTo>
                  <a:pt x="2271578" y="510290"/>
                  <a:pt x="2272283" y="510290"/>
                  <a:pt x="2273693" y="509585"/>
                </a:cubicBezTo>
                <a:cubicBezTo>
                  <a:pt x="2273693" y="509585"/>
                  <a:pt x="2274399" y="508881"/>
                  <a:pt x="2274399" y="508881"/>
                </a:cubicBezTo>
                <a:cubicBezTo>
                  <a:pt x="2275103" y="508881"/>
                  <a:pt x="2275103" y="508881"/>
                  <a:pt x="2275103" y="508176"/>
                </a:cubicBezTo>
                <a:cubicBezTo>
                  <a:pt x="2275809" y="508176"/>
                  <a:pt x="2277219" y="507471"/>
                  <a:pt x="2277923" y="506766"/>
                </a:cubicBezTo>
                <a:cubicBezTo>
                  <a:pt x="2279333" y="506061"/>
                  <a:pt x="2280743" y="505356"/>
                  <a:pt x="2282154" y="504652"/>
                </a:cubicBezTo>
                <a:cubicBezTo>
                  <a:pt x="2282859" y="504652"/>
                  <a:pt x="2283564" y="503947"/>
                  <a:pt x="2284269" y="503947"/>
                </a:cubicBezTo>
                <a:cubicBezTo>
                  <a:pt x="2284974" y="503242"/>
                  <a:pt x="2285679" y="503242"/>
                  <a:pt x="2286384" y="502537"/>
                </a:cubicBezTo>
                <a:cubicBezTo>
                  <a:pt x="2287794" y="501832"/>
                  <a:pt x="2289204" y="501128"/>
                  <a:pt x="2290614" y="500423"/>
                </a:cubicBezTo>
                <a:cubicBezTo>
                  <a:pt x="2292024" y="500423"/>
                  <a:pt x="2292729" y="499718"/>
                  <a:pt x="2293434" y="499013"/>
                </a:cubicBezTo>
                <a:cubicBezTo>
                  <a:pt x="2294139" y="499013"/>
                  <a:pt x="2294844" y="498308"/>
                  <a:pt x="2296254" y="497604"/>
                </a:cubicBezTo>
                <a:cubicBezTo>
                  <a:pt x="2296959" y="497604"/>
                  <a:pt x="2297664" y="497604"/>
                  <a:pt x="2297664" y="496899"/>
                </a:cubicBezTo>
                <a:cubicBezTo>
                  <a:pt x="2299074" y="496194"/>
                  <a:pt x="2300484" y="496194"/>
                  <a:pt x="2301894" y="495489"/>
                </a:cubicBezTo>
                <a:cubicBezTo>
                  <a:pt x="2302599" y="494784"/>
                  <a:pt x="2304009" y="494079"/>
                  <a:pt x="2304714" y="494079"/>
                </a:cubicBezTo>
                <a:cubicBezTo>
                  <a:pt x="2306124" y="493375"/>
                  <a:pt x="2306829" y="493375"/>
                  <a:pt x="2307535" y="492670"/>
                </a:cubicBezTo>
                <a:cubicBezTo>
                  <a:pt x="2308239" y="492670"/>
                  <a:pt x="2308945" y="491965"/>
                  <a:pt x="2309649" y="491965"/>
                </a:cubicBezTo>
                <a:cubicBezTo>
                  <a:pt x="2311059" y="491260"/>
                  <a:pt x="2311765" y="490555"/>
                  <a:pt x="2313175" y="490555"/>
                </a:cubicBezTo>
                <a:cubicBezTo>
                  <a:pt x="2315289" y="489146"/>
                  <a:pt x="2317405" y="488441"/>
                  <a:pt x="2319520" y="487736"/>
                </a:cubicBezTo>
                <a:cubicBezTo>
                  <a:pt x="2320930" y="487031"/>
                  <a:pt x="2322340" y="486326"/>
                  <a:pt x="2323750" y="485621"/>
                </a:cubicBezTo>
                <a:cubicBezTo>
                  <a:pt x="2325865" y="484917"/>
                  <a:pt x="2328685" y="483507"/>
                  <a:pt x="2330800" y="482802"/>
                </a:cubicBezTo>
                <a:cubicBezTo>
                  <a:pt x="2332210" y="482802"/>
                  <a:pt x="2333620" y="482097"/>
                  <a:pt x="2334325" y="481393"/>
                </a:cubicBezTo>
                <a:cubicBezTo>
                  <a:pt x="2334325" y="481393"/>
                  <a:pt x="2335030" y="481393"/>
                  <a:pt x="2335030" y="481393"/>
                </a:cubicBezTo>
                <a:cubicBezTo>
                  <a:pt x="2335735" y="480688"/>
                  <a:pt x="2337145" y="480688"/>
                  <a:pt x="2337850" y="479983"/>
                </a:cubicBezTo>
                <a:cubicBezTo>
                  <a:pt x="2339260" y="479983"/>
                  <a:pt x="2340671" y="479278"/>
                  <a:pt x="2342785" y="478573"/>
                </a:cubicBezTo>
                <a:cubicBezTo>
                  <a:pt x="2342785" y="478573"/>
                  <a:pt x="2343491" y="478573"/>
                  <a:pt x="2344195" y="477868"/>
                </a:cubicBezTo>
                <a:cubicBezTo>
                  <a:pt x="2351951" y="475049"/>
                  <a:pt x="2360411" y="472935"/>
                  <a:pt x="2368166" y="470116"/>
                </a:cubicBezTo>
                <a:cubicBezTo>
                  <a:pt x="2369576" y="470116"/>
                  <a:pt x="2370281" y="469411"/>
                  <a:pt x="2370986" y="469411"/>
                </a:cubicBezTo>
                <a:cubicBezTo>
                  <a:pt x="2372396" y="468706"/>
                  <a:pt x="2374511" y="468706"/>
                  <a:pt x="2375921" y="468001"/>
                </a:cubicBezTo>
                <a:cubicBezTo>
                  <a:pt x="2378741" y="467296"/>
                  <a:pt x="2381561" y="466591"/>
                  <a:pt x="2384382" y="465886"/>
                </a:cubicBezTo>
                <a:cubicBezTo>
                  <a:pt x="2385087" y="465182"/>
                  <a:pt x="2385792" y="465182"/>
                  <a:pt x="2386497" y="465182"/>
                </a:cubicBezTo>
                <a:cubicBezTo>
                  <a:pt x="2387202" y="465182"/>
                  <a:pt x="2387202" y="465182"/>
                  <a:pt x="2387907" y="464477"/>
                </a:cubicBezTo>
                <a:cubicBezTo>
                  <a:pt x="2390022" y="464477"/>
                  <a:pt x="2392842" y="463772"/>
                  <a:pt x="2395662" y="463067"/>
                </a:cubicBezTo>
                <a:cubicBezTo>
                  <a:pt x="2397072" y="462362"/>
                  <a:pt x="2397777" y="462362"/>
                  <a:pt x="2399187" y="461658"/>
                </a:cubicBezTo>
                <a:cubicBezTo>
                  <a:pt x="2400597" y="461658"/>
                  <a:pt x="2401302" y="461658"/>
                  <a:pt x="2402007" y="460953"/>
                </a:cubicBezTo>
                <a:cubicBezTo>
                  <a:pt x="2402712" y="460953"/>
                  <a:pt x="2402712" y="460953"/>
                  <a:pt x="2402712" y="460953"/>
                </a:cubicBezTo>
                <a:cubicBezTo>
                  <a:pt x="2404122" y="460953"/>
                  <a:pt x="2405532" y="460953"/>
                  <a:pt x="2406943" y="460248"/>
                </a:cubicBezTo>
                <a:cubicBezTo>
                  <a:pt x="2408353" y="460248"/>
                  <a:pt x="2409763" y="459543"/>
                  <a:pt x="2411173" y="459543"/>
                </a:cubicBezTo>
                <a:cubicBezTo>
                  <a:pt x="2413287" y="458838"/>
                  <a:pt x="2415403" y="458838"/>
                  <a:pt x="2417518" y="458133"/>
                </a:cubicBezTo>
                <a:cubicBezTo>
                  <a:pt x="2418223" y="458133"/>
                  <a:pt x="2418928" y="458133"/>
                  <a:pt x="2419633" y="457429"/>
                </a:cubicBezTo>
                <a:cubicBezTo>
                  <a:pt x="2421043" y="457429"/>
                  <a:pt x="2421748" y="457429"/>
                  <a:pt x="2422453" y="457429"/>
                </a:cubicBezTo>
                <a:cubicBezTo>
                  <a:pt x="2425273" y="456724"/>
                  <a:pt x="2427388" y="456724"/>
                  <a:pt x="2430208" y="456019"/>
                </a:cubicBezTo>
                <a:cubicBezTo>
                  <a:pt x="2431618" y="456019"/>
                  <a:pt x="2433028" y="455314"/>
                  <a:pt x="2434438" y="455314"/>
                </a:cubicBezTo>
                <a:cubicBezTo>
                  <a:pt x="2434438" y="455314"/>
                  <a:pt x="2434438" y="455314"/>
                  <a:pt x="2435143" y="455314"/>
                </a:cubicBezTo>
                <a:cubicBezTo>
                  <a:pt x="2435143" y="455314"/>
                  <a:pt x="2435848" y="455314"/>
                  <a:pt x="2435848" y="455314"/>
                </a:cubicBezTo>
                <a:cubicBezTo>
                  <a:pt x="2437963" y="454609"/>
                  <a:pt x="2439373" y="454609"/>
                  <a:pt x="2441489" y="453905"/>
                </a:cubicBezTo>
                <a:cubicBezTo>
                  <a:pt x="2442899" y="453905"/>
                  <a:pt x="2444309" y="453905"/>
                  <a:pt x="2445719" y="453905"/>
                </a:cubicBezTo>
                <a:cubicBezTo>
                  <a:pt x="2447833" y="453200"/>
                  <a:pt x="2449949" y="453200"/>
                  <a:pt x="2451359" y="453200"/>
                </a:cubicBezTo>
                <a:cubicBezTo>
                  <a:pt x="2452064" y="452495"/>
                  <a:pt x="2452769" y="452495"/>
                  <a:pt x="2453474" y="452495"/>
                </a:cubicBezTo>
                <a:cubicBezTo>
                  <a:pt x="2454884" y="452495"/>
                  <a:pt x="2456294" y="452495"/>
                  <a:pt x="2457704" y="452495"/>
                </a:cubicBezTo>
                <a:cubicBezTo>
                  <a:pt x="2459819" y="451790"/>
                  <a:pt x="2462639" y="451790"/>
                  <a:pt x="2464754" y="451790"/>
                </a:cubicBezTo>
                <a:cubicBezTo>
                  <a:pt x="2466164" y="451085"/>
                  <a:pt x="2466869" y="451085"/>
                  <a:pt x="2468279" y="451085"/>
                </a:cubicBezTo>
                <a:cubicBezTo>
                  <a:pt x="2468984" y="451085"/>
                  <a:pt x="2469689" y="451085"/>
                  <a:pt x="2470394" y="451085"/>
                </a:cubicBezTo>
                <a:cubicBezTo>
                  <a:pt x="2472509" y="451085"/>
                  <a:pt x="2474625" y="450380"/>
                  <a:pt x="2476739" y="450380"/>
                </a:cubicBezTo>
                <a:cubicBezTo>
                  <a:pt x="2478149" y="450380"/>
                  <a:pt x="2479559" y="450380"/>
                  <a:pt x="2480969" y="450380"/>
                </a:cubicBezTo>
                <a:cubicBezTo>
                  <a:pt x="2483790" y="450380"/>
                  <a:pt x="2485905" y="449676"/>
                  <a:pt x="2488020" y="449676"/>
                </a:cubicBezTo>
                <a:cubicBezTo>
                  <a:pt x="2489430" y="449676"/>
                  <a:pt x="2491545" y="449676"/>
                  <a:pt x="2492955" y="449676"/>
                </a:cubicBezTo>
                <a:cubicBezTo>
                  <a:pt x="2495070" y="449676"/>
                  <a:pt x="2497890" y="449676"/>
                  <a:pt x="2500005" y="449676"/>
                </a:cubicBezTo>
                <a:cubicBezTo>
                  <a:pt x="2500710" y="449676"/>
                  <a:pt x="2501415" y="449676"/>
                  <a:pt x="2502120" y="449676"/>
                </a:cubicBezTo>
                <a:cubicBezTo>
                  <a:pt x="2502825" y="449676"/>
                  <a:pt x="2503530" y="449676"/>
                  <a:pt x="2504940" y="449676"/>
                </a:cubicBezTo>
                <a:cubicBezTo>
                  <a:pt x="2507055" y="449676"/>
                  <a:pt x="2509171" y="448971"/>
                  <a:pt x="2511991" y="449676"/>
                </a:cubicBezTo>
                <a:cubicBezTo>
                  <a:pt x="2512695" y="449676"/>
                  <a:pt x="2514105" y="449676"/>
                  <a:pt x="2515516" y="449676"/>
                </a:cubicBezTo>
                <a:cubicBezTo>
                  <a:pt x="2516221" y="449676"/>
                  <a:pt x="2516926" y="449676"/>
                  <a:pt x="2517631" y="449676"/>
                </a:cubicBezTo>
                <a:cubicBezTo>
                  <a:pt x="2518336" y="449676"/>
                  <a:pt x="2519041" y="449676"/>
                  <a:pt x="2520451" y="449676"/>
                </a:cubicBezTo>
                <a:cubicBezTo>
                  <a:pt x="2521156" y="449676"/>
                  <a:pt x="2522566" y="449676"/>
                  <a:pt x="2523271" y="449676"/>
                </a:cubicBezTo>
                <a:cubicBezTo>
                  <a:pt x="2523976" y="449676"/>
                  <a:pt x="2525386" y="449676"/>
                  <a:pt x="2526091" y="449676"/>
                </a:cubicBezTo>
                <a:cubicBezTo>
                  <a:pt x="2529616" y="449676"/>
                  <a:pt x="2532436" y="449676"/>
                  <a:pt x="2535961" y="449676"/>
                </a:cubicBezTo>
                <a:cubicBezTo>
                  <a:pt x="2535961" y="449676"/>
                  <a:pt x="2536666" y="449676"/>
                  <a:pt x="2537371" y="449676"/>
                </a:cubicBezTo>
                <a:cubicBezTo>
                  <a:pt x="2541601" y="450380"/>
                  <a:pt x="2546537" y="450380"/>
                  <a:pt x="2550767" y="451085"/>
                </a:cubicBezTo>
                <a:cubicBezTo>
                  <a:pt x="2552177" y="451085"/>
                  <a:pt x="2552882" y="451085"/>
                  <a:pt x="2554292" y="451085"/>
                </a:cubicBezTo>
                <a:cubicBezTo>
                  <a:pt x="2554997" y="451085"/>
                  <a:pt x="2554997" y="451085"/>
                  <a:pt x="2554997" y="451085"/>
                </a:cubicBezTo>
                <a:cubicBezTo>
                  <a:pt x="2556407" y="451085"/>
                  <a:pt x="2557112" y="451085"/>
                  <a:pt x="2557817" y="451790"/>
                </a:cubicBezTo>
                <a:cubicBezTo>
                  <a:pt x="2558522" y="451790"/>
                  <a:pt x="2559932" y="451790"/>
                  <a:pt x="2560637" y="451790"/>
                </a:cubicBezTo>
                <a:lnTo>
                  <a:pt x="2560637" y="3044825"/>
                </a:lnTo>
                <a:cubicBezTo>
                  <a:pt x="2560637" y="3044825"/>
                  <a:pt x="2560637" y="3044825"/>
                  <a:pt x="2134804" y="3044825"/>
                </a:cubicBezTo>
                <a:cubicBezTo>
                  <a:pt x="1877471" y="2860162"/>
                  <a:pt x="1692756" y="2605722"/>
                  <a:pt x="1593348" y="2323089"/>
                </a:cubicBezTo>
                <a:cubicBezTo>
                  <a:pt x="1433308" y="2323089"/>
                  <a:pt x="1314865" y="2323089"/>
                  <a:pt x="1014526" y="2323089"/>
                </a:cubicBezTo>
                <a:cubicBezTo>
                  <a:pt x="925693" y="2325203"/>
                  <a:pt x="838270" y="2303354"/>
                  <a:pt x="760718" y="2260360"/>
                </a:cubicBezTo>
                <a:cubicBezTo>
                  <a:pt x="760013" y="2259655"/>
                  <a:pt x="760013" y="2259655"/>
                  <a:pt x="760013" y="2259655"/>
                </a:cubicBezTo>
                <a:cubicBezTo>
                  <a:pt x="759308" y="2259655"/>
                  <a:pt x="759308" y="2258950"/>
                  <a:pt x="758603" y="2258950"/>
                </a:cubicBezTo>
                <a:cubicBezTo>
                  <a:pt x="757898" y="2258950"/>
                  <a:pt x="757898" y="2258245"/>
                  <a:pt x="757193" y="2258245"/>
                </a:cubicBezTo>
                <a:cubicBezTo>
                  <a:pt x="755783" y="2257541"/>
                  <a:pt x="754373" y="2256836"/>
                  <a:pt x="753668" y="2256131"/>
                </a:cubicBezTo>
                <a:cubicBezTo>
                  <a:pt x="752963" y="2255426"/>
                  <a:pt x="752258" y="2255426"/>
                  <a:pt x="751553" y="2254721"/>
                </a:cubicBezTo>
                <a:cubicBezTo>
                  <a:pt x="750143" y="2254016"/>
                  <a:pt x="749438" y="2254016"/>
                  <a:pt x="748733" y="2253312"/>
                </a:cubicBezTo>
                <a:cubicBezTo>
                  <a:pt x="748028" y="2252607"/>
                  <a:pt x="747323" y="2252607"/>
                  <a:pt x="746618" y="2251902"/>
                </a:cubicBezTo>
                <a:cubicBezTo>
                  <a:pt x="746618" y="2251902"/>
                  <a:pt x="746618" y="2251902"/>
                  <a:pt x="745913" y="2251902"/>
                </a:cubicBezTo>
                <a:cubicBezTo>
                  <a:pt x="744503" y="2251197"/>
                  <a:pt x="743798" y="2250492"/>
                  <a:pt x="742388" y="2249787"/>
                </a:cubicBezTo>
                <a:cubicBezTo>
                  <a:pt x="742388" y="2249083"/>
                  <a:pt x="741683" y="2249083"/>
                  <a:pt x="741683" y="2249083"/>
                </a:cubicBezTo>
                <a:cubicBezTo>
                  <a:pt x="672590" y="2206793"/>
                  <a:pt x="613369" y="2146884"/>
                  <a:pt x="569657" y="2072173"/>
                </a:cubicBezTo>
                <a:cubicBezTo>
                  <a:pt x="568952" y="2070763"/>
                  <a:pt x="568247" y="2069353"/>
                  <a:pt x="567542" y="2067944"/>
                </a:cubicBezTo>
                <a:cubicBezTo>
                  <a:pt x="567542" y="2067944"/>
                  <a:pt x="567542" y="2067944"/>
                  <a:pt x="69797" y="1206653"/>
                </a:cubicBezTo>
                <a:cubicBezTo>
                  <a:pt x="69092" y="1205243"/>
                  <a:pt x="68387" y="1203834"/>
                  <a:pt x="67682" y="1202424"/>
                </a:cubicBezTo>
                <a:cubicBezTo>
                  <a:pt x="26791" y="1131237"/>
                  <a:pt x="4935" y="1054412"/>
                  <a:pt x="705" y="977586"/>
                </a:cubicBezTo>
                <a:cubicBezTo>
                  <a:pt x="705" y="977586"/>
                  <a:pt x="705" y="976882"/>
                  <a:pt x="705" y="976177"/>
                </a:cubicBezTo>
                <a:cubicBezTo>
                  <a:pt x="705" y="974767"/>
                  <a:pt x="705" y="974062"/>
                  <a:pt x="705" y="972653"/>
                </a:cubicBezTo>
                <a:cubicBezTo>
                  <a:pt x="705" y="971243"/>
                  <a:pt x="705" y="969833"/>
                  <a:pt x="705" y="967719"/>
                </a:cubicBezTo>
                <a:cubicBezTo>
                  <a:pt x="705" y="967719"/>
                  <a:pt x="705" y="967719"/>
                  <a:pt x="705" y="967014"/>
                </a:cubicBezTo>
                <a:cubicBezTo>
                  <a:pt x="705" y="965604"/>
                  <a:pt x="0" y="964195"/>
                  <a:pt x="0" y="962785"/>
                </a:cubicBezTo>
                <a:cubicBezTo>
                  <a:pt x="0" y="961375"/>
                  <a:pt x="0" y="960671"/>
                  <a:pt x="0" y="959966"/>
                </a:cubicBezTo>
                <a:cubicBezTo>
                  <a:pt x="0" y="954327"/>
                  <a:pt x="0" y="949394"/>
                  <a:pt x="0" y="944460"/>
                </a:cubicBezTo>
                <a:cubicBezTo>
                  <a:pt x="0" y="943755"/>
                  <a:pt x="0" y="943755"/>
                  <a:pt x="0" y="943755"/>
                </a:cubicBezTo>
                <a:cubicBezTo>
                  <a:pt x="705" y="908514"/>
                  <a:pt x="4935" y="873273"/>
                  <a:pt x="12691" y="839441"/>
                </a:cubicBezTo>
                <a:cubicBezTo>
                  <a:pt x="14101" y="835213"/>
                  <a:pt x="14806" y="831688"/>
                  <a:pt x="15511" y="828164"/>
                </a:cubicBezTo>
                <a:cubicBezTo>
                  <a:pt x="15511" y="827460"/>
                  <a:pt x="16216" y="827460"/>
                  <a:pt x="16216" y="826755"/>
                </a:cubicBezTo>
                <a:cubicBezTo>
                  <a:pt x="16921" y="823231"/>
                  <a:pt x="17626" y="819707"/>
                  <a:pt x="19036" y="816182"/>
                </a:cubicBezTo>
                <a:cubicBezTo>
                  <a:pt x="19036" y="816182"/>
                  <a:pt x="19036" y="815478"/>
                  <a:pt x="19036" y="814773"/>
                </a:cubicBezTo>
                <a:cubicBezTo>
                  <a:pt x="19741" y="813363"/>
                  <a:pt x="19741" y="811953"/>
                  <a:pt x="20446" y="810544"/>
                </a:cubicBezTo>
                <a:cubicBezTo>
                  <a:pt x="20446" y="809839"/>
                  <a:pt x="20446" y="809839"/>
                  <a:pt x="21151" y="809134"/>
                </a:cubicBezTo>
                <a:cubicBezTo>
                  <a:pt x="21151" y="807725"/>
                  <a:pt x="21856" y="806315"/>
                  <a:pt x="21856" y="804905"/>
                </a:cubicBezTo>
                <a:cubicBezTo>
                  <a:pt x="22561" y="804905"/>
                  <a:pt x="22561" y="804200"/>
                  <a:pt x="22561" y="803496"/>
                </a:cubicBezTo>
                <a:cubicBezTo>
                  <a:pt x="23266" y="802086"/>
                  <a:pt x="23266" y="800676"/>
                  <a:pt x="23971" y="799267"/>
                </a:cubicBezTo>
                <a:cubicBezTo>
                  <a:pt x="23971" y="798562"/>
                  <a:pt x="24676" y="797857"/>
                  <a:pt x="24676" y="797152"/>
                </a:cubicBezTo>
                <a:cubicBezTo>
                  <a:pt x="24676" y="795743"/>
                  <a:pt x="25381" y="795038"/>
                  <a:pt x="25381" y="794333"/>
                </a:cubicBezTo>
                <a:cubicBezTo>
                  <a:pt x="26086" y="792923"/>
                  <a:pt x="26086" y="792219"/>
                  <a:pt x="26086" y="791514"/>
                </a:cubicBezTo>
                <a:cubicBezTo>
                  <a:pt x="26791" y="790809"/>
                  <a:pt x="26791" y="790104"/>
                  <a:pt x="27496" y="789399"/>
                </a:cubicBezTo>
                <a:cubicBezTo>
                  <a:pt x="27496" y="787990"/>
                  <a:pt x="28201" y="786580"/>
                  <a:pt x="28906" y="785170"/>
                </a:cubicBezTo>
                <a:cubicBezTo>
                  <a:pt x="28906" y="784465"/>
                  <a:pt x="28906" y="783761"/>
                  <a:pt x="29611" y="783056"/>
                </a:cubicBezTo>
                <a:cubicBezTo>
                  <a:pt x="29611" y="781646"/>
                  <a:pt x="30316" y="780941"/>
                  <a:pt x="30316" y="780237"/>
                </a:cubicBezTo>
                <a:cubicBezTo>
                  <a:pt x="30316" y="779532"/>
                  <a:pt x="31021" y="778827"/>
                  <a:pt x="31021" y="778122"/>
                </a:cubicBezTo>
                <a:cubicBezTo>
                  <a:pt x="31726" y="776712"/>
                  <a:pt x="32431" y="775303"/>
                  <a:pt x="33136" y="773188"/>
                </a:cubicBezTo>
                <a:cubicBezTo>
                  <a:pt x="33136" y="773188"/>
                  <a:pt x="33136" y="772484"/>
                  <a:pt x="33841" y="771779"/>
                </a:cubicBezTo>
                <a:cubicBezTo>
                  <a:pt x="33841" y="771074"/>
                  <a:pt x="34546" y="769664"/>
                  <a:pt x="34546" y="768959"/>
                </a:cubicBezTo>
                <a:cubicBezTo>
                  <a:pt x="35956" y="766140"/>
                  <a:pt x="36661" y="764026"/>
                  <a:pt x="37366" y="761911"/>
                </a:cubicBezTo>
                <a:cubicBezTo>
                  <a:pt x="37366" y="761206"/>
                  <a:pt x="37366" y="761206"/>
                  <a:pt x="38071" y="761206"/>
                </a:cubicBezTo>
                <a:cubicBezTo>
                  <a:pt x="39481" y="757682"/>
                  <a:pt x="40891" y="754158"/>
                  <a:pt x="42302" y="750634"/>
                </a:cubicBezTo>
                <a:cubicBezTo>
                  <a:pt x="43712" y="746405"/>
                  <a:pt x="45827" y="742881"/>
                  <a:pt x="47237" y="739357"/>
                </a:cubicBezTo>
                <a:cubicBezTo>
                  <a:pt x="47942" y="737947"/>
                  <a:pt x="48647" y="735833"/>
                  <a:pt x="49352" y="734423"/>
                </a:cubicBezTo>
                <a:cubicBezTo>
                  <a:pt x="54992" y="723146"/>
                  <a:pt x="61337" y="711869"/>
                  <a:pt x="67682" y="700592"/>
                </a:cubicBezTo>
                <a:cubicBezTo>
                  <a:pt x="281304" y="330561"/>
                  <a:pt x="313030" y="275585"/>
                  <a:pt x="472364" y="0"/>
                </a:cubicBezTo>
                <a:close/>
              </a:path>
            </a:pathLst>
          </a:custGeom>
        </p:spPr>
        <p:txBody>
          <a:bodyPr wrap="square" tIns="972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E6BBC6-4CC2-A65A-176C-CB76BE218F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2A7B6C5-FF22-1A7A-56C3-FB036A8167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4838" y="2022689"/>
            <a:ext cx="5040312" cy="400050"/>
          </a:xfrm>
        </p:spPr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en-GB"/>
              <a:t>0.0</a:t>
            </a:r>
          </a:p>
        </p:txBody>
      </p:sp>
    </p:spTree>
    <p:extLst>
      <p:ext uri="{BB962C8B-B14F-4D97-AF65-F5344CB8AC3E}">
        <p14:creationId xmlns:p14="http://schemas.microsoft.com/office/powerpoint/2010/main" val="526794069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Imag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A5C498B5-87A5-1990-7DDE-07EE0E9C0237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6624878" y="0"/>
            <a:ext cx="5567122" cy="6858000"/>
          </a:xfrm>
          <a:custGeom>
            <a:avLst/>
            <a:gdLst>
              <a:gd name="connsiteX0" fmla="*/ 1285861 w 2649538"/>
              <a:gd name="connsiteY0" fmla="*/ 0 h 3263900"/>
              <a:gd name="connsiteX1" fmla="*/ 2117666 w 2649538"/>
              <a:gd name="connsiteY1" fmla="*/ 0 h 3263900"/>
              <a:gd name="connsiteX2" fmla="*/ 2249879 w 2649538"/>
              <a:gd name="connsiteY2" fmla="*/ 154884 h 3263900"/>
              <a:gd name="connsiteX3" fmla="*/ 2252145 w 2649538"/>
              <a:gd name="connsiteY3" fmla="*/ 158662 h 3263900"/>
              <a:gd name="connsiteX4" fmla="*/ 2257433 w 2649538"/>
              <a:gd name="connsiteY4" fmla="*/ 168484 h 3263900"/>
              <a:gd name="connsiteX5" fmla="*/ 2259700 w 2649538"/>
              <a:gd name="connsiteY5" fmla="*/ 172261 h 3263900"/>
              <a:gd name="connsiteX6" fmla="*/ 2339027 w 2649538"/>
              <a:gd name="connsiteY6" fmla="*/ 477497 h 3263900"/>
              <a:gd name="connsiteX7" fmla="*/ 2259700 w 2649538"/>
              <a:gd name="connsiteY7" fmla="*/ 781976 h 3263900"/>
              <a:gd name="connsiteX8" fmla="*/ 2249879 w 2649538"/>
              <a:gd name="connsiteY8" fmla="*/ 799353 h 3263900"/>
              <a:gd name="connsiteX9" fmla="*/ 2170551 w 2649538"/>
              <a:gd name="connsiteY9" fmla="*/ 1103833 h 3263900"/>
              <a:gd name="connsiteX10" fmla="*/ 2249879 w 2649538"/>
              <a:gd name="connsiteY10" fmla="*/ 1409068 h 3263900"/>
              <a:gd name="connsiteX11" fmla="*/ 2259700 w 2649538"/>
              <a:gd name="connsiteY11" fmla="*/ 1425690 h 3263900"/>
              <a:gd name="connsiteX12" fmla="*/ 2649538 w 2649538"/>
              <a:gd name="connsiteY12" fmla="*/ 1712792 h 3263900"/>
              <a:gd name="connsiteX13" fmla="*/ 2649538 w 2649538"/>
              <a:gd name="connsiteY13" fmla="*/ 3263900 h 3263900"/>
              <a:gd name="connsiteX14" fmla="*/ 942108 w 2649538"/>
              <a:gd name="connsiteY14" fmla="*/ 3263900 h 3263900"/>
              <a:gd name="connsiteX15" fmla="*/ 323354 w 2649538"/>
              <a:gd name="connsiteY15" fmla="*/ 2905778 h 3263900"/>
              <a:gd name="connsiteX16" fmla="*/ 0 w 2649538"/>
              <a:gd name="connsiteY16" fmla="*/ 2357261 h 3263900"/>
              <a:gd name="connsiteX17" fmla="*/ 0 w 2649538"/>
              <a:gd name="connsiteY17" fmla="*/ 2349706 h 3263900"/>
              <a:gd name="connsiteX18" fmla="*/ 77061 w 2649538"/>
              <a:gd name="connsiteY18" fmla="*/ 2055804 h 3263900"/>
              <a:gd name="connsiteX19" fmla="*/ 90660 w 2649538"/>
              <a:gd name="connsiteY19" fmla="*/ 2032382 h 3263900"/>
              <a:gd name="connsiteX20" fmla="*/ 167721 w 2649538"/>
              <a:gd name="connsiteY20" fmla="*/ 1730925 h 3263900"/>
              <a:gd name="connsiteX21" fmla="*/ 90660 w 2649538"/>
              <a:gd name="connsiteY21" fmla="*/ 1429468 h 3263900"/>
              <a:gd name="connsiteX22" fmla="*/ 77061 w 2649538"/>
              <a:gd name="connsiteY22" fmla="*/ 1406046 h 3263900"/>
              <a:gd name="connsiteX23" fmla="*/ 0 w 2649538"/>
              <a:gd name="connsiteY23" fmla="*/ 1111388 h 3263900"/>
              <a:gd name="connsiteX24" fmla="*/ 0 w 2649538"/>
              <a:gd name="connsiteY24" fmla="*/ 1103833 h 3263900"/>
              <a:gd name="connsiteX25" fmla="*/ 323354 w 2649538"/>
              <a:gd name="connsiteY25" fmla="*/ 555316 h 3263900"/>
              <a:gd name="connsiteX26" fmla="*/ 1285861 w 2649538"/>
              <a:gd name="connsiteY26" fmla="*/ 0 h 3263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649538" h="3263900">
                <a:moveTo>
                  <a:pt x="1285861" y="0"/>
                </a:moveTo>
                <a:cubicBezTo>
                  <a:pt x="1285861" y="0"/>
                  <a:pt x="1285861" y="0"/>
                  <a:pt x="2117666" y="0"/>
                </a:cubicBezTo>
                <a:cubicBezTo>
                  <a:pt x="2169795" y="43821"/>
                  <a:pt x="2214370" y="96708"/>
                  <a:pt x="2249879" y="154884"/>
                </a:cubicBezTo>
                <a:cubicBezTo>
                  <a:pt x="2250634" y="156395"/>
                  <a:pt x="2251389" y="157151"/>
                  <a:pt x="2252145" y="158662"/>
                </a:cubicBezTo>
                <a:cubicBezTo>
                  <a:pt x="2253656" y="161684"/>
                  <a:pt x="2255923" y="164706"/>
                  <a:pt x="2257433" y="168484"/>
                </a:cubicBezTo>
                <a:cubicBezTo>
                  <a:pt x="2258189" y="169995"/>
                  <a:pt x="2258945" y="170750"/>
                  <a:pt x="2259700" y="172261"/>
                </a:cubicBezTo>
                <a:cubicBezTo>
                  <a:pt x="2310319" y="262925"/>
                  <a:pt x="2339027" y="366433"/>
                  <a:pt x="2339027" y="477497"/>
                </a:cubicBezTo>
                <a:cubicBezTo>
                  <a:pt x="2339027" y="587804"/>
                  <a:pt x="2310319" y="692068"/>
                  <a:pt x="2259700" y="781976"/>
                </a:cubicBezTo>
                <a:cubicBezTo>
                  <a:pt x="2256678" y="788020"/>
                  <a:pt x="2253656" y="793309"/>
                  <a:pt x="2249879" y="799353"/>
                </a:cubicBezTo>
                <a:cubicBezTo>
                  <a:pt x="2199260" y="889262"/>
                  <a:pt x="2170551" y="993525"/>
                  <a:pt x="2170551" y="1103833"/>
                </a:cubicBezTo>
                <a:cubicBezTo>
                  <a:pt x="2170551" y="1214896"/>
                  <a:pt x="2199260" y="1318404"/>
                  <a:pt x="2249879" y="1409068"/>
                </a:cubicBezTo>
                <a:cubicBezTo>
                  <a:pt x="2253656" y="1414357"/>
                  <a:pt x="2256678" y="1420401"/>
                  <a:pt x="2259700" y="1425690"/>
                </a:cubicBezTo>
                <a:cubicBezTo>
                  <a:pt x="2345071" y="1567730"/>
                  <a:pt x="2484839" y="1673504"/>
                  <a:pt x="2649538" y="1712792"/>
                </a:cubicBezTo>
                <a:lnTo>
                  <a:pt x="2649538" y="3263900"/>
                </a:lnTo>
                <a:cubicBezTo>
                  <a:pt x="2649538" y="3263900"/>
                  <a:pt x="2649538" y="3263900"/>
                  <a:pt x="942108" y="3263900"/>
                </a:cubicBezTo>
                <a:cubicBezTo>
                  <a:pt x="942108" y="3263900"/>
                  <a:pt x="942108" y="3263900"/>
                  <a:pt x="323354" y="2905778"/>
                </a:cubicBezTo>
                <a:cubicBezTo>
                  <a:pt x="129946" y="2799248"/>
                  <a:pt x="0" y="2593743"/>
                  <a:pt x="0" y="2357261"/>
                </a:cubicBezTo>
                <a:cubicBezTo>
                  <a:pt x="0" y="2357261"/>
                  <a:pt x="0" y="2357261"/>
                  <a:pt x="0" y="2349706"/>
                </a:cubicBezTo>
                <a:cubicBezTo>
                  <a:pt x="756" y="2243176"/>
                  <a:pt x="28709" y="2143446"/>
                  <a:pt x="77061" y="2055804"/>
                </a:cubicBezTo>
                <a:cubicBezTo>
                  <a:pt x="81594" y="2048249"/>
                  <a:pt x="85372" y="2039938"/>
                  <a:pt x="90660" y="2032382"/>
                </a:cubicBezTo>
                <a:cubicBezTo>
                  <a:pt x="139768" y="1943230"/>
                  <a:pt x="167721" y="1839722"/>
                  <a:pt x="167721" y="1730925"/>
                </a:cubicBezTo>
                <a:cubicBezTo>
                  <a:pt x="167721" y="1621373"/>
                  <a:pt x="139768" y="1518620"/>
                  <a:pt x="90660" y="1429468"/>
                </a:cubicBezTo>
                <a:cubicBezTo>
                  <a:pt x="85372" y="1421157"/>
                  <a:pt x="81594" y="1413601"/>
                  <a:pt x="77061" y="1406046"/>
                </a:cubicBezTo>
                <a:cubicBezTo>
                  <a:pt x="28709" y="1318404"/>
                  <a:pt x="756" y="1217918"/>
                  <a:pt x="0" y="1111388"/>
                </a:cubicBezTo>
                <a:cubicBezTo>
                  <a:pt x="0" y="1111388"/>
                  <a:pt x="0" y="1111388"/>
                  <a:pt x="0" y="1103833"/>
                </a:cubicBezTo>
                <a:cubicBezTo>
                  <a:pt x="0" y="868107"/>
                  <a:pt x="129946" y="662602"/>
                  <a:pt x="323354" y="555316"/>
                </a:cubicBezTo>
                <a:cubicBezTo>
                  <a:pt x="815940" y="271236"/>
                  <a:pt x="855981" y="247815"/>
                  <a:pt x="1285861" y="0"/>
                </a:cubicBezTo>
                <a:close/>
              </a:path>
            </a:pathLst>
          </a:custGeom>
        </p:spPr>
        <p:txBody>
          <a:bodyPr wrap="square" tIns="2340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E6BBC6-4CC2-A65A-176C-CB76BE218F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2A7B6C5-FF22-1A7A-56C3-FB036A8167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4838" y="2022689"/>
            <a:ext cx="5040312" cy="400050"/>
          </a:xfrm>
        </p:spPr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en-GB"/>
              <a:t>0.0</a:t>
            </a:r>
          </a:p>
        </p:txBody>
      </p:sp>
    </p:spTree>
    <p:extLst>
      <p:ext uri="{BB962C8B-B14F-4D97-AF65-F5344CB8AC3E}">
        <p14:creationId xmlns:p14="http://schemas.microsoft.com/office/powerpoint/2010/main" val="31303460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&amp; Image [Right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black and orange gradient&#10;&#10;Description automatically generated">
            <a:extLst>
              <a:ext uri="{FF2B5EF4-FFF2-40B4-BE49-F238E27FC236}">
                <a16:creationId xmlns:a16="http://schemas.microsoft.com/office/drawing/2014/main" id="{BB08B6D7-9DFB-0B5A-72BD-AF8D4B6782E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8310" y="4267245"/>
            <a:ext cx="2868930" cy="2615879"/>
          </a:xfrm>
          <a:prstGeom prst="rect">
            <a:avLst/>
          </a:prstGeom>
        </p:spPr>
      </p:pic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95F69B26-C1D2-001D-7B52-E91D153AC3C7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43611" y="0"/>
            <a:ext cx="5848390" cy="6858000"/>
          </a:xfrm>
          <a:custGeom>
            <a:avLst/>
            <a:gdLst>
              <a:gd name="connsiteX0" fmla="*/ 0 w 2528887"/>
              <a:gd name="connsiteY0" fmla="*/ 0 h 2965450"/>
              <a:gd name="connsiteX1" fmla="*/ 2528887 w 2528887"/>
              <a:gd name="connsiteY1" fmla="*/ 0 h 2965450"/>
              <a:gd name="connsiteX2" fmla="*/ 2528887 w 2528887"/>
              <a:gd name="connsiteY2" fmla="*/ 1860271 h 2965450"/>
              <a:gd name="connsiteX3" fmla="*/ 1471752 w 2528887"/>
              <a:gd name="connsiteY3" fmla="*/ 2471208 h 2965450"/>
              <a:gd name="connsiteX4" fmla="*/ 1355055 w 2528887"/>
              <a:gd name="connsiteY4" fmla="*/ 2587218 h 2965450"/>
              <a:gd name="connsiteX5" fmla="*/ 1355055 w 2528887"/>
              <a:gd name="connsiteY5" fmla="*/ 2905043 h 2965450"/>
              <a:gd name="connsiteX6" fmla="*/ 1381827 w 2528887"/>
              <a:gd name="connsiteY6" fmla="*/ 2965450 h 2965450"/>
              <a:gd name="connsiteX7" fmla="*/ 0 w 2528887"/>
              <a:gd name="connsiteY7" fmla="*/ 2965450 h 2965450"/>
              <a:gd name="connsiteX8" fmla="*/ 0 w 2528887"/>
              <a:gd name="connsiteY8" fmla="*/ 0 h 2965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528887" h="2965450">
                <a:moveTo>
                  <a:pt x="0" y="0"/>
                </a:moveTo>
                <a:lnTo>
                  <a:pt x="2528887" y="0"/>
                </a:lnTo>
                <a:cubicBezTo>
                  <a:pt x="2528887" y="0"/>
                  <a:pt x="2528887" y="0"/>
                  <a:pt x="2528887" y="1860271"/>
                </a:cubicBezTo>
                <a:cubicBezTo>
                  <a:pt x="2528887" y="1860271"/>
                  <a:pt x="2528887" y="1860271"/>
                  <a:pt x="1471752" y="2471208"/>
                </a:cubicBezTo>
                <a:cubicBezTo>
                  <a:pt x="1424387" y="2497980"/>
                  <a:pt x="1383886" y="2537794"/>
                  <a:pt x="1355055" y="2587218"/>
                </a:cubicBezTo>
                <a:cubicBezTo>
                  <a:pt x="1298766" y="2685380"/>
                  <a:pt x="1298766" y="2806881"/>
                  <a:pt x="1355055" y="2905043"/>
                </a:cubicBezTo>
                <a:cubicBezTo>
                  <a:pt x="1366725" y="2924263"/>
                  <a:pt x="1375649" y="2944857"/>
                  <a:pt x="1381827" y="2965450"/>
                </a:cubicBezTo>
                <a:cubicBezTo>
                  <a:pt x="1381827" y="2965450"/>
                  <a:pt x="1381827" y="2965450"/>
                  <a:pt x="0" y="2965450"/>
                </a:cubicBezTo>
                <a:cubicBezTo>
                  <a:pt x="0" y="2965450"/>
                  <a:pt x="0" y="2965450"/>
                  <a:pt x="0" y="0"/>
                </a:cubicBezTo>
                <a:close/>
              </a:path>
            </a:pathLst>
          </a:custGeom>
        </p:spPr>
        <p:txBody>
          <a:bodyPr wrap="square" tIns="2448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4770000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4770000" cy="447793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63BE2014-6BFF-DAD9-7999-3E949686F40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0101263" y="5823685"/>
            <a:ext cx="1837784" cy="511129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rgbClr val="002068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rgbClr val="002068"/>
                </a:solidFill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7F9764D7-E923-76E5-5F12-8E69C326B0C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4839" y="5464175"/>
            <a:ext cx="4770000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02ED556-318C-0990-9C21-48245CFA043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79003514"/>
      </p:ext>
    </p:extLst>
  </p:cSld>
  <p:clrMapOvr>
    <a:masterClrMapping/>
  </p:clrMapOvr>
  <p:hf hdr="0" ft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On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yellow and orange gradient&#10;&#10;Description automatically generated">
            <a:extLst>
              <a:ext uri="{FF2B5EF4-FFF2-40B4-BE49-F238E27FC236}">
                <a16:creationId xmlns:a16="http://schemas.microsoft.com/office/drawing/2014/main" id="{B5EA0191-64B2-37EE-1EB3-A2B96BACF19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5365" y="3952078"/>
            <a:ext cx="3189242" cy="213648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20"/>
            <a:ext cx="5465762" cy="3557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255C1757-8828-AD56-B8D3-6885A848EDF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872663" y="4848225"/>
            <a:ext cx="1760013" cy="79819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rgbClr val="002068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rgbClr val="002068"/>
                </a:solidFill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ED5F72E-9CFA-4DC4-D9DD-072AFE58471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61102B7-5897-6D37-B5F8-20800A75B7A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6096" y="1996924"/>
            <a:ext cx="11174232" cy="4054626"/>
          </a:xfrm>
          <a:custGeom>
            <a:avLst/>
            <a:gdLst>
              <a:gd name="connsiteX0" fmla="*/ 0 w 7893376"/>
              <a:gd name="connsiteY0" fmla="*/ 0 h 2864151"/>
              <a:gd name="connsiteX1" fmla="*/ 717120 w 7893376"/>
              <a:gd name="connsiteY1" fmla="*/ 0 h 2864151"/>
              <a:gd name="connsiteX2" fmla="*/ 1389435 w 7893376"/>
              <a:gd name="connsiteY2" fmla="*/ 0 h 2864151"/>
              <a:gd name="connsiteX3" fmla="*/ 2018390 w 7893376"/>
              <a:gd name="connsiteY3" fmla="*/ 0 h 2864151"/>
              <a:gd name="connsiteX4" fmla="*/ 2605431 w 7893376"/>
              <a:gd name="connsiteY4" fmla="*/ 0 h 2864151"/>
              <a:gd name="connsiteX5" fmla="*/ 3152004 w 7893376"/>
              <a:gd name="connsiteY5" fmla="*/ 0 h 2864151"/>
              <a:gd name="connsiteX6" fmla="*/ 3659552 w 7893376"/>
              <a:gd name="connsiteY6" fmla="*/ 0 h 2864151"/>
              <a:gd name="connsiteX7" fmla="*/ 4129522 w 7893376"/>
              <a:gd name="connsiteY7" fmla="*/ 0 h 2864151"/>
              <a:gd name="connsiteX8" fmla="*/ 4563359 w 7893376"/>
              <a:gd name="connsiteY8" fmla="*/ 0 h 2864151"/>
              <a:gd name="connsiteX9" fmla="*/ 4962508 w 7893376"/>
              <a:gd name="connsiteY9" fmla="*/ 0 h 2864151"/>
              <a:gd name="connsiteX10" fmla="*/ 5328415 w 7893376"/>
              <a:gd name="connsiteY10" fmla="*/ 0 h 2864151"/>
              <a:gd name="connsiteX11" fmla="*/ 5662525 w 7893376"/>
              <a:gd name="connsiteY11" fmla="*/ 0 h 2864151"/>
              <a:gd name="connsiteX12" fmla="*/ 5966283 w 7893376"/>
              <a:gd name="connsiteY12" fmla="*/ 0 h 2864151"/>
              <a:gd name="connsiteX13" fmla="*/ 6241135 w 7893376"/>
              <a:gd name="connsiteY13" fmla="*/ 0 h 2864151"/>
              <a:gd name="connsiteX14" fmla="*/ 6488526 w 7893376"/>
              <a:gd name="connsiteY14" fmla="*/ 0 h 2864151"/>
              <a:gd name="connsiteX15" fmla="*/ 6709900 w 7893376"/>
              <a:gd name="connsiteY15" fmla="*/ 0 h 2864151"/>
              <a:gd name="connsiteX16" fmla="*/ 6906705 w 7893376"/>
              <a:gd name="connsiteY16" fmla="*/ 0 h 2864151"/>
              <a:gd name="connsiteX17" fmla="*/ 7080384 w 7893376"/>
              <a:gd name="connsiteY17" fmla="*/ 0 h 2864151"/>
              <a:gd name="connsiteX18" fmla="*/ 7232384 w 7893376"/>
              <a:gd name="connsiteY18" fmla="*/ 0 h 2864151"/>
              <a:gd name="connsiteX19" fmla="*/ 7477125 w 7893376"/>
              <a:gd name="connsiteY19" fmla="*/ 0 h 2864151"/>
              <a:gd name="connsiteX20" fmla="*/ 7652490 w 7893376"/>
              <a:gd name="connsiteY20" fmla="*/ 0 h 2864151"/>
              <a:gd name="connsiteX21" fmla="*/ 7770043 w 7893376"/>
              <a:gd name="connsiteY21" fmla="*/ 0 h 2864151"/>
              <a:gd name="connsiteX22" fmla="*/ 7841345 w 7893376"/>
              <a:gd name="connsiteY22" fmla="*/ 0 h 2864151"/>
              <a:gd name="connsiteX23" fmla="*/ 7877960 w 7893376"/>
              <a:gd name="connsiteY23" fmla="*/ 0 h 2864151"/>
              <a:gd name="connsiteX24" fmla="*/ 7891450 w 7893376"/>
              <a:gd name="connsiteY24" fmla="*/ 0 h 2864151"/>
              <a:gd name="connsiteX25" fmla="*/ 7893376 w 7893376"/>
              <a:gd name="connsiteY25" fmla="*/ 0 h 2864151"/>
              <a:gd name="connsiteX26" fmla="*/ 7893376 w 7893376"/>
              <a:gd name="connsiteY26" fmla="*/ 1424213 h 2864151"/>
              <a:gd name="connsiteX27" fmla="*/ 7343668 w 7893376"/>
              <a:gd name="connsiteY27" fmla="*/ 1424213 h 2864151"/>
              <a:gd name="connsiteX28" fmla="*/ 6951018 w 7893376"/>
              <a:gd name="connsiteY28" fmla="*/ 1424213 h 2864151"/>
              <a:gd name="connsiteX29" fmla="*/ 6735622 w 7893376"/>
              <a:gd name="connsiteY29" fmla="*/ 1426460 h 2864151"/>
              <a:gd name="connsiteX30" fmla="*/ 6567344 w 7893376"/>
              <a:gd name="connsiteY30" fmla="*/ 1469141 h 2864151"/>
              <a:gd name="connsiteX31" fmla="*/ 6307073 w 7893376"/>
              <a:gd name="connsiteY31" fmla="*/ 1709505 h 2864151"/>
              <a:gd name="connsiteX32" fmla="*/ 5782045 w 7893376"/>
              <a:gd name="connsiteY32" fmla="*/ 2646251 h 2864151"/>
              <a:gd name="connsiteX33" fmla="*/ 5708002 w 7893376"/>
              <a:gd name="connsiteY33" fmla="*/ 2864151 h 2864151"/>
              <a:gd name="connsiteX34" fmla="*/ 5189426 w 7893376"/>
              <a:gd name="connsiteY34" fmla="*/ 2864151 h 2864151"/>
              <a:gd name="connsiteX35" fmla="*/ 4703249 w 7893376"/>
              <a:gd name="connsiteY35" fmla="*/ 2864151 h 2864151"/>
              <a:gd name="connsiteX36" fmla="*/ 4248427 w 7893376"/>
              <a:gd name="connsiteY36" fmla="*/ 2864151 h 2864151"/>
              <a:gd name="connsiteX37" fmla="*/ 3823916 w 7893376"/>
              <a:gd name="connsiteY37" fmla="*/ 2864151 h 2864151"/>
              <a:gd name="connsiteX38" fmla="*/ 3428669 w 7893376"/>
              <a:gd name="connsiteY38" fmla="*/ 2864151 h 2864151"/>
              <a:gd name="connsiteX39" fmla="*/ 3061641 w 7893376"/>
              <a:gd name="connsiteY39" fmla="*/ 2864151 h 2864151"/>
              <a:gd name="connsiteX40" fmla="*/ 2721788 w 7893376"/>
              <a:gd name="connsiteY40" fmla="*/ 2864151 h 2864151"/>
              <a:gd name="connsiteX41" fmla="*/ 2408064 w 7893376"/>
              <a:gd name="connsiteY41" fmla="*/ 2864151 h 2864151"/>
              <a:gd name="connsiteX42" fmla="*/ 2119424 w 7893376"/>
              <a:gd name="connsiteY42" fmla="*/ 2864151 h 2864151"/>
              <a:gd name="connsiteX43" fmla="*/ 1854822 w 7893376"/>
              <a:gd name="connsiteY43" fmla="*/ 2864151 h 2864151"/>
              <a:gd name="connsiteX44" fmla="*/ 1613215 w 7893376"/>
              <a:gd name="connsiteY44" fmla="*/ 2864151 h 2864151"/>
              <a:gd name="connsiteX45" fmla="*/ 1393555 w 7893376"/>
              <a:gd name="connsiteY45" fmla="*/ 2864151 h 2864151"/>
              <a:gd name="connsiteX46" fmla="*/ 1194800 w 7893376"/>
              <a:gd name="connsiteY46" fmla="*/ 2864151 h 2864151"/>
              <a:gd name="connsiteX47" fmla="*/ 1015902 w 7893376"/>
              <a:gd name="connsiteY47" fmla="*/ 2864151 h 2864151"/>
              <a:gd name="connsiteX48" fmla="*/ 713501 w 7893376"/>
              <a:gd name="connsiteY48" fmla="*/ 2864151 h 2864151"/>
              <a:gd name="connsiteX49" fmla="*/ 477990 w 7893376"/>
              <a:gd name="connsiteY49" fmla="*/ 2864151 h 2864151"/>
              <a:gd name="connsiteX50" fmla="*/ 301008 w 7893376"/>
              <a:gd name="connsiteY50" fmla="*/ 2864151 h 2864151"/>
              <a:gd name="connsiteX51" fmla="*/ 174195 w 7893376"/>
              <a:gd name="connsiteY51" fmla="*/ 2864151 h 2864151"/>
              <a:gd name="connsiteX52" fmla="*/ 89188 w 7893376"/>
              <a:gd name="connsiteY52" fmla="*/ 2864151 h 2864151"/>
              <a:gd name="connsiteX53" fmla="*/ 37626 w 7893376"/>
              <a:gd name="connsiteY53" fmla="*/ 2864151 h 2864151"/>
              <a:gd name="connsiteX54" fmla="*/ 11149 w 7893376"/>
              <a:gd name="connsiteY54" fmla="*/ 2864151 h 2864151"/>
              <a:gd name="connsiteX55" fmla="*/ 0 w 7893376"/>
              <a:gd name="connsiteY55" fmla="*/ 2864151 h 2864151"/>
              <a:gd name="connsiteX56" fmla="*/ 0 w 7893376"/>
              <a:gd name="connsiteY56" fmla="*/ 0 h 2864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</a:cxnLst>
            <a:rect l="l" t="t" r="r" b="b"/>
            <a:pathLst>
              <a:path w="7893376" h="2864151">
                <a:moveTo>
                  <a:pt x="0" y="0"/>
                </a:moveTo>
                <a:lnTo>
                  <a:pt x="717120" y="0"/>
                </a:lnTo>
                <a:lnTo>
                  <a:pt x="1389435" y="0"/>
                </a:lnTo>
                <a:lnTo>
                  <a:pt x="2018390" y="0"/>
                </a:lnTo>
                <a:lnTo>
                  <a:pt x="2605431" y="0"/>
                </a:lnTo>
                <a:lnTo>
                  <a:pt x="3152004" y="0"/>
                </a:lnTo>
                <a:lnTo>
                  <a:pt x="3659552" y="0"/>
                </a:lnTo>
                <a:lnTo>
                  <a:pt x="4129522" y="0"/>
                </a:lnTo>
                <a:lnTo>
                  <a:pt x="4563359" y="0"/>
                </a:lnTo>
                <a:lnTo>
                  <a:pt x="4962508" y="0"/>
                </a:lnTo>
                <a:lnTo>
                  <a:pt x="5328415" y="0"/>
                </a:lnTo>
                <a:lnTo>
                  <a:pt x="5662525" y="0"/>
                </a:lnTo>
                <a:lnTo>
                  <a:pt x="5966283" y="0"/>
                </a:lnTo>
                <a:lnTo>
                  <a:pt x="6241135" y="0"/>
                </a:lnTo>
                <a:lnTo>
                  <a:pt x="6488526" y="0"/>
                </a:lnTo>
                <a:lnTo>
                  <a:pt x="6709900" y="0"/>
                </a:lnTo>
                <a:lnTo>
                  <a:pt x="6906705" y="0"/>
                </a:lnTo>
                <a:lnTo>
                  <a:pt x="7080384" y="0"/>
                </a:lnTo>
                <a:lnTo>
                  <a:pt x="7232384" y="0"/>
                </a:lnTo>
                <a:lnTo>
                  <a:pt x="7477125" y="0"/>
                </a:lnTo>
                <a:lnTo>
                  <a:pt x="7652490" y="0"/>
                </a:lnTo>
                <a:lnTo>
                  <a:pt x="7770043" y="0"/>
                </a:lnTo>
                <a:lnTo>
                  <a:pt x="7841345" y="0"/>
                </a:lnTo>
                <a:lnTo>
                  <a:pt x="7877960" y="0"/>
                </a:lnTo>
                <a:lnTo>
                  <a:pt x="7891450" y="0"/>
                </a:lnTo>
                <a:lnTo>
                  <a:pt x="7893376" y="0"/>
                </a:lnTo>
                <a:lnTo>
                  <a:pt x="7893376" y="1424213"/>
                </a:lnTo>
                <a:lnTo>
                  <a:pt x="7343668" y="1424213"/>
                </a:lnTo>
                <a:cubicBezTo>
                  <a:pt x="7213532" y="1424213"/>
                  <a:pt x="7083397" y="1424213"/>
                  <a:pt x="6951018" y="1424213"/>
                </a:cubicBezTo>
                <a:cubicBezTo>
                  <a:pt x="6879220" y="1424213"/>
                  <a:pt x="6807420" y="1421967"/>
                  <a:pt x="6735622" y="1426460"/>
                </a:cubicBezTo>
                <a:cubicBezTo>
                  <a:pt x="6679529" y="1433199"/>
                  <a:pt x="6621192" y="1444431"/>
                  <a:pt x="6567344" y="1469141"/>
                </a:cubicBezTo>
                <a:cubicBezTo>
                  <a:pt x="6455158" y="1518562"/>
                  <a:pt x="6367653" y="1603925"/>
                  <a:pt x="6307073" y="1709505"/>
                </a:cubicBezTo>
                <a:cubicBezTo>
                  <a:pt x="6044558" y="2174508"/>
                  <a:pt x="6042315" y="2181248"/>
                  <a:pt x="5782045" y="2646251"/>
                </a:cubicBezTo>
                <a:cubicBezTo>
                  <a:pt x="5741658" y="2713643"/>
                  <a:pt x="5716977" y="2787774"/>
                  <a:pt x="5708002" y="2864151"/>
                </a:cubicBezTo>
                <a:lnTo>
                  <a:pt x="5189426" y="2864151"/>
                </a:lnTo>
                <a:lnTo>
                  <a:pt x="4703249" y="2864151"/>
                </a:lnTo>
                <a:lnTo>
                  <a:pt x="4248427" y="2864151"/>
                </a:lnTo>
                <a:lnTo>
                  <a:pt x="3823916" y="2864151"/>
                </a:lnTo>
                <a:lnTo>
                  <a:pt x="3428669" y="2864151"/>
                </a:lnTo>
                <a:lnTo>
                  <a:pt x="3061641" y="2864151"/>
                </a:lnTo>
                <a:lnTo>
                  <a:pt x="2721788" y="2864151"/>
                </a:lnTo>
                <a:lnTo>
                  <a:pt x="2408064" y="2864151"/>
                </a:lnTo>
                <a:lnTo>
                  <a:pt x="2119424" y="2864151"/>
                </a:lnTo>
                <a:lnTo>
                  <a:pt x="1854822" y="2864151"/>
                </a:lnTo>
                <a:lnTo>
                  <a:pt x="1613215" y="2864151"/>
                </a:lnTo>
                <a:lnTo>
                  <a:pt x="1393555" y="2864151"/>
                </a:lnTo>
                <a:lnTo>
                  <a:pt x="1194800" y="2864151"/>
                </a:lnTo>
                <a:lnTo>
                  <a:pt x="1015902" y="2864151"/>
                </a:lnTo>
                <a:lnTo>
                  <a:pt x="713501" y="2864151"/>
                </a:lnTo>
                <a:lnTo>
                  <a:pt x="477990" y="2864151"/>
                </a:lnTo>
                <a:lnTo>
                  <a:pt x="301008" y="2864151"/>
                </a:lnTo>
                <a:lnTo>
                  <a:pt x="174195" y="2864151"/>
                </a:lnTo>
                <a:lnTo>
                  <a:pt x="89188" y="2864151"/>
                </a:lnTo>
                <a:lnTo>
                  <a:pt x="37626" y="2864151"/>
                </a:lnTo>
                <a:lnTo>
                  <a:pt x="11149" y="2864151"/>
                </a:lnTo>
                <a:lnTo>
                  <a:pt x="0" y="2864151"/>
                </a:ln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</p:spPr>
        <p:txBody>
          <a:bodyPr wrap="square" tIns="828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2470528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20"/>
            <a:ext cx="5465762" cy="3557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C3183D8-01C0-CEE2-0ACB-5C2FB5701040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10313" y="1573619"/>
            <a:ext cx="5465762" cy="35573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900BD1E-106D-6745-BCC4-EA41A3289CE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10313" y="5359139"/>
            <a:ext cx="3582988" cy="692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0AA2C8FF-DAA1-2C51-F06E-EADF564334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4838" y="2073275"/>
            <a:ext cx="5465762" cy="3190875"/>
          </a:xfrm>
        </p:spPr>
        <p:txBody>
          <a:bodyPr lIns="90000" tIns="90000"/>
          <a:lstStyle>
            <a:lvl1pPr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0C074D9A-3ED8-DCC3-7AE2-07A9E42A504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10313" y="2073275"/>
            <a:ext cx="5465762" cy="3190875"/>
          </a:xfrm>
        </p:spPr>
        <p:txBody>
          <a:bodyPr lIns="90000" tIns="90000"/>
          <a:lstStyle>
            <a:lvl1pPr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255C1757-8828-AD56-B8D3-6885A848EDF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4838" y="5359139"/>
            <a:ext cx="3582988" cy="692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837E8A8-F9EE-A285-FF1E-7C725071658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0581335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4839" y="1573620"/>
            <a:ext cx="3562349" cy="355738"/>
          </a:xfrm>
        </p:spPr>
        <p:txBody>
          <a:bodyPr/>
          <a:lstStyle/>
          <a:p>
            <a:pPr lvl="0"/>
            <a:r>
              <a:rPr lang="en-US"/>
              <a:t>Click to edit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0AA2C8FF-DAA1-2C51-F06E-EADF564334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4838" y="2073275"/>
            <a:ext cx="3562349" cy="3190875"/>
          </a:xfrm>
        </p:spPr>
        <p:txBody>
          <a:bodyPr lIns="90000" tIns="90000"/>
          <a:lstStyle>
            <a:lvl1pPr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255C1757-8828-AD56-B8D3-6885A848EDF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4838" y="5359139"/>
            <a:ext cx="3562349" cy="692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6930683-2C07-515F-6B98-21313F587FC0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406901" y="1573620"/>
            <a:ext cx="3562349" cy="355738"/>
          </a:xfrm>
        </p:spPr>
        <p:txBody>
          <a:bodyPr/>
          <a:lstStyle/>
          <a:p>
            <a:pPr lvl="0"/>
            <a:r>
              <a:rPr lang="en-US"/>
              <a:t>Click to edit text styles</a:t>
            </a:r>
          </a:p>
        </p:txBody>
      </p:sp>
      <p:sp>
        <p:nvSpPr>
          <p:cNvPr id="8" name="Picture Placeholder 13">
            <a:extLst>
              <a:ext uri="{FF2B5EF4-FFF2-40B4-BE49-F238E27FC236}">
                <a16:creationId xmlns:a16="http://schemas.microsoft.com/office/drawing/2014/main" id="{5A4C5A24-7447-AF6B-CB8A-1CA59B1247E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406900" y="2073275"/>
            <a:ext cx="3562349" cy="3190875"/>
          </a:xfrm>
        </p:spPr>
        <p:txBody>
          <a:bodyPr lIns="90000" tIns="90000"/>
          <a:lstStyle>
            <a:lvl1pPr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5A5FB49C-AB6F-0460-96FD-E8379B6900E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406900" y="5359139"/>
            <a:ext cx="3562349" cy="692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5DEC9EC0-0A9C-AD30-D8B4-BDAFC16D9D6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210552" y="1573620"/>
            <a:ext cx="3562349" cy="355738"/>
          </a:xfrm>
        </p:spPr>
        <p:txBody>
          <a:bodyPr/>
          <a:lstStyle/>
          <a:p>
            <a:pPr lvl="0"/>
            <a:r>
              <a:rPr lang="en-US"/>
              <a:t>Click to edit text styles</a:t>
            </a:r>
          </a:p>
        </p:txBody>
      </p:sp>
      <p:sp>
        <p:nvSpPr>
          <p:cNvPr id="17" name="Picture Placeholder 13">
            <a:extLst>
              <a:ext uri="{FF2B5EF4-FFF2-40B4-BE49-F238E27FC236}">
                <a16:creationId xmlns:a16="http://schemas.microsoft.com/office/drawing/2014/main" id="{6CFA9FC5-F07D-1CC2-DC50-3EB8E61D9119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210551" y="2073275"/>
            <a:ext cx="3562349" cy="3190875"/>
          </a:xfrm>
        </p:spPr>
        <p:txBody>
          <a:bodyPr lIns="90000" tIns="90000"/>
          <a:lstStyle>
            <a:lvl1pPr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ACC3CE1F-FC53-0F86-9C92-D632E6EFFFF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210551" y="5359139"/>
            <a:ext cx="3562349" cy="692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ECA0151-005B-24C8-CF3E-521AC30F0AF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552452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 [Light] + Gradi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yellow and orange gradient&#10;&#10;Description automatically generated">
            <a:extLst>
              <a:ext uri="{FF2B5EF4-FFF2-40B4-BE49-F238E27FC236}">
                <a16:creationId xmlns:a16="http://schemas.microsoft.com/office/drawing/2014/main" id="{816D6385-18A1-6221-5006-883352883F8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6715" y="4075977"/>
            <a:ext cx="4333396" cy="292332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F338A58-465D-29BC-3745-035187C7CF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3AF2D71-F647-C342-B16D-56C6AF9BC9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9856" y="6449644"/>
            <a:ext cx="2687994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Insert menu &gt; Header &amp; Footer butt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64B384-59B0-AF00-1B1B-6C83719C63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A92187FE-E661-7028-83F4-C00A7BBC9C0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250680" y="5242706"/>
            <a:ext cx="1900238" cy="80757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rgbClr val="002068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rgbClr val="002068"/>
                </a:solidFill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DCD79BA-CAF7-9026-0080-6F10C42F5DD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52889224"/>
      </p:ext>
    </p:extLst>
  </p:cSld>
  <p:clrMapOvr>
    <a:masterClrMapping/>
  </p:clrMapOvr>
  <p:hf hd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 + Shap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6900CA3A-D5C6-6306-F264-B33E7114A57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" y="5276289"/>
            <a:ext cx="4892510" cy="159113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F338A58-465D-29BC-3745-035187C7CF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3AF2D71-F647-C342-B16D-56C6AF9BC9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Insert menu &gt; Header &amp; Footer butt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64B384-59B0-AF00-1B1B-6C83719C63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Nr.›</a:t>
            </a:fld>
            <a:endParaRPr lang="en-GB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742DB7D-E407-5F5A-966C-150D9FA07A5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16519742"/>
      </p:ext>
    </p:extLst>
  </p:cSld>
  <p:clrMapOvr>
    <a:masterClrMapping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Full Colour)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colorful background with a white background&#10;&#10;Description automatically generated with medium confidence">
            <a:extLst>
              <a:ext uri="{FF2B5EF4-FFF2-40B4-BE49-F238E27FC236}">
                <a16:creationId xmlns:a16="http://schemas.microsoft.com/office/drawing/2014/main" id="{EAAADDCE-325A-64FA-E1F0-74611D79968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8761" y="0"/>
            <a:ext cx="5383239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736441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5465762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20" name="AutoShape 3">
            <a:extLst>
              <a:ext uri="{FF2B5EF4-FFF2-40B4-BE49-F238E27FC236}">
                <a16:creationId xmlns:a16="http://schemas.microsoft.com/office/drawing/2014/main" id="{8823F573-A3DF-8EC5-FC9A-A27AF8C52AE5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057775" y="0"/>
            <a:ext cx="713422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E369C37-70C6-FCF2-DB71-DC0419FDC4A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351" y="5643500"/>
            <a:ext cx="5003993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43715522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/Caption + Large Copy [Light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84EBD29-A2BA-219B-6568-CD365506F9B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6070600" cy="6858000"/>
          </a:xfrm>
        </p:spPr>
        <p:txBody>
          <a:bodyPr lIns="90000" tIns="90000"/>
          <a:lstStyle>
            <a:lvl1pPr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51628" y="278092"/>
            <a:ext cx="5221272" cy="5773458"/>
          </a:xfrm>
        </p:spPr>
        <p:txBody>
          <a:bodyPr/>
          <a:lstStyle>
            <a:lvl1pPr>
              <a:defRPr sz="4000" b="0" spc="-70" baseline="0">
                <a:solidFill>
                  <a:srgbClr val="002068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255C1757-8828-AD56-B8D3-6885A848EDF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4838" y="5233035"/>
            <a:ext cx="3562390" cy="81851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2A464A1-EE84-A23B-881D-10670F2C8A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3375930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/Caption + Large Copy [Shape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A5B02303-1EE2-81CD-39CF-6C01FF93C20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3811" y="0"/>
            <a:ext cx="6092517" cy="6858000"/>
          </a:xfrm>
          <a:custGeom>
            <a:avLst/>
            <a:gdLst>
              <a:gd name="connsiteX0" fmla="*/ 0 w 3702050"/>
              <a:gd name="connsiteY0" fmla="*/ 0 h 4167187"/>
              <a:gd name="connsiteX1" fmla="*/ 3702050 w 3702050"/>
              <a:gd name="connsiteY1" fmla="*/ 0 h 4167187"/>
              <a:gd name="connsiteX2" fmla="*/ 3702050 w 3702050"/>
              <a:gd name="connsiteY2" fmla="*/ 4167187 h 4167187"/>
              <a:gd name="connsiteX3" fmla="*/ 2952573 w 3702050"/>
              <a:gd name="connsiteY3" fmla="*/ 4167187 h 4167187"/>
              <a:gd name="connsiteX4" fmla="*/ 1403461 w 3702050"/>
              <a:gd name="connsiteY4" fmla="*/ 3267190 h 4167187"/>
              <a:gd name="connsiteX5" fmla="*/ 746584 w 3702050"/>
              <a:gd name="connsiteY5" fmla="*/ 3443717 h 4167187"/>
              <a:gd name="connsiteX6" fmla="*/ 333744 w 3702050"/>
              <a:gd name="connsiteY6" fmla="*/ 3685838 h 4167187"/>
              <a:gd name="connsiteX7" fmla="*/ 323134 w 3702050"/>
              <a:gd name="connsiteY7" fmla="*/ 3685838 h 4167187"/>
              <a:gd name="connsiteX8" fmla="*/ 0 w 3702050"/>
              <a:gd name="connsiteY8" fmla="*/ 3817992 h 4167187"/>
              <a:gd name="connsiteX9" fmla="*/ 0 w 3702050"/>
              <a:gd name="connsiteY9" fmla="*/ 3737980 h 4167187"/>
              <a:gd name="connsiteX10" fmla="*/ 0 w 3702050"/>
              <a:gd name="connsiteY10" fmla="*/ 0 h 4167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702050" h="4167187">
                <a:moveTo>
                  <a:pt x="0" y="0"/>
                </a:moveTo>
                <a:lnTo>
                  <a:pt x="3702050" y="0"/>
                </a:lnTo>
                <a:cubicBezTo>
                  <a:pt x="3702050" y="0"/>
                  <a:pt x="3702050" y="0"/>
                  <a:pt x="3702050" y="4167187"/>
                </a:cubicBezTo>
                <a:cubicBezTo>
                  <a:pt x="3702050" y="4167187"/>
                  <a:pt x="3702050" y="4167187"/>
                  <a:pt x="2952573" y="4167187"/>
                </a:cubicBezTo>
                <a:cubicBezTo>
                  <a:pt x="2952573" y="4167187"/>
                  <a:pt x="2952573" y="4167187"/>
                  <a:pt x="1403461" y="3267190"/>
                </a:cubicBezTo>
                <a:cubicBezTo>
                  <a:pt x="1172927" y="3134072"/>
                  <a:pt x="879695" y="3213171"/>
                  <a:pt x="746584" y="3443717"/>
                </a:cubicBezTo>
                <a:cubicBezTo>
                  <a:pt x="658807" y="3597093"/>
                  <a:pt x="498687" y="3683909"/>
                  <a:pt x="333744" y="3685838"/>
                </a:cubicBezTo>
                <a:cubicBezTo>
                  <a:pt x="333744" y="3685838"/>
                  <a:pt x="333744" y="3685838"/>
                  <a:pt x="323134" y="3685838"/>
                </a:cubicBezTo>
                <a:cubicBezTo>
                  <a:pt x="197739" y="3687768"/>
                  <a:pt x="83919" y="3737928"/>
                  <a:pt x="0" y="3817992"/>
                </a:cubicBezTo>
                <a:lnTo>
                  <a:pt x="0" y="3737980"/>
                </a:lnTo>
                <a:cubicBezTo>
                  <a:pt x="0" y="3251545"/>
                  <a:pt x="0" y="2213818"/>
                  <a:pt x="0" y="0"/>
                </a:cubicBezTo>
                <a:close/>
              </a:path>
            </a:pathLst>
          </a:custGeom>
        </p:spPr>
        <p:txBody>
          <a:bodyPr wrap="square" lIns="90000" tIns="90000">
            <a:noAutofit/>
          </a:bodyPr>
          <a:lstStyle>
            <a:lvl1pPr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51628" y="278092"/>
            <a:ext cx="5221272" cy="5773458"/>
          </a:xfrm>
        </p:spPr>
        <p:txBody>
          <a:bodyPr/>
          <a:lstStyle>
            <a:lvl1pPr>
              <a:defRPr sz="4000" b="0" spc="-70" baseline="0">
                <a:solidFill>
                  <a:srgbClr val="002068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81FBC89-74CA-0EA5-E00A-CE9A96E9D7D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0387401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/Caption + Large Copy [Dark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84EBD29-A2BA-219B-6568-CD365506F9B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6070600" cy="6858000"/>
          </a:xfrm>
          <a:solidFill>
            <a:schemeClr val="tx1"/>
          </a:solidFill>
        </p:spPr>
        <p:txBody>
          <a:bodyPr lIns="90000" tIns="90000"/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51628" y="278092"/>
            <a:ext cx="5221272" cy="5773458"/>
          </a:xfrm>
        </p:spPr>
        <p:txBody>
          <a:bodyPr/>
          <a:lstStyle>
            <a:lvl1pPr>
              <a:defRPr sz="4000" b="0" spc="-70" baseline="0">
                <a:solidFill>
                  <a:srgbClr val="002068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255C1757-8828-AD56-B8D3-6885A848EDF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4838" y="5233035"/>
            <a:ext cx="3562390" cy="81851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AE4799D-5266-2C4B-5856-EB8982C6876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4000" y="6134400"/>
            <a:ext cx="3438000" cy="641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556706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Image, Lin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CCA893B-12FC-BEFE-9665-A9C624A56CB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8" y="1573619"/>
            <a:ext cx="5485401" cy="369053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0230BA0-2D1F-683C-E805-0BB253A299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4838" y="5464175"/>
            <a:ext cx="9267825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0D6FE65-CDC9-AAAA-626E-CB276D55A98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26481" y="-14910"/>
            <a:ext cx="5485400" cy="5078897"/>
          </a:xfrm>
          <a:prstGeom prst="rect">
            <a:avLst/>
          </a:prstGeom>
        </p:spPr>
      </p:pic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30012372-BD19-2E77-27DE-2E8E6BEA2C4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700940" y="1453666"/>
            <a:ext cx="3516110" cy="5410321"/>
          </a:xfrm>
          <a:custGeom>
            <a:avLst/>
            <a:gdLst>
              <a:gd name="connsiteX0" fmla="*/ 1776282 w 3248688"/>
              <a:gd name="connsiteY0" fmla="*/ 0 h 4998832"/>
              <a:gd name="connsiteX1" fmla="*/ 2209343 w 3248688"/>
              <a:gd name="connsiteY1" fmla="*/ 111490 h 4998832"/>
              <a:gd name="connsiteX2" fmla="*/ 2232831 w 3248688"/>
              <a:gd name="connsiteY2" fmla="*/ 126160 h 4998832"/>
              <a:gd name="connsiteX3" fmla="*/ 2665891 w 3248688"/>
              <a:gd name="connsiteY3" fmla="*/ 887520 h 4998832"/>
              <a:gd name="connsiteX4" fmla="*/ 3097484 w 3248688"/>
              <a:gd name="connsiteY4" fmla="*/ 1648881 h 4998832"/>
              <a:gd name="connsiteX5" fmla="*/ 3122440 w 3248688"/>
              <a:gd name="connsiteY5" fmla="*/ 1663551 h 4998832"/>
              <a:gd name="connsiteX6" fmla="*/ 3248688 w 3248688"/>
              <a:gd name="connsiteY6" fmla="*/ 1720763 h 4998832"/>
              <a:gd name="connsiteX7" fmla="*/ 3248688 w 3248688"/>
              <a:gd name="connsiteY7" fmla="*/ 4997986 h 4998832"/>
              <a:gd name="connsiteX8" fmla="*/ 1977399 w 3248688"/>
              <a:gd name="connsiteY8" fmla="*/ 4997986 h 4998832"/>
              <a:gd name="connsiteX9" fmla="*/ 1353498 w 3248688"/>
              <a:gd name="connsiteY9" fmla="*/ 4744200 h 4998832"/>
              <a:gd name="connsiteX10" fmla="*/ 1352030 w 3248688"/>
              <a:gd name="connsiteY10" fmla="*/ 4744200 h 4998832"/>
              <a:gd name="connsiteX11" fmla="*/ 1344690 w 3248688"/>
              <a:gd name="connsiteY11" fmla="*/ 4738332 h 4998832"/>
              <a:gd name="connsiteX12" fmla="*/ 1319734 w 3248688"/>
              <a:gd name="connsiteY12" fmla="*/ 4725129 h 4998832"/>
              <a:gd name="connsiteX13" fmla="*/ 1309458 w 3248688"/>
              <a:gd name="connsiteY13" fmla="*/ 4719261 h 4998832"/>
              <a:gd name="connsiteX14" fmla="*/ 807401 w 3248688"/>
              <a:gd name="connsiteY14" fmla="*/ 4334913 h 4998832"/>
              <a:gd name="connsiteX15" fmla="*/ 356725 w 3248688"/>
              <a:gd name="connsiteY15" fmla="*/ 3756925 h 4998832"/>
              <a:gd name="connsiteX16" fmla="*/ 80740 w 3248688"/>
              <a:gd name="connsiteY16" fmla="*/ 3079182 h 4998832"/>
              <a:gd name="connsiteX17" fmla="*/ 0 w 3248688"/>
              <a:gd name="connsiteY17" fmla="*/ 2441048 h 4998832"/>
              <a:gd name="connsiteX18" fmla="*/ 0 w 3248688"/>
              <a:gd name="connsiteY18" fmla="*/ 2424911 h 4998832"/>
              <a:gd name="connsiteX19" fmla="*/ 0 w 3248688"/>
              <a:gd name="connsiteY19" fmla="*/ 2411708 h 4998832"/>
              <a:gd name="connsiteX20" fmla="*/ 82208 w 3248688"/>
              <a:gd name="connsiteY20" fmla="*/ 1770640 h 4998832"/>
              <a:gd name="connsiteX21" fmla="*/ 807401 w 3248688"/>
              <a:gd name="connsiteY21" fmla="*/ 514909 h 4998832"/>
              <a:gd name="connsiteX22" fmla="*/ 1312394 w 3248688"/>
              <a:gd name="connsiteY22" fmla="*/ 130561 h 4998832"/>
              <a:gd name="connsiteX23" fmla="*/ 1316798 w 3248688"/>
              <a:gd name="connsiteY23" fmla="*/ 127627 h 4998832"/>
              <a:gd name="connsiteX24" fmla="*/ 1324138 w 3248688"/>
              <a:gd name="connsiteY24" fmla="*/ 123226 h 4998832"/>
              <a:gd name="connsiteX25" fmla="*/ 1338818 w 3248688"/>
              <a:gd name="connsiteY25" fmla="*/ 114424 h 4998832"/>
              <a:gd name="connsiteX26" fmla="*/ 1344690 w 3248688"/>
              <a:gd name="connsiteY26" fmla="*/ 111490 h 4998832"/>
              <a:gd name="connsiteX27" fmla="*/ 1354966 w 3248688"/>
              <a:gd name="connsiteY27" fmla="*/ 105622 h 4998832"/>
              <a:gd name="connsiteX28" fmla="*/ 1776282 w 3248688"/>
              <a:gd name="connsiteY28" fmla="*/ 0 h 4998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3248688" h="4998832">
                <a:moveTo>
                  <a:pt x="1776282" y="0"/>
                </a:moveTo>
                <a:cubicBezTo>
                  <a:pt x="1933359" y="0"/>
                  <a:pt x="2081627" y="39608"/>
                  <a:pt x="2209343" y="111490"/>
                </a:cubicBezTo>
                <a:cubicBezTo>
                  <a:pt x="2216683" y="115891"/>
                  <a:pt x="2225491" y="121759"/>
                  <a:pt x="2232831" y="126160"/>
                </a:cubicBezTo>
                <a:cubicBezTo>
                  <a:pt x="2492667" y="280193"/>
                  <a:pt x="2665891" y="563319"/>
                  <a:pt x="2665891" y="887520"/>
                </a:cubicBezTo>
                <a:cubicBezTo>
                  <a:pt x="2665891" y="1210255"/>
                  <a:pt x="2839116" y="1493381"/>
                  <a:pt x="3097484" y="1648881"/>
                </a:cubicBezTo>
                <a:cubicBezTo>
                  <a:pt x="3104824" y="1654749"/>
                  <a:pt x="3113632" y="1659150"/>
                  <a:pt x="3122440" y="1663551"/>
                </a:cubicBezTo>
                <a:cubicBezTo>
                  <a:pt x="3162076" y="1685555"/>
                  <a:pt x="3204648" y="1706093"/>
                  <a:pt x="3248688" y="1720763"/>
                </a:cubicBezTo>
                <a:lnTo>
                  <a:pt x="3248688" y="4997986"/>
                </a:lnTo>
                <a:cubicBezTo>
                  <a:pt x="3236944" y="4995052"/>
                  <a:pt x="1989143" y="5000920"/>
                  <a:pt x="1977399" y="4997986"/>
                </a:cubicBezTo>
                <a:cubicBezTo>
                  <a:pt x="1773346" y="4940774"/>
                  <a:pt x="1538466" y="4848355"/>
                  <a:pt x="1353498" y="4744200"/>
                </a:cubicBezTo>
                <a:cubicBezTo>
                  <a:pt x="1353498" y="4744200"/>
                  <a:pt x="1353498" y="4744200"/>
                  <a:pt x="1352030" y="4744200"/>
                </a:cubicBezTo>
                <a:cubicBezTo>
                  <a:pt x="1349094" y="4741266"/>
                  <a:pt x="1347626" y="4739799"/>
                  <a:pt x="1344690" y="4738332"/>
                </a:cubicBezTo>
                <a:cubicBezTo>
                  <a:pt x="1337350" y="4733931"/>
                  <a:pt x="1328542" y="4729530"/>
                  <a:pt x="1319734" y="4725129"/>
                </a:cubicBezTo>
                <a:cubicBezTo>
                  <a:pt x="1316798" y="4722195"/>
                  <a:pt x="1312394" y="4720728"/>
                  <a:pt x="1309458" y="4719261"/>
                </a:cubicBezTo>
                <a:cubicBezTo>
                  <a:pt x="1128894" y="4612172"/>
                  <a:pt x="960073" y="4484545"/>
                  <a:pt x="807401" y="4334913"/>
                </a:cubicBezTo>
                <a:cubicBezTo>
                  <a:pt x="634177" y="4167678"/>
                  <a:pt x="482973" y="3975504"/>
                  <a:pt x="356725" y="3756925"/>
                </a:cubicBezTo>
                <a:cubicBezTo>
                  <a:pt x="230476" y="3539812"/>
                  <a:pt x="139460" y="3310964"/>
                  <a:pt x="80740" y="3079182"/>
                </a:cubicBezTo>
                <a:cubicBezTo>
                  <a:pt x="27892" y="2867938"/>
                  <a:pt x="0" y="2653759"/>
                  <a:pt x="0" y="2441048"/>
                </a:cubicBezTo>
                <a:cubicBezTo>
                  <a:pt x="0" y="2435180"/>
                  <a:pt x="0" y="2430779"/>
                  <a:pt x="0" y="2424911"/>
                </a:cubicBezTo>
                <a:cubicBezTo>
                  <a:pt x="0" y="2420510"/>
                  <a:pt x="0" y="2416109"/>
                  <a:pt x="0" y="2411708"/>
                </a:cubicBezTo>
                <a:cubicBezTo>
                  <a:pt x="1468" y="2194596"/>
                  <a:pt x="29360" y="1980417"/>
                  <a:pt x="82208" y="1770640"/>
                </a:cubicBezTo>
                <a:cubicBezTo>
                  <a:pt x="201116" y="1301208"/>
                  <a:pt x="447741" y="864049"/>
                  <a:pt x="807401" y="514909"/>
                </a:cubicBezTo>
                <a:cubicBezTo>
                  <a:pt x="955669" y="369678"/>
                  <a:pt x="1125958" y="240584"/>
                  <a:pt x="1312394" y="130561"/>
                </a:cubicBezTo>
                <a:cubicBezTo>
                  <a:pt x="1313862" y="129094"/>
                  <a:pt x="1315330" y="129094"/>
                  <a:pt x="1316798" y="127627"/>
                </a:cubicBezTo>
                <a:cubicBezTo>
                  <a:pt x="1318266" y="126160"/>
                  <a:pt x="1321202" y="124693"/>
                  <a:pt x="1324138" y="123226"/>
                </a:cubicBezTo>
                <a:cubicBezTo>
                  <a:pt x="1330010" y="120292"/>
                  <a:pt x="1334414" y="117358"/>
                  <a:pt x="1338818" y="114424"/>
                </a:cubicBezTo>
                <a:cubicBezTo>
                  <a:pt x="1341754" y="112957"/>
                  <a:pt x="1343222" y="112957"/>
                  <a:pt x="1344690" y="111490"/>
                </a:cubicBezTo>
                <a:cubicBezTo>
                  <a:pt x="1347626" y="110023"/>
                  <a:pt x="1352030" y="107089"/>
                  <a:pt x="1354966" y="105622"/>
                </a:cubicBezTo>
                <a:cubicBezTo>
                  <a:pt x="1481214" y="38141"/>
                  <a:pt x="1623610" y="0"/>
                  <a:pt x="1776282" y="0"/>
                </a:cubicBezTo>
                <a:close/>
              </a:path>
            </a:pathLst>
          </a:custGeom>
        </p:spPr>
        <p:txBody>
          <a:bodyPr wrap="square" tIns="1944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28488645"/>
      </p:ext>
    </p:extLst>
  </p:cSld>
  <p:clrMapOvr>
    <a:masterClrMapping/>
  </p:clrMapOvr>
  <p:hf hdr="0" ft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Image, Lin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CCA893B-12FC-BEFE-9665-A9C624A56CB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6323863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8" y="1573619"/>
            <a:ext cx="5485401" cy="369053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0230BA0-2D1F-683C-E805-0BB253A299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4838" y="5464175"/>
            <a:ext cx="9267825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B5D6D6C5-CEB3-FB89-6D9A-B0A273B9250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159656" y="-19673"/>
            <a:ext cx="5070048" cy="5336392"/>
          </a:xfrm>
          <a:prstGeom prst="rect">
            <a:avLst/>
          </a:prstGeom>
        </p:spPr>
      </p:pic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9CFC86E9-48B2-3D53-0A9F-F667B5FC361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144759" y="1505248"/>
            <a:ext cx="4047241" cy="5352752"/>
          </a:xfrm>
          <a:custGeom>
            <a:avLst/>
            <a:gdLst>
              <a:gd name="connsiteX0" fmla="*/ 1418483 w 3131916"/>
              <a:gd name="connsiteY0" fmla="*/ 3 h 4142173"/>
              <a:gd name="connsiteX1" fmla="*/ 1609547 w 3131916"/>
              <a:gd name="connsiteY1" fmla="*/ 25640 h 4142173"/>
              <a:gd name="connsiteX2" fmla="*/ 3131916 w 3131916"/>
              <a:gd name="connsiteY2" fmla="*/ 435819 h 4142173"/>
              <a:gd name="connsiteX3" fmla="*/ 3131916 w 3131916"/>
              <a:gd name="connsiteY3" fmla="*/ 3756555 h 4142173"/>
              <a:gd name="connsiteX4" fmla="*/ 2883917 w 3131916"/>
              <a:gd name="connsiteY4" fmla="*/ 4004628 h 4142173"/>
              <a:gd name="connsiteX5" fmla="*/ 2747641 w 3131916"/>
              <a:gd name="connsiteY5" fmla="*/ 4142173 h 4142173"/>
              <a:gd name="connsiteX6" fmla="*/ 209949 w 3131916"/>
              <a:gd name="connsiteY6" fmla="*/ 4140945 h 4142173"/>
              <a:gd name="connsiteX7" fmla="*/ 87177 w 3131916"/>
              <a:gd name="connsiteY7" fmla="*/ 3680414 h 4142173"/>
              <a:gd name="connsiteX8" fmla="*/ 29474 w 3131916"/>
              <a:gd name="connsiteY8" fmla="*/ 3465499 h 4142173"/>
              <a:gd name="connsiteX9" fmla="*/ 28246 w 3131916"/>
              <a:gd name="connsiteY9" fmla="*/ 3459359 h 4142173"/>
              <a:gd name="connsiteX10" fmla="*/ 25791 w 3131916"/>
              <a:gd name="connsiteY10" fmla="*/ 3449534 h 4142173"/>
              <a:gd name="connsiteX11" fmla="*/ 25791 w 3131916"/>
              <a:gd name="connsiteY11" fmla="*/ 3061460 h 4142173"/>
              <a:gd name="connsiteX12" fmla="*/ 542660 w 3131916"/>
              <a:gd name="connsiteY12" fmla="*/ 2535841 h 4142173"/>
              <a:gd name="connsiteX13" fmla="*/ 564759 w 3131916"/>
              <a:gd name="connsiteY13" fmla="*/ 2529700 h 4142173"/>
              <a:gd name="connsiteX14" fmla="*/ 1081628 w 3131916"/>
              <a:gd name="connsiteY14" fmla="*/ 2002853 h 4142173"/>
              <a:gd name="connsiteX15" fmla="*/ 896243 w 3131916"/>
              <a:gd name="connsiteY15" fmla="*/ 1286881 h 4142173"/>
              <a:gd name="connsiteX16" fmla="*/ 880282 w 3131916"/>
              <a:gd name="connsiteY16" fmla="*/ 1270916 h 4142173"/>
              <a:gd name="connsiteX17" fmla="*/ 694897 w 3131916"/>
              <a:gd name="connsiteY17" fmla="*/ 554943 h 4142173"/>
              <a:gd name="connsiteX18" fmla="*/ 1211766 w 3131916"/>
              <a:gd name="connsiteY18" fmla="*/ 29324 h 4142173"/>
              <a:gd name="connsiteX19" fmla="*/ 1233865 w 3131916"/>
              <a:gd name="connsiteY19" fmla="*/ 23183 h 4142173"/>
              <a:gd name="connsiteX20" fmla="*/ 1418483 w 3131916"/>
              <a:gd name="connsiteY20" fmla="*/ 3 h 41421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131916" h="4142173">
                <a:moveTo>
                  <a:pt x="1418483" y="3"/>
                </a:moveTo>
                <a:cubicBezTo>
                  <a:pt x="1481557" y="157"/>
                  <a:pt x="1545706" y="8446"/>
                  <a:pt x="1609547" y="25640"/>
                </a:cubicBezTo>
                <a:cubicBezTo>
                  <a:pt x="3131916" y="435819"/>
                  <a:pt x="3131916" y="435819"/>
                  <a:pt x="3131916" y="435819"/>
                </a:cubicBezTo>
                <a:cubicBezTo>
                  <a:pt x="3131916" y="3756555"/>
                  <a:pt x="3131916" y="3756555"/>
                  <a:pt x="3131916" y="3756555"/>
                </a:cubicBezTo>
                <a:cubicBezTo>
                  <a:pt x="3049659" y="3838837"/>
                  <a:pt x="2966174" y="3922346"/>
                  <a:pt x="2883917" y="4004628"/>
                </a:cubicBezTo>
                <a:cubicBezTo>
                  <a:pt x="2838492" y="4050067"/>
                  <a:pt x="2793066" y="4096734"/>
                  <a:pt x="2747641" y="4142173"/>
                </a:cubicBezTo>
                <a:lnTo>
                  <a:pt x="209949" y="4140945"/>
                </a:lnTo>
                <a:cubicBezTo>
                  <a:pt x="176800" y="4013224"/>
                  <a:pt x="141196" y="3880591"/>
                  <a:pt x="87177" y="3680414"/>
                </a:cubicBezTo>
                <a:cubicBezTo>
                  <a:pt x="69989" y="3616554"/>
                  <a:pt x="51573" y="3545325"/>
                  <a:pt x="29474" y="3465499"/>
                </a:cubicBezTo>
                <a:cubicBezTo>
                  <a:pt x="29474" y="3463043"/>
                  <a:pt x="28246" y="3461815"/>
                  <a:pt x="28246" y="3459359"/>
                </a:cubicBezTo>
                <a:cubicBezTo>
                  <a:pt x="27019" y="3456903"/>
                  <a:pt x="27019" y="3453219"/>
                  <a:pt x="25791" y="3449534"/>
                </a:cubicBezTo>
                <a:cubicBezTo>
                  <a:pt x="-7357" y="3326726"/>
                  <a:pt x="-9813" y="3194093"/>
                  <a:pt x="25791" y="3061460"/>
                </a:cubicBezTo>
                <a:cubicBezTo>
                  <a:pt x="95771" y="2798650"/>
                  <a:pt x="298344" y="2605841"/>
                  <a:pt x="542660" y="2535841"/>
                </a:cubicBezTo>
                <a:cubicBezTo>
                  <a:pt x="550026" y="2533385"/>
                  <a:pt x="557393" y="2530928"/>
                  <a:pt x="564759" y="2529700"/>
                </a:cubicBezTo>
                <a:cubicBezTo>
                  <a:pt x="809075" y="2459700"/>
                  <a:pt x="1010420" y="2265663"/>
                  <a:pt x="1081628" y="2002853"/>
                </a:cubicBezTo>
                <a:cubicBezTo>
                  <a:pt x="1151608" y="1738815"/>
                  <a:pt x="1073034" y="1469865"/>
                  <a:pt x="896243" y="1286881"/>
                </a:cubicBezTo>
                <a:cubicBezTo>
                  <a:pt x="891332" y="1281968"/>
                  <a:pt x="885193" y="1275828"/>
                  <a:pt x="880282" y="1270916"/>
                </a:cubicBezTo>
                <a:cubicBezTo>
                  <a:pt x="703491" y="1087931"/>
                  <a:pt x="624917" y="818981"/>
                  <a:pt x="694897" y="554943"/>
                </a:cubicBezTo>
                <a:cubicBezTo>
                  <a:pt x="764877" y="292133"/>
                  <a:pt x="967450" y="99324"/>
                  <a:pt x="1211766" y="29324"/>
                </a:cubicBezTo>
                <a:cubicBezTo>
                  <a:pt x="1219132" y="26867"/>
                  <a:pt x="1226499" y="24411"/>
                  <a:pt x="1233865" y="23183"/>
                </a:cubicBezTo>
                <a:cubicBezTo>
                  <a:pt x="1293410" y="7832"/>
                  <a:pt x="1355409" y="-150"/>
                  <a:pt x="1418483" y="3"/>
                </a:cubicBezTo>
                <a:close/>
              </a:path>
            </a:pathLst>
          </a:custGeom>
        </p:spPr>
        <p:txBody>
          <a:bodyPr wrap="square" tIns="3024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6011509"/>
      </p:ext>
    </p:extLst>
  </p:cSld>
  <p:clrMapOvr>
    <a:masterClrMapping/>
  </p:clrMapOvr>
  <p:hf hdr="0" ftr="0" dt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Image, Lin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CCA893B-12FC-BEFE-9665-A9C624A56CB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6314436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8" y="1573619"/>
            <a:ext cx="5485401" cy="369053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0230BA0-2D1F-683C-E805-0BB253A299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4838" y="5464175"/>
            <a:ext cx="9267825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6FC13C5-CFBC-B0CC-42D5-40CF54A74BE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210649" y="-18854"/>
            <a:ext cx="2512383" cy="6886280"/>
          </a:xfrm>
          <a:prstGeom prst="rect">
            <a:avLst/>
          </a:prstGeom>
        </p:spPr>
      </p:pic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12378692-F476-191D-0929-9335418A77E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490355" y="2295488"/>
            <a:ext cx="5701645" cy="4562512"/>
          </a:xfrm>
          <a:custGeom>
            <a:avLst/>
            <a:gdLst>
              <a:gd name="connsiteX0" fmla="*/ 5126501 w 6517261"/>
              <a:gd name="connsiteY0" fmla="*/ 564 h 5215176"/>
              <a:gd name="connsiteX1" fmla="*/ 5470945 w 6517261"/>
              <a:gd name="connsiteY1" fmla="*/ 26343 h 5215176"/>
              <a:gd name="connsiteX2" fmla="*/ 6301470 w 6517261"/>
              <a:gd name="connsiteY2" fmla="*/ 421579 h 5215176"/>
              <a:gd name="connsiteX3" fmla="*/ 6517261 w 6517261"/>
              <a:gd name="connsiteY3" fmla="*/ 602880 h 5215176"/>
              <a:gd name="connsiteX4" fmla="*/ 6517261 w 6517261"/>
              <a:gd name="connsiteY4" fmla="*/ 5215176 h 5215176"/>
              <a:gd name="connsiteX5" fmla="*/ 0 w 6517261"/>
              <a:gd name="connsiteY5" fmla="*/ 5204298 h 5215176"/>
              <a:gd name="connsiteX6" fmla="*/ 36268 w 6517261"/>
              <a:gd name="connsiteY6" fmla="*/ 5162599 h 5215176"/>
              <a:gd name="connsiteX7" fmla="*/ 1635662 w 6517261"/>
              <a:gd name="connsiteY7" fmla="*/ 4595127 h 5215176"/>
              <a:gd name="connsiteX8" fmla="*/ 3236870 w 6517261"/>
              <a:gd name="connsiteY8" fmla="*/ 4027655 h 5215176"/>
              <a:gd name="connsiteX9" fmla="*/ 3271324 w 6517261"/>
              <a:gd name="connsiteY9" fmla="*/ 3985956 h 5215176"/>
              <a:gd name="connsiteX10" fmla="*/ 3630372 w 6517261"/>
              <a:gd name="connsiteY10" fmla="*/ 3199109 h 5215176"/>
              <a:gd name="connsiteX11" fmla="*/ 3563277 w 6517261"/>
              <a:gd name="connsiteY11" fmla="*/ 2336117 h 5215176"/>
              <a:gd name="connsiteX12" fmla="*/ 3545143 w 6517261"/>
              <a:gd name="connsiteY12" fmla="*/ 2285353 h 5215176"/>
              <a:gd name="connsiteX13" fmla="*/ 3476235 w 6517261"/>
              <a:gd name="connsiteY13" fmla="*/ 1422360 h 5215176"/>
              <a:gd name="connsiteX14" fmla="*/ 3835283 w 6517261"/>
              <a:gd name="connsiteY14" fmla="*/ 635514 h 5215176"/>
              <a:gd name="connsiteX15" fmla="*/ 3869737 w 6517261"/>
              <a:gd name="connsiteY15" fmla="*/ 593815 h 5215176"/>
              <a:gd name="connsiteX16" fmla="*/ 5126501 w 6517261"/>
              <a:gd name="connsiteY16" fmla="*/ 564 h 521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6517261" h="5215176">
                <a:moveTo>
                  <a:pt x="5126501" y="564"/>
                </a:moveTo>
                <a:cubicBezTo>
                  <a:pt x="5239762" y="-2340"/>
                  <a:pt x="5355003" y="5946"/>
                  <a:pt x="5470945" y="26343"/>
                </a:cubicBezTo>
                <a:cubicBezTo>
                  <a:pt x="5790099" y="82546"/>
                  <a:pt x="6072985" y="223961"/>
                  <a:pt x="6301470" y="421579"/>
                </a:cubicBezTo>
                <a:cubicBezTo>
                  <a:pt x="6517261" y="602880"/>
                  <a:pt x="6517261" y="602880"/>
                  <a:pt x="6517261" y="602880"/>
                </a:cubicBezTo>
                <a:cubicBezTo>
                  <a:pt x="6517261" y="5215176"/>
                  <a:pt x="6517261" y="5215176"/>
                  <a:pt x="6517261" y="5215176"/>
                </a:cubicBezTo>
                <a:lnTo>
                  <a:pt x="0" y="5204298"/>
                </a:lnTo>
                <a:cubicBezTo>
                  <a:pt x="12694" y="5191607"/>
                  <a:pt x="25387" y="5177103"/>
                  <a:pt x="36268" y="5162599"/>
                </a:cubicBezTo>
                <a:cubicBezTo>
                  <a:pt x="418889" y="4722038"/>
                  <a:pt x="1019116" y="4486346"/>
                  <a:pt x="1635662" y="4595127"/>
                </a:cubicBezTo>
                <a:cubicBezTo>
                  <a:pt x="2254022" y="4703908"/>
                  <a:pt x="2854249" y="4468216"/>
                  <a:pt x="3236870" y="4027655"/>
                </a:cubicBezTo>
                <a:cubicBezTo>
                  <a:pt x="3249564" y="4013151"/>
                  <a:pt x="3260444" y="3998647"/>
                  <a:pt x="3271324" y="3985956"/>
                </a:cubicBezTo>
                <a:cubicBezTo>
                  <a:pt x="3450848" y="3764768"/>
                  <a:pt x="3577784" y="3498256"/>
                  <a:pt x="3630372" y="3199109"/>
                </a:cubicBezTo>
                <a:cubicBezTo>
                  <a:pt x="3684773" y="2899963"/>
                  <a:pt x="3655759" y="2604442"/>
                  <a:pt x="3563277" y="2336117"/>
                </a:cubicBezTo>
                <a:cubicBezTo>
                  <a:pt x="3557837" y="2319800"/>
                  <a:pt x="3550584" y="2301670"/>
                  <a:pt x="3545143" y="2285353"/>
                </a:cubicBezTo>
                <a:cubicBezTo>
                  <a:pt x="3450848" y="2017027"/>
                  <a:pt x="3423648" y="1721507"/>
                  <a:pt x="3476235" y="1422360"/>
                </a:cubicBezTo>
                <a:cubicBezTo>
                  <a:pt x="3528823" y="1123214"/>
                  <a:pt x="3655759" y="856701"/>
                  <a:pt x="3835283" y="635514"/>
                </a:cubicBezTo>
                <a:cubicBezTo>
                  <a:pt x="3846163" y="622823"/>
                  <a:pt x="3858857" y="608319"/>
                  <a:pt x="3869737" y="593815"/>
                </a:cubicBezTo>
                <a:cubicBezTo>
                  <a:pt x="4182091" y="235859"/>
                  <a:pt x="4635703" y="13149"/>
                  <a:pt x="5126501" y="564"/>
                </a:cubicBezTo>
                <a:close/>
              </a:path>
            </a:pathLst>
          </a:custGeom>
        </p:spPr>
        <p:txBody>
          <a:bodyPr wrap="square" tIns="2124000" rIns="720000">
            <a:noAutofit/>
          </a:bodyPr>
          <a:lstStyle>
            <a:lvl1pPr algn="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27799975"/>
      </p:ext>
    </p:extLst>
  </p:cSld>
  <p:clrMapOvr>
    <a:masterClrMapping/>
  </p:clrMapOvr>
  <p:hf hdr="0" ft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Image, Lin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CCA893B-12FC-BEFE-9665-A9C624A56CB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8" y="1573619"/>
            <a:ext cx="5485401" cy="369053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0230BA0-2D1F-683C-E805-0BB253A299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4838" y="5464175"/>
            <a:ext cx="9267825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4DBF4E3-3CDA-4186-ACE9-C9E3E48A7D2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507691" y="3225734"/>
            <a:ext cx="3700020" cy="3638432"/>
          </a:xfrm>
          <a:prstGeom prst="rect">
            <a:avLst/>
          </a:prstGeom>
        </p:spPr>
      </p:pic>
      <p:sp>
        <p:nvSpPr>
          <p:cNvPr id="81" name="Picture Placeholder 80">
            <a:extLst>
              <a:ext uri="{FF2B5EF4-FFF2-40B4-BE49-F238E27FC236}">
                <a16:creationId xmlns:a16="http://schemas.microsoft.com/office/drawing/2014/main" id="{C7D107F3-8017-8423-432E-1E0F00B32E8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905133" y="1020497"/>
            <a:ext cx="5128181" cy="4669927"/>
          </a:xfrm>
          <a:custGeom>
            <a:avLst/>
            <a:gdLst>
              <a:gd name="connsiteX0" fmla="*/ 1809574 w 5385357"/>
              <a:gd name="connsiteY0" fmla="*/ 53 h 4904122"/>
              <a:gd name="connsiteX1" fmla="*/ 3574116 w 5385357"/>
              <a:gd name="connsiteY1" fmla="*/ 53 h 4904122"/>
              <a:gd name="connsiteX2" fmla="*/ 4026092 w 5385357"/>
              <a:gd name="connsiteY2" fmla="*/ 113448 h 4904122"/>
              <a:gd name="connsiteX3" fmla="*/ 4027760 w 5385357"/>
              <a:gd name="connsiteY3" fmla="*/ 113448 h 4904122"/>
              <a:gd name="connsiteX4" fmla="*/ 4081130 w 5385357"/>
              <a:gd name="connsiteY4" fmla="*/ 146800 h 4904122"/>
              <a:gd name="connsiteX5" fmla="*/ 4084466 w 5385357"/>
              <a:gd name="connsiteY5" fmla="*/ 148468 h 4904122"/>
              <a:gd name="connsiteX6" fmla="*/ 4087801 w 5385357"/>
              <a:gd name="connsiteY6" fmla="*/ 150135 h 4904122"/>
              <a:gd name="connsiteX7" fmla="*/ 4089469 w 5385357"/>
              <a:gd name="connsiteY7" fmla="*/ 151803 h 4904122"/>
              <a:gd name="connsiteX8" fmla="*/ 4094473 w 5385357"/>
              <a:gd name="connsiteY8" fmla="*/ 155138 h 4904122"/>
              <a:gd name="connsiteX9" fmla="*/ 4096140 w 5385357"/>
              <a:gd name="connsiteY9" fmla="*/ 156806 h 4904122"/>
              <a:gd name="connsiteX10" fmla="*/ 4367993 w 5385357"/>
              <a:gd name="connsiteY10" fmla="*/ 448633 h 4904122"/>
              <a:gd name="connsiteX11" fmla="*/ 5265275 w 5385357"/>
              <a:gd name="connsiteY11" fmla="*/ 2002820 h 4904122"/>
              <a:gd name="connsiteX12" fmla="*/ 5380353 w 5385357"/>
              <a:gd name="connsiteY12" fmla="*/ 2356347 h 4904122"/>
              <a:gd name="connsiteX13" fmla="*/ 5380353 w 5385357"/>
              <a:gd name="connsiteY13" fmla="*/ 2358015 h 4904122"/>
              <a:gd name="connsiteX14" fmla="*/ 5380353 w 5385357"/>
              <a:gd name="connsiteY14" fmla="*/ 2363018 h 4904122"/>
              <a:gd name="connsiteX15" fmla="*/ 5382021 w 5385357"/>
              <a:gd name="connsiteY15" fmla="*/ 2366353 h 4904122"/>
              <a:gd name="connsiteX16" fmla="*/ 5382021 w 5385357"/>
              <a:gd name="connsiteY16" fmla="*/ 2369688 h 4904122"/>
              <a:gd name="connsiteX17" fmla="*/ 5382021 w 5385357"/>
              <a:gd name="connsiteY17" fmla="*/ 2374691 h 4904122"/>
              <a:gd name="connsiteX18" fmla="*/ 5382021 w 5385357"/>
              <a:gd name="connsiteY18" fmla="*/ 2376358 h 4904122"/>
              <a:gd name="connsiteX19" fmla="*/ 5385357 w 5385357"/>
              <a:gd name="connsiteY19" fmla="*/ 2466408 h 4904122"/>
              <a:gd name="connsiteX20" fmla="*/ 5382021 w 5385357"/>
              <a:gd name="connsiteY20" fmla="*/ 2533111 h 4904122"/>
              <a:gd name="connsiteX21" fmla="*/ 5380353 w 5385357"/>
              <a:gd name="connsiteY21" fmla="*/ 2541449 h 4904122"/>
              <a:gd name="connsiteX22" fmla="*/ 5380353 w 5385357"/>
              <a:gd name="connsiteY22" fmla="*/ 2548119 h 4904122"/>
              <a:gd name="connsiteX23" fmla="*/ 5378686 w 5385357"/>
              <a:gd name="connsiteY23" fmla="*/ 2554790 h 4904122"/>
              <a:gd name="connsiteX24" fmla="*/ 5378686 w 5385357"/>
              <a:gd name="connsiteY24" fmla="*/ 2556457 h 4904122"/>
              <a:gd name="connsiteX25" fmla="*/ 5378686 w 5385357"/>
              <a:gd name="connsiteY25" fmla="*/ 2561460 h 4904122"/>
              <a:gd name="connsiteX26" fmla="*/ 5378686 w 5385357"/>
              <a:gd name="connsiteY26" fmla="*/ 2564795 h 4904122"/>
              <a:gd name="connsiteX27" fmla="*/ 5377018 w 5385357"/>
              <a:gd name="connsiteY27" fmla="*/ 2568130 h 4904122"/>
              <a:gd name="connsiteX28" fmla="*/ 5377018 w 5385357"/>
              <a:gd name="connsiteY28" fmla="*/ 2571466 h 4904122"/>
              <a:gd name="connsiteX29" fmla="*/ 5377018 w 5385357"/>
              <a:gd name="connsiteY29" fmla="*/ 2576468 h 4904122"/>
              <a:gd name="connsiteX30" fmla="*/ 5377018 w 5385357"/>
              <a:gd name="connsiteY30" fmla="*/ 2578136 h 4904122"/>
              <a:gd name="connsiteX31" fmla="*/ 5375350 w 5385357"/>
              <a:gd name="connsiteY31" fmla="*/ 2583139 h 4904122"/>
              <a:gd name="connsiteX32" fmla="*/ 5375350 w 5385357"/>
              <a:gd name="connsiteY32" fmla="*/ 2586474 h 4904122"/>
              <a:gd name="connsiteX33" fmla="*/ 5375350 w 5385357"/>
              <a:gd name="connsiteY33" fmla="*/ 2589809 h 4904122"/>
              <a:gd name="connsiteX34" fmla="*/ 5373683 w 5385357"/>
              <a:gd name="connsiteY34" fmla="*/ 2593144 h 4904122"/>
              <a:gd name="connsiteX35" fmla="*/ 5373683 w 5385357"/>
              <a:gd name="connsiteY35" fmla="*/ 2596479 h 4904122"/>
              <a:gd name="connsiteX36" fmla="*/ 5373683 w 5385357"/>
              <a:gd name="connsiteY36" fmla="*/ 2599814 h 4904122"/>
              <a:gd name="connsiteX37" fmla="*/ 5372015 w 5385357"/>
              <a:gd name="connsiteY37" fmla="*/ 2603150 h 4904122"/>
              <a:gd name="connsiteX38" fmla="*/ 5372015 w 5385357"/>
              <a:gd name="connsiteY38" fmla="*/ 2608152 h 4904122"/>
              <a:gd name="connsiteX39" fmla="*/ 5372015 w 5385357"/>
              <a:gd name="connsiteY39" fmla="*/ 2609820 h 4904122"/>
              <a:gd name="connsiteX40" fmla="*/ 5370347 w 5385357"/>
              <a:gd name="connsiteY40" fmla="*/ 2614823 h 4904122"/>
              <a:gd name="connsiteX41" fmla="*/ 5370347 w 5385357"/>
              <a:gd name="connsiteY41" fmla="*/ 2616490 h 4904122"/>
              <a:gd name="connsiteX42" fmla="*/ 5256935 w 5385357"/>
              <a:gd name="connsiteY42" fmla="*/ 2914988 h 4904122"/>
              <a:gd name="connsiteX43" fmla="*/ 4374665 w 5385357"/>
              <a:gd name="connsiteY43" fmla="*/ 4442494 h 4904122"/>
              <a:gd name="connsiteX44" fmla="*/ 4039435 w 5385357"/>
              <a:gd name="connsiteY44" fmla="*/ 4784348 h 4904122"/>
              <a:gd name="connsiteX45" fmla="*/ 3310602 w 5385357"/>
              <a:gd name="connsiteY45" fmla="*/ 4859389 h 4904122"/>
              <a:gd name="connsiteX46" fmla="*/ 3290588 w 5385357"/>
              <a:gd name="connsiteY46" fmla="*/ 4852719 h 4904122"/>
              <a:gd name="connsiteX47" fmla="*/ 3288921 w 5385357"/>
              <a:gd name="connsiteY47" fmla="*/ 4851052 h 4904122"/>
              <a:gd name="connsiteX48" fmla="*/ 3283917 w 5385357"/>
              <a:gd name="connsiteY48" fmla="*/ 4849384 h 4904122"/>
              <a:gd name="connsiteX49" fmla="*/ 3282249 w 5385357"/>
              <a:gd name="connsiteY49" fmla="*/ 4849384 h 4904122"/>
              <a:gd name="connsiteX50" fmla="*/ 3272242 w 5385357"/>
              <a:gd name="connsiteY50" fmla="*/ 4846049 h 4904122"/>
              <a:gd name="connsiteX51" fmla="*/ 3268907 w 5385357"/>
              <a:gd name="connsiteY51" fmla="*/ 4844381 h 4904122"/>
              <a:gd name="connsiteX52" fmla="*/ 3263903 w 5385357"/>
              <a:gd name="connsiteY52" fmla="*/ 4842714 h 4904122"/>
              <a:gd name="connsiteX53" fmla="*/ 3258900 w 5385357"/>
              <a:gd name="connsiteY53" fmla="*/ 4841046 h 4904122"/>
              <a:gd name="connsiteX54" fmla="*/ 3253897 w 5385357"/>
              <a:gd name="connsiteY54" fmla="*/ 4837711 h 4904122"/>
              <a:gd name="connsiteX55" fmla="*/ 3248893 w 5385357"/>
              <a:gd name="connsiteY55" fmla="*/ 4836043 h 4904122"/>
              <a:gd name="connsiteX56" fmla="*/ 3243890 w 5385357"/>
              <a:gd name="connsiteY56" fmla="*/ 4834376 h 4904122"/>
              <a:gd name="connsiteX57" fmla="*/ 3237218 w 5385357"/>
              <a:gd name="connsiteY57" fmla="*/ 4831041 h 4904122"/>
              <a:gd name="connsiteX58" fmla="*/ 3233883 w 5385357"/>
              <a:gd name="connsiteY58" fmla="*/ 4829373 h 4904122"/>
              <a:gd name="connsiteX59" fmla="*/ 3227212 w 5385357"/>
              <a:gd name="connsiteY59" fmla="*/ 4827705 h 4904122"/>
              <a:gd name="connsiteX60" fmla="*/ 3225544 w 5385357"/>
              <a:gd name="connsiteY60" fmla="*/ 4826038 h 4904122"/>
              <a:gd name="connsiteX61" fmla="*/ 3217205 w 5385357"/>
              <a:gd name="connsiteY61" fmla="*/ 4822703 h 4904122"/>
              <a:gd name="connsiteX62" fmla="*/ 3215537 w 5385357"/>
              <a:gd name="connsiteY62" fmla="*/ 4821035 h 4904122"/>
              <a:gd name="connsiteX63" fmla="*/ 3207198 w 5385357"/>
              <a:gd name="connsiteY63" fmla="*/ 4817700 h 4904122"/>
              <a:gd name="connsiteX64" fmla="*/ 3205530 w 5385357"/>
              <a:gd name="connsiteY64" fmla="*/ 4817700 h 4904122"/>
              <a:gd name="connsiteX65" fmla="*/ 3197191 w 5385357"/>
              <a:gd name="connsiteY65" fmla="*/ 4812697 h 4904122"/>
              <a:gd name="connsiteX66" fmla="*/ 3195523 w 5385357"/>
              <a:gd name="connsiteY66" fmla="*/ 4812697 h 4904122"/>
              <a:gd name="connsiteX67" fmla="*/ 3187184 w 5385357"/>
              <a:gd name="connsiteY67" fmla="*/ 4807694 h 4904122"/>
              <a:gd name="connsiteX68" fmla="*/ 3177177 w 5385357"/>
              <a:gd name="connsiteY68" fmla="*/ 4802692 h 4904122"/>
              <a:gd name="connsiteX69" fmla="*/ 3153828 w 5385357"/>
              <a:gd name="connsiteY69" fmla="*/ 4791019 h 4904122"/>
              <a:gd name="connsiteX70" fmla="*/ 3077109 w 5385357"/>
              <a:gd name="connsiteY70" fmla="*/ 4742659 h 4904122"/>
              <a:gd name="connsiteX71" fmla="*/ 3073773 w 5385357"/>
              <a:gd name="connsiteY71" fmla="*/ 4739323 h 4904122"/>
              <a:gd name="connsiteX72" fmla="*/ 3068770 w 5385357"/>
              <a:gd name="connsiteY72" fmla="*/ 4735988 h 4904122"/>
              <a:gd name="connsiteX73" fmla="*/ 3065434 w 5385357"/>
              <a:gd name="connsiteY73" fmla="*/ 4734321 h 4904122"/>
              <a:gd name="connsiteX74" fmla="*/ 3058763 w 5385357"/>
              <a:gd name="connsiteY74" fmla="*/ 4729318 h 4904122"/>
              <a:gd name="connsiteX75" fmla="*/ 3057095 w 5385357"/>
              <a:gd name="connsiteY75" fmla="*/ 4727650 h 4904122"/>
              <a:gd name="connsiteX76" fmla="*/ 2813595 w 5385357"/>
              <a:gd name="connsiteY76" fmla="*/ 4455834 h 4904122"/>
              <a:gd name="connsiteX77" fmla="*/ 2695180 w 5385357"/>
              <a:gd name="connsiteY77" fmla="*/ 4072290 h 4904122"/>
              <a:gd name="connsiteX78" fmla="*/ 2695180 w 5385357"/>
              <a:gd name="connsiteY78" fmla="*/ 4065620 h 4904122"/>
              <a:gd name="connsiteX79" fmla="*/ 2695180 w 5385357"/>
              <a:gd name="connsiteY79" fmla="*/ 4063952 h 4904122"/>
              <a:gd name="connsiteX80" fmla="*/ 2693513 w 5385357"/>
              <a:gd name="connsiteY80" fmla="*/ 4060617 h 4904122"/>
              <a:gd name="connsiteX81" fmla="*/ 2693513 w 5385357"/>
              <a:gd name="connsiteY81" fmla="*/ 4055614 h 4904122"/>
              <a:gd name="connsiteX82" fmla="*/ 2693513 w 5385357"/>
              <a:gd name="connsiteY82" fmla="*/ 4053947 h 4904122"/>
              <a:gd name="connsiteX83" fmla="*/ 2693513 w 5385357"/>
              <a:gd name="connsiteY83" fmla="*/ 3993914 h 4904122"/>
              <a:gd name="connsiteX84" fmla="*/ 2693513 w 5385357"/>
              <a:gd name="connsiteY84" fmla="*/ 3992246 h 4904122"/>
              <a:gd name="connsiteX85" fmla="*/ 2571762 w 5385357"/>
              <a:gd name="connsiteY85" fmla="*/ 3557007 h 4904122"/>
              <a:gd name="connsiteX86" fmla="*/ 2256546 w 5385357"/>
              <a:gd name="connsiteY86" fmla="*/ 3236831 h 4904122"/>
              <a:gd name="connsiteX87" fmla="*/ 2231529 w 5385357"/>
              <a:gd name="connsiteY87" fmla="*/ 3221823 h 4904122"/>
              <a:gd name="connsiteX88" fmla="*/ 1349258 w 5385357"/>
              <a:gd name="connsiteY88" fmla="*/ 3228493 h 4904122"/>
              <a:gd name="connsiteX89" fmla="*/ 1345922 w 5385357"/>
              <a:gd name="connsiteY89" fmla="*/ 3230161 h 4904122"/>
              <a:gd name="connsiteX90" fmla="*/ 1299224 w 5385357"/>
              <a:gd name="connsiteY90" fmla="*/ 3255175 h 4904122"/>
              <a:gd name="connsiteX91" fmla="*/ 1279210 w 5385357"/>
              <a:gd name="connsiteY91" fmla="*/ 3265180 h 4904122"/>
              <a:gd name="connsiteX92" fmla="*/ 1259196 w 5385357"/>
              <a:gd name="connsiteY92" fmla="*/ 3273518 h 4904122"/>
              <a:gd name="connsiteX93" fmla="*/ 1237515 w 5385357"/>
              <a:gd name="connsiteY93" fmla="*/ 3283523 h 4904122"/>
              <a:gd name="connsiteX94" fmla="*/ 1217501 w 5385357"/>
              <a:gd name="connsiteY94" fmla="*/ 3290194 h 4904122"/>
              <a:gd name="connsiteX95" fmla="*/ 1195820 w 5385357"/>
              <a:gd name="connsiteY95" fmla="*/ 3298532 h 4904122"/>
              <a:gd name="connsiteX96" fmla="*/ 1175806 w 5385357"/>
              <a:gd name="connsiteY96" fmla="*/ 3305202 h 4904122"/>
              <a:gd name="connsiteX97" fmla="*/ 840576 w 5385357"/>
              <a:gd name="connsiteY97" fmla="*/ 3348559 h 4904122"/>
              <a:gd name="connsiteX98" fmla="*/ 818895 w 5385357"/>
              <a:gd name="connsiteY98" fmla="*/ 3346892 h 4904122"/>
              <a:gd name="connsiteX99" fmla="*/ 798881 w 5385357"/>
              <a:gd name="connsiteY99" fmla="*/ 3343556 h 4904122"/>
              <a:gd name="connsiteX100" fmla="*/ 797213 w 5385357"/>
              <a:gd name="connsiteY100" fmla="*/ 3343556 h 4904122"/>
              <a:gd name="connsiteX101" fmla="*/ 777199 w 5385357"/>
              <a:gd name="connsiteY101" fmla="*/ 3341889 h 4904122"/>
              <a:gd name="connsiteX102" fmla="*/ 775532 w 5385357"/>
              <a:gd name="connsiteY102" fmla="*/ 3341889 h 4904122"/>
              <a:gd name="connsiteX103" fmla="*/ 763857 w 5385357"/>
              <a:gd name="connsiteY103" fmla="*/ 3340221 h 4904122"/>
              <a:gd name="connsiteX104" fmla="*/ 762189 w 5385357"/>
              <a:gd name="connsiteY104" fmla="*/ 3338554 h 4904122"/>
              <a:gd name="connsiteX105" fmla="*/ 757186 w 5385357"/>
              <a:gd name="connsiteY105" fmla="*/ 3338554 h 4904122"/>
              <a:gd name="connsiteX106" fmla="*/ 753850 w 5385357"/>
              <a:gd name="connsiteY106" fmla="*/ 3338554 h 4904122"/>
              <a:gd name="connsiteX107" fmla="*/ 745511 w 5385357"/>
              <a:gd name="connsiteY107" fmla="*/ 3336886 h 4904122"/>
              <a:gd name="connsiteX108" fmla="*/ 740508 w 5385357"/>
              <a:gd name="connsiteY108" fmla="*/ 3335219 h 4904122"/>
              <a:gd name="connsiteX109" fmla="*/ 737172 w 5385357"/>
              <a:gd name="connsiteY109" fmla="*/ 3335219 h 4904122"/>
              <a:gd name="connsiteX110" fmla="*/ 732169 w 5385357"/>
              <a:gd name="connsiteY110" fmla="*/ 3333551 h 4904122"/>
              <a:gd name="connsiteX111" fmla="*/ 725497 w 5385357"/>
              <a:gd name="connsiteY111" fmla="*/ 3333551 h 4904122"/>
              <a:gd name="connsiteX112" fmla="*/ 720494 w 5385357"/>
              <a:gd name="connsiteY112" fmla="*/ 3331883 h 4904122"/>
              <a:gd name="connsiteX113" fmla="*/ 715491 w 5385357"/>
              <a:gd name="connsiteY113" fmla="*/ 3330216 h 4904122"/>
              <a:gd name="connsiteX114" fmla="*/ 710487 w 5385357"/>
              <a:gd name="connsiteY114" fmla="*/ 3330216 h 4904122"/>
              <a:gd name="connsiteX115" fmla="*/ 705484 w 5385357"/>
              <a:gd name="connsiteY115" fmla="*/ 3328548 h 4904122"/>
              <a:gd name="connsiteX116" fmla="*/ 698812 w 5385357"/>
              <a:gd name="connsiteY116" fmla="*/ 3326881 h 4904122"/>
              <a:gd name="connsiteX117" fmla="*/ 695477 w 5385357"/>
              <a:gd name="connsiteY117" fmla="*/ 3326881 h 4904122"/>
              <a:gd name="connsiteX118" fmla="*/ 687138 w 5385357"/>
              <a:gd name="connsiteY118" fmla="*/ 3325213 h 4904122"/>
              <a:gd name="connsiteX119" fmla="*/ 685470 w 5385357"/>
              <a:gd name="connsiteY119" fmla="*/ 3323545 h 4904122"/>
              <a:gd name="connsiteX120" fmla="*/ 677131 w 5385357"/>
              <a:gd name="connsiteY120" fmla="*/ 3321878 h 4904122"/>
              <a:gd name="connsiteX121" fmla="*/ 675463 w 5385357"/>
              <a:gd name="connsiteY121" fmla="*/ 3321878 h 4904122"/>
              <a:gd name="connsiteX122" fmla="*/ 655449 w 5385357"/>
              <a:gd name="connsiteY122" fmla="*/ 3316875 h 4904122"/>
              <a:gd name="connsiteX123" fmla="*/ 653782 w 5385357"/>
              <a:gd name="connsiteY123" fmla="*/ 3315208 h 4904122"/>
              <a:gd name="connsiteX124" fmla="*/ 633768 w 5385357"/>
              <a:gd name="connsiteY124" fmla="*/ 3310205 h 4904122"/>
              <a:gd name="connsiteX125" fmla="*/ 461984 w 5385357"/>
              <a:gd name="connsiteY125" fmla="*/ 3236831 h 4904122"/>
              <a:gd name="connsiteX126" fmla="*/ 460316 w 5385357"/>
              <a:gd name="connsiteY126" fmla="*/ 3235164 h 4904122"/>
              <a:gd name="connsiteX127" fmla="*/ 425292 w 5385357"/>
              <a:gd name="connsiteY127" fmla="*/ 3215153 h 4904122"/>
              <a:gd name="connsiteX128" fmla="*/ 423624 w 5385357"/>
              <a:gd name="connsiteY128" fmla="*/ 3213485 h 4904122"/>
              <a:gd name="connsiteX129" fmla="*/ 416953 w 5385357"/>
              <a:gd name="connsiteY129" fmla="*/ 3210150 h 4904122"/>
              <a:gd name="connsiteX130" fmla="*/ 411949 w 5385357"/>
              <a:gd name="connsiteY130" fmla="*/ 3206815 h 4904122"/>
              <a:gd name="connsiteX131" fmla="*/ 408613 w 5385357"/>
              <a:gd name="connsiteY131" fmla="*/ 3205147 h 4904122"/>
              <a:gd name="connsiteX132" fmla="*/ 120082 w 5385357"/>
              <a:gd name="connsiteY132" fmla="*/ 2901647 h 4904122"/>
              <a:gd name="connsiteX133" fmla="*/ 0 w 5385357"/>
              <a:gd name="connsiteY133" fmla="*/ 2468075 h 4904122"/>
              <a:gd name="connsiteX134" fmla="*/ 0 w 5385357"/>
              <a:gd name="connsiteY134" fmla="*/ 2439727 h 4904122"/>
              <a:gd name="connsiteX135" fmla="*/ 0 w 5385357"/>
              <a:gd name="connsiteY135" fmla="*/ 2438059 h 4904122"/>
              <a:gd name="connsiteX136" fmla="*/ 130090 w 5385357"/>
              <a:gd name="connsiteY136" fmla="*/ 1987812 h 4904122"/>
              <a:gd name="connsiteX137" fmla="*/ 1010693 w 5385357"/>
              <a:gd name="connsiteY137" fmla="*/ 461973 h 4904122"/>
              <a:gd name="connsiteX138" fmla="*/ 1012361 w 5385357"/>
              <a:gd name="connsiteY138" fmla="*/ 458638 h 4904122"/>
              <a:gd name="connsiteX139" fmla="*/ 1014028 w 5385357"/>
              <a:gd name="connsiteY139" fmla="*/ 455303 h 4904122"/>
              <a:gd name="connsiteX140" fmla="*/ 1019032 w 5385357"/>
              <a:gd name="connsiteY140" fmla="*/ 448633 h 4904122"/>
              <a:gd name="connsiteX141" fmla="*/ 1020700 w 5385357"/>
              <a:gd name="connsiteY141" fmla="*/ 445297 h 4904122"/>
              <a:gd name="connsiteX142" fmla="*/ 1024035 w 5385357"/>
              <a:gd name="connsiteY142" fmla="*/ 440295 h 4904122"/>
              <a:gd name="connsiteX143" fmla="*/ 1025703 w 5385357"/>
              <a:gd name="connsiteY143" fmla="*/ 436959 h 4904122"/>
              <a:gd name="connsiteX144" fmla="*/ 1029039 w 5385357"/>
              <a:gd name="connsiteY144" fmla="*/ 430289 h 4904122"/>
              <a:gd name="connsiteX145" fmla="*/ 1032374 w 5385357"/>
              <a:gd name="connsiteY145" fmla="*/ 426954 h 4904122"/>
              <a:gd name="connsiteX146" fmla="*/ 1034042 w 5385357"/>
              <a:gd name="connsiteY146" fmla="*/ 421951 h 4904122"/>
              <a:gd name="connsiteX147" fmla="*/ 1037378 w 5385357"/>
              <a:gd name="connsiteY147" fmla="*/ 418616 h 4904122"/>
              <a:gd name="connsiteX148" fmla="*/ 1040713 w 5385357"/>
              <a:gd name="connsiteY148" fmla="*/ 411946 h 4904122"/>
              <a:gd name="connsiteX149" fmla="*/ 1042381 w 5385357"/>
              <a:gd name="connsiteY149" fmla="*/ 408611 h 4904122"/>
              <a:gd name="connsiteX150" fmla="*/ 1047385 w 5385357"/>
              <a:gd name="connsiteY150" fmla="*/ 401940 h 4904122"/>
              <a:gd name="connsiteX151" fmla="*/ 1049052 w 5385357"/>
              <a:gd name="connsiteY151" fmla="*/ 400273 h 4904122"/>
              <a:gd name="connsiteX152" fmla="*/ 1052388 w 5385357"/>
              <a:gd name="connsiteY152" fmla="*/ 393602 h 4904122"/>
              <a:gd name="connsiteX153" fmla="*/ 1055724 w 5385357"/>
              <a:gd name="connsiteY153" fmla="*/ 390267 h 4904122"/>
              <a:gd name="connsiteX154" fmla="*/ 1059059 w 5385357"/>
              <a:gd name="connsiteY154" fmla="*/ 383597 h 4904122"/>
              <a:gd name="connsiteX155" fmla="*/ 1060727 w 5385357"/>
              <a:gd name="connsiteY155" fmla="*/ 381929 h 4904122"/>
              <a:gd name="connsiteX156" fmla="*/ 1065730 w 5385357"/>
              <a:gd name="connsiteY156" fmla="*/ 375259 h 4904122"/>
              <a:gd name="connsiteX157" fmla="*/ 1067398 w 5385357"/>
              <a:gd name="connsiteY157" fmla="*/ 373591 h 4904122"/>
              <a:gd name="connsiteX158" fmla="*/ 1072402 w 5385357"/>
              <a:gd name="connsiteY158" fmla="*/ 365253 h 4904122"/>
              <a:gd name="connsiteX159" fmla="*/ 1079073 w 5385357"/>
              <a:gd name="connsiteY159" fmla="*/ 356915 h 4904122"/>
              <a:gd name="connsiteX160" fmla="*/ 1080741 w 5385357"/>
              <a:gd name="connsiteY160" fmla="*/ 355248 h 4904122"/>
              <a:gd name="connsiteX161" fmla="*/ 1085744 w 5385357"/>
              <a:gd name="connsiteY161" fmla="*/ 346910 h 4904122"/>
              <a:gd name="connsiteX162" fmla="*/ 1092415 w 5385357"/>
              <a:gd name="connsiteY162" fmla="*/ 340240 h 4904122"/>
              <a:gd name="connsiteX163" fmla="*/ 1094083 w 5385357"/>
              <a:gd name="connsiteY163" fmla="*/ 338572 h 4904122"/>
              <a:gd name="connsiteX164" fmla="*/ 1105758 w 5385357"/>
              <a:gd name="connsiteY164" fmla="*/ 323564 h 4904122"/>
              <a:gd name="connsiteX165" fmla="*/ 1107426 w 5385357"/>
              <a:gd name="connsiteY165" fmla="*/ 321896 h 4904122"/>
              <a:gd name="connsiteX166" fmla="*/ 1120768 w 5385357"/>
              <a:gd name="connsiteY166" fmla="*/ 306888 h 4904122"/>
              <a:gd name="connsiteX167" fmla="*/ 1120768 w 5385357"/>
              <a:gd name="connsiteY167" fmla="*/ 305220 h 4904122"/>
              <a:gd name="connsiteX168" fmla="*/ 1135778 w 5385357"/>
              <a:gd name="connsiteY168" fmla="*/ 290212 h 4904122"/>
              <a:gd name="connsiteX169" fmla="*/ 1135778 w 5385357"/>
              <a:gd name="connsiteY169" fmla="*/ 288545 h 4904122"/>
              <a:gd name="connsiteX170" fmla="*/ 1150789 w 5385357"/>
              <a:gd name="connsiteY170" fmla="*/ 273536 h 4904122"/>
              <a:gd name="connsiteX171" fmla="*/ 1345922 w 5385357"/>
              <a:gd name="connsiteY171" fmla="*/ 120119 h 4904122"/>
              <a:gd name="connsiteX172" fmla="*/ 1512703 w 5385357"/>
              <a:gd name="connsiteY172" fmla="*/ 46745 h 4904122"/>
              <a:gd name="connsiteX173" fmla="*/ 1522710 w 5385357"/>
              <a:gd name="connsiteY173" fmla="*/ 43410 h 4904122"/>
              <a:gd name="connsiteX174" fmla="*/ 1532717 w 5385357"/>
              <a:gd name="connsiteY174" fmla="*/ 40075 h 4904122"/>
              <a:gd name="connsiteX175" fmla="*/ 1534385 w 5385357"/>
              <a:gd name="connsiteY175" fmla="*/ 40075 h 4904122"/>
              <a:gd name="connsiteX176" fmla="*/ 1542724 w 5385357"/>
              <a:gd name="connsiteY176" fmla="*/ 36739 h 4904122"/>
              <a:gd name="connsiteX177" fmla="*/ 1544392 w 5385357"/>
              <a:gd name="connsiteY177" fmla="*/ 36739 h 4904122"/>
              <a:gd name="connsiteX178" fmla="*/ 1554399 w 5385357"/>
              <a:gd name="connsiteY178" fmla="*/ 33404 h 4904122"/>
              <a:gd name="connsiteX179" fmla="*/ 1556066 w 5385357"/>
              <a:gd name="connsiteY179" fmla="*/ 33404 h 4904122"/>
              <a:gd name="connsiteX180" fmla="*/ 1564406 w 5385357"/>
              <a:gd name="connsiteY180" fmla="*/ 30069 h 4904122"/>
              <a:gd name="connsiteX181" fmla="*/ 1566073 w 5385357"/>
              <a:gd name="connsiteY181" fmla="*/ 30069 h 4904122"/>
              <a:gd name="connsiteX182" fmla="*/ 1576080 w 5385357"/>
              <a:gd name="connsiteY182" fmla="*/ 28402 h 4904122"/>
              <a:gd name="connsiteX183" fmla="*/ 1577748 w 5385357"/>
              <a:gd name="connsiteY183" fmla="*/ 26734 h 4904122"/>
              <a:gd name="connsiteX184" fmla="*/ 1586087 w 5385357"/>
              <a:gd name="connsiteY184" fmla="*/ 25067 h 4904122"/>
              <a:gd name="connsiteX185" fmla="*/ 1587755 w 5385357"/>
              <a:gd name="connsiteY185" fmla="*/ 25067 h 4904122"/>
              <a:gd name="connsiteX186" fmla="*/ 1596094 w 5385357"/>
              <a:gd name="connsiteY186" fmla="*/ 23399 h 4904122"/>
              <a:gd name="connsiteX187" fmla="*/ 1599430 w 5385357"/>
              <a:gd name="connsiteY187" fmla="*/ 21731 h 4904122"/>
              <a:gd name="connsiteX188" fmla="*/ 1604433 w 5385357"/>
              <a:gd name="connsiteY188" fmla="*/ 21731 h 4904122"/>
              <a:gd name="connsiteX189" fmla="*/ 1606101 w 5385357"/>
              <a:gd name="connsiteY189" fmla="*/ 20064 h 4904122"/>
              <a:gd name="connsiteX190" fmla="*/ 1609436 w 5385357"/>
              <a:gd name="connsiteY190" fmla="*/ 20064 h 4904122"/>
              <a:gd name="connsiteX191" fmla="*/ 1611104 w 5385357"/>
              <a:gd name="connsiteY191" fmla="*/ 20064 h 4904122"/>
              <a:gd name="connsiteX192" fmla="*/ 1617775 w 5385357"/>
              <a:gd name="connsiteY192" fmla="*/ 18396 h 4904122"/>
              <a:gd name="connsiteX193" fmla="*/ 1621111 w 5385357"/>
              <a:gd name="connsiteY193" fmla="*/ 16729 h 4904122"/>
              <a:gd name="connsiteX194" fmla="*/ 1624447 w 5385357"/>
              <a:gd name="connsiteY194" fmla="*/ 16729 h 4904122"/>
              <a:gd name="connsiteX195" fmla="*/ 1627782 w 5385357"/>
              <a:gd name="connsiteY195" fmla="*/ 16729 h 4904122"/>
              <a:gd name="connsiteX196" fmla="*/ 1632786 w 5385357"/>
              <a:gd name="connsiteY196" fmla="*/ 15061 h 4904122"/>
              <a:gd name="connsiteX197" fmla="*/ 1634454 w 5385357"/>
              <a:gd name="connsiteY197" fmla="*/ 15061 h 4904122"/>
              <a:gd name="connsiteX198" fmla="*/ 1639457 w 5385357"/>
              <a:gd name="connsiteY198" fmla="*/ 13393 h 4904122"/>
              <a:gd name="connsiteX199" fmla="*/ 1644460 w 5385357"/>
              <a:gd name="connsiteY199" fmla="*/ 13393 h 4904122"/>
              <a:gd name="connsiteX200" fmla="*/ 1646128 w 5385357"/>
              <a:gd name="connsiteY200" fmla="*/ 13393 h 4904122"/>
              <a:gd name="connsiteX201" fmla="*/ 1649464 w 5385357"/>
              <a:gd name="connsiteY201" fmla="*/ 11726 h 4904122"/>
              <a:gd name="connsiteX202" fmla="*/ 1654467 w 5385357"/>
              <a:gd name="connsiteY202" fmla="*/ 11726 h 4904122"/>
              <a:gd name="connsiteX203" fmla="*/ 1656135 w 5385357"/>
              <a:gd name="connsiteY203" fmla="*/ 11726 h 4904122"/>
              <a:gd name="connsiteX204" fmla="*/ 1659471 w 5385357"/>
              <a:gd name="connsiteY204" fmla="*/ 10058 h 4904122"/>
              <a:gd name="connsiteX205" fmla="*/ 1666142 w 5385357"/>
              <a:gd name="connsiteY205" fmla="*/ 10058 h 4904122"/>
              <a:gd name="connsiteX206" fmla="*/ 1667810 w 5385357"/>
              <a:gd name="connsiteY206" fmla="*/ 10058 h 4904122"/>
              <a:gd name="connsiteX207" fmla="*/ 1669478 w 5385357"/>
              <a:gd name="connsiteY207" fmla="*/ 8391 h 4904122"/>
              <a:gd name="connsiteX208" fmla="*/ 1676149 w 5385357"/>
              <a:gd name="connsiteY208" fmla="*/ 8391 h 4904122"/>
              <a:gd name="connsiteX209" fmla="*/ 1677817 w 5385357"/>
              <a:gd name="connsiteY209" fmla="*/ 8391 h 4904122"/>
              <a:gd name="connsiteX210" fmla="*/ 1679484 w 5385357"/>
              <a:gd name="connsiteY210" fmla="*/ 8391 h 4904122"/>
              <a:gd name="connsiteX211" fmla="*/ 1681152 w 5385357"/>
              <a:gd name="connsiteY211" fmla="*/ 8391 h 4904122"/>
              <a:gd name="connsiteX212" fmla="*/ 1687823 w 5385357"/>
              <a:gd name="connsiteY212" fmla="*/ 6723 h 4904122"/>
              <a:gd name="connsiteX213" fmla="*/ 1689491 w 5385357"/>
              <a:gd name="connsiteY213" fmla="*/ 6723 h 4904122"/>
              <a:gd name="connsiteX214" fmla="*/ 1691159 w 5385357"/>
              <a:gd name="connsiteY214" fmla="*/ 6723 h 4904122"/>
              <a:gd name="connsiteX215" fmla="*/ 1692827 w 5385357"/>
              <a:gd name="connsiteY215" fmla="*/ 6723 h 4904122"/>
              <a:gd name="connsiteX216" fmla="*/ 1699498 w 5385357"/>
              <a:gd name="connsiteY216" fmla="*/ 5055 h 4904122"/>
              <a:gd name="connsiteX217" fmla="*/ 1701166 w 5385357"/>
              <a:gd name="connsiteY217" fmla="*/ 5055 h 4904122"/>
              <a:gd name="connsiteX218" fmla="*/ 1702834 w 5385357"/>
              <a:gd name="connsiteY218" fmla="*/ 5055 h 4904122"/>
              <a:gd name="connsiteX219" fmla="*/ 1709505 w 5385357"/>
              <a:gd name="connsiteY219" fmla="*/ 5055 h 4904122"/>
              <a:gd name="connsiteX220" fmla="*/ 1722847 w 5385357"/>
              <a:gd name="connsiteY220" fmla="*/ 3388 h 4904122"/>
              <a:gd name="connsiteX221" fmla="*/ 1724515 w 5385357"/>
              <a:gd name="connsiteY221" fmla="*/ 3388 h 4904122"/>
              <a:gd name="connsiteX222" fmla="*/ 1744529 w 5385357"/>
              <a:gd name="connsiteY222" fmla="*/ 1720 h 4904122"/>
              <a:gd name="connsiteX223" fmla="*/ 1766210 w 5385357"/>
              <a:gd name="connsiteY223" fmla="*/ 1720 h 4904122"/>
              <a:gd name="connsiteX224" fmla="*/ 1809574 w 5385357"/>
              <a:gd name="connsiteY224" fmla="*/ 53 h 49041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</a:cxnLst>
            <a:rect l="l" t="t" r="r" b="b"/>
            <a:pathLst>
              <a:path w="5385357" h="4904122">
                <a:moveTo>
                  <a:pt x="1809574" y="53"/>
                </a:moveTo>
                <a:cubicBezTo>
                  <a:pt x="2686841" y="53"/>
                  <a:pt x="2698516" y="53"/>
                  <a:pt x="3574116" y="53"/>
                </a:cubicBezTo>
                <a:cubicBezTo>
                  <a:pt x="3732558" y="-1615"/>
                  <a:pt x="3889332" y="36739"/>
                  <a:pt x="4026092" y="113448"/>
                </a:cubicBezTo>
                <a:cubicBezTo>
                  <a:pt x="4027760" y="113448"/>
                  <a:pt x="4027760" y="113448"/>
                  <a:pt x="4027760" y="113448"/>
                </a:cubicBezTo>
                <a:cubicBezTo>
                  <a:pt x="4046106" y="123454"/>
                  <a:pt x="4062784" y="135127"/>
                  <a:pt x="4081130" y="146800"/>
                </a:cubicBezTo>
                <a:cubicBezTo>
                  <a:pt x="4082798" y="146800"/>
                  <a:pt x="4084466" y="148468"/>
                  <a:pt x="4084466" y="148468"/>
                </a:cubicBezTo>
                <a:cubicBezTo>
                  <a:pt x="4086133" y="150135"/>
                  <a:pt x="4086133" y="150135"/>
                  <a:pt x="4087801" y="150135"/>
                </a:cubicBezTo>
                <a:cubicBezTo>
                  <a:pt x="4087801" y="151803"/>
                  <a:pt x="4089469" y="151803"/>
                  <a:pt x="4089469" y="151803"/>
                </a:cubicBezTo>
                <a:cubicBezTo>
                  <a:pt x="4091137" y="153470"/>
                  <a:pt x="4092805" y="155138"/>
                  <a:pt x="4094473" y="155138"/>
                </a:cubicBezTo>
                <a:cubicBezTo>
                  <a:pt x="4094473" y="155138"/>
                  <a:pt x="4094473" y="155138"/>
                  <a:pt x="4096140" y="156806"/>
                </a:cubicBezTo>
                <a:cubicBezTo>
                  <a:pt x="4204548" y="230179"/>
                  <a:pt x="4297945" y="328567"/>
                  <a:pt x="4367993" y="448633"/>
                </a:cubicBezTo>
                <a:cubicBezTo>
                  <a:pt x="4367993" y="448633"/>
                  <a:pt x="4367993" y="448633"/>
                  <a:pt x="5265275" y="2002820"/>
                </a:cubicBezTo>
                <a:cubicBezTo>
                  <a:pt x="5330319" y="2116215"/>
                  <a:pt x="5367011" y="2236281"/>
                  <a:pt x="5380353" y="2356347"/>
                </a:cubicBezTo>
                <a:cubicBezTo>
                  <a:pt x="5380353" y="2356347"/>
                  <a:pt x="5380353" y="2356347"/>
                  <a:pt x="5380353" y="2358015"/>
                </a:cubicBezTo>
                <a:cubicBezTo>
                  <a:pt x="5380353" y="2359683"/>
                  <a:pt x="5380353" y="2361350"/>
                  <a:pt x="5380353" y="2363018"/>
                </a:cubicBezTo>
                <a:cubicBezTo>
                  <a:pt x="5380353" y="2364685"/>
                  <a:pt x="5380353" y="2364685"/>
                  <a:pt x="5382021" y="2366353"/>
                </a:cubicBezTo>
                <a:cubicBezTo>
                  <a:pt x="5382021" y="2368020"/>
                  <a:pt x="5382021" y="2368020"/>
                  <a:pt x="5382021" y="2369688"/>
                </a:cubicBezTo>
                <a:cubicBezTo>
                  <a:pt x="5382021" y="2371356"/>
                  <a:pt x="5382021" y="2373023"/>
                  <a:pt x="5382021" y="2374691"/>
                </a:cubicBezTo>
                <a:cubicBezTo>
                  <a:pt x="5382021" y="2374691"/>
                  <a:pt x="5382021" y="2376358"/>
                  <a:pt x="5382021" y="2376358"/>
                </a:cubicBezTo>
                <a:cubicBezTo>
                  <a:pt x="5385357" y="2406375"/>
                  <a:pt x="5385357" y="2436391"/>
                  <a:pt x="5385357" y="2466408"/>
                </a:cubicBezTo>
                <a:cubicBezTo>
                  <a:pt x="5385357" y="2489754"/>
                  <a:pt x="5383689" y="2511433"/>
                  <a:pt x="5382021" y="2533111"/>
                </a:cubicBezTo>
                <a:cubicBezTo>
                  <a:pt x="5382021" y="2536446"/>
                  <a:pt x="5380353" y="2538114"/>
                  <a:pt x="5380353" y="2541449"/>
                </a:cubicBezTo>
                <a:cubicBezTo>
                  <a:pt x="5380353" y="2543117"/>
                  <a:pt x="5380353" y="2546452"/>
                  <a:pt x="5380353" y="2548119"/>
                </a:cubicBezTo>
                <a:cubicBezTo>
                  <a:pt x="5380353" y="2551455"/>
                  <a:pt x="5380353" y="2553122"/>
                  <a:pt x="5378686" y="2554790"/>
                </a:cubicBezTo>
                <a:cubicBezTo>
                  <a:pt x="5378686" y="2554790"/>
                  <a:pt x="5378686" y="2556457"/>
                  <a:pt x="5378686" y="2556457"/>
                </a:cubicBezTo>
                <a:cubicBezTo>
                  <a:pt x="5378686" y="2558125"/>
                  <a:pt x="5378686" y="2559792"/>
                  <a:pt x="5378686" y="2561460"/>
                </a:cubicBezTo>
                <a:cubicBezTo>
                  <a:pt x="5378686" y="2563128"/>
                  <a:pt x="5378686" y="2563128"/>
                  <a:pt x="5378686" y="2564795"/>
                </a:cubicBezTo>
                <a:cubicBezTo>
                  <a:pt x="5378686" y="2564795"/>
                  <a:pt x="5377018" y="2566463"/>
                  <a:pt x="5377018" y="2568130"/>
                </a:cubicBezTo>
                <a:cubicBezTo>
                  <a:pt x="5377018" y="2569798"/>
                  <a:pt x="5377018" y="2569798"/>
                  <a:pt x="5377018" y="2571466"/>
                </a:cubicBezTo>
                <a:cubicBezTo>
                  <a:pt x="5377018" y="2573133"/>
                  <a:pt x="5377018" y="2574801"/>
                  <a:pt x="5377018" y="2576468"/>
                </a:cubicBezTo>
                <a:cubicBezTo>
                  <a:pt x="5377018" y="2576468"/>
                  <a:pt x="5377018" y="2578136"/>
                  <a:pt x="5377018" y="2578136"/>
                </a:cubicBezTo>
                <a:cubicBezTo>
                  <a:pt x="5375350" y="2579803"/>
                  <a:pt x="5375350" y="2581471"/>
                  <a:pt x="5375350" y="2583139"/>
                </a:cubicBezTo>
                <a:cubicBezTo>
                  <a:pt x="5375350" y="2584806"/>
                  <a:pt x="5375350" y="2584806"/>
                  <a:pt x="5375350" y="2586474"/>
                </a:cubicBezTo>
                <a:cubicBezTo>
                  <a:pt x="5375350" y="2586474"/>
                  <a:pt x="5375350" y="2588141"/>
                  <a:pt x="5375350" y="2589809"/>
                </a:cubicBezTo>
                <a:cubicBezTo>
                  <a:pt x="5373683" y="2591477"/>
                  <a:pt x="5373683" y="2591477"/>
                  <a:pt x="5373683" y="2593144"/>
                </a:cubicBezTo>
                <a:cubicBezTo>
                  <a:pt x="5373683" y="2594812"/>
                  <a:pt x="5373683" y="2594812"/>
                  <a:pt x="5373683" y="2596479"/>
                </a:cubicBezTo>
                <a:cubicBezTo>
                  <a:pt x="5373683" y="2598147"/>
                  <a:pt x="5373683" y="2599814"/>
                  <a:pt x="5373683" y="2599814"/>
                </a:cubicBezTo>
                <a:cubicBezTo>
                  <a:pt x="5372015" y="2601482"/>
                  <a:pt x="5372015" y="2603150"/>
                  <a:pt x="5372015" y="2603150"/>
                </a:cubicBezTo>
                <a:cubicBezTo>
                  <a:pt x="5372015" y="2604817"/>
                  <a:pt x="5372015" y="2606485"/>
                  <a:pt x="5372015" y="2608152"/>
                </a:cubicBezTo>
                <a:cubicBezTo>
                  <a:pt x="5372015" y="2608152"/>
                  <a:pt x="5372015" y="2609820"/>
                  <a:pt x="5372015" y="2609820"/>
                </a:cubicBezTo>
                <a:cubicBezTo>
                  <a:pt x="5370347" y="2611488"/>
                  <a:pt x="5370347" y="2613155"/>
                  <a:pt x="5370347" y="2614823"/>
                </a:cubicBezTo>
                <a:cubicBezTo>
                  <a:pt x="5370347" y="2614823"/>
                  <a:pt x="5370347" y="2616490"/>
                  <a:pt x="5370347" y="2616490"/>
                </a:cubicBezTo>
                <a:cubicBezTo>
                  <a:pt x="5350333" y="2721548"/>
                  <a:pt x="5311973" y="2823271"/>
                  <a:pt x="5256935" y="2914988"/>
                </a:cubicBezTo>
                <a:cubicBezTo>
                  <a:pt x="4818302" y="3673738"/>
                  <a:pt x="4813299" y="3682076"/>
                  <a:pt x="4374665" y="4442494"/>
                </a:cubicBezTo>
                <a:cubicBezTo>
                  <a:pt x="4297945" y="4579236"/>
                  <a:pt x="4184534" y="4699301"/>
                  <a:pt x="4039435" y="4784348"/>
                </a:cubicBezTo>
                <a:cubicBezTo>
                  <a:pt x="3809277" y="4916087"/>
                  <a:pt x="3544095" y="4936098"/>
                  <a:pt x="3310602" y="4859389"/>
                </a:cubicBezTo>
                <a:cubicBezTo>
                  <a:pt x="3303931" y="4856054"/>
                  <a:pt x="3297260" y="4854387"/>
                  <a:pt x="3290588" y="4852719"/>
                </a:cubicBezTo>
                <a:cubicBezTo>
                  <a:pt x="3290588" y="4852719"/>
                  <a:pt x="3290588" y="4852719"/>
                  <a:pt x="3288921" y="4851052"/>
                </a:cubicBezTo>
                <a:cubicBezTo>
                  <a:pt x="3287253" y="4851052"/>
                  <a:pt x="3285585" y="4851052"/>
                  <a:pt x="3283917" y="4849384"/>
                </a:cubicBezTo>
                <a:cubicBezTo>
                  <a:pt x="3283917" y="4849384"/>
                  <a:pt x="3282249" y="4849384"/>
                  <a:pt x="3282249" y="4849384"/>
                </a:cubicBezTo>
                <a:cubicBezTo>
                  <a:pt x="3278914" y="4847716"/>
                  <a:pt x="3275578" y="4846049"/>
                  <a:pt x="3272242" y="4846049"/>
                </a:cubicBezTo>
                <a:cubicBezTo>
                  <a:pt x="3270575" y="4844381"/>
                  <a:pt x="3270575" y="4844381"/>
                  <a:pt x="3268907" y="4844381"/>
                </a:cubicBezTo>
                <a:cubicBezTo>
                  <a:pt x="3267239" y="4844381"/>
                  <a:pt x="3265571" y="4842714"/>
                  <a:pt x="3263903" y="4842714"/>
                </a:cubicBezTo>
                <a:cubicBezTo>
                  <a:pt x="3262236" y="4841046"/>
                  <a:pt x="3260568" y="4841046"/>
                  <a:pt x="3258900" y="4841046"/>
                </a:cubicBezTo>
                <a:cubicBezTo>
                  <a:pt x="3257232" y="4839378"/>
                  <a:pt x="3255564" y="4839378"/>
                  <a:pt x="3253897" y="4837711"/>
                </a:cubicBezTo>
                <a:cubicBezTo>
                  <a:pt x="3252229" y="4837711"/>
                  <a:pt x="3250561" y="4836043"/>
                  <a:pt x="3248893" y="4836043"/>
                </a:cubicBezTo>
                <a:cubicBezTo>
                  <a:pt x="3247225" y="4836043"/>
                  <a:pt x="3245557" y="4834376"/>
                  <a:pt x="3243890" y="4834376"/>
                </a:cubicBezTo>
                <a:cubicBezTo>
                  <a:pt x="3242222" y="4832708"/>
                  <a:pt x="3238886" y="4832708"/>
                  <a:pt x="3237218" y="4831041"/>
                </a:cubicBezTo>
                <a:cubicBezTo>
                  <a:pt x="3235551" y="4831041"/>
                  <a:pt x="3235551" y="4831041"/>
                  <a:pt x="3233883" y="4829373"/>
                </a:cubicBezTo>
                <a:cubicBezTo>
                  <a:pt x="3232215" y="4829373"/>
                  <a:pt x="3230547" y="4827705"/>
                  <a:pt x="3227212" y="4827705"/>
                </a:cubicBezTo>
                <a:cubicBezTo>
                  <a:pt x="3227212" y="4827705"/>
                  <a:pt x="3225544" y="4826038"/>
                  <a:pt x="3225544" y="4826038"/>
                </a:cubicBezTo>
                <a:cubicBezTo>
                  <a:pt x="3222208" y="4824370"/>
                  <a:pt x="3218873" y="4824370"/>
                  <a:pt x="3217205" y="4822703"/>
                </a:cubicBezTo>
                <a:cubicBezTo>
                  <a:pt x="3215537" y="4822703"/>
                  <a:pt x="3215537" y="4821035"/>
                  <a:pt x="3215537" y="4821035"/>
                </a:cubicBezTo>
                <a:cubicBezTo>
                  <a:pt x="3212201" y="4821035"/>
                  <a:pt x="3210533" y="4819367"/>
                  <a:pt x="3207198" y="4817700"/>
                </a:cubicBezTo>
                <a:cubicBezTo>
                  <a:pt x="3207198" y="4817700"/>
                  <a:pt x="3207198" y="4817700"/>
                  <a:pt x="3205530" y="4817700"/>
                </a:cubicBezTo>
                <a:cubicBezTo>
                  <a:pt x="3202194" y="4816032"/>
                  <a:pt x="3200527" y="4814365"/>
                  <a:pt x="3197191" y="4812697"/>
                </a:cubicBezTo>
                <a:cubicBezTo>
                  <a:pt x="3197191" y="4812697"/>
                  <a:pt x="3197191" y="4812697"/>
                  <a:pt x="3195523" y="4812697"/>
                </a:cubicBezTo>
                <a:cubicBezTo>
                  <a:pt x="3193855" y="4811030"/>
                  <a:pt x="3190520" y="4809362"/>
                  <a:pt x="3187184" y="4807694"/>
                </a:cubicBezTo>
                <a:cubicBezTo>
                  <a:pt x="3183849" y="4806027"/>
                  <a:pt x="3180513" y="4804359"/>
                  <a:pt x="3177177" y="4802692"/>
                </a:cubicBezTo>
                <a:cubicBezTo>
                  <a:pt x="3168838" y="4799356"/>
                  <a:pt x="3162167" y="4794354"/>
                  <a:pt x="3153828" y="4791019"/>
                </a:cubicBezTo>
                <a:cubicBezTo>
                  <a:pt x="3127143" y="4776010"/>
                  <a:pt x="3102126" y="4759334"/>
                  <a:pt x="3077109" y="4742659"/>
                </a:cubicBezTo>
                <a:cubicBezTo>
                  <a:pt x="3075441" y="4740991"/>
                  <a:pt x="3073773" y="4740991"/>
                  <a:pt x="3073773" y="4739323"/>
                </a:cubicBezTo>
                <a:cubicBezTo>
                  <a:pt x="3072105" y="4739323"/>
                  <a:pt x="3070437" y="4737656"/>
                  <a:pt x="3068770" y="4735988"/>
                </a:cubicBezTo>
                <a:cubicBezTo>
                  <a:pt x="3067102" y="4735988"/>
                  <a:pt x="3067102" y="4735988"/>
                  <a:pt x="3065434" y="4734321"/>
                </a:cubicBezTo>
                <a:cubicBezTo>
                  <a:pt x="3063766" y="4732653"/>
                  <a:pt x="3060431" y="4730986"/>
                  <a:pt x="3058763" y="4729318"/>
                </a:cubicBezTo>
                <a:cubicBezTo>
                  <a:pt x="3058763" y="4729318"/>
                  <a:pt x="3058763" y="4729318"/>
                  <a:pt x="3057095" y="4727650"/>
                </a:cubicBezTo>
                <a:cubicBezTo>
                  <a:pt x="2960362" y="4657612"/>
                  <a:pt x="2876972" y="4565895"/>
                  <a:pt x="2813595" y="4455834"/>
                </a:cubicBezTo>
                <a:cubicBezTo>
                  <a:pt x="2743547" y="4334101"/>
                  <a:pt x="2705187" y="4204029"/>
                  <a:pt x="2695180" y="4072290"/>
                </a:cubicBezTo>
                <a:cubicBezTo>
                  <a:pt x="2695180" y="4070623"/>
                  <a:pt x="2695180" y="4068955"/>
                  <a:pt x="2695180" y="4065620"/>
                </a:cubicBezTo>
                <a:cubicBezTo>
                  <a:pt x="2695180" y="4065620"/>
                  <a:pt x="2695180" y="4063952"/>
                  <a:pt x="2695180" y="4063952"/>
                </a:cubicBezTo>
                <a:cubicBezTo>
                  <a:pt x="2695180" y="4062285"/>
                  <a:pt x="2695180" y="4060617"/>
                  <a:pt x="2693513" y="4060617"/>
                </a:cubicBezTo>
                <a:cubicBezTo>
                  <a:pt x="2693513" y="4058950"/>
                  <a:pt x="2693513" y="4057282"/>
                  <a:pt x="2693513" y="4055614"/>
                </a:cubicBezTo>
                <a:cubicBezTo>
                  <a:pt x="2693513" y="4055614"/>
                  <a:pt x="2693513" y="4055614"/>
                  <a:pt x="2693513" y="4053947"/>
                </a:cubicBezTo>
                <a:cubicBezTo>
                  <a:pt x="2693513" y="4033936"/>
                  <a:pt x="2691845" y="4013925"/>
                  <a:pt x="2693513" y="3993914"/>
                </a:cubicBezTo>
                <a:cubicBezTo>
                  <a:pt x="2693513" y="3992246"/>
                  <a:pt x="2693513" y="3992246"/>
                  <a:pt x="2693513" y="3992246"/>
                </a:cubicBezTo>
                <a:cubicBezTo>
                  <a:pt x="2690177" y="3843831"/>
                  <a:pt x="2651817" y="3695416"/>
                  <a:pt x="2571762" y="3557007"/>
                </a:cubicBezTo>
                <a:cubicBezTo>
                  <a:pt x="2493375" y="3420265"/>
                  <a:pt x="2383300" y="3311872"/>
                  <a:pt x="2256546" y="3236831"/>
                </a:cubicBezTo>
                <a:cubicBezTo>
                  <a:pt x="2248207" y="3231828"/>
                  <a:pt x="2239868" y="3226826"/>
                  <a:pt x="2231529" y="3221823"/>
                </a:cubicBezTo>
                <a:cubicBezTo>
                  <a:pt x="1966348" y="3075076"/>
                  <a:pt x="1631118" y="3065070"/>
                  <a:pt x="1349258" y="3228493"/>
                </a:cubicBezTo>
                <a:cubicBezTo>
                  <a:pt x="1347590" y="3228493"/>
                  <a:pt x="1347590" y="3228493"/>
                  <a:pt x="1345922" y="3230161"/>
                </a:cubicBezTo>
                <a:cubicBezTo>
                  <a:pt x="1330912" y="3238499"/>
                  <a:pt x="1315902" y="3246837"/>
                  <a:pt x="1299224" y="3255175"/>
                </a:cubicBezTo>
                <a:cubicBezTo>
                  <a:pt x="1292553" y="3258510"/>
                  <a:pt x="1285881" y="3261845"/>
                  <a:pt x="1279210" y="3265180"/>
                </a:cubicBezTo>
                <a:cubicBezTo>
                  <a:pt x="1272539" y="3268515"/>
                  <a:pt x="1265868" y="3270183"/>
                  <a:pt x="1259196" y="3273518"/>
                </a:cubicBezTo>
                <a:cubicBezTo>
                  <a:pt x="1252525" y="3276853"/>
                  <a:pt x="1245854" y="3280188"/>
                  <a:pt x="1237515" y="3283523"/>
                </a:cubicBezTo>
                <a:cubicBezTo>
                  <a:pt x="1230844" y="3285191"/>
                  <a:pt x="1224172" y="3288526"/>
                  <a:pt x="1217501" y="3290194"/>
                </a:cubicBezTo>
                <a:cubicBezTo>
                  <a:pt x="1210830" y="3293529"/>
                  <a:pt x="1204159" y="3296864"/>
                  <a:pt x="1195820" y="3298532"/>
                </a:cubicBezTo>
                <a:cubicBezTo>
                  <a:pt x="1189148" y="3301867"/>
                  <a:pt x="1182477" y="3303534"/>
                  <a:pt x="1175806" y="3305202"/>
                </a:cubicBezTo>
                <a:cubicBezTo>
                  <a:pt x="1065730" y="3341889"/>
                  <a:pt x="952319" y="3355230"/>
                  <a:pt x="840576" y="3348559"/>
                </a:cubicBezTo>
                <a:cubicBezTo>
                  <a:pt x="833905" y="3346892"/>
                  <a:pt x="827234" y="3346892"/>
                  <a:pt x="818895" y="3346892"/>
                </a:cubicBezTo>
                <a:cubicBezTo>
                  <a:pt x="812223" y="3345224"/>
                  <a:pt x="805552" y="3345224"/>
                  <a:pt x="798881" y="3343556"/>
                </a:cubicBezTo>
                <a:cubicBezTo>
                  <a:pt x="798881" y="3343556"/>
                  <a:pt x="797213" y="3343556"/>
                  <a:pt x="797213" y="3343556"/>
                </a:cubicBezTo>
                <a:cubicBezTo>
                  <a:pt x="790542" y="3343556"/>
                  <a:pt x="783871" y="3341889"/>
                  <a:pt x="777199" y="3341889"/>
                </a:cubicBezTo>
                <a:cubicBezTo>
                  <a:pt x="777199" y="3341889"/>
                  <a:pt x="777199" y="3341889"/>
                  <a:pt x="775532" y="3341889"/>
                </a:cubicBezTo>
                <a:cubicBezTo>
                  <a:pt x="772196" y="3340221"/>
                  <a:pt x="767193" y="3340221"/>
                  <a:pt x="763857" y="3340221"/>
                </a:cubicBezTo>
                <a:cubicBezTo>
                  <a:pt x="763857" y="3340221"/>
                  <a:pt x="763857" y="3338554"/>
                  <a:pt x="762189" y="3338554"/>
                </a:cubicBezTo>
                <a:cubicBezTo>
                  <a:pt x="760521" y="3338554"/>
                  <a:pt x="758854" y="3338554"/>
                  <a:pt x="757186" y="3338554"/>
                </a:cubicBezTo>
                <a:cubicBezTo>
                  <a:pt x="755518" y="3338554"/>
                  <a:pt x="755518" y="3338554"/>
                  <a:pt x="753850" y="3338554"/>
                </a:cubicBezTo>
                <a:cubicBezTo>
                  <a:pt x="750515" y="3336886"/>
                  <a:pt x="748847" y="3336886"/>
                  <a:pt x="745511" y="3336886"/>
                </a:cubicBezTo>
                <a:cubicBezTo>
                  <a:pt x="743843" y="3336886"/>
                  <a:pt x="742175" y="3335219"/>
                  <a:pt x="740508" y="3335219"/>
                </a:cubicBezTo>
                <a:cubicBezTo>
                  <a:pt x="738840" y="3335219"/>
                  <a:pt x="738840" y="3335219"/>
                  <a:pt x="737172" y="3335219"/>
                </a:cubicBezTo>
                <a:cubicBezTo>
                  <a:pt x="735504" y="3335219"/>
                  <a:pt x="733836" y="3333551"/>
                  <a:pt x="732169" y="3333551"/>
                </a:cubicBezTo>
                <a:cubicBezTo>
                  <a:pt x="730501" y="3333551"/>
                  <a:pt x="727165" y="3333551"/>
                  <a:pt x="725497" y="3333551"/>
                </a:cubicBezTo>
                <a:cubicBezTo>
                  <a:pt x="723830" y="3331883"/>
                  <a:pt x="722162" y="3331883"/>
                  <a:pt x="720494" y="3331883"/>
                </a:cubicBezTo>
                <a:cubicBezTo>
                  <a:pt x="718826" y="3331883"/>
                  <a:pt x="717158" y="3331883"/>
                  <a:pt x="715491" y="3330216"/>
                </a:cubicBezTo>
                <a:cubicBezTo>
                  <a:pt x="713823" y="3330216"/>
                  <a:pt x="712155" y="3330216"/>
                  <a:pt x="710487" y="3330216"/>
                </a:cubicBezTo>
                <a:cubicBezTo>
                  <a:pt x="708819" y="3330216"/>
                  <a:pt x="707151" y="3328548"/>
                  <a:pt x="705484" y="3328548"/>
                </a:cubicBezTo>
                <a:cubicBezTo>
                  <a:pt x="703816" y="3328548"/>
                  <a:pt x="700480" y="3326881"/>
                  <a:pt x="698812" y="3326881"/>
                </a:cubicBezTo>
                <a:cubicBezTo>
                  <a:pt x="697145" y="3326881"/>
                  <a:pt x="697145" y="3326881"/>
                  <a:pt x="695477" y="3326881"/>
                </a:cubicBezTo>
                <a:cubicBezTo>
                  <a:pt x="692141" y="3325213"/>
                  <a:pt x="690473" y="3325213"/>
                  <a:pt x="687138" y="3325213"/>
                </a:cubicBezTo>
                <a:cubicBezTo>
                  <a:pt x="687138" y="3325213"/>
                  <a:pt x="687138" y="3323545"/>
                  <a:pt x="685470" y="3323545"/>
                </a:cubicBezTo>
                <a:cubicBezTo>
                  <a:pt x="683802" y="3323545"/>
                  <a:pt x="680467" y="3323545"/>
                  <a:pt x="677131" y="3321878"/>
                </a:cubicBezTo>
                <a:cubicBezTo>
                  <a:pt x="677131" y="3321878"/>
                  <a:pt x="675463" y="3321878"/>
                  <a:pt x="675463" y="3321878"/>
                </a:cubicBezTo>
                <a:cubicBezTo>
                  <a:pt x="668792" y="3320210"/>
                  <a:pt x="662121" y="3318543"/>
                  <a:pt x="655449" y="3316875"/>
                </a:cubicBezTo>
                <a:cubicBezTo>
                  <a:pt x="655449" y="3316875"/>
                  <a:pt x="655449" y="3316875"/>
                  <a:pt x="653782" y="3315208"/>
                </a:cubicBezTo>
                <a:cubicBezTo>
                  <a:pt x="648778" y="3313540"/>
                  <a:pt x="642107" y="3311872"/>
                  <a:pt x="633768" y="3310205"/>
                </a:cubicBezTo>
                <a:cubicBezTo>
                  <a:pt x="573727" y="3291861"/>
                  <a:pt x="517021" y="3266848"/>
                  <a:pt x="461984" y="3236831"/>
                </a:cubicBezTo>
                <a:cubicBezTo>
                  <a:pt x="460316" y="3236831"/>
                  <a:pt x="460316" y="3236831"/>
                  <a:pt x="460316" y="3235164"/>
                </a:cubicBezTo>
                <a:cubicBezTo>
                  <a:pt x="448641" y="3228493"/>
                  <a:pt x="436966" y="3221823"/>
                  <a:pt x="425292" y="3215153"/>
                </a:cubicBezTo>
                <a:cubicBezTo>
                  <a:pt x="425292" y="3215153"/>
                  <a:pt x="423624" y="3215153"/>
                  <a:pt x="423624" y="3213485"/>
                </a:cubicBezTo>
                <a:cubicBezTo>
                  <a:pt x="421956" y="3213485"/>
                  <a:pt x="418620" y="3211817"/>
                  <a:pt x="416953" y="3210150"/>
                </a:cubicBezTo>
                <a:cubicBezTo>
                  <a:pt x="415285" y="3208482"/>
                  <a:pt x="413617" y="3206815"/>
                  <a:pt x="411949" y="3206815"/>
                </a:cubicBezTo>
                <a:cubicBezTo>
                  <a:pt x="410281" y="3205147"/>
                  <a:pt x="410281" y="3205147"/>
                  <a:pt x="408613" y="3205147"/>
                </a:cubicBezTo>
                <a:cubicBezTo>
                  <a:pt x="293535" y="3130106"/>
                  <a:pt x="193466" y="3028383"/>
                  <a:pt x="120082" y="2901647"/>
                </a:cubicBezTo>
                <a:cubicBezTo>
                  <a:pt x="41695" y="2764905"/>
                  <a:pt x="3336" y="2614823"/>
                  <a:pt x="0" y="2468075"/>
                </a:cubicBezTo>
                <a:cubicBezTo>
                  <a:pt x="0" y="2458070"/>
                  <a:pt x="0" y="2449732"/>
                  <a:pt x="0" y="2439727"/>
                </a:cubicBezTo>
                <a:cubicBezTo>
                  <a:pt x="0" y="2439727"/>
                  <a:pt x="0" y="2438059"/>
                  <a:pt x="0" y="2438059"/>
                </a:cubicBezTo>
                <a:cubicBezTo>
                  <a:pt x="3336" y="2279639"/>
                  <a:pt x="48367" y="2124553"/>
                  <a:pt x="130090" y="1987812"/>
                </a:cubicBezTo>
                <a:cubicBezTo>
                  <a:pt x="567055" y="1230729"/>
                  <a:pt x="572059" y="1220723"/>
                  <a:pt x="1010693" y="461973"/>
                </a:cubicBezTo>
                <a:cubicBezTo>
                  <a:pt x="1010693" y="461973"/>
                  <a:pt x="1012361" y="460306"/>
                  <a:pt x="1012361" y="458638"/>
                </a:cubicBezTo>
                <a:cubicBezTo>
                  <a:pt x="1014028" y="458638"/>
                  <a:pt x="1014028" y="456970"/>
                  <a:pt x="1014028" y="455303"/>
                </a:cubicBezTo>
                <a:cubicBezTo>
                  <a:pt x="1015696" y="453635"/>
                  <a:pt x="1017364" y="450300"/>
                  <a:pt x="1019032" y="448633"/>
                </a:cubicBezTo>
                <a:cubicBezTo>
                  <a:pt x="1019032" y="446965"/>
                  <a:pt x="1019032" y="446965"/>
                  <a:pt x="1020700" y="445297"/>
                </a:cubicBezTo>
                <a:cubicBezTo>
                  <a:pt x="1020700" y="443630"/>
                  <a:pt x="1022367" y="441962"/>
                  <a:pt x="1024035" y="440295"/>
                </a:cubicBezTo>
                <a:cubicBezTo>
                  <a:pt x="1024035" y="438627"/>
                  <a:pt x="1024035" y="438627"/>
                  <a:pt x="1025703" y="436959"/>
                </a:cubicBezTo>
                <a:cubicBezTo>
                  <a:pt x="1027371" y="435292"/>
                  <a:pt x="1027371" y="431957"/>
                  <a:pt x="1029039" y="430289"/>
                </a:cubicBezTo>
                <a:cubicBezTo>
                  <a:pt x="1030707" y="428621"/>
                  <a:pt x="1030707" y="426954"/>
                  <a:pt x="1032374" y="426954"/>
                </a:cubicBezTo>
                <a:cubicBezTo>
                  <a:pt x="1032374" y="425286"/>
                  <a:pt x="1034042" y="423619"/>
                  <a:pt x="1034042" y="421951"/>
                </a:cubicBezTo>
                <a:cubicBezTo>
                  <a:pt x="1035710" y="420284"/>
                  <a:pt x="1035710" y="418616"/>
                  <a:pt x="1037378" y="418616"/>
                </a:cubicBezTo>
                <a:cubicBezTo>
                  <a:pt x="1037378" y="415281"/>
                  <a:pt x="1039046" y="413613"/>
                  <a:pt x="1040713" y="411946"/>
                </a:cubicBezTo>
                <a:cubicBezTo>
                  <a:pt x="1042381" y="410278"/>
                  <a:pt x="1042381" y="410278"/>
                  <a:pt x="1042381" y="408611"/>
                </a:cubicBezTo>
                <a:cubicBezTo>
                  <a:pt x="1044049" y="406943"/>
                  <a:pt x="1045717" y="405275"/>
                  <a:pt x="1047385" y="401940"/>
                </a:cubicBezTo>
                <a:cubicBezTo>
                  <a:pt x="1047385" y="401940"/>
                  <a:pt x="1047385" y="401940"/>
                  <a:pt x="1049052" y="400273"/>
                </a:cubicBezTo>
                <a:cubicBezTo>
                  <a:pt x="1049052" y="398605"/>
                  <a:pt x="1050720" y="395270"/>
                  <a:pt x="1052388" y="393602"/>
                </a:cubicBezTo>
                <a:cubicBezTo>
                  <a:pt x="1054056" y="391935"/>
                  <a:pt x="1054056" y="391935"/>
                  <a:pt x="1055724" y="390267"/>
                </a:cubicBezTo>
                <a:cubicBezTo>
                  <a:pt x="1055724" y="388599"/>
                  <a:pt x="1057391" y="386932"/>
                  <a:pt x="1059059" y="383597"/>
                </a:cubicBezTo>
                <a:cubicBezTo>
                  <a:pt x="1059059" y="383597"/>
                  <a:pt x="1060727" y="383597"/>
                  <a:pt x="1060727" y="381929"/>
                </a:cubicBezTo>
                <a:cubicBezTo>
                  <a:pt x="1062395" y="380262"/>
                  <a:pt x="1064063" y="376926"/>
                  <a:pt x="1065730" y="375259"/>
                </a:cubicBezTo>
                <a:cubicBezTo>
                  <a:pt x="1065730" y="375259"/>
                  <a:pt x="1067398" y="373591"/>
                  <a:pt x="1067398" y="373591"/>
                </a:cubicBezTo>
                <a:cubicBezTo>
                  <a:pt x="1069066" y="370256"/>
                  <a:pt x="1070734" y="368589"/>
                  <a:pt x="1072402" y="365253"/>
                </a:cubicBezTo>
                <a:cubicBezTo>
                  <a:pt x="1075737" y="361918"/>
                  <a:pt x="1077405" y="360251"/>
                  <a:pt x="1079073" y="356915"/>
                </a:cubicBezTo>
                <a:cubicBezTo>
                  <a:pt x="1079073" y="356915"/>
                  <a:pt x="1079073" y="356915"/>
                  <a:pt x="1080741" y="355248"/>
                </a:cubicBezTo>
                <a:cubicBezTo>
                  <a:pt x="1082409" y="353580"/>
                  <a:pt x="1084076" y="350245"/>
                  <a:pt x="1085744" y="346910"/>
                </a:cubicBezTo>
                <a:cubicBezTo>
                  <a:pt x="1089080" y="345242"/>
                  <a:pt x="1090748" y="341907"/>
                  <a:pt x="1092415" y="340240"/>
                </a:cubicBezTo>
                <a:cubicBezTo>
                  <a:pt x="1092415" y="340240"/>
                  <a:pt x="1092415" y="338572"/>
                  <a:pt x="1094083" y="338572"/>
                </a:cubicBezTo>
                <a:cubicBezTo>
                  <a:pt x="1097419" y="333569"/>
                  <a:pt x="1102422" y="328567"/>
                  <a:pt x="1105758" y="323564"/>
                </a:cubicBezTo>
                <a:cubicBezTo>
                  <a:pt x="1105758" y="321896"/>
                  <a:pt x="1107426" y="321896"/>
                  <a:pt x="1107426" y="321896"/>
                </a:cubicBezTo>
                <a:cubicBezTo>
                  <a:pt x="1110761" y="316894"/>
                  <a:pt x="1115765" y="311891"/>
                  <a:pt x="1120768" y="306888"/>
                </a:cubicBezTo>
                <a:cubicBezTo>
                  <a:pt x="1120768" y="305220"/>
                  <a:pt x="1120768" y="305220"/>
                  <a:pt x="1120768" y="305220"/>
                </a:cubicBezTo>
                <a:cubicBezTo>
                  <a:pt x="1125772" y="300218"/>
                  <a:pt x="1130775" y="295215"/>
                  <a:pt x="1135778" y="290212"/>
                </a:cubicBezTo>
                <a:cubicBezTo>
                  <a:pt x="1135778" y="290212"/>
                  <a:pt x="1135778" y="288545"/>
                  <a:pt x="1135778" y="288545"/>
                </a:cubicBezTo>
                <a:cubicBezTo>
                  <a:pt x="1140782" y="283542"/>
                  <a:pt x="1145785" y="278539"/>
                  <a:pt x="1150789" y="273536"/>
                </a:cubicBezTo>
                <a:cubicBezTo>
                  <a:pt x="1207494" y="215171"/>
                  <a:pt x="1272539" y="163476"/>
                  <a:pt x="1345922" y="120119"/>
                </a:cubicBezTo>
                <a:cubicBezTo>
                  <a:pt x="1400960" y="90102"/>
                  <a:pt x="1455998" y="65089"/>
                  <a:pt x="1512703" y="46745"/>
                </a:cubicBezTo>
                <a:cubicBezTo>
                  <a:pt x="1516039" y="45078"/>
                  <a:pt x="1519375" y="43410"/>
                  <a:pt x="1522710" y="43410"/>
                </a:cubicBezTo>
                <a:cubicBezTo>
                  <a:pt x="1526046" y="41742"/>
                  <a:pt x="1529382" y="40075"/>
                  <a:pt x="1532717" y="40075"/>
                </a:cubicBezTo>
                <a:cubicBezTo>
                  <a:pt x="1534385" y="40075"/>
                  <a:pt x="1534385" y="40075"/>
                  <a:pt x="1534385" y="40075"/>
                </a:cubicBezTo>
                <a:cubicBezTo>
                  <a:pt x="1537721" y="38407"/>
                  <a:pt x="1541056" y="36739"/>
                  <a:pt x="1542724" y="36739"/>
                </a:cubicBezTo>
                <a:cubicBezTo>
                  <a:pt x="1544392" y="36739"/>
                  <a:pt x="1544392" y="36739"/>
                  <a:pt x="1544392" y="36739"/>
                </a:cubicBezTo>
                <a:cubicBezTo>
                  <a:pt x="1547727" y="35072"/>
                  <a:pt x="1551063" y="35072"/>
                  <a:pt x="1554399" y="33404"/>
                </a:cubicBezTo>
                <a:cubicBezTo>
                  <a:pt x="1554399" y="33404"/>
                  <a:pt x="1556066" y="33404"/>
                  <a:pt x="1556066" y="33404"/>
                </a:cubicBezTo>
                <a:cubicBezTo>
                  <a:pt x="1559402" y="31737"/>
                  <a:pt x="1561070" y="31737"/>
                  <a:pt x="1564406" y="30069"/>
                </a:cubicBezTo>
                <a:cubicBezTo>
                  <a:pt x="1564406" y="30069"/>
                  <a:pt x="1566073" y="30069"/>
                  <a:pt x="1566073" y="30069"/>
                </a:cubicBezTo>
                <a:cubicBezTo>
                  <a:pt x="1569409" y="30069"/>
                  <a:pt x="1572745" y="28402"/>
                  <a:pt x="1576080" y="28402"/>
                </a:cubicBezTo>
                <a:cubicBezTo>
                  <a:pt x="1576080" y="28402"/>
                  <a:pt x="1577748" y="26734"/>
                  <a:pt x="1577748" y="26734"/>
                </a:cubicBezTo>
                <a:cubicBezTo>
                  <a:pt x="1581084" y="26734"/>
                  <a:pt x="1582751" y="26734"/>
                  <a:pt x="1586087" y="25067"/>
                </a:cubicBezTo>
                <a:cubicBezTo>
                  <a:pt x="1586087" y="25067"/>
                  <a:pt x="1587755" y="25067"/>
                  <a:pt x="1587755" y="25067"/>
                </a:cubicBezTo>
                <a:cubicBezTo>
                  <a:pt x="1591090" y="23399"/>
                  <a:pt x="1594426" y="23399"/>
                  <a:pt x="1596094" y="23399"/>
                </a:cubicBezTo>
                <a:cubicBezTo>
                  <a:pt x="1597762" y="21731"/>
                  <a:pt x="1599430" y="21731"/>
                  <a:pt x="1599430" y="21731"/>
                </a:cubicBezTo>
                <a:cubicBezTo>
                  <a:pt x="1601097" y="21731"/>
                  <a:pt x="1602765" y="21731"/>
                  <a:pt x="1604433" y="21731"/>
                </a:cubicBezTo>
                <a:cubicBezTo>
                  <a:pt x="1604433" y="21731"/>
                  <a:pt x="1606101" y="20064"/>
                  <a:pt x="1606101" y="20064"/>
                </a:cubicBezTo>
                <a:cubicBezTo>
                  <a:pt x="1607769" y="20064"/>
                  <a:pt x="1607769" y="20064"/>
                  <a:pt x="1609436" y="20064"/>
                </a:cubicBezTo>
                <a:cubicBezTo>
                  <a:pt x="1609436" y="20064"/>
                  <a:pt x="1611104" y="20064"/>
                  <a:pt x="1611104" y="20064"/>
                </a:cubicBezTo>
                <a:cubicBezTo>
                  <a:pt x="1612772" y="18396"/>
                  <a:pt x="1616108" y="18396"/>
                  <a:pt x="1617775" y="18396"/>
                </a:cubicBezTo>
                <a:cubicBezTo>
                  <a:pt x="1619443" y="18396"/>
                  <a:pt x="1621111" y="18396"/>
                  <a:pt x="1621111" y="16729"/>
                </a:cubicBezTo>
                <a:cubicBezTo>
                  <a:pt x="1622779" y="16729"/>
                  <a:pt x="1624447" y="16729"/>
                  <a:pt x="1624447" y="16729"/>
                </a:cubicBezTo>
                <a:cubicBezTo>
                  <a:pt x="1626114" y="16729"/>
                  <a:pt x="1626114" y="16729"/>
                  <a:pt x="1627782" y="16729"/>
                </a:cubicBezTo>
                <a:cubicBezTo>
                  <a:pt x="1629450" y="16729"/>
                  <a:pt x="1631118" y="15061"/>
                  <a:pt x="1632786" y="15061"/>
                </a:cubicBezTo>
                <a:cubicBezTo>
                  <a:pt x="1632786" y="15061"/>
                  <a:pt x="1634454" y="15061"/>
                  <a:pt x="1634454" y="15061"/>
                </a:cubicBezTo>
                <a:cubicBezTo>
                  <a:pt x="1636121" y="15061"/>
                  <a:pt x="1637789" y="15061"/>
                  <a:pt x="1639457" y="13393"/>
                </a:cubicBezTo>
                <a:cubicBezTo>
                  <a:pt x="1641125" y="13393"/>
                  <a:pt x="1642793" y="13393"/>
                  <a:pt x="1644460" y="13393"/>
                </a:cubicBezTo>
                <a:cubicBezTo>
                  <a:pt x="1644460" y="13393"/>
                  <a:pt x="1646128" y="13393"/>
                  <a:pt x="1646128" y="13393"/>
                </a:cubicBezTo>
                <a:cubicBezTo>
                  <a:pt x="1647796" y="13393"/>
                  <a:pt x="1647796" y="13393"/>
                  <a:pt x="1649464" y="11726"/>
                </a:cubicBezTo>
                <a:cubicBezTo>
                  <a:pt x="1651132" y="11726"/>
                  <a:pt x="1652799" y="11726"/>
                  <a:pt x="1654467" y="11726"/>
                </a:cubicBezTo>
                <a:cubicBezTo>
                  <a:pt x="1654467" y="11726"/>
                  <a:pt x="1656135" y="11726"/>
                  <a:pt x="1656135" y="11726"/>
                </a:cubicBezTo>
                <a:cubicBezTo>
                  <a:pt x="1657803" y="11726"/>
                  <a:pt x="1659471" y="10058"/>
                  <a:pt x="1659471" y="10058"/>
                </a:cubicBezTo>
                <a:cubicBezTo>
                  <a:pt x="1662806" y="10058"/>
                  <a:pt x="1664474" y="10058"/>
                  <a:pt x="1666142" y="10058"/>
                </a:cubicBezTo>
                <a:cubicBezTo>
                  <a:pt x="1666142" y="10058"/>
                  <a:pt x="1667810" y="10058"/>
                  <a:pt x="1667810" y="10058"/>
                </a:cubicBezTo>
                <a:cubicBezTo>
                  <a:pt x="1669478" y="10058"/>
                  <a:pt x="1669478" y="10058"/>
                  <a:pt x="1669478" y="8391"/>
                </a:cubicBezTo>
                <a:cubicBezTo>
                  <a:pt x="1672813" y="8391"/>
                  <a:pt x="1674481" y="8391"/>
                  <a:pt x="1676149" y="8391"/>
                </a:cubicBezTo>
                <a:cubicBezTo>
                  <a:pt x="1677817" y="8391"/>
                  <a:pt x="1677817" y="8391"/>
                  <a:pt x="1677817" y="8391"/>
                </a:cubicBezTo>
                <a:cubicBezTo>
                  <a:pt x="1677817" y="8391"/>
                  <a:pt x="1679484" y="8391"/>
                  <a:pt x="1679484" y="8391"/>
                </a:cubicBezTo>
                <a:cubicBezTo>
                  <a:pt x="1679484" y="8391"/>
                  <a:pt x="1681152" y="8391"/>
                  <a:pt x="1681152" y="8391"/>
                </a:cubicBezTo>
                <a:cubicBezTo>
                  <a:pt x="1682820" y="6723"/>
                  <a:pt x="1686156" y="6723"/>
                  <a:pt x="1687823" y="6723"/>
                </a:cubicBezTo>
                <a:cubicBezTo>
                  <a:pt x="1687823" y="6723"/>
                  <a:pt x="1689491" y="6723"/>
                  <a:pt x="1689491" y="6723"/>
                </a:cubicBezTo>
                <a:cubicBezTo>
                  <a:pt x="1689491" y="6723"/>
                  <a:pt x="1691159" y="6723"/>
                  <a:pt x="1691159" y="6723"/>
                </a:cubicBezTo>
                <a:cubicBezTo>
                  <a:pt x="1691159" y="6723"/>
                  <a:pt x="1691159" y="6723"/>
                  <a:pt x="1692827" y="6723"/>
                </a:cubicBezTo>
                <a:cubicBezTo>
                  <a:pt x="1694495" y="6723"/>
                  <a:pt x="1696162" y="6723"/>
                  <a:pt x="1699498" y="5055"/>
                </a:cubicBezTo>
                <a:cubicBezTo>
                  <a:pt x="1701166" y="5055"/>
                  <a:pt x="1701166" y="5055"/>
                  <a:pt x="1701166" y="5055"/>
                </a:cubicBezTo>
                <a:cubicBezTo>
                  <a:pt x="1701166" y="5055"/>
                  <a:pt x="1702834" y="5055"/>
                  <a:pt x="1702834" y="5055"/>
                </a:cubicBezTo>
                <a:cubicBezTo>
                  <a:pt x="1704502" y="5055"/>
                  <a:pt x="1707837" y="5055"/>
                  <a:pt x="1709505" y="5055"/>
                </a:cubicBezTo>
                <a:cubicBezTo>
                  <a:pt x="1714508" y="3388"/>
                  <a:pt x="1717844" y="3388"/>
                  <a:pt x="1722847" y="3388"/>
                </a:cubicBezTo>
                <a:cubicBezTo>
                  <a:pt x="1722847" y="3388"/>
                  <a:pt x="1722847" y="3388"/>
                  <a:pt x="1724515" y="3388"/>
                </a:cubicBezTo>
                <a:cubicBezTo>
                  <a:pt x="1731186" y="3388"/>
                  <a:pt x="1736190" y="1720"/>
                  <a:pt x="1744529" y="1720"/>
                </a:cubicBezTo>
                <a:cubicBezTo>
                  <a:pt x="1751200" y="1720"/>
                  <a:pt x="1757871" y="1720"/>
                  <a:pt x="1766210" y="1720"/>
                </a:cubicBezTo>
                <a:cubicBezTo>
                  <a:pt x="1781221" y="53"/>
                  <a:pt x="1796231" y="53"/>
                  <a:pt x="1809574" y="53"/>
                </a:cubicBezTo>
                <a:close/>
              </a:path>
            </a:pathLst>
          </a:custGeom>
        </p:spPr>
        <p:txBody>
          <a:bodyPr wrap="square" tIns="1908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4444958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colorful gradient on a white background&#10;&#10;Description automatically generated">
            <a:extLst>
              <a:ext uri="{FF2B5EF4-FFF2-40B4-BE49-F238E27FC236}">
                <a16:creationId xmlns:a16="http://schemas.microsoft.com/office/drawing/2014/main" id="{BE488759-E3E9-A6FC-71CC-4B41E86D47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086856" cy="685800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05F3641-954F-D237-0298-DCF806C305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43625" y="300038"/>
            <a:ext cx="5614985" cy="5751512"/>
          </a:xfrm>
        </p:spPr>
        <p:txBody>
          <a:bodyPr/>
          <a:lstStyle>
            <a:lvl1pPr marL="142875" indent="-142875">
              <a:spcAft>
                <a:spcPts val="2400"/>
              </a:spcAft>
              <a:defRPr sz="4000" b="0" spc="-70" baseline="0">
                <a:solidFill>
                  <a:srgbClr val="002068"/>
                </a:solidFill>
              </a:defRPr>
            </a:lvl1pPr>
            <a:lvl2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460A9"/>
                </a:solidFill>
              </a:defRPr>
            </a:lvl2pPr>
            <a:lvl3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460A9"/>
                </a:solidFill>
              </a:defRPr>
            </a:lvl3pPr>
            <a:lvl4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460A9"/>
                </a:solidFill>
              </a:defRPr>
            </a:lvl4pPr>
            <a:lvl5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460A9"/>
                </a:solidFill>
              </a:defRPr>
            </a:lvl5pPr>
          </a:lstStyle>
          <a:p>
            <a:pPr lvl="0"/>
            <a:r>
              <a:rPr lang="en-US"/>
              <a:t>“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0EB4079-A5FD-C3C8-29D8-4AFFAD91CCB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5814479" cy="5895975"/>
          </a:xfrm>
          <a:custGeom>
            <a:avLst/>
            <a:gdLst>
              <a:gd name="connsiteX0" fmla="*/ 2035735 w 3796509"/>
              <a:gd name="connsiteY0" fmla="*/ 0 h 3849721"/>
              <a:gd name="connsiteX1" fmla="*/ 3026232 w 3796509"/>
              <a:gd name="connsiteY1" fmla="*/ 0 h 3849721"/>
              <a:gd name="connsiteX2" fmla="*/ 3033499 w 3796509"/>
              <a:gd name="connsiteY2" fmla="*/ 9346 h 3849721"/>
              <a:gd name="connsiteX3" fmla="*/ 3036614 w 3796509"/>
              <a:gd name="connsiteY3" fmla="*/ 13500 h 3849721"/>
              <a:gd name="connsiteX4" fmla="*/ 3043882 w 3796509"/>
              <a:gd name="connsiteY4" fmla="*/ 23884 h 3849721"/>
              <a:gd name="connsiteX5" fmla="*/ 3048035 w 3796509"/>
              <a:gd name="connsiteY5" fmla="*/ 29076 h 3849721"/>
              <a:gd name="connsiteX6" fmla="*/ 3061532 w 3796509"/>
              <a:gd name="connsiteY6" fmla="*/ 49844 h 3849721"/>
              <a:gd name="connsiteX7" fmla="*/ 3063609 w 3796509"/>
              <a:gd name="connsiteY7" fmla="*/ 52960 h 3849721"/>
              <a:gd name="connsiteX8" fmla="*/ 3079183 w 3796509"/>
              <a:gd name="connsiteY8" fmla="*/ 77882 h 3849721"/>
              <a:gd name="connsiteX9" fmla="*/ 3711481 w 3796509"/>
              <a:gd name="connsiteY9" fmla="*/ 1173416 h 3849721"/>
              <a:gd name="connsiteX10" fmla="*/ 3767547 w 3796509"/>
              <a:gd name="connsiteY10" fmla="*/ 1678089 h 3849721"/>
              <a:gd name="connsiteX11" fmla="*/ 3478911 w 3796509"/>
              <a:gd name="connsiteY11" fmla="*/ 2038421 h 3849721"/>
              <a:gd name="connsiteX12" fmla="*/ 3164320 w 3796509"/>
              <a:gd name="connsiteY12" fmla="*/ 2555555 h 3849721"/>
              <a:gd name="connsiteX13" fmla="*/ 2995084 w 3796509"/>
              <a:gd name="connsiteY13" fmla="*/ 3217030 h 3849721"/>
              <a:gd name="connsiteX14" fmla="*/ 1266387 w 3796509"/>
              <a:gd name="connsiteY14" fmla="*/ 3680166 h 3849721"/>
              <a:gd name="connsiteX15" fmla="*/ 634089 w 3796509"/>
              <a:gd name="connsiteY15" fmla="*/ 2629283 h 3849721"/>
              <a:gd name="connsiteX16" fmla="*/ 633051 w 3796509"/>
              <a:gd name="connsiteY16" fmla="*/ 2586708 h 3849721"/>
              <a:gd name="connsiteX17" fmla="*/ 430591 w 3796509"/>
              <a:gd name="connsiteY17" fmla="*/ 2123572 h 3849721"/>
              <a:gd name="connsiteX18" fmla="*/ 348569 w 3796509"/>
              <a:gd name="connsiteY18" fmla="*/ 2058151 h 3849721"/>
              <a:gd name="connsiteX19" fmla="*/ 345454 w 3796509"/>
              <a:gd name="connsiteY19" fmla="*/ 2056075 h 3849721"/>
              <a:gd name="connsiteX20" fmla="*/ 334033 w 3796509"/>
              <a:gd name="connsiteY20" fmla="*/ 2048806 h 3849721"/>
              <a:gd name="connsiteX21" fmla="*/ 317421 w 3796509"/>
              <a:gd name="connsiteY21" fmla="*/ 2039460 h 3849721"/>
              <a:gd name="connsiteX22" fmla="*/ 84851 w 3796509"/>
              <a:gd name="connsiteY22" fmla="*/ 1173416 h 3849721"/>
              <a:gd name="connsiteX23" fmla="*/ 948681 w 3796509"/>
              <a:gd name="connsiteY23" fmla="*/ 941848 h 3849721"/>
              <a:gd name="connsiteX24" fmla="*/ 1265349 w 3796509"/>
              <a:gd name="connsiteY24" fmla="*/ 1026999 h 3849721"/>
              <a:gd name="connsiteX25" fmla="*/ 1897647 w 3796509"/>
              <a:gd name="connsiteY25" fmla="*/ 395639 h 3849721"/>
              <a:gd name="connsiteX26" fmla="*/ 2035735 w 3796509"/>
              <a:gd name="connsiteY26" fmla="*/ 0 h 3849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3796509" h="3849721">
                <a:moveTo>
                  <a:pt x="2035735" y="0"/>
                </a:moveTo>
                <a:cubicBezTo>
                  <a:pt x="2035735" y="0"/>
                  <a:pt x="2035735" y="0"/>
                  <a:pt x="3026232" y="0"/>
                </a:cubicBezTo>
                <a:cubicBezTo>
                  <a:pt x="3028308" y="3115"/>
                  <a:pt x="3031423" y="6231"/>
                  <a:pt x="3033499" y="9346"/>
                </a:cubicBezTo>
                <a:cubicBezTo>
                  <a:pt x="3034538" y="11423"/>
                  <a:pt x="3035576" y="12461"/>
                  <a:pt x="3036614" y="13500"/>
                </a:cubicBezTo>
                <a:cubicBezTo>
                  <a:pt x="3039729" y="16615"/>
                  <a:pt x="3041805" y="20769"/>
                  <a:pt x="3043882" y="23884"/>
                </a:cubicBezTo>
                <a:cubicBezTo>
                  <a:pt x="3045958" y="25961"/>
                  <a:pt x="3046997" y="26999"/>
                  <a:pt x="3048035" y="29076"/>
                </a:cubicBezTo>
                <a:cubicBezTo>
                  <a:pt x="3052188" y="36345"/>
                  <a:pt x="3057379" y="42575"/>
                  <a:pt x="3061532" y="49844"/>
                </a:cubicBezTo>
                <a:cubicBezTo>
                  <a:pt x="3062571" y="50883"/>
                  <a:pt x="3063609" y="51921"/>
                  <a:pt x="3063609" y="52960"/>
                </a:cubicBezTo>
                <a:cubicBezTo>
                  <a:pt x="3068800" y="61267"/>
                  <a:pt x="3073991" y="69574"/>
                  <a:pt x="3079183" y="77882"/>
                </a:cubicBezTo>
                <a:cubicBezTo>
                  <a:pt x="3079183" y="77882"/>
                  <a:pt x="3079183" y="77882"/>
                  <a:pt x="3711481" y="1173416"/>
                </a:cubicBezTo>
                <a:cubicBezTo>
                  <a:pt x="3796618" y="1321911"/>
                  <a:pt x="3822574" y="1502596"/>
                  <a:pt x="3767547" y="1678089"/>
                </a:cubicBezTo>
                <a:cubicBezTo>
                  <a:pt x="3718748" y="1836968"/>
                  <a:pt x="3612846" y="1961578"/>
                  <a:pt x="3478911" y="2038421"/>
                </a:cubicBezTo>
                <a:cubicBezTo>
                  <a:pt x="3286834" y="2150571"/>
                  <a:pt x="3174702" y="2347871"/>
                  <a:pt x="3164320" y="2555555"/>
                </a:cubicBezTo>
                <a:cubicBezTo>
                  <a:pt x="3169511" y="2779854"/>
                  <a:pt x="3115522" y="3008307"/>
                  <a:pt x="2995084" y="3217030"/>
                </a:cubicBezTo>
                <a:cubicBezTo>
                  <a:pt x="2645191" y="3822429"/>
                  <a:pt x="1871691" y="4029075"/>
                  <a:pt x="1266387" y="3680166"/>
                </a:cubicBezTo>
                <a:cubicBezTo>
                  <a:pt x="874965" y="3453790"/>
                  <a:pt x="649663" y="3049844"/>
                  <a:pt x="634089" y="2629283"/>
                </a:cubicBezTo>
                <a:cubicBezTo>
                  <a:pt x="633051" y="2614745"/>
                  <a:pt x="633051" y="2601246"/>
                  <a:pt x="633051" y="2586708"/>
                </a:cubicBezTo>
                <a:cubicBezTo>
                  <a:pt x="633051" y="2403946"/>
                  <a:pt x="555182" y="2238837"/>
                  <a:pt x="430591" y="2123572"/>
                </a:cubicBezTo>
                <a:cubicBezTo>
                  <a:pt x="405673" y="2099688"/>
                  <a:pt x="377640" y="2077881"/>
                  <a:pt x="348569" y="2058151"/>
                </a:cubicBezTo>
                <a:cubicBezTo>
                  <a:pt x="347530" y="2058151"/>
                  <a:pt x="346492" y="2057113"/>
                  <a:pt x="345454" y="2056075"/>
                </a:cubicBezTo>
                <a:cubicBezTo>
                  <a:pt x="341301" y="2053998"/>
                  <a:pt x="337148" y="2050882"/>
                  <a:pt x="334033" y="2048806"/>
                </a:cubicBezTo>
                <a:cubicBezTo>
                  <a:pt x="328842" y="2045690"/>
                  <a:pt x="322612" y="2042575"/>
                  <a:pt x="317421" y="2039460"/>
                </a:cubicBezTo>
                <a:cubicBezTo>
                  <a:pt x="15288" y="1865005"/>
                  <a:pt x="-90614" y="1476635"/>
                  <a:pt x="84851" y="1173416"/>
                </a:cubicBezTo>
                <a:cubicBezTo>
                  <a:pt x="259279" y="871236"/>
                  <a:pt x="646548" y="767394"/>
                  <a:pt x="948681" y="941848"/>
                </a:cubicBezTo>
                <a:cubicBezTo>
                  <a:pt x="1042124" y="995846"/>
                  <a:pt x="1151141" y="1026999"/>
                  <a:pt x="1265349" y="1026999"/>
                </a:cubicBezTo>
                <a:cubicBezTo>
                  <a:pt x="1614203" y="1026999"/>
                  <a:pt x="1897647" y="744548"/>
                  <a:pt x="1897647" y="395639"/>
                </a:cubicBezTo>
                <a:cubicBezTo>
                  <a:pt x="1897647" y="253375"/>
                  <a:pt x="1946445" y="113188"/>
                  <a:pt x="2035735" y="0"/>
                </a:cubicBezTo>
                <a:close/>
              </a:path>
            </a:pathLst>
          </a:custGeom>
        </p:spPr>
        <p:txBody>
          <a:bodyPr wrap="square" tIns="2160000">
            <a:noAutofit/>
          </a:bodyPr>
          <a:lstStyle>
            <a:lvl1pPr algn="ctr"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013477F-ACAC-7B41-B204-AC139F13B70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11006595"/>
      </p:ext>
    </p:extLst>
  </p:cSld>
  <p:clrMapOvr>
    <a:masterClrMapping/>
  </p:clrMapOvr>
  <p:hf hd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4">
            <a:extLst>
              <a:ext uri="{FF2B5EF4-FFF2-40B4-BE49-F238E27FC236}">
                <a16:creationId xmlns:a16="http://schemas.microsoft.com/office/drawing/2014/main" id="{B1A874DA-2624-30D0-FB18-BB1F902853B0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6624878" y="0"/>
            <a:ext cx="5567122" cy="6858000"/>
          </a:xfrm>
          <a:custGeom>
            <a:avLst/>
            <a:gdLst>
              <a:gd name="connsiteX0" fmla="*/ 1285861 w 2649538"/>
              <a:gd name="connsiteY0" fmla="*/ 0 h 3263900"/>
              <a:gd name="connsiteX1" fmla="*/ 2117666 w 2649538"/>
              <a:gd name="connsiteY1" fmla="*/ 0 h 3263900"/>
              <a:gd name="connsiteX2" fmla="*/ 2249879 w 2649538"/>
              <a:gd name="connsiteY2" fmla="*/ 154884 h 3263900"/>
              <a:gd name="connsiteX3" fmla="*/ 2252145 w 2649538"/>
              <a:gd name="connsiteY3" fmla="*/ 158662 h 3263900"/>
              <a:gd name="connsiteX4" fmla="*/ 2257433 w 2649538"/>
              <a:gd name="connsiteY4" fmla="*/ 168484 h 3263900"/>
              <a:gd name="connsiteX5" fmla="*/ 2259700 w 2649538"/>
              <a:gd name="connsiteY5" fmla="*/ 172261 h 3263900"/>
              <a:gd name="connsiteX6" fmla="*/ 2339027 w 2649538"/>
              <a:gd name="connsiteY6" fmla="*/ 477497 h 3263900"/>
              <a:gd name="connsiteX7" fmla="*/ 2259700 w 2649538"/>
              <a:gd name="connsiteY7" fmla="*/ 781976 h 3263900"/>
              <a:gd name="connsiteX8" fmla="*/ 2249879 w 2649538"/>
              <a:gd name="connsiteY8" fmla="*/ 799353 h 3263900"/>
              <a:gd name="connsiteX9" fmla="*/ 2170551 w 2649538"/>
              <a:gd name="connsiteY9" fmla="*/ 1103833 h 3263900"/>
              <a:gd name="connsiteX10" fmla="*/ 2249879 w 2649538"/>
              <a:gd name="connsiteY10" fmla="*/ 1409068 h 3263900"/>
              <a:gd name="connsiteX11" fmla="*/ 2259700 w 2649538"/>
              <a:gd name="connsiteY11" fmla="*/ 1425690 h 3263900"/>
              <a:gd name="connsiteX12" fmla="*/ 2649538 w 2649538"/>
              <a:gd name="connsiteY12" fmla="*/ 1712792 h 3263900"/>
              <a:gd name="connsiteX13" fmla="*/ 2649538 w 2649538"/>
              <a:gd name="connsiteY13" fmla="*/ 3263900 h 3263900"/>
              <a:gd name="connsiteX14" fmla="*/ 942108 w 2649538"/>
              <a:gd name="connsiteY14" fmla="*/ 3263900 h 3263900"/>
              <a:gd name="connsiteX15" fmla="*/ 323354 w 2649538"/>
              <a:gd name="connsiteY15" fmla="*/ 2905778 h 3263900"/>
              <a:gd name="connsiteX16" fmla="*/ 0 w 2649538"/>
              <a:gd name="connsiteY16" fmla="*/ 2357261 h 3263900"/>
              <a:gd name="connsiteX17" fmla="*/ 0 w 2649538"/>
              <a:gd name="connsiteY17" fmla="*/ 2349706 h 3263900"/>
              <a:gd name="connsiteX18" fmla="*/ 77061 w 2649538"/>
              <a:gd name="connsiteY18" fmla="*/ 2055804 h 3263900"/>
              <a:gd name="connsiteX19" fmla="*/ 90660 w 2649538"/>
              <a:gd name="connsiteY19" fmla="*/ 2032382 h 3263900"/>
              <a:gd name="connsiteX20" fmla="*/ 167721 w 2649538"/>
              <a:gd name="connsiteY20" fmla="*/ 1730925 h 3263900"/>
              <a:gd name="connsiteX21" fmla="*/ 90660 w 2649538"/>
              <a:gd name="connsiteY21" fmla="*/ 1429468 h 3263900"/>
              <a:gd name="connsiteX22" fmla="*/ 77061 w 2649538"/>
              <a:gd name="connsiteY22" fmla="*/ 1406046 h 3263900"/>
              <a:gd name="connsiteX23" fmla="*/ 0 w 2649538"/>
              <a:gd name="connsiteY23" fmla="*/ 1111388 h 3263900"/>
              <a:gd name="connsiteX24" fmla="*/ 0 w 2649538"/>
              <a:gd name="connsiteY24" fmla="*/ 1103833 h 3263900"/>
              <a:gd name="connsiteX25" fmla="*/ 323354 w 2649538"/>
              <a:gd name="connsiteY25" fmla="*/ 555316 h 3263900"/>
              <a:gd name="connsiteX26" fmla="*/ 1285861 w 2649538"/>
              <a:gd name="connsiteY26" fmla="*/ 0 h 3263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649538" h="3263900">
                <a:moveTo>
                  <a:pt x="1285861" y="0"/>
                </a:moveTo>
                <a:cubicBezTo>
                  <a:pt x="1285861" y="0"/>
                  <a:pt x="1285861" y="0"/>
                  <a:pt x="2117666" y="0"/>
                </a:cubicBezTo>
                <a:cubicBezTo>
                  <a:pt x="2169795" y="43821"/>
                  <a:pt x="2214370" y="96708"/>
                  <a:pt x="2249879" y="154884"/>
                </a:cubicBezTo>
                <a:cubicBezTo>
                  <a:pt x="2250634" y="156395"/>
                  <a:pt x="2251389" y="157151"/>
                  <a:pt x="2252145" y="158662"/>
                </a:cubicBezTo>
                <a:cubicBezTo>
                  <a:pt x="2253656" y="161684"/>
                  <a:pt x="2255923" y="164706"/>
                  <a:pt x="2257433" y="168484"/>
                </a:cubicBezTo>
                <a:cubicBezTo>
                  <a:pt x="2258189" y="169995"/>
                  <a:pt x="2258945" y="170750"/>
                  <a:pt x="2259700" y="172261"/>
                </a:cubicBezTo>
                <a:cubicBezTo>
                  <a:pt x="2310319" y="262925"/>
                  <a:pt x="2339027" y="366433"/>
                  <a:pt x="2339027" y="477497"/>
                </a:cubicBezTo>
                <a:cubicBezTo>
                  <a:pt x="2339027" y="587804"/>
                  <a:pt x="2310319" y="692068"/>
                  <a:pt x="2259700" y="781976"/>
                </a:cubicBezTo>
                <a:cubicBezTo>
                  <a:pt x="2256678" y="788020"/>
                  <a:pt x="2253656" y="793309"/>
                  <a:pt x="2249879" y="799353"/>
                </a:cubicBezTo>
                <a:cubicBezTo>
                  <a:pt x="2199260" y="889262"/>
                  <a:pt x="2170551" y="993525"/>
                  <a:pt x="2170551" y="1103833"/>
                </a:cubicBezTo>
                <a:cubicBezTo>
                  <a:pt x="2170551" y="1214896"/>
                  <a:pt x="2199260" y="1318404"/>
                  <a:pt x="2249879" y="1409068"/>
                </a:cubicBezTo>
                <a:cubicBezTo>
                  <a:pt x="2253656" y="1414357"/>
                  <a:pt x="2256678" y="1420401"/>
                  <a:pt x="2259700" y="1425690"/>
                </a:cubicBezTo>
                <a:cubicBezTo>
                  <a:pt x="2345071" y="1567730"/>
                  <a:pt x="2484839" y="1673504"/>
                  <a:pt x="2649538" y="1712792"/>
                </a:cubicBezTo>
                <a:lnTo>
                  <a:pt x="2649538" y="3263900"/>
                </a:lnTo>
                <a:cubicBezTo>
                  <a:pt x="2649538" y="3263900"/>
                  <a:pt x="2649538" y="3263900"/>
                  <a:pt x="942108" y="3263900"/>
                </a:cubicBezTo>
                <a:cubicBezTo>
                  <a:pt x="942108" y="3263900"/>
                  <a:pt x="942108" y="3263900"/>
                  <a:pt x="323354" y="2905778"/>
                </a:cubicBezTo>
                <a:cubicBezTo>
                  <a:pt x="129946" y="2799248"/>
                  <a:pt x="0" y="2593743"/>
                  <a:pt x="0" y="2357261"/>
                </a:cubicBezTo>
                <a:cubicBezTo>
                  <a:pt x="0" y="2357261"/>
                  <a:pt x="0" y="2357261"/>
                  <a:pt x="0" y="2349706"/>
                </a:cubicBezTo>
                <a:cubicBezTo>
                  <a:pt x="756" y="2243176"/>
                  <a:pt x="28709" y="2143446"/>
                  <a:pt x="77061" y="2055804"/>
                </a:cubicBezTo>
                <a:cubicBezTo>
                  <a:pt x="81594" y="2048249"/>
                  <a:pt x="85372" y="2039938"/>
                  <a:pt x="90660" y="2032382"/>
                </a:cubicBezTo>
                <a:cubicBezTo>
                  <a:pt x="139768" y="1943230"/>
                  <a:pt x="167721" y="1839722"/>
                  <a:pt x="167721" y="1730925"/>
                </a:cubicBezTo>
                <a:cubicBezTo>
                  <a:pt x="167721" y="1621373"/>
                  <a:pt x="139768" y="1518620"/>
                  <a:pt x="90660" y="1429468"/>
                </a:cubicBezTo>
                <a:cubicBezTo>
                  <a:pt x="85372" y="1421157"/>
                  <a:pt x="81594" y="1413601"/>
                  <a:pt x="77061" y="1406046"/>
                </a:cubicBezTo>
                <a:cubicBezTo>
                  <a:pt x="28709" y="1318404"/>
                  <a:pt x="756" y="1217918"/>
                  <a:pt x="0" y="1111388"/>
                </a:cubicBezTo>
                <a:cubicBezTo>
                  <a:pt x="0" y="1111388"/>
                  <a:pt x="0" y="1111388"/>
                  <a:pt x="0" y="1103833"/>
                </a:cubicBezTo>
                <a:cubicBezTo>
                  <a:pt x="0" y="868107"/>
                  <a:pt x="129946" y="662602"/>
                  <a:pt x="323354" y="555316"/>
                </a:cubicBezTo>
                <a:cubicBezTo>
                  <a:pt x="815940" y="271236"/>
                  <a:pt x="855981" y="247815"/>
                  <a:pt x="1285861" y="0"/>
                </a:cubicBezTo>
                <a:close/>
              </a:path>
            </a:pathLst>
          </a:custGeom>
        </p:spPr>
        <p:txBody>
          <a:bodyPr wrap="square" tIns="2340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05F3641-954F-D237-0298-DCF806C305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9836" y="698400"/>
            <a:ext cx="5614985" cy="5004000"/>
          </a:xfrm>
        </p:spPr>
        <p:txBody>
          <a:bodyPr/>
          <a:lstStyle>
            <a:lvl1pPr marL="142875" indent="-142875">
              <a:spcAft>
                <a:spcPts val="2400"/>
              </a:spcAft>
              <a:defRPr sz="4000" b="0" spc="-70" baseline="0">
                <a:solidFill>
                  <a:srgbClr val="002068"/>
                </a:solidFill>
              </a:defRPr>
            </a:lvl1pPr>
            <a:lvl2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2pPr>
            <a:lvl3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3pPr>
            <a:lvl4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4pPr>
            <a:lvl5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5pPr>
          </a:lstStyle>
          <a:p>
            <a:pPr lvl="0"/>
            <a:r>
              <a:rPr lang="en-US"/>
              <a:t>“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D93DC24-9723-62C8-F4D6-B9024A75AC9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60085689"/>
      </p:ext>
    </p:extLst>
  </p:cSld>
  <p:clrMapOvr>
    <a:masterClrMapping/>
  </p:clrMapOvr>
  <p:hf hdr="0" ft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yellow and orange balloon&#10;&#10;Description automatically generated">
            <a:extLst>
              <a:ext uri="{FF2B5EF4-FFF2-40B4-BE49-F238E27FC236}">
                <a16:creationId xmlns:a16="http://schemas.microsoft.com/office/drawing/2014/main" id="{34032CAB-E697-0EB5-3A72-119C2294E4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61"/>
          <a:stretch/>
        </p:blipFill>
        <p:spPr>
          <a:xfrm>
            <a:off x="7338727" y="-1"/>
            <a:ext cx="4853273" cy="6858001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05F3641-954F-D237-0298-DCF806C305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9836" y="698400"/>
            <a:ext cx="5614985" cy="5004000"/>
          </a:xfrm>
        </p:spPr>
        <p:txBody>
          <a:bodyPr/>
          <a:lstStyle>
            <a:lvl1pPr marL="142875" indent="-142875">
              <a:spcAft>
                <a:spcPts val="2400"/>
              </a:spcAft>
              <a:defRPr sz="4000" b="0" spc="-70" baseline="0">
                <a:solidFill>
                  <a:srgbClr val="002068"/>
                </a:solidFill>
              </a:defRPr>
            </a:lvl1pPr>
            <a:lvl2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2pPr>
            <a:lvl3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3pPr>
            <a:lvl4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4pPr>
            <a:lvl5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5pPr>
          </a:lstStyle>
          <a:p>
            <a:pPr lvl="0"/>
            <a:r>
              <a:rPr lang="en-US"/>
              <a:t>“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D93DC24-9723-62C8-F4D6-B9024A75AC9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4835594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Orange, Blue, Image)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blue and orange logo&#10;&#10;Description automatically generated with medium confidence">
            <a:extLst>
              <a:ext uri="{FF2B5EF4-FFF2-40B4-BE49-F238E27FC236}">
                <a16:creationId xmlns:a16="http://schemas.microsoft.com/office/drawing/2014/main" id="{DA746F40-D9E5-EE54-9147-0C10275E9B4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4494" y="0"/>
            <a:ext cx="5687505" cy="6081941"/>
          </a:xfrm>
          <a:prstGeom prst="rect">
            <a:avLst/>
          </a:prstGeom>
        </p:spPr>
      </p:pic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684AD74C-D134-954A-A43E-286899A1AE0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658520" y="1823213"/>
            <a:ext cx="3533479" cy="5030026"/>
          </a:xfrm>
          <a:custGeom>
            <a:avLst/>
            <a:gdLst>
              <a:gd name="connsiteX0" fmla="*/ 3066855 w 3068236"/>
              <a:gd name="connsiteY0" fmla="*/ 0 h 4367737"/>
              <a:gd name="connsiteX1" fmla="*/ 3068236 w 3068236"/>
              <a:gd name="connsiteY1" fmla="*/ 0 h 4367737"/>
              <a:gd name="connsiteX2" fmla="*/ 3068236 w 3068236"/>
              <a:gd name="connsiteY2" fmla="*/ 4367737 h 4367737"/>
              <a:gd name="connsiteX3" fmla="*/ 1362126 w 3068236"/>
              <a:gd name="connsiteY3" fmla="*/ 4367737 h 4367737"/>
              <a:gd name="connsiteX4" fmla="*/ 951830 w 3068236"/>
              <a:gd name="connsiteY4" fmla="*/ 3609871 h 4367737"/>
              <a:gd name="connsiteX5" fmla="*/ 936634 w 3068236"/>
              <a:gd name="connsiteY5" fmla="*/ 3590545 h 4367737"/>
              <a:gd name="connsiteX6" fmla="*/ 909005 w 3068236"/>
              <a:gd name="connsiteY6" fmla="*/ 3557414 h 4367737"/>
              <a:gd name="connsiteX7" fmla="*/ 896572 w 3068236"/>
              <a:gd name="connsiteY7" fmla="*/ 3542229 h 4367737"/>
              <a:gd name="connsiteX8" fmla="*/ 864798 w 3068236"/>
              <a:gd name="connsiteY8" fmla="*/ 3502196 h 4367737"/>
              <a:gd name="connsiteX9" fmla="*/ 856509 w 3068236"/>
              <a:gd name="connsiteY9" fmla="*/ 3491153 h 4367737"/>
              <a:gd name="connsiteX10" fmla="*/ 817828 w 3068236"/>
              <a:gd name="connsiteY10" fmla="*/ 3440076 h 4367737"/>
              <a:gd name="connsiteX11" fmla="*/ 816447 w 3068236"/>
              <a:gd name="connsiteY11" fmla="*/ 3438696 h 4367737"/>
              <a:gd name="connsiteX12" fmla="*/ 779147 w 3068236"/>
              <a:gd name="connsiteY12" fmla="*/ 3389000 h 4367737"/>
              <a:gd name="connsiteX13" fmla="*/ 768095 w 3068236"/>
              <a:gd name="connsiteY13" fmla="*/ 3373815 h 4367737"/>
              <a:gd name="connsiteX14" fmla="*/ 741847 w 3068236"/>
              <a:gd name="connsiteY14" fmla="*/ 3337923 h 4367737"/>
              <a:gd name="connsiteX15" fmla="*/ 728033 w 3068236"/>
              <a:gd name="connsiteY15" fmla="*/ 3318597 h 4367737"/>
              <a:gd name="connsiteX16" fmla="*/ 704548 w 3068236"/>
              <a:gd name="connsiteY16" fmla="*/ 3284086 h 4367737"/>
              <a:gd name="connsiteX17" fmla="*/ 690733 w 3068236"/>
              <a:gd name="connsiteY17" fmla="*/ 3263379 h 4367737"/>
              <a:gd name="connsiteX18" fmla="*/ 670011 w 3068236"/>
              <a:gd name="connsiteY18" fmla="*/ 3231629 h 4367737"/>
              <a:gd name="connsiteX19" fmla="*/ 654815 w 3068236"/>
              <a:gd name="connsiteY19" fmla="*/ 3209541 h 4367737"/>
              <a:gd name="connsiteX20" fmla="*/ 634093 w 3068236"/>
              <a:gd name="connsiteY20" fmla="*/ 3177791 h 4367737"/>
              <a:gd name="connsiteX21" fmla="*/ 620278 w 3068236"/>
              <a:gd name="connsiteY21" fmla="*/ 3154323 h 4367737"/>
              <a:gd name="connsiteX22" fmla="*/ 599556 w 3068236"/>
              <a:gd name="connsiteY22" fmla="*/ 3122573 h 4367737"/>
              <a:gd name="connsiteX23" fmla="*/ 585742 w 3068236"/>
              <a:gd name="connsiteY23" fmla="*/ 3099106 h 4367737"/>
              <a:gd name="connsiteX24" fmla="*/ 566401 w 3068236"/>
              <a:gd name="connsiteY24" fmla="*/ 3067355 h 4367737"/>
              <a:gd name="connsiteX25" fmla="*/ 552587 w 3068236"/>
              <a:gd name="connsiteY25" fmla="*/ 3042507 h 4367737"/>
              <a:gd name="connsiteX26" fmla="*/ 534628 w 3068236"/>
              <a:gd name="connsiteY26" fmla="*/ 3012137 h 4367737"/>
              <a:gd name="connsiteX27" fmla="*/ 519431 w 3068236"/>
              <a:gd name="connsiteY27" fmla="*/ 2985909 h 4367737"/>
              <a:gd name="connsiteX28" fmla="*/ 502854 w 3068236"/>
              <a:gd name="connsiteY28" fmla="*/ 2955539 h 4367737"/>
              <a:gd name="connsiteX29" fmla="*/ 489039 w 3068236"/>
              <a:gd name="connsiteY29" fmla="*/ 2929310 h 4367737"/>
              <a:gd name="connsiteX30" fmla="*/ 472462 w 3068236"/>
              <a:gd name="connsiteY30" fmla="*/ 2898941 h 4367737"/>
              <a:gd name="connsiteX31" fmla="*/ 458647 w 3068236"/>
              <a:gd name="connsiteY31" fmla="*/ 2871332 h 4367737"/>
              <a:gd name="connsiteX32" fmla="*/ 442069 w 3068236"/>
              <a:gd name="connsiteY32" fmla="*/ 2840962 h 4367737"/>
              <a:gd name="connsiteX33" fmla="*/ 428255 w 3068236"/>
              <a:gd name="connsiteY33" fmla="*/ 2813353 h 4367737"/>
              <a:gd name="connsiteX34" fmla="*/ 413058 w 3068236"/>
              <a:gd name="connsiteY34" fmla="*/ 2782983 h 4367737"/>
              <a:gd name="connsiteX35" fmla="*/ 399244 w 3068236"/>
              <a:gd name="connsiteY35" fmla="*/ 2755374 h 4367737"/>
              <a:gd name="connsiteX36" fmla="*/ 384048 w 3068236"/>
              <a:gd name="connsiteY36" fmla="*/ 2723624 h 4367737"/>
              <a:gd name="connsiteX37" fmla="*/ 371614 w 3068236"/>
              <a:gd name="connsiteY37" fmla="*/ 2696015 h 4367737"/>
              <a:gd name="connsiteX38" fmla="*/ 357800 w 3068236"/>
              <a:gd name="connsiteY38" fmla="*/ 2664264 h 4367737"/>
              <a:gd name="connsiteX39" fmla="*/ 345367 w 3068236"/>
              <a:gd name="connsiteY39" fmla="*/ 2635275 h 4367737"/>
              <a:gd name="connsiteX40" fmla="*/ 331552 w 3068236"/>
              <a:gd name="connsiteY40" fmla="*/ 2604905 h 4367737"/>
              <a:gd name="connsiteX41" fmla="*/ 319119 w 3068236"/>
              <a:gd name="connsiteY41" fmla="*/ 2575916 h 4367737"/>
              <a:gd name="connsiteX42" fmla="*/ 305304 w 3068236"/>
              <a:gd name="connsiteY42" fmla="*/ 2544166 h 4367737"/>
              <a:gd name="connsiteX43" fmla="*/ 294252 w 3068236"/>
              <a:gd name="connsiteY43" fmla="*/ 2515176 h 4367737"/>
              <a:gd name="connsiteX44" fmla="*/ 281819 w 3068236"/>
              <a:gd name="connsiteY44" fmla="*/ 2482045 h 4367737"/>
              <a:gd name="connsiteX45" fmla="*/ 269386 w 3068236"/>
              <a:gd name="connsiteY45" fmla="*/ 2453056 h 4367737"/>
              <a:gd name="connsiteX46" fmla="*/ 256953 w 3068236"/>
              <a:gd name="connsiteY46" fmla="*/ 2421306 h 4367737"/>
              <a:gd name="connsiteX47" fmla="*/ 245901 w 3068236"/>
              <a:gd name="connsiteY47" fmla="*/ 2390936 h 4367737"/>
              <a:gd name="connsiteX48" fmla="*/ 234849 w 3068236"/>
              <a:gd name="connsiteY48" fmla="*/ 2359186 h 4367737"/>
              <a:gd name="connsiteX49" fmla="*/ 223798 w 3068236"/>
              <a:gd name="connsiteY49" fmla="*/ 2328816 h 4367737"/>
              <a:gd name="connsiteX50" fmla="*/ 214127 w 3068236"/>
              <a:gd name="connsiteY50" fmla="*/ 2297065 h 4367737"/>
              <a:gd name="connsiteX51" fmla="*/ 203076 w 3068236"/>
              <a:gd name="connsiteY51" fmla="*/ 2265315 h 4367737"/>
              <a:gd name="connsiteX52" fmla="*/ 193405 w 3068236"/>
              <a:gd name="connsiteY52" fmla="*/ 2233565 h 4367737"/>
              <a:gd name="connsiteX53" fmla="*/ 182354 w 3068236"/>
              <a:gd name="connsiteY53" fmla="*/ 2201814 h 4367737"/>
              <a:gd name="connsiteX54" fmla="*/ 172683 w 3068236"/>
              <a:gd name="connsiteY54" fmla="*/ 2170064 h 4367737"/>
              <a:gd name="connsiteX55" fmla="*/ 163013 w 3068236"/>
              <a:gd name="connsiteY55" fmla="*/ 2136933 h 4367737"/>
              <a:gd name="connsiteX56" fmla="*/ 154724 w 3068236"/>
              <a:gd name="connsiteY56" fmla="*/ 2107944 h 4367737"/>
              <a:gd name="connsiteX57" fmla="*/ 145054 w 3068236"/>
              <a:gd name="connsiteY57" fmla="*/ 2072052 h 4367737"/>
              <a:gd name="connsiteX58" fmla="*/ 138147 w 3068236"/>
              <a:gd name="connsiteY58" fmla="*/ 2044443 h 4367737"/>
              <a:gd name="connsiteX59" fmla="*/ 127095 w 3068236"/>
              <a:gd name="connsiteY59" fmla="*/ 2007171 h 4367737"/>
              <a:gd name="connsiteX60" fmla="*/ 121569 w 3068236"/>
              <a:gd name="connsiteY60" fmla="*/ 1985084 h 4367737"/>
              <a:gd name="connsiteX61" fmla="*/ 96703 w 3068236"/>
              <a:gd name="connsiteY61" fmla="*/ 1876029 h 4367737"/>
              <a:gd name="connsiteX62" fmla="*/ 93940 w 3068236"/>
              <a:gd name="connsiteY62" fmla="*/ 1863605 h 4367737"/>
              <a:gd name="connsiteX63" fmla="*/ 87032 w 3068236"/>
              <a:gd name="connsiteY63" fmla="*/ 1833235 h 4367737"/>
              <a:gd name="connsiteX64" fmla="*/ 82888 w 3068236"/>
              <a:gd name="connsiteY64" fmla="*/ 1813909 h 4367737"/>
              <a:gd name="connsiteX65" fmla="*/ 77362 w 3068236"/>
              <a:gd name="connsiteY65" fmla="*/ 1786300 h 4367737"/>
              <a:gd name="connsiteX66" fmla="*/ 74599 w 3068236"/>
              <a:gd name="connsiteY66" fmla="*/ 1769734 h 4367737"/>
              <a:gd name="connsiteX67" fmla="*/ 66310 w 3068236"/>
              <a:gd name="connsiteY67" fmla="*/ 1728321 h 4367737"/>
              <a:gd name="connsiteX68" fmla="*/ 63548 w 3068236"/>
              <a:gd name="connsiteY68" fmla="*/ 1710375 h 4367737"/>
              <a:gd name="connsiteX69" fmla="*/ 58022 w 3068236"/>
              <a:gd name="connsiteY69" fmla="*/ 1682766 h 4367737"/>
              <a:gd name="connsiteX70" fmla="*/ 55259 w 3068236"/>
              <a:gd name="connsiteY70" fmla="*/ 1664820 h 4367737"/>
              <a:gd name="connsiteX71" fmla="*/ 48351 w 3068236"/>
              <a:gd name="connsiteY71" fmla="*/ 1623407 h 4367737"/>
              <a:gd name="connsiteX72" fmla="*/ 46970 w 3068236"/>
              <a:gd name="connsiteY72" fmla="*/ 1609602 h 4367737"/>
              <a:gd name="connsiteX73" fmla="*/ 41444 w 3068236"/>
              <a:gd name="connsiteY73" fmla="*/ 1579233 h 4367737"/>
              <a:gd name="connsiteX74" fmla="*/ 38681 w 3068236"/>
              <a:gd name="connsiteY74" fmla="*/ 1561287 h 4367737"/>
              <a:gd name="connsiteX75" fmla="*/ 34537 w 3068236"/>
              <a:gd name="connsiteY75" fmla="*/ 1529536 h 4367737"/>
              <a:gd name="connsiteX76" fmla="*/ 33155 w 3068236"/>
              <a:gd name="connsiteY76" fmla="*/ 1515732 h 4367737"/>
              <a:gd name="connsiteX77" fmla="*/ 27629 w 3068236"/>
              <a:gd name="connsiteY77" fmla="*/ 1474318 h 4367737"/>
              <a:gd name="connsiteX78" fmla="*/ 26248 w 3068236"/>
              <a:gd name="connsiteY78" fmla="*/ 1456373 h 4367737"/>
              <a:gd name="connsiteX79" fmla="*/ 23485 w 3068236"/>
              <a:gd name="connsiteY79" fmla="*/ 1428764 h 4367737"/>
              <a:gd name="connsiteX80" fmla="*/ 20722 w 3068236"/>
              <a:gd name="connsiteY80" fmla="*/ 1410818 h 4367737"/>
              <a:gd name="connsiteX81" fmla="*/ 16578 w 3068236"/>
              <a:gd name="connsiteY81" fmla="*/ 1370785 h 4367737"/>
              <a:gd name="connsiteX82" fmla="*/ 15196 w 3068236"/>
              <a:gd name="connsiteY82" fmla="*/ 1354220 h 4367737"/>
              <a:gd name="connsiteX83" fmla="*/ 13815 w 3068236"/>
              <a:gd name="connsiteY83" fmla="*/ 1325230 h 4367737"/>
              <a:gd name="connsiteX84" fmla="*/ 11052 w 3068236"/>
              <a:gd name="connsiteY84" fmla="*/ 1307284 h 4367737"/>
              <a:gd name="connsiteX85" fmla="*/ 9670 w 3068236"/>
              <a:gd name="connsiteY85" fmla="*/ 1275534 h 4367737"/>
              <a:gd name="connsiteX86" fmla="*/ 8289 w 3068236"/>
              <a:gd name="connsiteY86" fmla="*/ 1253447 h 4367737"/>
              <a:gd name="connsiteX87" fmla="*/ 5526 w 3068236"/>
              <a:gd name="connsiteY87" fmla="*/ 1221697 h 4367737"/>
              <a:gd name="connsiteX88" fmla="*/ 5526 w 3068236"/>
              <a:gd name="connsiteY88" fmla="*/ 1202370 h 4367737"/>
              <a:gd name="connsiteX89" fmla="*/ 4145 w 3068236"/>
              <a:gd name="connsiteY89" fmla="*/ 1176142 h 4367737"/>
              <a:gd name="connsiteX90" fmla="*/ 2763 w 3068236"/>
              <a:gd name="connsiteY90" fmla="*/ 1158196 h 4367737"/>
              <a:gd name="connsiteX91" fmla="*/ 1382 w 3068236"/>
              <a:gd name="connsiteY91" fmla="*/ 1118163 h 4367737"/>
              <a:gd name="connsiteX92" fmla="*/ 1382 w 3068236"/>
              <a:gd name="connsiteY92" fmla="*/ 1098837 h 4367737"/>
              <a:gd name="connsiteX93" fmla="*/ 0 w 3068236"/>
              <a:gd name="connsiteY93" fmla="*/ 1073989 h 4367737"/>
              <a:gd name="connsiteX94" fmla="*/ 0 w 3068236"/>
              <a:gd name="connsiteY94" fmla="*/ 1054662 h 4367737"/>
              <a:gd name="connsiteX95" fmla="*/ 0 w 3068236"/>
              <a:gd name="connsiteY95" fmla="*/ 1022912 h 4367737"/>
              <a:gd name="connsiteX96" fmla="*/ 0 w 3068236"/>
              <a:gd name="connsiteY96" fmla="*/ 996684 h 4367737"/>
              <a:gd name="connsiteX97" fmla="*/ 0 w 3068236"/>
              <a:gd name="connsiteY97" fmla="*/ 971835 h 4367737"/>
              <a:gd name="connsiteX98" fmla="*/ 0 w 3068236"/>
              <a:gd name="connsiteY98" fmla="*/ 949748 h 4367737"/>
              <a:gd name="connsiteX99" fmla="*/ 0 w 3068236"/>
              <a:gd name="connsiteY99" fmla="*/ 927661 h 4367737"/>
              <a:gd name="connsiteX100" fmla="*/ 1382 w 3068236"/>
              <a:gd name="connsiteY100" fmla="*/ 895911 h 4367737"/>
              <a:gd name="connsiteX101" fmla="*/ 1382 w 3068236"/>
              <a:gd name="connsiteY101" fmla="*/ 869682 h 4367737"/>
              <a:gd name="connsiteX102" fmla="*/ 2763 w 3068236"/>
              <a:gd name="connsiteY102" fmla="*/ 847595 h 4367737"/>
              <a:gd name="connsiteX103" fmla="*/ 2763 w 3068236"/>
              <a:gd name="connsiteY103" fmla="*/ 826888 h 4367737"/>
              <a:gd name="connsiteX104" fmla="*/ 4145 w 3068236"/>
              <a:gd name="connsiteY104" fmla="*/ 803421 h 4367737"/>
              <a:gd name="connsiteX105" fmla="*/ 5526 w 3068236"/>
              <a:gd name="connsiteY105" fmla="*/ 773051 h 4367737"/>
              <a:gd name="connsiteX106" fmla="*/ 8289 w 3068236"/>
              <a:gd name="connsiteY106" fmla="*/ 744062 h 4367737"/>
              <a:gd name="connsiteX107" fmla="*/ 8289 w 3068236"/>
              <a:gd name="connsiteY107" fmla="*/ 731637 h 4367737"/>
              <a:gd name="connsiteX108" fmla="*/ 11052 w 3068236"/>
              <a:gd name="connsiteY108" fmla="*/ 733018 h 4367737"/>
              <a:gd name="connsiteX109" fmla="*/ 40063 w 3068236"/>
              <a:gd name="connsiteY109" fmla="*/ 745442 h 4367737"/>
              <a:gd name="connsiteX110" fmla="*/ 42826 w 3068236"/>
              <a:gd name="connsiteY110" fmla="*/ 746822 h 4367737"/>
              <a:gd name="connsiteX111" fmla="*/ 71836 w 3068236"/>
              <a:gd name="connsiteY111" fmla="*/ 760627 h 4367737"/>
              <a:gd name="connsiteX112" fmla="*/ 74599 w 3068236"/>
              <a:gd name="connsiteY112" fmla="*/ 762007 h 4367737"/>
              <a:gd name="connsiteX113" fmla="*/ 102229 w 3068236"/>
              <a:gd name="connsiteY113" fmla="*/ 777192 h 4367737"/>
              <a:gd name="connsiteX114" fmla="*/ 107754 w 3068236"/>
              <a:gd name="connsiteY114" fmla="*/ 778573 h 4367737"/>
              <a:gd name="connsiteX115" fmla="*/ 135384 w 3068236"/>
              <a:gd name="connsiteY115" fmla="*/ 795138 h 4367737"/>
              <a:gd name="connsiteX116" fmla="*/ 138147 w 3068236"/>
              <a:gd name="connsiteY116" fmla="*/ 796519 h 4367737"/>
              <a:gd name="connsiteX117" fmla="*/ 165776 w 3068236"/>
              <a:gd name="connsiteY117" fmla="*/ 811703 h 4367737"/>
              <a:gd name="connsiteX118" fmla="*/ 168539 w 3068236"/>
              <a:gd name="connsiteY118" fmla="*/ 813084 h 4367737"/>
              <a:gd name="connsiteX119" fmla="*/ 196168 w 3068236"/>
              <a:gd name="connsiteY119" fmla="*/ 831030 h 4367737"/>
              <a:gd name="connsiteX120" fmla="*/ 201694 w 3068236"/>
              <a:gd name="connsiteY120" fmla="*/ 833791 h 4367737"/>
              <a:gd name="connsiteX121" fmla="*/ 227942 w 3068236"/>
              <a:gd name="connsiteY121" fmla="*/ 851736 h 4367737"/>
              <a:gd name="connsiteX122" fmla="*/ 230705 w 3068236"/>
              <a:gd name="connsiteY122" fmla="*/ 853117 h 4367737"/>
              <a:gd name="connsiteX123" fmla="*/ 256953 w 3068236"/>
              <a:gd name="connsiteY123" fmla="*/ 871063 h 4367737"/>
              <a:gd name="connsiteX124" fmla="*/ 259716 w 3068236"/>
              <a:gd name="connsiteY124" fmla="*/ 873824 h 4367737"/>
              <a:gd name="connsiteX125" fmla="*/ 285964 w 3068236"/>
              <a:gd name="connsiteY125" fmla="*/ 891769 h 4367737"/>
              <a:gd name="connsiteX126" fmla="*/ 291489 w 3068236"/>
              <a:gd name="connsiteY126" fmla="*/ 895911 h 4367737"/>
              <a:gd name="connsiteX127" fmla="*/ 316356 w 3068236"/>
              <a:gd name="connsiteY127" fmla="*/ 916617 h 4367737"/>
              <a:gd name="connsiteX128" fmla="*/ 317737 w 3068236"/>
              <a:gd name="connsiteY128" fmla="*/ 916617 h 4367737"/>
              <a:gd name="connsiteX129" fmla="*/ 342604 w 3068236"/>
              <a:gd name="connsiteY129" fmla="*/ 937324 h 4367737"/>
              <a:gd name="connsiteX130" fmla="*/ 346748 w 3068236"/>
              <a:gd name="connsiteY130" fmla="*/ 941466 h 4367737"/>
              <a:gd name="connsiteX131" fmla="*/ 371614 w 3068236"/>
              <a:gd name="connsiteY131" fmla="*/ 962172 h 4367737"/>
              <a:gd name="connsiteX132" fmla="*/ 375759 w 3068236"/>
              <a:gd name="connsiteY132" fmla="*/ 966314 h 4367737"/>
              <a:gd name="connsiteX133" fmla="*/ 400625 w 3068236"/>
              <a:gd name="connsiteY133" fmla="*/ 988401 h 4367737"/>
              <a:gd name="connsiteX134" fmla="*/ 402007 w 3068236"/>
              <a:gd name="connsiteY134" fmla="*/ 989781 h 4367737"/>
              <a:gd name="connsiteX135" fmla="*/ 425492 w 3068236"/>
              <a:gd name="connsiteY135" fmla="*/ 1011868 h 4367737"/>
              <a:gd name="connsiteX136" fmla="*/ 429636 w 3068236"/>
              <a:gd name="connsiteY136" fmla="*/ 1016010 h 4367737"/>
              <a:gd name="connsiteX137" fmla="*/ 453121 w 3068236"/>
              <a:gd name="connsiteY137" fmla="*/ 1039477 h 4367737"/>
              <a:gd name="connsiteX138" fmla="*/ 457265 w 3068236"/>
              <a:gd name="connsiteY138" fmla="*/ 1044999 h 4367737"/>
              <a:gd name="connsiteX139" fmla="*/ 479369 w 3068236"/>
              <a:gd name="connsiteY139" fmla="*/ 1069847 h 4367737"/>
              <a:gd name="connsiteX140" fmla="*/ 1743410 w 3068236"/>
              <a:gd name="connsiteY140" fmla="*/ 1490884 h 4367737"/>
              <a:gd name="connsiteX141" fmla="*/ 1786236 w 3068236"/>
              <a:gd name="connsiteY141" fmla="*/ 1482601 h 4367737"/>
              <a:gd name="connsiteX142" fmla="*/ 2124695 w 3068236"/>
              <a:gd name="connsiteY142" fmla="*/ 1355600 h 4367737"/>
              <a:gd name="connsiteX143" fmla="*/ 2388555 w 3068236"/>
              <a:gd name="connsiteY143" fmla="*/ 1169240 h 4367737"/>
              <a:gd name="connsiteX144" fmla="*/ 2762932 w 3068236"/>
              <a:gd name="connsiteY144" fmla="*/ 603256 h 4367737"/>
              <a:gd name="connsiteX145" fmla="*/ 2775365 w 3068236"/>
              <a:gd name="connsiteY145" fmla="*/ 563223 h 4367737"/>
              <a:gd name="connsiteX146" fmla="*/ 3066855 w 3068236"/>
              <a:gd name="connsiteY146" fmla="*/ 80066 h 4367737"/>
              <a:gd name="connsiteX147" fmla="*/ 3066855 w 3068236"/>
              <a:gd name="connsiteY147" fmla="*/ 0 h 4367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</a:cxnLst>
            <a:rect l="l" t="t" r="r" b="b"/>
            <a:pathLst>
              <a:path w="3068236" h="4367737">
                <a:moveTo>
                  <a:pt x="3066855" y="0"/>
                </a:moveTo>
                <a:lnTo>
                  <a:pt x="3068236" y="0"/>
                </a:lnTo>
                <a:cubicBezTo>
                  <a:pt x="3068236" y="0"/>
                  <a:pt x="3068236" y="0"/>
                  <a:pt x="3068236" y="4367737"/>
                </a:cubicBezTo>
                <a:cubicBezTo>
                  <a:pt x="3068236" y="4367737"/>
                  <a:pt x="3068236" y="4367737"/>
                  <a:pt x="1362126" y="4367737"/>
                </a:cubicBezTo>
                <a:cubicBezTo>
                  <a:pt x="1333115" y="4008821"/>
                  <a:pt x="951830" y="3609871"/>
                  <a:pt x="951830" y="3609871"/>
                </a:cubicBezTo>
                <a:cubicBezTo>
                  <a:pt x="947686" y="3602969"/>
                  <a:pt x="942160" y="3597447"/>
                  <a:pt x="936634" y="3590545"/>
                </a:cubicBezTo>
                <a:cubicBezTo>
                  <a:pt x="926964" y="3579501"/>
                  <a:pt x="918675" y="3568458"/>
                  <a:pt x="909005" y="3557414"/>
                </a:cubicBezTo>
                <a:cubicBezTo>
                  <a:pt x="904860" y="3551892"/>
                  <a:pt x="900716" y="3547751"/>
                  <a:pt x="896572" y="3542229"/>
                </a:cubicBezTo>
                <a:cubicBezTo>
                  <a:pt x="885520" y="3528425"/>
                  <a:pt x="874468" y="3514620"/>
                  <a:pt x="864798" y="3502196"/>
                </a:cubicBezTo>
                <a:cubicBezTo>
                  <a:pt x="862035" y="3498055"/>
                  <a:pt x="859272" y="3495294"/>
                  <a:pt x="856509" y="3491153"/>
                </a:cubicBezTo>
                <a:cubicBezTo>
                  <a:pt x="842694" y="3474587"/>
                  <a:pt x="830261" y="3458022"/>
                  <a:pt x="817828" y="3440076"/>
                </a:cubicBezTo>
                <a:cubicBezTo>
                  <a:pt x="816447" y="3440076"/>
                  <a:pt x="816447" y="3440076"/>
                  <a:pt x="816447" y="3438696"/>
                </a:cubicBezTo>
                <a:cubicBezTo>
                  <a:pt x="804013" y="3422130"/>
                  <a:pt x="791580" y="3405565"/>
                  <a:pt x="779147" y="3389000"/>
                </a:cubicBezTo>
                <a:cubicBezTo>
                  <a:pt x="775003" y="3384858"/>
                  <a:pt x="772240" y="3379336"/>
                  <a:pt x="768095" y="3373815"/>
                </a:cubicBezTo>
                <a:cubicBezTo>
                  <a:pt x="759807" y="3361391"/>
                  <a:pt x="750136" y="3348967"/>
                  <a:pt x="741847" y="3337923"/>
                </a:cubicBezTo>
                <a:cubicBezTo>
                  <a:pt x="737703" y="3331021"/>
                  <a:pt x="733559" y="3324119"/>
                  <a:pt x="728033" y="3318597"/>
                </a:cubicBezTo>
                <a:cubicBezTo>
                  <a:pt x="721125" y="3307553"/>
                  <a:pt x="712837" y="3296510"/>
                  <a:pt x="704548" y="3284086"/>
                </a:cubicBezTo>
                <a:cubicBezTo>
                  <a:pt x="700403" y="3277183"/>
                  <a:pt x="696259" y="3270281"/>
                  <a:pt x="690733" y="3263379"/>
                </a:cubicBezTo>
                <a:cubicBezTo>
                  <a:pt x="683826" y="3252335"/>
                  <a:pt x="676919" y="3242672"/>
                  <a:pt x="670011" y="3231629"/>
                </a:cubicBezTo>
                <a:cubicBezTo>
                  <a:pt x="664485" y="3223346"/>
                  <a:pt x="658960" y="3216444"/>
                  <a:pt x="654815" y="3209541"/>
                </a:cubicBezTo>
                <a:cubicBezTo>
                  <a:pt x="647908" y="3198498"/>
                  <a:pt x="641000" y="3187454"/>
                  <a:pt x="634093" y="3177791"/>
                </a:cubicBezTo>
                <a:cubicBezTo>
                  <a:pt x="629949" y="3169508"/>
                  <a:pt x="624423" y="3161226"/>
                  <a:pt x="620278" y="3154323"/>
                </a:cubicBezTo>
                <a:cubicBezTo>
                  <a:pt x="613371" y="3143280"/>
                  <a:pt x="606464" y="3133617"/>
                  <a:pt x="599556" y="3122573"/>
                </a:cubicBezTo>
                <a:cubicBezTo>
                  <a:pt x="595412" y="3114290"/>
                  <a:pt x="589886" y="3107388"/>
                  <a:pt x="585742" y="3099106"/>
                </a:cubicBezTo>
                <a:cubicBezTo>
                  <a:pt x="578834" y="3088062"/>
                  <a:pt x="573309" y="3078399"/>
                  <a:pt x="566401" y="3067355"/>
                </a:cubicBezTo>
                <a:cubicBezTo>
                  <a:pt x="562257" y="3059073"/>
                  <a:pt x="556731" y="3050790"/>
                  <a:pt x="552587" y="3042507"/>
                </a:cubicBezTo>
                <a:cubicBezTo>
                  <a:pt x="545679" y="3032844"/>
                  <a:pt x="540153" y="3021800"/>
                  <a:pt x="534628" y="3012137"/>
                </a:cubicBezTo>
                <a:cubicBezTo>
                  <a:pt x="529102" y="3003855"/>
                  <a:pt x="524957" y="2995572"/>
                  <a:pt x="519431" y="2985909"/>
                </a:cubicBezTo>
                <a:cubicBezTo>
                  <a:pt x="513905" y="2976246"/>
                  <a:pt x="508380" y="2965202"/>
                  <a:pt x="502854" y="2955539"/>
                </a:cubicBezTo>
                <a:cubicBezTo>
                  <a:pt x="497328" y="2947256"/>
                  <a:pt x="493184" y="2937593"/>
                  <a:pt x="489039" y="2929310"/>
                </a:cubicBezTo>
                <a:cubicBezTo>
                  <a:pt x="483513" y="2919647"/>
                  <a:pt x="477987" y="2908604"/>
                  <a:pt x="472462" y="2898941"/>
                </a:cubicBezTo>
                <a:cubicBezTo>
                  <a:pt x="466936" y="2889277"/>
                  <a:pt x="462791" y="2880995"/>
                  <a:pt x="458647" y="2871332"/>
                </a:cubicBezTo>
                <a:cubicBezTo>
                  <a:pt x="453121" y="2861669"/>
                  <a:pt x="447595" y="2850625"/>
                  <a:pt x="442069" y="2840962"/>
                </a:cubicBezTo>
                <a:cubicBezTo>
                  <a:pt x="437925" y="2831299"/>
                  <a:pt x="432399" y="2823016"/>
                  <a:pt x="428255" y="2813353"/>
                </a:cubicBezTo>
                <a:cubicBezTo>
                  <a:pt x="422729" y="2803690"/>
                  <a:pt x="418584" y="2792646"/>
                  <a:pt x="413058" y="2782983"/>
                </a:cubicBezTo>
                <a:cubicBezTo>
                  <a:pt x="408914" y="2773320"/>
                  <a:pt x="403388" y="2763657"/>
                  <a:pt x="399244" y="2755374"/>
                </a:cubicBezTo>
                <a:cubicBezTo>
                  <a:pt x="395099" y="2744330"/>
                  <a:pt x="389574" y="2734667"/>
                  <a:pt x="384048" y="2723624"/>
                </a:cubicBezTo>
                <a:cubicBezTo>
                  <a:pt x="379903" y="2713961"/>
                  <a:pt x="375759" y="2705678"/>
                  <a:pt x="371614" y="2696015"/>
                </a:cubicBezTo>
                <a:cubicBezTo>
                  <a:pt x="367470" y="2684971"/>
                  <a:pt x="361944" y="2675308"/>
                  <a:pt x="357800" y="2664264"/>
                </a:cubicBezTo>
                <a:cubicBezTo>
                  <a:pt x="353655" y="2654601"/>
                  <a:pt x="349511" y="2644938"/>
                  <a:pt x="345367" y="2635275"/>
                </a:cubicBezTo>
                <a:cubicBezTo>
                  <a:pt x="339841" y="2625612"/>
                  <a:pt x="335696" y="2614568"/>
                  <a:pt x="331552" y="2604905"/>
                </a:cubicBezTo>
                <a:cubicBezTo>
                  <a:pt x="327408" y="2595242"/>
                  <a:pt x="323263" y="2585579"/>
                  <a:pt x="319119" y="2575916"/>
                </a:cubicBezTo>
                <a:cubicBezTo>
                  <a:pt x="314974" y="2564872"/>
                  <a:pt x="309449" y="2553829"/>
                  <a:pt x="305304" y="2544166"/>
                </a:cubicBezTo>
                <a:cubicBezTo>
                  <a:pt x="301160" y="2534502"/>
                  <a:pt x="297015" y="2524839"/>
                  <a:pt x="294252" y="2515176"/>
                </a:cubicBezTo>
                <a:cubicBezTo>
                  <a:pt x="290108" y="2504133"/>
                  <a:pt x="285964" y="2493089"/>
                  <a:pt x="281819" y="2482045"/>
                </a:cubicBezTo>
                <a:cubicBezTo>
                  <a:pt x="277675" y="2472382"/>
                  <a:pt x="273530" y="2462719"/>
                  <a:pt x="269386" y="2453056"/>
                </a:cubicBezTo>
                <a:cubicBezTo>
                  <a:pt x="265242" y="2442012"/>
                  <a:pt x="261097" y="2432349"/>
                  <a:pt x="256953" y="2421306"/>
                </a:cubicBezTo>
                <a:cubicBezTo>
                  <a:pt x="254190" y="2411643"/>
                  <a:pt x="250045" y="2400599"/>
                  <a:pt x="245901" y="2390936"/>
                </a:cubicBezTo>
                <a:cubicBezTo>
                  <a:pt x="243138" y="2379892"/>
                  <a:pt x="238994" y="2370229"/>
                  <a:pt x="234849" y="2359186"/>
                </a:cubicBezTo>
                <a:cubicBezTo>
                  <a:pt x="230705" y="2349522"/>
                  <a:pt x="227942" y="2338479"/>
                  <a:pt x="223798" y="2328816"/>
                </a:cubicBezTo>
                <a:cubicBezTo>
                  <a:pt x="221035" y="2317772"/>
                  <a:pt x="216890" y="2306728"/>
                  <a:pt x="214127" y="2297065"/>
                </a:cubicBezTo>
                <a:cubicBezTo>
                  <a:pt x="209983" y="2286022"/>
                  <a:pt x="205839" y="2274978"/>
                  <a:pt x="203076" y="2265315"/>
                </a:cubicBezTo>
                <a:cubicBezTo>
                  <a:pt x="198931" y="2254271"/>
                  <a:pt x="196168" y="2244608"/>
                  <a:pt x="193405" y="2233565"/>
                </a:cubicBezTo>
                <a:cubicBezTo>
                  <a:pt x="189261" y="2222521"/>
                  <a:pt x="186498" y="2212858"/>
                  <a:pt x="182354" y="2201814"/>
                </a:cubicBezTo>
                <a:cubicBezTo>
                  <a:pt x="179591" y="2190771"/>
                  <a:pt x="176828" y="2181108"/>
                  <a:pt x="172683" y="2170064"/>
                </a:cubicBezTo>
                <a:cubicBezTo>
                  <a:pt x="169920" y="2159021"/>
                  <a:pt x="167158" y="2147977"/>
                  <a:pt x="163013" y="2136933"/>
                </a:cubicBezTo>
                <a:cubicBezTo>
                  <a:pt x="160250" y="2127270"/>
                  <a:pt x="157487" y="2117607"/>
                  <a:pt x="154724" y="2107944"/>
                </a:cubicBezTo>
                <a:cubicBezTo>
                  <a:pt x="151961" y="2095520"/>
                  <a:pt x="147817" y="2084476"/>
                  <a:pt x="145054" y="2072052"/>
                </a:cubicBezTo>
                <a:cubicBezTo>
                  <a:pt x="142291" y="2063770"/>
                  <a:pt x="139528" y="2054107"/>
                  <a:pt x="138147" y="2044443"/>
                </a:cubicBezTo>
                <a:cubicBezTo>
                  <a:pt x="134002" y="2032019"/>
                  <a:pt x="131239" y="2019595"/>
                  <a:pt x="127095" y="2007171"/>
                </a:cubicBezTo>
                <a:cubicBezTo>
                  <a:pt x="125714" y="2000269"/>
                  <a:pt x="124332" y="1991986"/>
                  <a:pt x="121569" y="1985084"/>
                </a:cubicBezTo>
                <a:cubicBezTo>
                  <a:pt x="113280" y="1949193"/>
                  <a:pt x="104992" y="1913301"/>
                  <a:pt x="96703" y="1876029"/>
                </a:cubicBezTo>
                <a:cubicBezTo>
                  <a:pt x="95321" y="1871887"/>
                  <a:pt x="95321" y="1867746"/>
                  <a:pt x="93940" y="1863605"/>
                </a:cubicBezTo>
                <a:cubicBezTo>
                  <a:pt x="91177" y="1853942"/>
                  <a:pt x="89795" y="1844279"/>
                  <a:pt x="87032" y="1833235"/>
                </a:cubicBezTo>
                <a:cubicBezTo>
                  <a:pt x="85651" y="1827713"/>
                  <a:pt x="84270" y="1820811"/>
                  <a:pt x="82888" y="1813909"/>
                </a:cubicBezTo>
                <a:cubicBezTo>
                  <a:pt x="81507" y="1805626"/>
                  <a:pt x="80125" y="1795963"/>
                  <a:pt x="77362" y="1786300"/>
                </a:cubicBezTo>
                <a:cubicBezTo>
                  <a:pt x="75981" y="1780778"/>
                  <a:pt x="75981" y="1775256"/>
                  <a:pt x="74599" y="1769734"/>
                </a:cubicBezTo>
                <a:cubicBezTo>
                  <a:pt x="71836" y="1755930"/>
                  <a:pt x="69073" y="1742125"/>
                  <a:pt x="66310" y="1728321"/>
                </a:cubicBezTo>
                <a:cubicBezTo>
                  <a:pt x="64929" y="1722799"/>
                  <a:pt x="64929" y="1717277"/>
                  <a:pt x="63548" y="1710375"/>
                </a:cubicBezTo>
                <a:cubicBezTo>
                  <a:pt x="62166" y="1702092"/>
                  <a:pt x="59403" y="1692429"/>
                  <a:pt x="58022" y="1682766"/>
                </a:cubicBezTo>
                <a:cubicBezTo>
                  <a:pt x="58022" y="1677244"/>
                  <a:pt x="56640" y="1670342"/>
                  <a:pt x="55259" y="1664820"/>
                </a:cubicBezTo>
                <a:cubicBezTo>
                  <a:pt x="52496" y="1651016"/>
                  <a:pt x="51114" y="1637211"/>
                  <a:pt x="48351" y="1623407"/>
                </a:cubicBezTo>
                <a:cubicBezTo>
                  <a:pt x="48351" y="1619266"/>
                  <a:pt x="46970" y="1613744"/>
                  <a:pt x="46970" y="1609602"/>
                </a:cubicBezTo>
                <a:cubicBezTo>
                  <a:pt x="45589" y="1598559"/>
                  <a:pt x="42826" y="1588896"/>
                  <a:pt x="41444" y="1579233"/>
                </a:cubicBezTo>
                <a:cubicBezTo>
                  <a:pt x="41444" y="1572330"/>
                  <a:pt x="40063" y="1566808"/>
                  <a:pt x="38681" y="1561287"/>
                </a:cubicBezTo>
                <a:cubicBezTo>
                  <a:pt x="37300" y="1550243"/>
                  <a:pt x="35918" y="1540580"/>
                  <a:pt x="34537" y="1529536"/>
                </a:cubicBezTo>
                <a:cubicBezTo>
                  <a:pt x="34537" y="1525395"/>
                  <a:pt x="34537" y="1519873"/>
                  <a:pt x="33155" y="1515732"/>
                </a:cubicBezTo>
                <a:cubicBezTo>
                  <a:pt x="31774" y="1501927"/>
                  <a:pt x="30392" y="1488123"/>
                  <a:pt x="27629" y="1474318"/>
                </a:cubicBezTo>
                <a:cubicBezTo>
                  <a:pt x="27629" y="1468797"/>
                  <a:pt x="26248" y="1463275"/>
                  <a:pt x="26248" y="1456373"/>
                </a:cubicBezTo>
                <a:cubicBezTo>
                  <a:pt x="24867" y="1446710"/>
                  <a:pt x="23485" y="1438427"/>
                  <a:pt x="23485" y="1428764"/>
                </a:cubicBezTo>
                <a:cubicBezTo>
                  <a:pt x="22104" y="1423242"/>
                  <a:pt x="22104" y="1416340"/>
                  <a:pt x="20722" y="1410818"/>
                </a:cubicBezTo>
                <a:cubicBezTo>
                  <a:pt x="19341" y="1397013"/>
                  <a:pt x="17959" y="1384589"/>
                  <a:pt x="16578" y="1370785"/>
                </a:cubicBezTo>
                <a:cubicBezTo>
                  <a:pt x="16578" y="1365263"/>
                  <a:pt x="16578" y="1359741"/>
                  <a:pt x="15196" y="1354220"/>
                </a:cubicBezTo>
                <a:cubicBezTo>
                  <a:pt x="15196" y="1344556"/>
                  <a:pt x="13815" y="1334893"/>
                  <a:pt x="13815" y="1325230"/>
                </a:cubicBezTo>
                <a:cubicBezTo>
                  <a:pt x="12433" y="1319708"/>
                  <a:pt x="12433" y="1312806"/>
                  <a:pt x="11052" y="1307284"/>
                </a:cubicBezTo>
                <a:cubicBezTo>
                  <a:pt x="11052" y="1296241"/>
                  <a:pt x="9670" y="1285197"/>
                  <a:pt x="9670" y="1275534"/>
                </a:cubicBezTo>
                <a:cubicBezTo>
                  <a:pt x="8289" y="1267251"/>
                  <a:pt x="8289" y="1260349"/>
                  <a:pt x="8289" y="1253447"/>
                </a:cubicBezTo>
                <a:cubicBezTo>
                  <a:pt x="6907" y="1242403"/>
                  <a:pt x="6907" y="1232740"/>
                  <a:pt x="5526" y="1221697"/>
                </a:cubicBezTo>
                <a:cubicBezTo>
                  <a:pt x="5526" y="1216175"/>
                  <a:pt x="5526" y="1209273"/>
                  <a:pt x="5526" y="1202370"/>
                </a:cubicBezTo>
                <a:cubicBezTo>
                  <a:pt x="4145" y="1194088"/>
                  <a:pt x="4145" y="1185805"/>
                  <a:pt x="4145" y="1176142"/>
                </a:cubicBezTo>
                <a:cubicBezTo>
                  <a:pt x="4145" y="1170620"/>
                  <a:pt x="2763" y="1163718"/>
                  <a:pt x="2763" y="1158196"/>
                </a:cubicBezTo>
                <a:cubicBezTo>
                  <a:pt x="2763" y="1144391"/>
                  <a:pt x="1382" y="1131967"/>
                  <a:pt x="1382" y="1118163"/>
                </a:cubicBezTo>
                <a:cubicBezTo>
                  <a:pt x="1382" y="1112641"/>
                  <a:pt x="1382" y="1105739"/>
                  <a:pt x="1382" y="1098837"/>
                </a:cubicBezTo>
                <a:cubicBezTo>
                  <a:pt x="1382" y="1090554"/>
                  <a:pt x="0" y="1082271"/>
                  <a:pt x="0" y="1073989"/>
                </a:cubicBezTo>
                <a:cubicBezTo>
                  <a:pt x="0" y="1068467"/>
                  <a:pt x="0" y="1061565"/>
                  <a:pt x="0" y="1054662"/>
                </a:cubicBezTo>
                <a:cubicBezTo>
                  <a:pt x="0" y="1043619"/>
                  <a:pt x="0" y="1033956"/>
                  <a:pt x="0" y="1022912"/>
                </a:cubicBezTo>
                <a:cubicBezTo>
                  <a:pt x="0" y="1014629"/>
                  <a:pt x="0" y="1004966"/>
                  <a:pt x="0" y="996684"/>
                </a:cubicBezTo>
                <a:cubicBezTo>
                  <a:pt x="0" y="988401"/>
                  <a:pt x="0" y="980118"/>
                  <a:pt x="0" y="971835"/>
                </a:cubicBezTo>
                <a:cubicBezTo>
                  <a:pt x="0" y="964933"/>
                  <a:pt x="0" y="958031"/>
                  <a:pt x="0" y="949748"/>
                </a:cubicBezTo>
                <a:cubicBezTo>
                  <a:pt x="0" y="942846"/>
                  <a:pt x="0" y="934563"/>
                  <a:pt x="0" y="927661"/>
                </a:cubicBezTo>
                <a:cubicBezTo>
                  <a:pt x="0" y="916617"/>
                  <a:pt x="1382" y="906954"/>
                  <a:pt x="1382" y="895911"/>
                </a:cubicBezTo>
                <a:cubicBezTo>
                  <a:pt x="1382" y="887628"/>
                  <a:pt x="1382" y="877965"/>
                  <a:pt x="1382" y="869682"/>
                </a:cubicBezTo>
                <a:cubicBezTo>
                  <a:pt x="1382" y="862780"/>
                  <a:pt x="2763" y="854497"/>
                  <a:pt x="2763" y="847595"/>
                </a:cubicBezTo>
                <a:cubicBezTo>
                  <a:pt x="2763" y="840693"/>
                  <a:pt x="2763" y="833791"/>
                  <a:pt x="2763" y="826888"/>
                </a:cubicBezTo>
                <a:cubicBezTo>
                  <a:pt x="4145" y="818606"/>
                  <a:pt x="4145" y="811703"/>
                  <a:pt x="4145" y="803421"/>
                </a:cubicBezTo>
                <a:cubicBezTo>
                  <a:pt x="5526" y="793758"/>
                  <a:pt x="5526" y="782714"/>
                  <a:pt x="5526" y="773051"/>
                </a:cubicBezTo>
                <a:cubicBezTo>
                  <a:pt x="6907" y="763388"/>
                  <a:pt x="6907" y="753725"/>
                  <a:pt x="8289" y="744062"/>
                </a:cubicBezTo>
                <a:cubicBezTo>
                  <a:pt x="8289" y="739920"/>
                  <a:pt x="8289" y="735779"/>
                  <a:pt x="8289" y="731637"/>
                </a:cubicBezTo>
                <a:cubicBezTo>
                  <a:pt x="9670" y="731637"/>
                  <a:pt x="9670" y="733018"/>
                  <a:pt x="11052" y="733018"/>
                </a:cubicBezTo>
                <a:cubicBezTo>
                  <a:pt x="20722" y="737159"/>
                  <a:pt x="30392" y="741301"/>
                  <a:pt x="40063" y="745442"/>
                </a:cubicBezTo>
                <a:cubicBezTo>
                  <a:pt x="41444" y="746822"/>
                  <a:pt x="42826" y="746822"/>
                  <a:pt x="42826" y="746822"/>
                </a:cubicBezTo>
                <a:cubicBezTo>
                  <a:pt x="52496" y="752344"/>
                  <a:pt x="62166" y="756486"/>
                  <a:pt x="71836" y="760627"/>
                </a:cubicBezTo>
                <a:cubicBezTo>
                  <a:pt x="71836" y="760627"/>
                  <a:pt x="73218" y="762007"/>
                  <a:pt x="74599" y="762007"/>
                </a:cubicBezTo>
                <a:cubicBezTo>
                  <a:pt x="84270" y="766149"/>
                  <a:pt x="92558" y="771670"/>
                  <a:pt x="102229" y="777192"/>
                </a:cubicBezTo>
                <a:cubicBezTo>
                  <a:pt x="104992" y="777192"/>
                  <a:pt x="106373" y="778573"/>
                  <a:pt x="107754" y="778573"/>
                </a:cubicBezTo>
                <a:cubicBezTo>
                  <a:pt x="117425" y="784095"/>
                  <a:pt x="127095" y="789616"/>
                  <a:pt x="135384" y="795138"/>
                </a:cubicBezTo>
                <a:cubicBezTo>
                  <a:pt x="136765" y="795138"/>
                  <a:pt x="138147" y="795138"/>
                  <a:pt x="138147" y="796519"/>
                </a:cubicBezTo>
                <a:cubicBezTo>
                  <a:pt x="147817" y="800660"/>
                  <a:pt x="156106" y="806182"/>
                  <a:pt x="165776" y="811703"/>
                </a:cubicBezTo>
                <a:cubicBezTo>
                  <a:pt x="167158" y="811703"/>
                  <a:pt x="167158" y="813084"/>
                  <a:pt x="168539" y="813084"/>
                </a:cubicBezTo>
                <a:cubicBezTo>
                  <a:pt x="178209" y="818606"/>
                  <a:pt x="186498" y="824128"/>
                  <a:pt x="196168" y="831030"/>
                </a:cubicBezTo>
                <a:cubicBezTo>
                  <a:pt x="197550" y="831030"/>
                  <a:pt x="198931" y="832410"/>
                  <a:pt x="201694" y="833791"/>
                </a:cubicBezTo>
                <a:cubicBezTo>
                  <a:pt x="209983" y="839312"/>
                  <a:pt x="219653" y="844834"/>
                  <a:pt x="227942" y="851736"/>
                </a:cubicBezTo>
                <a:cubicBezTo>
                  <a:pt x="229323" y="851736"/>
                  <a:pt x="229323" y="851736"/>
                  <a:pt x="230705" y="853117"/>
                </a:cubicBezTo>
                <a:cubicBezTo>
                  <a:pt x="238994" y="858639"/>
                  <a:pt x="247283" y="864161"/>
                  <a:pt x="256953" y="871063"/>
                </a:cubicBezTo>
                <a:cubicBezTo>
                  <a:pt x="258334" y="871063"/>
                  <a:pt x="258334" y="872443"/>
                  <a:pt x="259716" y="873824"/>
                </a:cubicBezTo>
                <a:cubicBezTo>
                  <a:pt x="269386" y="879345"/>
                  <a:pt x="277675" y="886248"/>
                  <a:pt x="285964" y="891769"/>
                </a:cubicBezTo>
                <a:cubicBezTo>
                  <a:pt x="287345" y="893150"/>
                  <a:pt x="288727" y="894530"/>
                  <a:pt x="291489" y="895911"/>
                </a:cubicBezTo>
                <a:cubicBezTo>
                  <a:pt x="299778" y="902813"/>
                  <a:pt x="308067" y="909715"/>
                  <a:pt x="316356" y="916617"/>
                </a:cubicBezTo>
                <a:cubicBezTo>
                  <a:pt x="317737" y="916617"/>
                  <a:pt x="317737" y="916617"/>
                  <a:pt x="317737" y="916617"/>
                </a:cubicBezTo>
                <a:cubicBezTo>
                  <a:pt x="326026" y="923520"/>
                  <a:pt x="334315" y="930422"/>
                  <a:pt x="342604" y="937324"/>
                </a:cubicBezTo>
                <a:cubicBezTo>
                  <a:pt x="343985" y="938705"/>
                  <a:pt x="345367" y="940085"/>
                  <a:pt x="346748" y="941466"/>
                </a:cubicBezTo>
                <a:cubicBezTo>
                  <a:pt x="355037" y="948368"/>
                  <a:pt x="363326" y="955270"/>
                  <a:pt x="371614" y="962172"/>
                </a:cubicBezTo>
                <a:cubicBezTo>
                  <a:pt x="372996" y="963553"/>
                  <a:pt x="374377" y="964933"/>
                  <a:pt x="375759" y="966314"/>
                </a:cubicBezTo>
                <a:cubicBezTo>
                  <a:pt x="384048" y="973216"/>
                  <a:pt x="392336" y="981499"/>
                  <a:pt x="400625" y="988401"/>
                </a:cubicBezTo>
                <a:cubicBezTo>
                  <a:pt x="400625" y="988401"/>
                  <a:pt x="402007" y="989781"/>
                  <a:pt x="402007" y="989781"/>
                </a:cubicBezTo>
                <a:cubicBezTo>
                  <a:pt x="408914" y="996684"/>
                  <a:pt x="417203" y="1004966"/>
                  <a:pt x="425492" y="1011868"/>
                </a:cubicBezTo>
                <a:cubicBezTo>
                  <a:pt x="426873" y="1013249"/>
                  <a:pt x="428255" y="1014629"/>
                  <a:pt x="429636" y="1016010"/>
                </a:cubicBezTo>
                <a:cubicBezTo>
                  <a:pt x="436543" y="1024292"/>
                  <a:pt x="444832" y="1032575"/>
                  <a:pt x="453121" y="1039477"/>
                </a:cubicBezTo>
                <a:cubicBezTo>
                  <a:pt x="454502" y="1040858"/>
                  <a:pt x="455884" y="1043619"/>
                  <a:pt x="457265" y="1044999"/>
                </a:cubicBezTo>
                <a:cubicBezTo>
                  <a:pt x="464173" y="1053282"/>
                  <a:pt x="472462" y="1061565"/>
                  <a:pt x="479369" y="1069847"/>
                </a:cubicBezTo>
                <a:cubicBezTo>
                  <a:pt x="809539" y="1435666"/>
                  <a:pt x="1293052" y="1579233"/>
                  <a:pt x="1743410" y="1490884"/>
                </a:cubicBezTo>
                <a:cubicBezTo>
                  <a:pt x="1758606" y="1488123"/>
                  <a:pt x="1772421" y="1485362"/>
                  <a:pt x="1786236" y="1482601"/>
                </a:cubicBezTo>
                <a:cubicBezTo>
                  <a:pt x="1902279" y="1456373"/>
                  <a:pt x="2016941" y="1413579"/>
                  <a:pt x="2124695" y="1355600"/>
                </a:cubicBezTo>
                <a:cubicBezTo>
                  <a:pt x="2217253" y="1305904"/>
                  <a:pt x="2305667" y="1243784"/>
                  <a:pt x="2388555" y="1169240"/>
                </a:cubicBezTo>
                <a:cubicBezTo>
                  <a:pt x="2565382" y="1010488"/>
                  <a:pt x="2691096" y="814464"/>
                  <a:pt x="2762932" y="603256"/>
                </a:cubicBezTo>
                <a:cubicBezTo>
                  <a:pt x="2767077" y="590832"/>
                  <a:pt x="2771221" y="577027"/>
                  <a:pt x="2775365" y="563223"/>
                </a:cubicBezTo>
                <a:cubicBezTo>
                  <a:pt x="2836150" y="386526"/>
                  <a:pt x="2932852" y="222252"/>
                  <a:pt x="3066855" y="80066"/>
                </a:cubicBezTo>
                <a:cubicBezTo>
                  <a:pt x="3066855" y="80066"/>
                  <a:pt x="3066855" y="80066"/>
                  <a:pt x="3066855" y="0"/>
                </a:cubicBezTo>
                <a:close/>
              </a:path>
            </a:pathLst>
          </a:custGeom>
        </p:spPr>
        <p:txBody>
          <a:bodyPr wrap="square" tIns="2808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911672BA-6F75-11F6-0CF9-BA902D3E2D7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351" y="5643500"/>
            <a:ext cx="5003993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77255046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6756BABC-2963-28E2-5B08-F41D44CABDF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3026004"/>
            <a:ext cx="3562350" cy="3025546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E75F0A8D-0120-75B1-B12F-5E64C97F259D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406900" y="3026004"/>
            <a:ext cx="3562350" cy="3025546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041B38E8-6A7F-0F95-D2F5-B11125650522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4626" y="3026004"/>
            <a:ext cx="3562350" cy="3025546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6D4AF94E-695F-27BB-AE3B-C84EADC28897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532800" y="1497600"/>
            <a:ext cx="1173600" cy="11736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13" name="Picture Placeholder 11">
            <a:extLst>
              <a:ext uri="{FF2B5EF4-FFF2-40B4-BE49-F238E27FC236}">
                <a16:creationId xmlns:a16="http://schemas.microsoft.com/office/drawing/2014/main" id="{54402087-7467-27FD-561D-E2965002769E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4326163" y="1497600"/>
            <a:ext cx="1173600" cy="11736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14" name="Picture Placeholder 11">
            <a:extLst>
              <a:ext uri="{FF2B5EF4-FFF2-40B4-BE49-F238E27FC236}">
                <a16:creationId xmlns:a16="http://schemas.microsoft.com/office/drawing/2014/main" id="{29385420-6F31-EC68-9C2D-7259D954F02B}"/>
              </a:ext>
            </a:extLst>
          </p:cNvPr>
          <p:cNvSpPr>
            <a:spLocks noGrp="1" noChangeAspect="1"/>
          </p:cNvSpPr>
          <p:nvPr>
            <p:ph type="pic" sz="quarter" idx="17"/>
          </p:nvPr>
        </p:nvSpPr>
        <p:spPr>
          <a:xfrm>
            <a:off x="8119526" y="1497600"/>
            <a:ext cx="1173600" cy="11736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2E6770A-1D4D-AD1F-F2F7-085CEBCF79F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2456134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6756BABC-2963-28E2-5B08-F41D44CABDF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30324" y="1564849"/>
            <a:ext cx="3562350" cy="1262489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2B7FAE0-3A20-3BA3-BBC0-9EF931A4140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1830324" y="3040144"/>
            <a:ext cx="3562350" cy="1262489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BE7DE02-9488-C606-02DD-66DBAE64E2D7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1830324" y="4688498"/>
            <a:ext cx="3562350" cy="1262489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1D61909-44A1-96C5-24EC-29733C083C5B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7542968" y="1564849"/>
            <a:ext cx="3562350" cy="1262489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C8F03D7E-D948-AE8B-6268-D0445FA4845C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7542968" y="3040144"/>
            <a:ext cx="3562350" cy="1262489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54A89A1F-F10B-C531-B279-7F71EB330ED8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7542968" y="4688498"/>
            <a:ext cx="3562350" cy="1262489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9" name="Picture Placeholder 11">
            <a:extLst>
              <a:ext uri="{FF2B5EF4-FFF2-40B4-BE49-F238E27FC236}">
                <a16:creationId xmlns:a16="http://schemas.microsoft.com/office/drawing/2014/main" id="{F107629B-0875-A1BC-15AB-C67AC1624DC0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536400" y="1540800"/>
            <a:ext cx="1008000" cy="10080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20" name="Picture Placeholder 11">
            <a:extLst>
              <a:ext uri="{FF2B5EF4-FFF2-40B4-BE49-F238E27FC236}">
                <a16:creationId xmlns:a16="http://schemas.microsoft.com/office/drawing/2014/main" id="{49B4C2D4-3903-C213-FD24-64CE96C1979D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536400" y="3016800"/>
            <a:ext cx="1008000" cy="10080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21" name="Picture Placeholder 11">
            <a:extLst>
              <a:ext uri="{FF2B5EF4-FFF2-40B4-BE49-F238E27FC236}">
                <a16:creationId xmlns:a16="http://schemas.microsoft.com/office/drawing/2014/main" id="{678E3C09-3971-E762-E888-4774BB750A4A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536400" y="4662000"/>
            <a:ext cx="1008000" cy="10080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22" name="Picture Placeholder 11">
            <a:extLst>
              <a:ext uri="{FF2B5EF4-FFF2-40B4-BE49-F238E27FC236}">
                <a16:creationId xmlns:a16="http://schemas.microsoft.com/office/drawing/2014/main" id="{FD5D5F0F-3A8C-9DD5-15CE-6B7C3E9DB5BB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6238800" y="1540800"/>
            <a:ext cx="1008000" cy="10080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23" name="Picture Placeholder 11">
            <a:extLst>
              <a:ext uri="{FF2B5EF4-FFF2-40B4-BE49-F238E27FC236}">
                <a16:creationId xmlns:a16="http://schemas.microsoft.com/office/drawing/2014/main" id="{780CB698-AA0E-BBD2-304B-B4C34811DE8E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238800" y="3016800"/>
            <a:ext cx="1008000" cy="10080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24" name="Picture Placeholder 11">
            <a:extLst>
              <a:ext uri="{FF2B5EF4-FFF2-40B4-BE49-F238E27FC236}">
                <a16:creationId xmlns:a16="http://schemas.microsoft.com/office/drawing/2014/main" id="{C2BCE056-E4A2-EC44-5C8D-36D0C79AB593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6238800" y="4662000"/>
            <a:ext cx="1008000" cy="10080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A31338B-0823-6532-C45C-F95060AF7B2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4509554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4770000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4770000" cy="447793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E5924D82-B442-36B8-3020-4B80CF88B468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310313" y="385763"/>
            <a:ext cx="5462587" cy="5665787"/>
          </a:xfrm>
        </p:spPr>
        <p:txBody>
          <a:bodyPr/>
          <a:lstStyle>
            <a:lvl1pPr>
              <a:defRPr sz="1400" b="0"/>
            </a:lvl1pPr>
          </a:lstStyle>
          <a:p>
            <a:r>
              <a:rPr lang="de-DE"/>
              <a:t>Diagramm durch Klicken auf Symbol hinzufügen</a:t>
            </a:r>
            <a:endParaRPr lang="en-GB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E06E48C0-76C8-28BD-C1B7-163ED41712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4839" y="5464175"/>
            <a:ext cx="4770000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98B935A-2F64-9B30-B028-533AFFCD81F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55466171"/>
      </p:ext>
    </p:extLst>
  </p:cSld>
  <p:clrMapOvr>
    <a:masterClrMapping/>
  </p:clrMapOvr>
  <p:hf hdr="0" dt="0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&amp;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4770000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4770000" cy="447793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0" name="Table Placeholder 9">
            <a:extLst>
              <a:ext uri="{FF2B5EF4-FFF2-40B4-BE49-F238E27FC236}">
                <a16:creationId xmlns:a16="http://schemas.microsoft.com/office/drawing/2014/main" id="{23A5ABD4-0980-C4E1-2D35-C1A5E7B7C5AF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6310313" y="1947863"/>
            <a:ext cx="5462587" cy="4103687"/>
          </a:xfrm>
        </p:spPr>
        <p:txBody>
          <a:bodyPr/>
          <a:lstStyle>
            <a:lvl1pPr>
              <a:defRPr sz="1400" b="0"/>
            </a:lvl1pPr>
          </a:lstStyle>
          <a:p>
            <a:r>
              <a:rPr lang="de-DE"/>
              <a:t>Tabelle durch Klicken auf Symbol hinzufügen</a:t>
            </a:r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C10D3C37-C70E-A0DC-24F2-9973C328C5EF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13051" y="1573620"/>
            <a:ext cx="4770000" cy="336144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6CA4EA38-F567-390A-BFCA-BAFFDD3657F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4839" y="5464175"/>
            <a:ext cx="4770000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A10CA66-7402-A280-D0B7-C8DFD634EAA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34895045"/>
      </p:ext>
    </p:extLst>
  </p:cSld>
  <p:clrMapOvr>
    <a:masterClrMapping/>
  </p:clrMapOvr>
  <p:hf hdr="0" dt="0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&amp;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4770000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4770000" cy="447793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5489E1D8-D4B0-C77A-AB21-F17122178AD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4839" y="5464175"/>
            <a:ext cx="4770000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373A851-41FB-11CE-7794-1E1CC5D0D8A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40210906"/>
      </p:ext>
    </p:extLst>
  </p:cSld>
  <p:clrMapOvr>
    <a:masterClrMapping/>
  </p:clrMapOvr>
  <p:hf hdr="0" dt="0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338A58-465D-29BC-3745-035187C7CF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3AF2D71-F647-C342-B16D-56C6AF9BC9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64B384-59B0-AF00-1B1B-6C83719C63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C29F56FE-6896-93B5-300C-73E8064C8D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4838" y="5464175"/>
            <a:ext cx="9267825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B95F338-020C-AD1A-58C0-1E2252F80F3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2991434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376199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blue and orange logo&#10;&#10;Description automatically generated with medium confidence">
            <a:extLst>
              <a:ext uri="{FF2B5EF4-FFF2-40B4-BE49-F238E27FC236}">
                <a16:creationId xmlns:a16="http://schemas.microsoft.com/office/drawing/2014/main" id="{D1EAC1AC-EEBE-D382-F66C-C7D0E767E62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4494" y="0"/>
            <a:ext cx="5687505" cy="6081941"/>
          </a:xfrm>
          <a:prstGeom prst="rect">
            <a:avLst/>
          </a:prstGeom>
        </p:spPr>
      </p:pic>
      <p:sp>
        <p:nvSpPr>
          <p:cNvPr id="3" name="Picture Placeholder 17">
            <a:extLst>
              <a:ext uri="{FF2B5EF4-FFF2-40B4-BE49-F238E27FC236}">
                <a16:creationId xmlns:a16="http://schemas.microsoft.com/office/drawing/2014/main" id="{AB93F112-F5A8-1616-4D16-ECB2D1CC908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658520" y="1823213"/>
            <a:ext cx="3533479" cy="5030026"/>
          </a:xfrm>
          <a:custGeom>
            <a:avLst/>
            <a:gdLst>
              <a:gd name="connsiteX0" fmla="*/ 3066855 w 3068236"/>
              <a:gd name="connsiteY0" fmla="*/ 0 h 4367737"/>
              <a:gd name="connsiteX1" fmla="*/ 3068236 w 3068236"/>
              <a:gd name="connsiteY1" fmla="*/ 0 h 4367737"/>
              <a:gd name="connsiteX2" fmla="*/ 3068236 w 3068236"/>
              <a:gd name="connsiteY2" fmla="*/ 4367737 h 4367737"/>
              <a:gd name="connsiteX3" fmla="*/ 1362126 w 3068236"/>
              <a:gd name="connsiteY3" fmla="*/ 4367737 h 4367737"/>
              <a:gd name="connsiteX4" fmla="*/ 951830 w 3068236"/>
              <a:gd name="connsiteY4" fmla="*/ 3609871 h 4367737"/>
              <a:gd name="connsiteX5" fmla="*/ 936634 w 3068236"/>
              <a:gd name="connsiteY5" fmla="*/ 3590545 h 4367737"/>
              <a:gd name="connsiteX6" fmla="*/ 909005 w 3068236"/>
              <a:gd name="connsiteY6" fmla="*/ 3557414 h 4367737"/>
              <a:gd name="connsiteX7" fmla="*/ 896572 w 3068236"/>
              <a:gd name="connsiteY7" fmla="*/ 3542229 h 4367737"/>
              <a:gd name="connsiteX8" fmla="*/ 864798 w 3068236"/>
              <a:gd name="connsiteY8" fmla="*/ 3502196 h 4367737"/>
              <a:gd name="connsiteX9" fmla="*/ 856509 w 3068236"/>
              <a:gd name="connsiteY9" fmla="*/ 3491153 h 4367737"/>
              <a:gd name="connsiteX10" fmla="*/ 817828 w 3068236"/>
              <a:gd name="connsiteY10" fmla="*/ 3440076 h 4367737"/>
              <a:gd name="connsiteX11" fmla="*/ 816447 w 3068236"/>
              <a:gd name="connsiteY11" fmla="*/ 3438696 h 4367737"/>
              <a:gd name="connsiteX12" fmla="*/ 779147 w 3068236"/>
              <a:gd name="connsiteY12" fmla="*/ 3389000 h 4367737"/>
              <a:gd name="connsiteX13" fmla="*/ 768095 w 3068236"/>
              <a:gd name="connsiteY13" fmla="*/ 3373815 h 4367737"/>
              <a:gd name="connsiteX14" fmla="*/ 741847 w 3068236"/>
              <a:gd name="connsiteY14" fmla="*/ 3337923 h 4367737"/>
              <a:gd name="connsiteX15" fmla="*/ 728033 w 3068236"/>
              <a:gd name="connsiteY15" fmla="*/ 3318597 h 4367737"/>
              <a:gd name="connsiteX16" fmla="*/ 704548 w 3068236"/>
              <a:gd name="connsiteY16" fmla="*/ 3284086 h 4367737"/>
              <a:gd name="connsiteX17" fmla="*/ 690733 w 3068236"/>
              <a:gd name="connsiteY17" fmla="*/ 3263379 h 4367737"/>
              <a:gd name="connsiteX18" fmla="*/ 670011 w 3068236"/>
              <a:gd name="connsiteY18" fmla="*/ 3231629 h 4367737"/>
              <a:gd name="connsiteX19" fmla="*/ 654815 w 3068236"/>
              <a:gd name="connsiteY19" fmla="*/ 3209541 h 4367737"/>
              <a:gd name="connsiteX20" fmla="*/ 634093 w 3068236"/>
              <a:gd name="connsiteY20" fmla="*/ 3177791 h 4367737"/>
              <a:gd name="connsiteX21" fmla="*/ 620278 w 3068236"/>
              <a:gd name="connsiteY21" fmla="*/ 3154323 h 4367737"/>
              <a:gd name="connsiteX22" fmla="*/ 599556 w 3068236"/>
              <a:gd name="connsiteY22" fmla="*/ 3122573 h 4367737"/>
              <a:gd name="connsiteX23" fmla="*/ 585742 w 3068236"/>
              <a:gd name="connsiteY23" fmla="*/ 3099106 h 4367737"/>
              <a:gd name="connsiteX24" fmla="*/ 566401 w 3068236"/>
              <a:gd name="connsiteY24" fmla="*/ 3067355 h 4367737"/>
              <a:gd name="connsiteX25" fmla="*/ 552587 w 3068236"/>
              <a:gd name="connsiteY25" fmla="*/ 3042507 h 4367737"/>
              <a:gd name="connsiteX26" fmla="*/ 534628 w 3068236"/>
              <a:gd name="connsiteY26" fmla="*/ 3012137 h 4367737"/>
              <a:gd name="connsiteX27" fmla="*/ 519431 w 3068236"/>
              <a:gd name="connsiteY27" fmla="*/ 2985909 h 4367737"/>
              <a:gd name="connsiteX28" fmla="*/ 502854 w 3068236"/>
              <a:gd name="connsiteY28" fmla="*/ 2955539 h 4367737"/>
              <a:gd name="connsiteX29" fmla="*/ 489039 w 3068236"/>
              <a:gd name="connsiteY29" fmla="*/ 2929310 h 4367737"/>
              <a:gd name="connsiteX30" fmla="*/ 472462 w 3068236"/>
              <a:gd name="connsiteY30" fmla="*/ 2898941 h 4367737"/>
              <a:gd name="connsiteX31" fmla="*/ 458647 w 3068236"/>
              <a:gd name="connsiteY31" fmla="*/ 2871332 h 4367737"/>
              <a:gd name="connsiteX32" fmla="*/ 442069 w 3068236"/>
              <a:gd name="connsiteY32" fmla="*/ 2840962 h 4367737"/>
              <a:gd name="connsiteX33" fmla="*/ 428255 w 3068236"/>
              <a:gd name="connsiteY33" fmla="*/ 2813353 h 4367737"/>
              <a:gd name="connsiteX34" fmla="*/ 413058 w 3068236"/>
              <a:gd name="connsiteY34" fmla="*/ 2782983 h 4367737"/>
              <a:gd name="connsiteX35" fmla="*/ 399244 w 3068236"/>
              <a:gd name="connsiteY35" fmla="*/ 2755374 h 4367737"/>
              <a:gd name="connsiteX36" fmla="*/ 384048 w 3068236"/>
              <a:gd name="connsiteY36" fmla="*/ 2723624 h 4367737"/>
              <a:gd name="connsiteX37" fmla="*/ 371614 w 3068236"/>
              <a:gd name="connsiteY37" fmla="*/ 2696015 h 4367737"/>
              <a:gd name="connsiteX38" fmla="*/ 357800 w 3068236"/>
              <a:gd name="connsiteY38" fmla="*/ 2664264 h 4367737"/>
              <a:gd name="connsiteX39" fmla="*/ 345367 w 3068236"/>
              <a:gd name="connsiteY39" fmla="*/ 2635275 h 4367737"/>
              <a:gd name="connsiteX40" fmla="*/ 331552 w 3068236"/>
              <a:gd name="connsiteY40" fmla="*/ 2604905 h 4367737"/>
              <a:gd name="connsiteX41" fmla="*/ 319119 w 3068236"/>
              <a:gd name="connsiteY41" fmla="*/ 2575916 h 4367737"/>
              <a:gd name="connsiteX42" fmla="*/ 305304 w 3068236"/>
              <a:gd name="connsiteY42" fmla="*/ 2544166 h 4367737"/>
              <a:gd name="connsiteX43" fmla="*/ 294252 w 3068236"/>
              <a:gd name="connsiteY43" fmla="*/ 2515176 h 4367737"/>
              <a:gd name="connsiteX44" fmla="*/ 281819 w 3068236"/>
              <a:gd name="connsiteY44" fmla="*/ 2482045 h 4367737"/>
              <a:gd name="connsiteX45" fmla="*/ 269386 w 3068236"/>
              <a:gd name="connsiteY45" fmla="*/ 2453056 h 4367737"/>
              <a:gd name="connsiteX46" fmla="*/ 256953 w 3068236"/>
              <a:gd name="connsiteY46" fmla="*/ 2421306 h 4367737"/>
              <a:gd name="connsiteX47" fmla="*/ 245901 w 3068236"/>
              <a:gd name="connsiteY47" fmla="*/ 2390936 h 4367737"/>
              <a:gd name="connsiteX48" fmla="*/ 234849 w 3068236"/>
              <a:gd name="connsiteY48" fmla="*/ 2359186 h 4367737"/>
              <a:gd name="connsiteX49" fmla="*/ 223798 w 3068236"/>
              <a:gd name="connsiteY49" fmla="*/ 2328816 h 4367737"/>
              <a:gd name="connsiteX50" fmla="*/ 214127 w 3068236"/>
              <a:gd name="connsiteY50" fmla="*/ 2297065 h 4367737"/>
              <a:gd name="connsiteX51" fmla="*/ 203076 w 3068236"/>
              <a:gd name="connsiteY51" fmla="*/ 2265315 h 4367737"/>
              <a:gd name="connsiteX52" fmla="*/ 193405 w 3068236"/>
              <a:gd name="connsiteY52" fmla="*/ 2233565 h 4367737"/>
              <a:gd name="connsiteX53" fmla="*/ 182354 w 3068236"/>
              <a:gd name="connsiteY53" fmla="*/ 2201814 h 4367737"/>
              <a:gd name="connsiteX54" fmla="*/ 172683 w 3068236"/>
              <a:gd name="connsiteY54" fmla="*/ 2170064 h 4367737"/>
              <a:gd name="connsiteX55" fmla="*/ 163013 w 3068236"/>
              <a:gd name="connsiteY55" fmla="*/ 2136933 h 4367737"/>
              <a:gd name="connsiteX56" fmla="*/ 154724 w 3068236"/>
              <a:gd name="connsiteY56" fmla="*/ 2107944 h 4367737"/>
              <a:gd name="connsiteX57" fmla="*/ 145054 w 3068236"/>
              <a:gd name="connsiteY57" fmla="*/ 2072052 h 4367737"/>
              <a:gd name="connsiteX58" fmla="*/ 138147 w 3068236"/>
              <a:gd name="connsiteY58" fmla="*/ 2044443 h 4367737"/>
              <a:gd name="connsiteX59" fmla="*/ 127095 w 3068236"/>
              <a:gd name="connsiteY59" fmla="*/ 2007171 h 4367737"/>
              <a:gd name="connsiteX60" fmla="*/ 121569 w 3068236"/>
              <a:gd name="connsiteY60" fmla="*/ 1985084 h 4367737"/>
              <a:gd name="connsiteX61" fmla="*/ 96703 w 3068236"/>
              <a:gd name="connsiteY61" fmla="*/ 1876029 h 4367737"/>
              <a:gd name="connsiteX62" fmla="*/ 93940 w 3068236"/>
              <a:gd name="connsiteY62" fmla="*/ 1863605 h 4367737"/>
              <a:gd name="connsiteX63" fmla="*/ 87032 w 3068236"/>
              <a:gd name="connsiteY63" fmla="*/ 1833235 h 4367737"/>
              <a:gd name="connsiteX64" fmla="*/ 82888 w 3068236"/>
              <a:gd name="connsiteY64" fmla="*/ 1813909 h 4367737"/>
              <a:gd name="connsiteX65" fmla="*/ 77362 w 3068236"/>
              <a:gd name="connsiteY65" fmla="*/ 1786300 h 4367737"/>
              <a:gd name="connsiteX66" fmla="*/ 74599 w 3068236"/>
              <a:gd name="connsiteY66" fmla="*/ 1769734 h 4367737"/>
              <a:gd name="connsiteX67" fmla="*/ 66310 w 3068236"/>
              <a:gd name="connsiteY67" fmla="*/ 1728321 h 4367737"/>
              <a:gd name="connsiteX68" fmla="*/ 63548 w 3068236"/>
              <a:gd name="connsiteY68" fmla="*/ 1710375 h 4367737"/>
              <a:gd name="connsiteX69" fmla="*/ 58022 w 3068236"/>
              <a:gd name="connsiteY69" fmla="*/ 1682766 h 4367737"/>
              <a:gd name="connsiteX70" fmla="*/ 55259 w 3068236"/>
              <a:gd name="connsiteY70" fmla="*/ 1664820 h 4367737"/>
              <a:gd name="connsiteX71" fmla="*/ 48351 w 3068236"/>
              <a:gd name="connsiteY71" fmla="*/ 1623407 h 4367737"/>
              <a:gd name="connsiteX72" fmla="*/ 46970 w 3068236"/>
              <a:gd name="connsiteY72" fmla="*/ 1609602 h 4367737"/>
              <a:gd name="connsiteX73" fmla="*/ 41444 w 3068236"/>
              <a:gd name="connsiteY73" fmla="*/ 1579233 h 4367737"/>
              <a:gd name="connsiteX74" fmla="*/ 38681 w 3068236"/>
              <a:gd name="connsiteY74" fmla="*/ 1561287 h 4367737"/>
              <a:gd name="connsiteX75" fmla="*/ 34537 w 3068236"/>
              <a:gd name="connsiteY75" fmla="*/ 1529536 h 4367737"/>
              <a:gd name="connsiteX76" fmla="*/ 33155 w 3068236"/>
              <a:gd name="connsiteY76" fmla="*/ 1515732 h 4367737"/>
              <a:gd name="connsiteX77" fmla="*/ 27629 w 3068236"/>
              <a:gd name="connsiteY77" fmla="*/ 1474318 h 4367737"/>
              <a:gd name="connsiteX78" fmla="*/ 26248 w 3068236"/>
              <a:gd name="connsiteY78" fmla="*/ 1456373 h 4367737"/>
              <a:gd name="connsiteX79" fmla="*/ 23485 w 3068236"/>
              <a:gd name="connsiteY79" fmla="*/ 1428764 h 4367737"/>
              <a:gd name="connsiteX80" fmla="*/ 20722 w 3068236"/>
              <a:gd name="connsiteY80" fmla="*/ 1410818 h 4367737"/>
              <a:gd name="connsiteX81" fmla="*/ 16578 w 3068236"/>
              <a:gd name="connsiteY81" fmla="*/ 1370785 h 4367737"/>
              <a:gd name="connsiteX82" fmla="*/ 15196 w 3068236"/>
              <a:gd name="connsiteY82" fmla="*/ 1354220 h 4367737"/>
              <a:gd name="connsiteX83" fmla="*/ 13815 w 3068236"/>
              <a:gd name="connsiteY83" fmla="*/ 1325230 h 4367737"/>
              <a:gd name="connsiteX84" fmla="*/ 11052 w 3068236"/>
              <a:gd name="connsiteY84" fmla="*/ 1307284 h 4367737"/>
              <a:gd name="connsiteX85" fmla="*/ 9670 w 3068236"/>
              <a:gd name="connsiteY85" fmla="*/ 1275534 h 4367737"/>
              <a:gd name="connsiteX86" fmla="*/ 8289 w 3068236"/>
              <a:gd name="connsiteY86" fmla="*/ 1253447 h 4367737"/>
              <a:gd name="connsiteX87" fmla="*/ 5526 w 3068236"/>
              <a:gd name="connsiteY87" fmla="*/ 1221697 h 4367737"/>
              <a:gd name="connsiteX88" fmla="*/ 5526 w 3068236"/>
              <a:gd name="connsiteY88" fmla="*/ 1202370 h 4367737"/>
              <a:gd name="connsiteX89" fmla="*/ 4145 w 3068236"/>
              <a:gd name="connsiteY89" fmla="*/ 1176142 h 4367737"/>
              <a:gd name="connsiteX90" fmla="*/ 2763 w 3068236"/>
              <a:gd name="connsiteY90" fmla="*/ 1158196 h 4367737"/>
              <a:gd name="connsiteX91" fmla="*/ 1382 w 3068236"/>
              <a:gd name="connsiteY91" fmla="*/ 1118163 h 4367737"/>
              <a:gd name="connsiteX92" fmla="*/ 1382 w 3068236"/>
              <a:gd name="connsiteY92" fmla="*/ 1098837 h 4367737"/>
              <a:gd name="connsiteX93" fmla="*/ 0 w 3068236"/>
              <a:gd name="connsiteY93" fmla="*/ 1073989 h 4367737"/>
              <a:gd name="connsiteX94" fmla="*/ 0 w 3068236"/>
              <a:gd name="connsiteY94" fmla="*/ 1054662 h 4367737"/>
              <a:gd name="connsiteX95" fmla="*/ 0 w 3068236"/>
              <a:gd name="connsiteY95" fmla="*/ 1022912 h 4367737"/>
              <a:gd name="connsiteX96" fmla="*/ 0 w 3068236"/>
              <a:gd name="connsiteY96" fmla="*/ 996684 h 4367737"/>
              <a:gd name="connsiteX97" fmla="*/ 0 w 3068236"/>
              <a:gd name="connsiteY97" fmla="*/ 971835 h 4367737"/>
              <a:gd name="connsiteX98" fmla="*/ 0 w 3068236"/>
              <a:gd name="connsiteY98" fmla="*/ 949748 h 4367737"/>
              <a:gd name="connsiteX99" fmla="*/ 0 w 3068236"/>
              <a:gd name="connsiteY99" fmla="*/ 927661 h 4367737"/>
              <a:gd name="connsiteX100" fmla="*/ 1382 w 3068236"/>
              <a:gd name="connsiteY100" fmla="*/ 895911 h 4367737"/>
              <a:gd name="connsiteX101" fmla="*/ 1382 w 3068236"/>
              <a:gd name="connsiteY101" fmla="*/ 869682 h 4367737"/>
              <a:gd name="connsiteX102" fmla="*/ 2763 w 3068236"/>
              <a:gd name="connsiteY102" fmla="*/ 847595 h 4367737"/>
              <a:gd name="connsiteX103" fmla="*/ 2763 w 3068236"/>
              <a:gd name="connsiteY103" fmla="*/ 826888 h 4367737"/>
              <a:gd name="connsiteX104" fmla="*/ 4145 w 3068236"/>
              <a:gd name="connsiteY104" fmla="*/ 803421 h 4367737"/>
              <a:gd name="connsiteX105" fmla="*/ 5526 w 3068236"/>
              <a:gd name="connsiteY105" fmla="*/ 773051 h 4367737"/>
              <a:gd name="connsiteX106" fmla="*/ 8289 w 3068236"/>
              <a:gd name="connsiteY106" fmla="*/ 744062 h 4367737"/>
              <a:gd name="connsiteX107" fmla="*/ 8289 w 3068236"/>
              <a:gd name="connsiteY107" fmla="*/ 731637 h 4367737"/>
              <a:gd name="connsiteX108" fmla="*/ 11052 w 3068236"/>
              <a:gd name="connsiteY108" fmla="*/ 733018 h 4367737"/>
              <a:gd name="connsiteX109" fmla="*/ 40063 w 3068236"/>
              <a:gd name="connsiteY109" fmla="*/ 745442 h 4367737"/>
              <a:gd name="connsiteX110" fmla="*/ 42826 w 3068236"/>
              <a:gd name="connsiteY110" fmla="*/ 746822 h 4367737"/>
              <a:gd name="connsiteX111" fmla="*/ 71836 w 3068236"/>
              <a:gd name="connsiteY111" fmla="*/ 760627 h 4367737"/>
              <a:gd name="connsiteX112" fmla="*/ 74599 w 3068236"/>
              <a:gd name="connsiteY112" fmla="*/ 762007 h 4367737"/>
              <a:gd name="connsiteX113" fmla="*/ 102229 w 3068236"/>
              <a:gd name="connsiteY113" fmla="*/ 777192 h 4367737"/>
              <a:gd name="connsiteX114" fmla="*/ 107754 w 3068236"/>
              <a:gd name="connsiteY114" fmla="*/ 778573 h 4367737"/>
              <a:gd name="connsiteX115" fmla="*/ 135384 w 3068236"/>
              <a:gd name="connsiteY115" fmla="*/ 795138 h 4367737"/>
              <a:gd name="connsiteX116" fmla="*/ 138147 w 3068236"/>
              <a:gd name="connsiteY116" fmla="*/ 796519 h 4367737"/>
              <a:gd name="connsiteX117" fmla="*/ 165776 w 3068236"/>
              <a:gd name="connsiteY117" fmla="*/ 811703 h 4367737"/>
              <a:gd name="connsiteX118" fmla="*/ 168539 w 3068236"/>
              <a:gd name="connsiteY118" fmla="*/ 813084 h 4367737"/>
              <a:gd name="connsiteX119" fmla="*/ 196168 w 3068236"/>
              <a:gd name="connsiteY119" fmla="*/ 831030 h 4367737"/>
              <a:gd name="connsiteX120" fmla="*/ 201694 w 3068236"/>
              <a:gd name="connsiteY120" fmla="*/ 833791 h 4367737"/>
              <a:gd name="connsiteX121" fmla="*/ 227942 w 3068236"/>
              <a:gd name="connsiteY121" fmla="*/ 851736 h 4367737"/>
              <a:gd name="connsiteX122" fmla="*/ 230705 w 3068236"/>
              <a:gd name="connsiteY122" fmla="*/ 853117 h 4367737"/>
              <a:gd name="connsiteX123" fmla="*/ 256953 w 3068236"/>
              <a:gd name="connsiteY123" fmla="*/ 871063 h 4367737"/>
              <a:gd name="connsiteX124" fmla="*/ 259716 w 3068236"/>
              <a:gd name="connsiteY124" fmla="*/ 873824 h 4367737"/>
              <a:gd name="connsiteX125" fmla="*/ 285964 w 3068236"/>
              <a:gd name="connsiteY125" fmla="*/ 891769 h 4367737"/>
              <a:gd name="connsiteX126" fmla="*/ 291489 w 3068236"/>
              <a:gd name="connsiteY126" fmla="*/ 895911 h 4367737"/>
              <a:gd name="connsiteX127" fmla="*/ 316356 w 3068236"/>
              <a:gd name="connsiteY127" fmla="*/ 916617 h 4367737"/>
              <a:gd name="connsiteX128" fmla="*/ 317737 w 3068236"/>
              <a:gd name="connsiteY128" fmla="*/ 916617 h 4367737"/>
              <a:gd name="connsiteX129" fmla="*/ 342604 w 3068236"/>
              <a:gd name="connsiteY129" fmla="*/ 937324 h 4367737"/>
              <a:gd name="connsiteX130" fmla="*/ 346748 w 3068236"/>
              <a:gd name="connsiteY130" fmla="*/ 941466 h 4367737"/>
              <a:gd name="connsiteX131" fmla="*/ 371614 w 3068236"/>
              <a:gd name="connsiteY131" fmla="*/ 962172 h 4367737"/>
              <a:gd name="connsiteX132" fmla="*/ 375759 w 3068236"/>
              <a:gd name="connsiteY132" fmla="*/ 966314 h 4367737"/>
              <a:gd name="connsiteX133" fmla="*/ 400625 w 3068236"/>
              <a:gd name="connsiteY133" fmla="*/ 988401 h 4367737"/>
              <a:gd name="connsiteX134" fmla="*/ 402007 w 3068236"/>
              <a:gd name="connsiteY134" fmla="*/ 989781 h 4367737"/>
              <a:gd name="connsiteX135" fmla="*/ 425492 w 3068236"/>
              <a:gd name="connsiteY135" fmla="*/ 1011868 h 4367737"/>
              <a:gd name="connsiteX136" fmla="*/ 429636 w 3068236"/>
              <a:gd name="connsiteY136" fmla="*/ 1016010 h 4367737"/>
              <a:gd name="connsiteX137" fmla="*/ 453121 w 3068236"/>
              <a:gd name="connsiteY137" fmla="*/ 1039477 h 4367737"/>
              <a:gd name="connsiteX138" fmla="*/ 457265 w 3068236"/>
              <a:gd name="connsiteY138" fmla="*/ 1044999 h 4367737"/>
              <a:gd name="connsiteX139" fmla="*/ 479369 w 3068236"/>
              <a:gd name="connsiteY139" fmla="*/ 1069847 h 4367737"/>
              <a:gd name="connsiteX140" fmla="*/ 1743410 w 3068236"/>
              <a:gd name="connsiteY140" fmla="*/ 1490884 h 4367737"/>
              <a:gd name="connsiteX141" fmla="*/ 1786236 w 3068236"/>
              <a:gd name="connsiteY141" fmla="*/ 1482601 h 4367737"/>
              <a:gd name="connsiteX142" fmla="*/ 2124695 w 3068236"/>
              <a:gd name="connsiteY142" fmla="*/ 1355600 h 4367737"/>
              <a:gd name="connsiteX143" fmla="*/ 2388555 w 3068236"/>
              <a:gd name="connsiteY143" fmla="*/ 1169240 h 4367737"/>
              <a:gd name="connsiteX144" fmla="*/ 2762932 w 3068236"/>
              <a:gd name="connsiteY144" fmla="*/ 603256 h 4367737"/>
              <a:gd name="connsiteX145" fmla="*/ 2775365 w 3068236"/>
              <a:gd name="connsiteY145" fmla="*/ 563223 h 4367737"/>
              <a:gd name="connsiteX146" fmla="*/ 3066855 w 3068236"/>
              <a:gd name="connsiteY146" fmla="*/ 80066 h 4367737"/>
              <a:gd name="connsiteX147" fmla="*/ 3066855 w 3068236"/>
              <a:gd name="connsiteY147" fmla="*/ 0 h 4367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</a:cxnLst>
            <a:rect l="l" t="t" r="r" b="b"/>
            <a:pathLst>
              <a:path w="3068236" h="4367737">
                <a:moveTo>
                  <a:pt x="3066855" y="0"/>
                </a:moveTo>
                <a:lnTo>
                  <a:pt x="3068236" y="0"/>
                </a:lnTo>
                <a:cubicBezTo>
                  <a:pt x="3068236" y="0"/>
                  <a:pt x="3068236" y="0"/>
                  <a:pt x="3068236" y="4367737"/>
                </a:cubicBezTo>
                <a:cubicBezTo>
                  <a:pt x="3068236" y="4367737"/>
                  <a:pt x="3068236" y="4367737"/>
                  <a:pt x="1362126" y="4367737"/>
                </a:cubicBezTo>
                <a:cubicBezTo>
                  <a:pt x="1333115" y="4008821"/>
                  <a:pt x="951830" y="3609871"/>
                  <a:pt x="951830" y="3609871"/>
                </a:cubicBezTo>
                <a:cubicBezTo>
                  <a:pt x="947686" y="3602969"/>
                  <a:pt x="942160" y="3597447"/>
                  <a:pt x="936634" y="3590545"/>
                </a:cubicBezTo>
                <a:cubicBezTo>
                  <a:pt x="926964" y="3579501"/>
                  <a:pt x="918675" y="3568458"/>
                  <a:pt x="909005" y="3557414"/>
                </a:cubicBezTo>
                <a:cubicBezTo>
                  <a:pt x="904860" y="3551892"/>
                  <a:pt x="900716" y="3547751"/>
                  <a:pt x="896572" y="3542229"/>
                </a:cubicBezTo>
                <a:cubicBezTo>
                  <a:pt x="885520" y="3528425"/>
                  <a:pt x="874468" y="3514620"/>
                  <a:pt x="864798" y="3502196"/>
                </a:cubicBezTo>
                <a:cubicBezTo>
                  <a:pt x="862035" y="3498055"/>
                  <a:pt x="859272" y="3495294"/>
                  <a:pt x="856509" y="3491153"/>
                </a:cubicBezTo>
                <a:cubicBezTo>
                  <a:pt x="842694" y="3474587"/>
                  <a:pt x="830261" y="3458022"/>
                  <a:pt x="817828" y="3440076"/>
                </a:cubicBezTo>
                <a:cubicBezTo>
                  <a:pt x="816447" y="3440076"/>
                  <a:pt x="816447" y="3440076"/>
                  <a:pt x="816447" y="3438696"/>
                </a:cubicBezTo>
                <a:cubicBezTo>
                  <a:pt x="804013" y="3422130"/>
                  <a:pt x="791580" y="3405565"/>
                  <a:pt x="779147" y="3389000"/>
                </a:cubicBezTo>
                <a:cubicBezTo>
                  <a:pt x="775003" y="3384858"/>
                  <a:pt x="772240" y="3379336"/>
                  <a:pt x="768095" y="3373815"/>
                </a:cubicBezTo>
                <a:cubicBezTo>
                  <a:pt x="759807" y="3361391"/>
                  <a:pt x="750136" y="3348967"/>
                  <a:pt x="741847" y="3337923"/>
                </a:cubicBezTo>
                <a:cubicBezTo>
                  <a:pt x="737703" y="3331021"/>
                  <a:pt x="733559" y="3324119"/>
                  <a:pt x="728033" y="3318597"/>
                </a:cubicBezTo>
                <a:cubicBezTo>
                  <a:pt x="721125" y="3307553"/>
                  <a:pt x="712837" y="3296510"/>
                  <a:pt x="704548" y="3284086"/>
                </a:cubicBezTo>
                <a:cubicBezTo>
                  <a:pt x="700403" y="3277183"/>
                  <a:pt x="696259" y="3270281"/>
                  <a:pt x="690733" y="3263379"/>
                </a:cubicBezTo>
                <a:cubicBezTo>
                  <a:pt x="683826" y="3252335"/>
                  <a:pt x="676919" y="3242672"/>
                  <a:pt x="670011" y="3231629"/>
                </a:cubicBezTo>
                <a:cubicBezTo>
                  <a:pt x="664485" y="3223346"/>
                  <a:pt x="658960" y="3216444"/>
                  <a:pt x="654815" y="3209541"/>
                </a:cubicBezTo>
                <a:cubicBezTo>
                  <a:pt x="647908" y="3198498"/>
                  <a:pt x="641000" y="3187454"/>
                  <a:pt x="634093" y="3177791"/>
                </a:cubicBezTo>
                <a:cubicBezTo>
                  <a:pt x="629949" y="3169508"/>
                  <a:pt x="624423" y="3161226"/>
                  <a:pt x="620278" y="3154323"/>
                </a:cubicBezTo>
                <a:cubicBezTo>
                  <a:pt x="613371" y="3143280"/>
                  <a:pt x="606464" y="3133617"/>
                  <a:pt x="599556" y="3122573"/>
                </a:cubicBezTo>
                <a:cubicBezTo>
                  <a:pt x="595412" y="3114290"/>
                  <a:pt x="589886" y="3107388"/>
                  <a:pt x="585742" y="3099106"/>
                </a:cubicBezTo>
                <a:cubicBezTo>
                  <a:pt x="578834" y="3088062"/>
                  <a:pt x="573309" y="3078399"/>
                  <a:pt x="566401" y="3067355"/>
                </a:cubicBezTo>
                <a:cubicBezTo>
                  <a:pt x="562257" y="3059073"/>
                  <a:pt x="556731" y="3050790"/>
                  <a:pt x="552587" y="3042507"/>
                </a:cubicBezTo>
                <a:cubicBezTo>
                  <a:pt x="545679" y="3032844"/>
                  <a:pt x="540153" y="3021800"/>
                  <a:pt x="534628" y="3012137"/>
                </a:cubicBezTo>
                <a:cubicBezTo>
                  <a:pt x="529102" y="3003855"/>
                  <a:pt x="524957" y="2995572"/>
                  <a:pt x="519431" y="2985909"/>
                </a:cubicBezTo>
                <a:cubicBezTo>
                  <a:pt x="513905" y="2976246"/>
                  <a:pt x="508380" y="2965202"/>
                  <a:pt x="502854" y="2955539"/>
                </a:cubicBezTo>
                <a:cubicBezTo>
                  <a:pt x="497328" y="2947256"/>
                  <a:pt x="493184" y="2937593"/>
                  <a:pt x="489039" y="2929310"/>
                </a:cubicBezTo>
                <a:cubicBezTo>
                  <a:pt x="483513" y="2919647"/>
                  <a:pt x="477987" y="2908604"/>
                  <a:pt x="472462" y="2898941"/>
                </a:cubicBezTo>
                <a:cubicBezTo>
                  <a:pt x="466936" y="2889277"/>
                  <a:pt x="462791" y="2880995"/>
                  <a:pt x="458647" y="2871332"/>
                </a:cubicBezTo>
                <a:cubicBezTo>
                  <a:pt x="453121" y="2861669"/>
                  <a:pt x="447595" y="2850625"/>
                  <a:pt x="442069" y="2840962"/>
                </a:cubicBezTo>
                <a:cubicBezTo>
                  <a:pt x="437925" y="2831299"/>
                  <a:pt x="432399" y="2823016"/>
                  <a:pt x="428255" y="2813353"/>
                </a:cubicBezTo>
                <a:cubicBezTo>
                  <a:pt x="422729" y="2803690"/>
                  <a:pt x="418584" y="2792646"/>
                  <a:pt x="413058" y="2782983"/>
                </a:cubicBezTo>
                <a:cubicBezTo>
                  <a:pt x="408914" y="2773320"/>
                  <a:pt x="403388" y="2763657"/>
                  <a:pt x="399244" y="2755374"/>
                </a:cubicBezTo>
                <a:cubicBezTo>
                  <a:pt x="395099" y="2744330"/>
                  <a:pt x="389574" y="2734667"/>
                  <a:pt x="384048" y="2723624"/>
                </a:cubicBezTo>
                <a:cubicBezTo>
                  <a:pt x="379903" y="2713961"/>
                  <a:pt x="375759" y="2705678"/>
                  <a:pt x="371614" y="2696015"/>
                </a:cubicBezTo>
                <a:cubicBezTo>
                  <a:pt x="367470" y="2684971"/>
                  <a:pt x="361944" y="2675308"/>
                  <a:pt x="357800" y="2664264"/>
                </a:cubicBezTo>
                <a:cubicBezTo>
                  <a:pt x="353655" y="2654601"/>
                  <a:pt x="349511" y="2644938"/>
                  <a:pt x="345367" y="2635275"/>
                </a:cubicBezTo>
                <a:cubicBezTo>
                  <a:pt x="339841" y="2625612"/>
                  <a:pt x="335696" y="2614568"/>
                  <a:pt x="331552" y="2604905"/>
                </a:cubicBezTo>
                <a:cubicBezTo>
                  <a:pt x="327408" y="2595242"/>
                  <a:pt x="323263" y="2585579"/>
                  <a:pt x="319119" y="2575916"/>
                </a:cubicBezTo>
                <a:cubicBezTo>
                  <a:pt x="314974" y="2564872"/>
                  <a:pt x="309449" y="2553829"/>
                  <a:pt x="305304" y="2544166"/>
                </a:cubicBezTo>
                <a:cubicBezTo>
                  <a:pt x="301160" y="2534502"/>
                  <a:pt x="297015" y="2524839"/>
                  <a:pt x="294252" y="2515176"/>
                </a:cubicBezTo>
                <a:cubicBezTo>
                  <a:pt x="290108" y="2504133"/>
                  <a:pt x="285964" y="2493089"/>
                  <a:pt x="281819" y="2482045"/>
                </a:cubicBezTo>
                <a:cubicBezTo>
                  <a:pt x="277675" y="2472382"/>
                  <a:pt x="273530" y="2462719"/>
                  <a:pt x="269386" y="2453056"/>
                </a:cubicBezTo>
                <a:cubicBezTo>
                  <a:pt x="265242" y="2442012"/>
                  <a:pt x="261097" y="2432349"/>
                  <a:pt x="256953" y="2421306"/>
                </a:cubicBezTo>
                <a:cubicBezTo>
                  <a:pt x="254190" y="2411643"/>
                  <a:pt x="250045" y="2400599"/>
                  <a:pt x="245901" y="2390936"/>
                </a:cubicBezTo>
                <a:cubicBezTo>
                  <a:pt x="243138" y="2379892"/>
                  <a:pt x="238994" y="2370229"/>
                  <a:pt x="234849" y="2359186"/>
                </a:cubicBezTo>
                <a:cubicBezTo>
                  <a:pt x="230705" y="2349522"/>
                  <a:pt x="227942" y="2338479"/>
                  <a:pt x="223798" y="2328816"/>
                </a:cubicBezTo>
                <a:cubicBezTo>
                  <a:pt x="221035" y="2317772"/>
                  <a:pt x="216890" y="2306728"/>
                  <a:pt x="214127" y="2297065"/>
                </a:cubicBezTo>
                <a:cubicBezTo>
                  <a:pt x="209983" y="2286022"/>
                  <a:pt x="205839" y="2274978"/>
                  <a:pt x="203076" y="2265315"/>
                </a:cubicBezTo>
                <a:cubicBezTo>
                  <a:pt x="198931" y="2254271"/>
                  <a:pt x="196168" y="2244608"/>
                  <a:pt x="193405" y="2233565"/>
                </a:cubicBezTo>
                <a:cubicBezTo>
                  <a:pt x="189261" y="2222521"/>
                  <a:pt x="186498" y="2212858"/>
                  <a:pt x="182354" y="2201814"/>
                </a:cubicBezTo>
                <a:cubicBezTo>
                  <a:pt x="179591" y="2190771"/>
                  <a:pt x="176828" y="2181108"/>
                  <a:pt x="172683" y="2170064"/>
                </a:cubicBezTo>
                <a:cubicBezTo>
                  <a:pt x="169920" y="2159021"/>
                  <a:pt x="167158" y="2147977"/>
                  <a:pt x="163013" y="2136933"/>
                </a:cubicBezTo>
                <a:cubicBezTo>
                  <a:pt x="160250" y="2127270"/>
                  <a:pt x="157487" y="2117607"/>
                  <a:pt x="154724" y="2107944"/>
                </a:cubicBezTo>
                <a:cubicBezTo>
                  <a:pt x="151961" y="2095520"/>
                  <a:pt x="147817" y="2084476"/>
                  <a:pt x="145054" y="2072052"/>
                </a:cubicBezTo>
                <a:cubicBezTo>
                  <a:pt x="142291" y="2063770"/>
                  <a:pt x="139528" y="2054107"/>
                  <a:pt x="138147" y="2044443"/>
                </a:cubicBezTo>
                <a:cubicBezTo>
                  <a:pt x="134002" y="2032019"/>
                  <a:pt x="131239" y="2019595"/>
                  <a:pt x="127095" y="2007171"/>
                </a:cubicBezTo>
                <a:cubicBezTo>
                  <a:pt x="125714" y="2000269"/>
                  <a:pt x="124332" y="1991986"/>
                  <a:pt x="121569" y="1985084"/>
                </a:cubicBezTo>
                <a:cubicBezTo>
                  <a:pt x="113280" y="1949193"/>
                  <a:pt x="104992" y="1913301"/>
                  <a:pt x="96703" y="1876029"/>
                </a:cubicBezTo>
                <a:cubicBezTo>
                  <a:pt x="95321" y="1871887"/>
                  <a:pt x="95321" y="1867746"/>
                  <a:pt x="93940" y="1863605"/>
                </a:cubicBezTo>
                <a:cubicBezTo>
                  <a:pt x="91177" y="1853942"/>
                  <a:pt x="89795" y="1844279"/>
                  <a:pt x="87032" y="1833235"/>
                </a:cubicBezTo>
                <a:cubicBezTo>
                  <a:pt x="85651" y="1827713"/>
                  <a:pt x="84270" y="1820811"/>
                  <a:pt x="82888" y="1813909"/>
                </a:cubicBezTo>
                <a:cubicBezTo>
                  <a:pt x="81507" y="1805626"/>
                  <a:pt x="80125" y="1795963"/>
                  <a:pt x="77362" y="1786300"/>
                </a:cubicBezTo>
                <a:cubicBezTo>
                  <a:pt x="75981" y="1780778"/>
                  <a:pt x="75981" y="1775256"/>
                  <a:pt x="74599" y="1769734"/>
                </a:cubicBezTo>
                <a:cubicBezTo>
                  <a:pt x="71836" y="1755930"/>
                  <a:pt x="69073" y="1742125"/>
                  <a:pt x="66310" y="1728321"/>
                </a:cubicBezTo>
                <a:cubicBezTo>
                  <a:pt x="64929" y="1722799"/>
                  <a:pt x="64929" y="1717277"/>
                  <a:pt x="63548" y="1710375"/>
                </a:cubicBezTo>
                <a:cubicBezTo>
                  <a:pt x="62166" y="1702092"/>
                  <a:pt x="59403" y="1692429"/>
                  <a:pt x="58022" y="1682766"/>
                </a:cubicBezTo>
                <a:cubicBezTo>
                  <a:pt x="58022" y="1677244"/>
                  <a:pt x="56640" y="1670342"/>
                  <a:pt x="55259" y="1664820"/>
                </a:cubicBezTo>
                <a:cubicBezTo>
                  <a:pt x="52496" y="1651016"/>
                  <a:pt x="51114" y="1637211"/>
                  <a:pt x="48351" y="1623407"/>
                </a:cubicBezTo>
                <a:cubicBezTo>
                  <a:pt x="48351" y="1619266"/>
                  <a:pt x="46970" y="1613744"/>
                  <a:pt x="46970" y="1609602"/>
                </a:cubicBezTo>
                <a:cubicBezTo>
                  <a:pt x="45589" y="1598559"/>
                  <a:pt x="42826" y="1588896"/>
                  <a:pt x="41444" y="1579233"/>
                </a:cubicBezTo>
                <a:cubicBezTo>
                  <a:pt x="41444" y="1572330"/>
                  <a:pt x="40063" y="1566808"/>
                  <a:pt x="38681" y="1561287"/>
                </a:cubicBezTo>
                <a:cubicBezTo>
                  <a:pt x="37300" y="1550243"/>
                  <a:pt x="35918" y="1540580"/>
                  <a:pt x="34537" y="1529536"/>
                </a:cubicBezTo>
                <a:cubicBezTo>
                  <a:pt x="34537" y="1525395"/>
                  <a:pt x="34537" y="1519873"/>
                  <a:pt x="33155" y="1515732"/>
                </a:cubicBezTo>
                <a:cubicBezTo>
                  <a:pt x="31774" y="1501927"/>
                  <a:pt x="30392" y="1488123"/>
                  <a:pt x="27629" y="1474318"/>
                </a:cubicBezTo>
                <a:cubicBezTo>
                  <a:pt x="27629" y="1468797"/>
                  <a:pt x="26248" y="1463275"/>
                  <a:pt x="26248" y="1456373"/>
                </a:cubicBezTo>
                <a:cubicBezTo>
                  <a:pt x="24867" y="1446710"/>
                  <a:pt x="23485" y="1438427"/>
                  <a:pt x="23485" y="1428764"/>
                </a:cubicBezTo>
                <a:cubicBezTo>
                  <a:pt x="22104" y="1423242"/>
                  <a:pt x="22104" y="1416340"/>
                  <a:pt x="20722" y="1410818"/>
                </a:cubicBezTo>
                <a:cubicBezTo>
                  <a:pt x="19341" y="1397013"/>
                  <a:pt x="17959" y="1384589"/>
                  <a:pt x="16578" y="1370785"/>
                </a:cubicBezTo>
                <a:cubicBezTo>
                  <a:pt x="16578" y="1365263"/>
                  <a:pt x="16578" y="1359741"/>
                  <a:pt x="15196" y="1354220"/>
                </a:cubicBezTo>
                <a:cubicBezTo>
                  <a:pt x="15196" y="1344556"/>
                  <a:pt x="13815" y="1334893"/>
                  <a:pt x="13815" y="1325230"/>
                </a:cubicBezTo>
                <a:cubicBezTo>
                  <a:pt x="12433" y="1319708"/>
                  <a:pt x="12433" y="1312806"/>
                  <a:pt x="11052" y="1307284"/>
                </a:cubicBezTo>
                <a:cubicBezTo>
                  <a:pt x="11052" y="1296241"/>
                  <a:pt x="9670" y="1285197"/>
                  <a:pt x="9670" y="1275534"/>
                </a:cubicBezTo>
                <a:cubicBezTo>
                  <a:pt x="8289" y="1267251"/>
                  <a:pt x="8289" y="1260349"/>
                  <a:pt x="8289" y="1253447"/>
                </a:cubicBezTo>
                <a:cubicBezTo>
                  <a:pt x="6907" y="1242403"/>
                  <a:pt x="6907" y="1232740"/>
                  <a:pt x="5526" y="1221697"/>
                </a:cubicBezTo>
                <a:cubicBezTo>
                  <a:pt x="5526" y="1216175"/>
                  <a:pt x="5526" y="1209273"/>
                  <a:pt x="5526" y="1202370"/>
                </a:cubicBezTo>
                <a:cubicBezTo>
                  <a:pt x="4145" y="1194088"/>
                  <a:pt x="4145" y="1185805"/>
                  <a:pt x="4145" y="1176142"/>
                </a:cubicBezTo>
                <a:cubicBezTo>
                  <a:pt x="4145" y="1170620"/>
                  <a:pt x="2763" y="1163718"/>
                  <a:pt x="2763" y="1158196"/>
                </a:cubicBezTo>
                <a:cubicBezTo>
                  <a:pt x="2763" y="1144391"/>
                  <a:pt x="1382" y="1131967"/>
                  <a:pt x="1382" y="1118163"/>
                </a:cubicBezTo>
                <a:cubicBezTo>
                  <a:pt x="1382" y="1112641"/>
                  <a:pt x="1382" y="1105739"/>
                  <a:pt x="1382" y="1098837"/>
                </a:cubicBezTo>
                <a:cubicBezTo>
                  <a:pt x="1382" y="1090554"/>
                  <a:pt x="0" y="1082271"/>
                  <a:pt x="0" y="1073989"/>
                </a:cubicBezTo>
                <a:cubicBezTo>
                  <a:pt x="0" y="1068467"/>
                  <a:pt x="0" y="1061565"/>
                  <a:pt x="0" y="1054662"/>
                </a:cubicBezTo>
                <a:cubicBezTo>
                  <a:pt x="0" y="1043619"/>
                  <a:pt x="0" y="1033956"/>
                  <a:pt x="0" y="1022912"/>
                </a:cubicBezTo>
                <a:cubicBezTo>
                  <a:pt x="0" y="1014629"/>
                  <a:pt x="0" y="1004966"/>
                  <a:pt x="0" y="996684"/>
                </a:cubicBezTo>
                <a:cubicBezTo>
                  <a:pt x="0" y="988401"/>
                  <a:pt x="0" y="980118"/>
                  <a:pt x="0" y="971835"/>
                </a:cubicBezTo>
                <a:cubicBezTo>
                  <a:pt x="0" y="964933"/>
                  <a:pt x="0" y="958031"/>
                  <a:pt x="0" y="949748"/>
                </a:cubicBezTo>
                <a:cubicBezTo>
                  <a:pt x="0" y="942846"/>
                  <a:pt x="0" y="934563"/>
                  <a:pt x="0" y="927661"/>
                </a:cubicBezTo>
                <a:cubicBezTo>
                  <a:pt x="0" y="916617"/>
                  <a:pt x="1382" y="906954"/>
                  <a:pt x="1382" y="895911"/>
                </a:cubicBezTo>
                <a:cubicBezTo>
                  <a:pt x="1382" y="887628"/>
                  <a:pt x="1382" y="877965"/>
                  <a:pt x="1382" y="869682"/>
                </a:cubicBezTo>
                <a:cubicBezTo>
                  <a:pt x="1382" y="862780"/>
                  <a:pt x="2763" y="854497"/>
                  <a:pt x="2763" y="847595"/>
                </a:cubicBezTo>
                <a:cubicBezTo>
                  <a:pt x="2763" y="840693"/>
                  <a:pt x="2763" y="833791"/>
                  <a:pt x="2763" y="826888"/>
                </a:cubicBezTo>
                <a:cubicBezTo>
                  <a:pt x="4145" y="818606"/>
                  <a:pt x="4145" y="811703"/>
                  <a:pt x="4145" y="803421"/>
                </a:cubicBezTo>
                <a:cubicBezTo>
                  <a:pt x="5526" y="793758"/>
                  <a:pt x="5526" y="782714"/>
                  <a:pt x="5526" y="773051"/>
                </a:cubicBezTo>
                <a:cubicBezTo>
                  <a:pt x="6907" y="763388"/>
                  <a:pt x="6907" y="753725"/>
                  <a:pt x="8289" y="744062"/>
                </a:cubicBezTo>
                <a:cubicBezTo>
                  <a:pt x="8289" y="739920"/>
                  <a:pt x="8289" y="735779"/>
                  <a:pt x="8289" y="731637"/>
                </a:cubicBezTo>
                <a:cubicBezTo>
                  <a:pt x="9670" y="731637"/>
                  <a:pt x="9670" y="733018"/>
                  <a:pt x="11052" y="733018"/>
                </a:cubicBezTo>
                <a:cubicBezTo>
                  <a:pt x="20722" y="737159"/>
                  <a:pt x="30392" y="741301"/>
                  <a:pt x="40063" y="745442"/>
                </a:cubicBezTo>
                <a:cubicBezTo>
                  <a:pt x="41444" y="746822"/>
                  <a:pt x="42826" y="746822"/>
                  <a:pt x="42826" y="746822"/>
                </a:cubicBezTo>
                <a:cubicBezTo>
                  <a:pt x="52496" y="752344"/>
                  <a:pt x="62166" y="756486"/>
                  <a:pt x="71836" y="760627"/>
                </a:cubicBezTo>
                <a:cubicBezTo>
                  <a:pt x="71836" y="760627"/>
                  <a:pt x="73218" y="762007"/>
                  <a:pt x="74599" y="762007"/>
                </a:cubicBezTo>
                <a:cubicBezTo>
                  <a:pt x="84270" y="766149"/>
                  <a:pt x="92558" y="771670"/>
                  <a:pt x="102229" y="777192"/>
                </a:cubicBezTo>
                <a:cubicBezTo>
                  <a:pt x="104992" y="777192"/>
                  <a:pt x="106373" y="778573"/>
                  <a:pt x="107754" y="778573"/>
                </a:cubicBezTo>
                <a:cubicBezTo>
                  <a:pt x="117425" y="784095"/>
                  <a:pt x="127095" y="789616"/>
                  <a:pt x="135384" y="795138"/>
                </a:cubicBezTo>
                <a:cubicBezTo>
                  <a:pt x="136765" y="795138"/>
                  <a:pt x="138147" y="795138"/>
                  <a:pt x="138147" y="796519"/>
                </a:cubicBezTo>
                <a:cubicBezTo>
                  <a:pt x="147817" y="800660"/>
                  <a:pt x="156106" y="806182"/>
                  <a:pt x="165776" y="811703"/>
                </a:cubicBezTo>
                <a:cubicBezTo>
                  <a:pt x="167158" y="811703"/>
                  <a:pt x="167158" y="813084"/>
                  <a:pt x="168539" y="813084"/>
                </a:cubicBezTo>
                <a:cubicBezTo>
                  <a:pt x="178209" y="818606"/>
                  <a:pt x="186498" y="824128"/>
                  <a:pt x="196168" y="831030"/>
                </a:cubicBezTo>
                <a:cubicBezTo>
                  <a:pt x="197550" y="831030"/>
                  <a:pt x="198931" y="832410"/>
                  <a:pt x="201694" y="833791"/>
                </a:cubicBezTo>
                <a:cubicBezTo>
                  <a:pt x="209983" y="839312"/>
                  <a:pt x="219653" y="844834"/>
                  <a:pt x="227942" y="851736"/>
                </a:cubicBezTo>
                <a:cubicBezTo>
                  <a:pt x="229323" y="851736"/>
                  <a:pt x="229323" y="851736"/>
                  <a:pt x="230705" y="853117"/>
                </a:cubicBezTo>
                <a:cubicBezTo>
                  <a:pt x="238994" y="858639"/>
                  <a:pt x="247283" y="864161"/>
                  <a:pt x="256953" y="871063"/>
                </a:cubicBezTo>
                <a:cubicBezTo>
                  <a:pt x="258334" y="871063"/>
                  <a:pt x="258334" y="872443"/>
                  <a:pt x="259716" y="873824"/>
                </a:cubicBezTo>
                <a:cubicBezTo>
                  <a:pt x="269386" y="879345"/>
                  <a:pt x="277675" y="886248"/>
                  <a:pt x="285964" y="891769"/>
                </a:cubicBezTo>
                <a:cubicBezTo>
                  <a:pt x="287345" y="893150"/>
                  <a:pt x="288727" y="894530"/>
                  <a:pt x="291489" y="895911"/>
                </a:cubicBezTo>
                <a:cubicBezTo>
                  <a:pt x="299778" y="902813"/>
                  <a:pt x="308067" y="909715"/>
                  <a:pt x="316356" y="916617"/>
                </a:cubicBezTo>
                <a:cubicBezTo>
                  <a:pt x="317737" y="916617"/>
                  <a:pt x="317737" y="916617"/>
                  <a:pt x="317737" y="916617"/>
                </a:cubicBezTo>
                <a:cubicBezTo>
                  <a:pt x="326026" y="923520"/>
                  <a:pt x="334315" y="930422"/>
                  <a:pt x="342604" y="937324"/>
                </a:cubicBezTo>
                <a:cubicBezTo>
                  <a:pt x="343985" y="938705"/>
                  <a:pt x="345367" y="940085"/>
                  <a:pt x="346748" y="941466"/>
                </a:cubicBezTo>
                <a:cubicBezTo>
                  <a:pt x="355037" y="948368"/>
                  <a:pt x="363326" y="955270"/>
                  <a:pt x="371614" y="962172"/>
                </a:cubicBezTo>
                <a:cubicBezTo>
                  <a:pt x="372996" y="963553"/>
                  <a:pt x="374377" y="964933"/>
                  <a:pt x="375759" y="966314"/>
                </a:cubicBezTo>
                <a:cubicBezTo>
                  <a:pt x="384048" y="973216"/>
                  <a:pt x="392336" y="981499"/>
                  <a:pt x="400625" y="988401"/>
                </a:cubicBezTo>
                <a:cubicBezTo>
                  <a:pt x="400625" y="988401"/>
                  <a:pt x="402007" y="989781"/>
                  <a:pt x="402007" y="989781"/>
                </a:cubicBezTo>
                <a:cubicBezTo>
                  <a:pt x="408914" y="996684"/>
                  <a:pt x="417203" y="1004966"/>
                  <a:pt x="425492" y="1011868"/>
                </a:cubicBezTo>
                <a:cubicBezTo>
                  <a:pt x="426873" y="1013249"/>
                  <a:pt x="428255" y="1014629"/>
                  <a:pt x="429636" y="1016010"/>
                </a:cubicBezTo>
                <a:cubicBezTo>
                  <a:pt x="436543" y="1024292"/>
                  <a:pt x="444832" y="1032575"/>
                  <a:pt x="453121" y="1039477"/>
                </a:cubicBezTo>
                <a:cubicBezTo>
                  <a:pt x="454502" y="1040858"/>
                  <a:pt x="455884" y="1043619"/>
                  <a:pt x="457265" y="1044999"/>
                </a:cubicBezTo>
                <a:cubicBezTo>
                  <a:pt x="464173" y="1053282"/>
                  <a:pt x="472462" y="1061565"/>
                  <a:pt x="479369" y="1069847"/>
                </a:cubicBezTo>
                <a:cubicBezTo>
                  <a:pt x="809539" y="1435666"/>
                  <a:pt x="1293052" y="1579233"/>
                  <a:pt x="1743410" y="1490884"/>
                </a:cubicBezTo>
                <a:cubicBezTo>
                  <a:pt x="1758606" y="1488123"/>
                  <a:pt x="1772421" y="1485362"/>
                  <a:pt x="1786236" y="1482601"/>
                </a:cubicBezTo>
                <a:cubicBezTo>
                  <a:pt x="1902279" y="1456373"/>
                  <a:pt x="2016941" y="1413579"/>
                  <a:pt x="2124695" y="1355600"/>
                </a:cubicBezTo>
                <a:cubicBezTo>
                  <a:pt x="2217253" y="1305904"/>
                  <a:pt x="2305667" y="1243784"/>
                  <a:pt x="2388555" y="1169240"/>
                </a:cubicBezTo>
                <a:cubicBezTo>
                  <a:pt x="2565382" y="1010488"/>
                  <a:pt x="2691096" y="814464"/>
                  <a:pt x="2762932" y="603256"/>
                </a:cubicBezTo>
                <a:cubicBezTo>
                  <a:pt x="2767077" y="590832"/>
                  <a:pt x="2771221" y="577027"/>
                  <a:pt x="2775365" y="563223"/>
                </a:cubicBezTo>
                <a:cubicBezTo>
                  <a:pt x="2836150" y="386526"/>
                  <a:pt x="2932852" y="222252"/>
                  <a:pt x="3066855" y="80066"/>
                </a:cubicBezTo>
                <a:cubicBezTo>
                  <a:pt x="3066855" y="80066"/>
                  <a:pt x="3066855" y="80066"/>
                  <a:pt x="3066855" y="0"/>
                </a:cubicBezTo>
                <a:close/>
              </a:path>
            </a:pathLst>
          </a:custGeom>
        </p:spPr>
        <p:txBody>
          <a:bodyPr wrap="square" tIns="2808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143DEFF-7B37-AEB7-BAB3-BA96DA8780C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58439"/>
            <a:ext cx="5465762" cy="2280285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57D66186-3CF2-1211-7819-DF6B04FF027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4838" y="338018"/>
            <a:ext cx="3802062" cy="1253173"/>
          </a:xfrm>
        </p:spPr>
        <p:txBody>
          <a:bodyPr/>
          <a:lstStyle>
            <a:lvl1pPr>
              <a:defRPr sz="2000"/>
            </a:lvl1pPr>
            <a:lvl2pPr>
              <a:spcBef>
                <a:spcPts val="0"/>
              </a:spcBef>
              <a:defRPr sz="2000">
                <a:solidFill>
                  <a:srgbClr val="0460A9"/>
                </a:solidFill>
              </a:defRPr>
            </a:lvl2pPr>
            <a:lvl3pPr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4DC43B5-67D5-AA80-C84F-7060160A121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351" y="5643500"/>
            <a:ext cx="5003993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28465097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colorful circle shapes&#10;&#10;Description automatically generated with medium confidence">
            <a:extLst>
              <a:ext uri="{FF2B5EF4-FFF2-40B4-BE49-F238E27FC236}">
                <a16:creationId xmlns:a16="http://schemas.microsoft.com/office/drawing/2014/main" id="{359161E4-197E-88D5-EB0B-C36268C2180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2190" y="-1"/>
            <a:ext cx="5179810" cy="5898875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143DEFF-7B37-AEB7-BAB3-BA96DA8780C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58439"/>
            <a:ext cx="5465762" cy="2280285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57D66186-3CF2-1211-7819-DF6B04FF027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4838" y="338018"/>
            <a:ext cx="3802062" cy="1253173"/>
          </a:xfrm>
        </p:spPr>
        <p:txBody>
          <a:bodyPr/>
          <a:lstStyle>
            <a:lvl1pPr>
              <a:defRPr sz="2000"/>
            </a:lvl1pPr>
            <a:lvl2pPr>
              <a:spcBef>
                <a:spcPts val="0"/>
              </a:spcBef>
              <a:defRPr sz="2000">
                <a:solidFill>
                  <a:srgbClr val="0460A9"/>
                </a:solidFill>
              </a:defRPr>
            </a:lvl2pPr>
            <a:lvl3pPr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B6E19C4-9AFE-5056-A55F-4894FFB1A75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351" y="5643500"/>
            <a:ext cx="5003993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3556071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colorful background with different shapes&#10;&#10;Description automatically generated with medium confidence">
            <a:extLst>
              <a:ext uri="{FF2B5EF4-FFF2-40B4-BE49-F238E27FC236}">
                <a16:creationId xmlns:a16="http://schemas.microsoft.com/office/drawing/2014/main" id="{41CB0998-F869-8C2B-5155-25159CF65EA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9900" y="0"/>
            <a:ext cx="5372100" cy="685800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143DEFF-7B37-AEB7-BAB3-BA96DA8780C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58439"/>
            <a:ext cx="5465762" cy="2280285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57D66186-3CF2-1211-7819-DF6B04FF027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4838" y="338018"/>
            <a:ext cx="3802062" cy="1253173"/>
          </a:xfrm>
        </p:spPr>
        <p:txBody>
          <a:bodyPr/>
          <a:lstStyle>
            <a:lvl1pPr>
              <a:defRPr sz="2000"/>
            </a:lvl1pPr>
            <a:lvl2pPr>
              <a:spcBef>
                <a:spcPts val="0"/>
              </a:spcBef>
              <a:defRPr sz="2000">
                <a:solidFill>
                  <a:srgbClr val="0460A9"/>
                </a:solidFill>
              </a:defRPr>
            </a:lvl2pPr>
            <a:lvl3pPr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7589345-13E4-62CF-B79D-B205E513A26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351" y="5643500"/>
            <a:ext cx="5003993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23431396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Orange, Blue, Image)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colorful curved lines on a white background&#10;&#10;Description automatically generated">
            <a:extLst>
              <a:ext uri="{FF2B5EF4-FFF2-40B4-BE49-F238E27FC236}">
                <a16:creationId xmlns:a16="http://schemas.microsoft.com/office/drawing/2014/main" id="{8139B06D-7A56-C332-8F4A-833416AF8A0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1250" y="0"/>
            <a:ext cx="727075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F16CB2F5-C0C9-F0F5-7704-34DB09B0987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202078" y="0"/>
            <a:ext cx="4989922" cy="4664984"/>
          </a:xfrm>
          <a:custGeom>
            <a:avLst/>
            <a:gdLst>
              <a:gd name="connsiteX0" fmla="*/ 1754568 w 5022410"/>
              <a:gd name="connsiteY0" fmla="*/ 4150388 h 4695356"/>
              <a:gd name="connsiteX1" fmla="*/ 1786212 w 5022410"/>
              <a:gd name="connsiteY1" fmla="*/ 4166845 h 4695356"/>
              <a:gd name="connsiteX2" fmla="*/ 1792919 w 5022410"/>
              <a:gd name="connsiteY2" fmla="*/ 4171164 h 4695356"/>
              <a:gd name="connsiteX3" fmla="*/ 1754568 w 5022410"/>
              <a:gd name="connsiteY3" fmla="*/ 4150388 h 4695356"/>
              <a:gd name="connsiteX4" fmla="*/ 137425 w 5022410"/>
              <a:gd name="connsiteY4" fmla="*/ 0 h 4695356"/>
              <a:gd name="connsiteX5" fmla="*/ 158947 w 5022410"/>
              <a:gd name="connsiteY5" fmla="*/ 0 h 4695356"/>
              <a:gd name="connsiteX6" fmla="*/ 5022410 w 5022410"/>
              <a:gd name="connsiteY6" fmla="*/ 0 h 4695356"/>
              <a:gd name="connsiteX7" fmla="*/ 5022410 w 5022410"/>
              <a:gd name="connsiteY7" fmla="*/ 4446045 h 4695356"/>
              <a:gd name="connsiteX8" fmla="*/ 3689706 w 5022410"/>
              <a:gd name="connsiteY8" fmla="*/ 4695356 h 4695356"/>
              <a:gd name="connsiteX9" fmla="*/ 3032941 w 5022410"/>
              <a:gd name="connsiteY9" fmla="*/ 4637823 h 4695356"/>
              <a:gd name="connsiteX10" fmla="*/ 1794517 w 5022410"/>
              <a:gd name="connsiteY10" fmla="*/ 4171164 h 4695356"/>
              <a:gd name="connsiteX11" fmla="*/ 1786212 w 5022410"/>
              <a:gd name="connsiteY11" fmla="*/ 4166845 h 4695356"/>
              <a:gd name="connsiteX12" fmla="*/ 1595821 w 5022410"/>
              <a:gd name="connsiteY12" fmla="*/ 4044239 h 4695356"/>
              <a:gd name="connsiteX13" fmla="*/ 0 w 5022410"/>
              <a:gd name="connsiteY13" fmla="*/ 1005235 h 4695356"/>
              <a:gd name="connsiteX14" fmla="*/ 137425 w 5022410"/>
              <a:gd name="connsiteY14" fmla="*/ 0 h 46953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5022410" h="4695356">
                <a:moveTo>
                  <a:pt x="1754568" y="4150388"/>
                </a:moveTo>
                <a:lnTo>
                  <a:pt x="1786212" y="4166845"/>
                </a:lnTo>
                <a:lnTo>
                  <a:pt x="1792919" y="4171164"/>
                </a:lnTo>
                <a:cubicBezTo>
                  <a:pt x="1780135" y="4164771"/>
                  <a:pt x="1767351" y="4156781"/>
                  <a:pt x="1754568" y="4150388"/>
                </a:cubicBezTo>
                <a:close/>
                <a:moveTo>
                  <a:pt x="137425" y="0"/>
                </a:moveTo>
                <a:lnTo>
                  <a:pt x="158947" y="0"/>
                </a:lnTo>
                <a:cubicBezTo>
                  <a:pt x="791844" y="0"/>
                  <a:pt x="2142025" y="0"/>
                  <a:pt x="5022410" y="0"/>
                </a:cubicBezTo>
                <a:cubicBezTo>
                  <a:pt x="5022410" y="0"/>
                  <a:pt x="5022410" y="0"/>
                  <a:pt x="5022410" y="4446045"/>
                </a:cubicBezTo>
                <a:cubicBezTo>
                  <a:pt x="4610135" y="4607458"/>
                  <a:pt x="4159508" y="4695356"/>
                  <a:pt x="3689706" y="4695356"/>
                </a:cubicBezTo>
                <a:cubicBezTo>
                  <a:pt x="3465990" y="4695356"/>
                  <a:pt x="3247069" y="4674580"/>
                  <a:pt x="3032941" y="4637823"/>
                </a:cubicBezTo>
                <a:cubicBezTo>
                  <a:pt x="2627058" y="4564308"/>
                  <a:pt x="2142874" y="4366138"/>
                  <a:pt x="1794517" y="4171164"/>
                </a:cubicBezTo>
                <a:lnTo>
                  <a:pt x="1786212" y="4166845"/>
                </a:lnTo>
                <a:lnTo>
                  <a:pt x="1595821" y="4044239"/>
                </a:lnTo>
                <a:cubicBezTo>
                  <a:pt x="632008" y="3379232"/>
                  <a:pt x="0" y="2265274"/>
                  <a:pt x="0" y="1005235"/>
                </a:cubicBezTo>
                <a:cubicBezTo>
                  <a:pt x="0" y="656839"/>
                  <a:pt x="47939" y="319629"/>
                  <a:pt x="137425" y="0"/>
                </a:cubicBezTo>
                <a:close/>
              </a:path>
            </a:pathLst>
          </a:custGeom>
        </p:spPr>
        <p:txBody>
          <a:bodyPr wrap="square" tIns="1980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88F8112-3E6F-0B09-BF70-1A5D321C9B5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351" y="5643500"/>
            <a:ext cx="5003993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90468401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1 (Full 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colorful circle with black background&#10;&#10;Description automatically generated with medium confidence">
            <a:extLst>
              <a:ext uri="{FF2B5EF4-FFF2-40B4-BE49-F238E27FC236}">
                <a16:creationId xmlns:a16="http://schemas.microsoft.com/office/drawing/2014/main" id="{FF6A30E8-B7D4-ED0A-B735-3EFA819596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26601" y="0"/>
            <a:ext cx="2565399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421656"/>
            <a:ext cx="5705475" cy="1231106"/>
          </a:xfrm>
        </p:spPr>
        <p:txBody>
          <a:bodyPr anchor="b" anchorCtr="0"/>
          <a:lstStyle>
            <a:lvl1pPr algn="l">
              <a:lnSpc>
                <a:spcPct val="100000"/>
              </a:lnSpc>
              <a:defRPr sz="4000" spc="0" baseline="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For reactive use only - Not for further distribu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39686227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338A58-465D-29BC-3745-035187C7CF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64B384-59B0-AF00-1B1B-6C83719C63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9DBD6D8B-48F1-5D66-CD84-ED9EFC62A6F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4837" y="6051550"/>
            <a:ext cx="9267825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8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Footnotes</a:t>
            </a:r>
          </a:p>
        </p:txBody>
      </p:sp>
    </p:spTree>
    <p:extLst>
      <p:ext uri="{BB962C8B-B14F-4D97-AF65-F5344CB8AC3E}">
        <p14:creationId xmlns:p14="http://schemas.microsoft.com/office/powerpoint/2010/main" val="42144767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Orange, Pink, Image)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10" descr="A pink and yellow curved lines&#10;&#10;Description automatically generated">
            <a:extLst>
              <a:ext uri="{FF2B5EF4-FFF2-40B4-BE49-F238E27FC236}">
                <a16:creationId xmlns:a16="http://schemas.microsoft.com/office/drawing/2014/main" id="{DA20FD86-A83E-2069-7629-2BC51FEC48E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7179" y="-40256"/>
            <a:ext cx="4004821" cy="6898256"/>
          </a:xfrm>
          <a:prstGeom prst="rect">
            <a:avLst/>
          </a:prstGeom>
        </p:spPr>
      </p:pic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25FF0EA-7AED-C788-207F-C0C0170851B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547675" y="-14140"/>
            <a:ext cx="5929706" cy="4336318"/>
          </a:xfrm>
          <a:custGeom>
            <a:avLst/>
            <a:gdLst>
              <a:gd name="connsiteX0" fmla="*/ 944436 w 6108785"/>
              <a:gd name="connsiteY0" fmla="*/ 0 h 4467276"/>
              <a:gd name="connsiteX1" fmla="*/ 6108785 w 6108785"/>
              <a:gd name="connsiteY1" fmla="*/ 0 h 4467276"/>
              <a:gd name="connsiteX2" fmla="*/ 5769629 w 6108785"/>
              <a:gd name="connsiteY2" fmla="*/ 357251 h 4467276"/>
              <a:gd name="connsiteX3" fmla="*/ 5712284 w 6108785"/>
              <a:gd name="connsiteY3" fmla="*/ 444106 h 4467276"/>
              <a:gd name="connsiteX4" fmla="*/ 5707368 w 6108785"/>
              <a:gd name="connsiteY4" fmla="*/ 453938 h 4467276"/>
              <a:gd name="connsiteX5" fmla="*/ 5687707 w 6108785"/>
              <a:gd name="connsiteY5" fmla="*/ 488352 h 4467276"/>
              <a:gd name="connsiteX6" fmla="*/ 5700814 w 6108785"/>
              <a:gd name="connsiteY6" fmla="*/ 2050096 h 4467276"/>
              <a:gd name="connsiteX7" fmla="*/ 5912172 w 6108785"/>
              <a:gd name="connsiteY7" fmla="*/ 2900616 h 4467276"/>
              <a:gd name="connsiteX8" fmla="*/ 5910534 w 6108785"/>
              <a:gd name="connsiteY8" fmla="*/ 2913726 h 4467276"/>
              <a:gd name="connsiteX9" fmla="*/ 5854828 w 6108785"/>
              <a:gd name="connsiteY9" fmla="*/ 3264422 h 4467276"/>
              <a:gd name="connsiteX10" fmla="*/ 5712284 w 6108785"/>
              <a:gd name="connsiteY10" fmla="*/ 3613479 h 4467276"/>
              <a:gd name="connsiteX11" fmla="*/ 5707368 w 6108785"/>
              <a:gd name="connsiteY11" fmla="*/ 3623312 h 4467276"/>
              <a:gd name="connsiteX12" fmla="*/ 5687707 w 6108785"/>
              <a:gd name="connsiteY12" fmla="*/ 3656087 h 4467276"/>
              <a:gd name="connsiteX13" fmla="*/ 5120809 w 6108785"/>
              <a:gd name="connsiteY13" fmla="*/ 4214906 h 4467276"/>
              <a:gd name="connsiteX14" fmla="*/ 4958603 w 6108785"/>
              <a:gd name="connsiteY14" fmla="*/ 4296845 h 4467276"/>
              <a:gd name="connsiteX15" fmla="*/ 4953688 w 6108785"/>
              <a:gd name="connsiteY15" fmla="*/ 4298483 h 4467276"/>
              <a:gd name="connsiteX16" fmla="*/ 4911089 w 6108785"/>
              <a:gd name="connsiteY16" fmla="*/ 4316510 h 4467276"/>
              <a:gd name="connsiteX17" fmla="*/ 4614532 w 6108785"/>
              <a:gd name="connsiteY17" fmla="*/ 4401726 h 4467276"/>
              <a:gd name="connsiteX18" fmla="*/ 4354021 w 6108785"/>
              <a:gd name="connsiteY18" fmla="*/ 4426307 h 4467276"/>
              <a:gd name="connsiteX19" fmla="*/ 4335998 w 6108785"/>
              <a:gd name="connsiteY19" fmla="*/ 4427946 h 4467276"/>
              <a:gd name="connsiteX20" fmla="*/ 4303229 w 6108785"/>
              <a:gd name="connsiteY20" fmla="*/ 4427946 h 4467276"/>
              <a:gd name="connsiteX21" fmla="*/ 4301591 w 6108785"/>
              <a:gd name="connsiteY21" fmla="*/ 4427946 h 4467276"/>
              <a:gd name="connsiteX22" fmla="*/ 4267184 w 6108785"/>
              <a:gd name="connsiteY22" fmla="*/ 4427946 h 4467276"/>
              <a:gd name="connsiteX23" fmla="*/ 4258991 w 6108785"/>
              <a:gd name="connsiteY23" fmla="*/ 4427946 h 4467276"/>
              <a:gd name="connsiteX24" fmla="*/ 4224584 w 6108785"/>
              <a:gd name="connsiteY24" fmla="*/ 4429585 h 4467276"/>
              <a:gd name="connsiteX25" fmla="*/ 4216392 w 6108785"/>
              <a:gd name="connsiteY25" fmla="*/ 4431223 h 4467276"/>
              <a:gd name="connsiteX26" fmla="*/ 4180346 w 6108785"/>
              <a:gd name="connsiteY26" fmla="*/ 4434501 h 4467276"/>
              <a:gd name="connsiteX27" fmla="*/ 4177070 w 6108785"/>
              <a:gd name="connsiteY27" fmla="*/ 4434501 h 4467276"/>
              <a:gd name="connsiteX28" fmla="*/ 4142662 w 6108785"/>
              <a:gd name="connsiteY28" fmla="*/ 4437778 h 4467276"/>
              <a:gd name="connsiteX29" fmla="*/ 4136109 w 6108785"/>
              <a:gd name="connsiteY29" fmla="*/ 4437778 h 4467276"/>
              <a:gd name="connsiteX30" fmla="*/ 4100063 w 6108785"/>
              <a:gd name="connsiteY30" fmla="*/ 4442695 h 4467276"/>
              <a:gd name="connsiteX31" fmla="*/ 4093509 w 6108785"/>
              <a:gd name="connsiteY31" fmla="*/ 4444334 h 4467276"/>
              <a:gd name="connsiteX32" fmla="*/ 4055825 w 6108785"/>
              <a:gd name="connsiteY32" fmla="*/ 4450889 h 4467276"/>
              <a:gd name="connsiteX33" fmla="*/ 4052548 w 6108785"/>
              <a:gd name="connsiteY33" fmla="*/ 4450889 h 4467276"/>
              <a:gd name="connsiteX34" fmla="*/ 4018141 w 6108785"/>
              <a:gd name="connsiteY34" fmla="*/ 4457444 h 4467276"/>
              <a:gd name="connsiteX35" fmla="*/ 4013226 w 6108785"/>
              <a:gd name="connsiteY35" fmla="*/ 4459082 h 4467276"/>
              <a:gd name="connsiteX36" fmla="*/ 3977180 w 6108785"/>
              <a:gd name="connsiteY36" fmla="*/ 4465637 h 4467276"/>
              <a:gd name="connsiteX37" fmla="*/ 3973903 w 6108785"/>
              <a:gd name="connsiteY37" fmla="*/ 4467276 h 4467276"/>
              <a:gd name="connsiteX38" fmla="*/ 3472542 w 6108785"/>
              <a:gd name="connsiteY38" fmla="*/ 4180492 h 4467276"/>
              <a:gd name="connsiteX39" fmla="*/ 1401560 w 6108785"/>
              <a:gd name="connsiteY39" fmla="*/ 2992387 h 4467276"/>
              <a:gd name="connsiteX40" fmla="*/ 1236078 w 6108785"/>
              <a:gd name="connsiteY40" fmla="*/ 2897338 h 4467276"/>
              <a:gd name="connsiteX41" fmla="*/ 264485 w 6108785"/>
              <a:gd name="connsiteY41" fmla="*/ 2133673 h 4467276"/>
              <a:gd name="connsiteX42" fmla="*/ 207140 w 6108785"/>
              <a:gd name="connsiteY42" fmla="*/ 439189 h 4467276"/>
              <a:gd name="connsiteX43" fmla="*/ 631495 w 6108785"/>
              <a:gd name="connsiteY43" fmla="*/ 31137 h 4467276"/>
              <a:gd name="connsiteX44" fmla="*/ 944436 w 6108785"/>
              <a:gd name="connsiteY44" fmla="*/ 0 h 44672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</a:cxnLst>
            <a:rect l="l" t="t" r="r" b="b"/>
            <a:pathLst>
              <a:path w="6108785" h="4467276">
                <a:moveTo>
                  <a:pt x="944436" y="0"/>
                </a:moveTo>
                <a:cubicBezTo>
                  <a:pt x="2666432" y="0"/>
                  <a:pt x="4386789" y="0"/>
                  <a:pt x="6108785" y="0"/>
                </a:cubicBezTo>
                <a:cubicBezTo>
                  <a:pt x="5974434" y="103242"/>
                  <a:pt x="5861381" y="222872"/>
                  <a:pt x="5769629" y="357251"/>
                </a:cubicBezTo>
                <a:cubicBezTo>
                  <a:pt x="5749968" y="385110"/>
                  <a:pt x="5730306" y="414608"/>
                  <a:pt x="5712284" y="444106"/>
                </a:cubicBezTo>
                <a:cubicBezTo>
                  <a:pt x="5710645" y="447383"/>
                  <a:pt x="5709006" y="450661"/>
                  <a:pt x="5707368" y="453938"/>
                </a:cubicBezTo>
                <a:cubicBezTo>
                  <a:pt x="5700814" y="465410"/>
                  <a:pt x="5694261" y="476881"/>
                  <a:pt x="5687707" y="488352"/>
                </a:cubicBezTo>
                <a:cubicBezTo>
                  <a:pt x="5427196" y="958678"/>
                  <a:pt x="5412450" y="1550273"/>
                  <a:pt x="5700814" y="2050096"/>
                </a:cubicBezTo>
                <a:cubicBezTo>
                  <a:pt x="5854828" y="2318854"/>
                  <a:pt x="5922004" y="2613832"/>
                  <a:pt x="5912172" y="2900616"/>
                </a:cubicBezTo>
                <a:cubicBezTo>
                  <a:pt x="5910534" y="2905532"/>
                  <a:pt x="5910534" y="2908810"/>
                  <a:pt x="5910534" y="2913726"/>
                </a:cubicBezTo>
                <a:cubicBezTo>
                  <a:pt x="5892512" y="3030078"/>
                  <a:pt x="5874488" y="3148070"/>
                  <a:pt x="5854828" y="3264422"/>
                </a:cubicBezTo>
                <a:cubicBezTo>
                  <a:pt x="5822059" y="3385691"/>
                  <a:pt x="5774544" y="3502043"/>
                  <a:pt x="5712284" y="3613479"/>
                </a:cubicBezTo>
                <a:cubicBezTo>
                  <a:pt x="5710645" y="3616757"/>
                  <a:pt x="5709006" y="3620034"/>
                  <a:pt x="5707368" y="3623312"/>
                </a:cubicBezTo>
                <a:cubicBezTo>
                  <a:pt x="5700814" y="3634783"/>
                  <a:pt x="5694261" y="3646254"/>
                  <a:pt x="5687707" y="3656087"/>
                </a:cubicBezTo>
                <a:cubicBezTo>
                  <a:pt x="5553356" y="3880598"/>
                  <a:pt x="5363297" y="4075611"/>
                  <a:pt x="5120809" y="4214906"/>
                </a:cubicBezTo>
                <a:cubicBezTo>
                  <a:pt x="5066740" y="4246043"/>
                  <a:pt x="5014310" y="4272263"/>
                  <a:pt x="4958603" y="4296845"/>
                </a:cubicBezTo>
                <a:cubicBezTo>
                  <a:pt x="4956965" y="4296845"/>
                  <a:pt x="4955327" y="4298483"/>
                  <a:pt x="4953688" y="4298483"/>
                </a:cubicBezTo>
                <a:cubicBezTo>
                  <a:pt x="4938942" y="4305038"/>
                  <a:pt x="4925835" y="4309955"/>
                  <a:pt x="4911089" y="4316510"/>
                </a:cubicBezTo>
                <a:cubicBezTo>
                  <a:pt x="4814421" y="4354201"/>
                  <a:pt x="4714477" y="4383699"/>
                  <a:pt x="4614532" y="4401726"/>
                </a:cubicBezTo>
                <a:cubicBezTo>
                  <a:pt x="4527695" y="4418113"/>
                  <a:pt x="4440858" y="4426307"/>
                  <a:pt x="4354021" y="4426307"/>
                </a:cubicBezTo>
                <a:cubicBezTo>
                  <a:pt x="4347467" y="4427946"/>
                  <a:pt x="4340913" y="4427946"/>
                  <a:pt x="4335998" y="4427946"/>
                </a:cubicBezTo>
                <a:cubicBezTo>
                  <a:pt x="4324529" y="4427946"/>
                  <a:pt x="4314698" y="4427946"/>
                  <a:pt x="4303229" y="4427946"/>
                </a:cubicBezTo>
                <a:cubicBezTo>
                  <a:pt x="4303229" y="4427946"/>
                  <a:pt x="4303229" y="4427946"/>
                  <a:pt x="4301591" y="4427946"/>
                </a:cubicBezTo>
                <a:cubicBezTo>
                  <a:pt x="4290122" y="4427946"/>
                  <a:pt x="4278653" y="4427946"/>
                  <a:pt x="4267184" y="4427946"/>
                </a:cubicBezTo>
                <a:cubicBezTo>
                  <a:pt x="4263907" y="4427946"/>
                  <a:pt x="4262268" y="4427946"/>
                  <a:pt x="4258991" y="4427946"/>
                </a:cubicBezTo>
                <a:cubicBezTo>
                  <a:pt x="4247522" y="4429585"/>
                  <a:pt x="4236053" y="4429585"/>
                  <a:pt x="4224584" y="4429585"/>
                </a:cubicBezTo>
                <a:cubicBezTo>
                  <a:pt x="4221307" y="4431223"/>
                  <a:pt x="4218031" y="4431223"/>
                  <a:pt x="4216392" y="4431223"/>
                </a:cubicBezTo>
                <a:cubicBezTo>
                  <a:pt x="4204923" y="4431223"/>
                  <a:pt x="4191816" y="4432862"/>
                  <a:pt x="4180346" y="4434501"/>
                </a:cubicBezTo>
                <a:cubicBezTo>
                  <a:pt x="4178708" y="4434501"/>
                  <a:pt x="4178708" y="4434501"/>
                  <a:pt x="4177070" y="4434501"/>
                </a:cubicBezTo>
                <a:cubicBezTo>
                  <a:pt x="4165601" y="4434501"/>
                  <a:pt x="4154132" y="4436140"/>
                  <a:pt x="4142662" y="4437778"/>
                </a:cubicBezTo>
                <a:cubicBezTo>
                  <a:pt x="4139386" y="4437778"/>
                  <a:pt x="4137747" y="4437778"/>
                  <a:pt x="4136109" y="4437778"/>
                </a:cubicBezTo>
                <a:cubicBezTo>
                  <a:pt x="4123001" y="4439417"/>
                  <a:pt x="4111532" y="4441056"/>
                  <a:pt x="4100063" y="4442695"/>
                </a:cubicBezTo>
                <a:cubicBezTo>
                  <a:pt x="4096786" y="4444334"/>
                  <a:pt x="4095148" y="4444334"/>
                  <a:pt x="4093509" y="4444334"/>
                </a:cubicBezTo>
                <a:cubicBezTo>
                  <a:pt x="4080402" y="4445972"/>
                  <a:pt x="4068933" y="4447611"/>
                  <a:pt x="4055825" y="4450889"/>
                </a:cubicBezTo>
                <a:cubicBezTo>
                  <a:pt x="4055825" y="4450889"/>
                  <a:pt x="4054187" y="4450889"/>
                  <a:pt x="4052548" y="4450889"/>
                </a:cubicBezTo>
                <a:cubicBezTo>
                  <a:pt x="4041079" y="4452527"/>
                  <a:pt x="4029610" y="4455805"/>
                  <a:pt x="4018141" y="4457444"/>
                </a:cubicBezTo>
                <a:cubicBezTo>
                  <a:pt x="4016503" y="4457444"/>
                  <a:pt x="4014864" y="4457444"/>
                  <a:pt x="4013226" y="4459082"/>
                </a:cubicBezTo>
                <a:cubicBezTo>
                  <a:pt x="4000118" y="4460721"/>
                  <a:pt x="3988649" y="4463999"/>
                  <a:pt x="3977180" y="4465637"/>
                </a:cubicBezTo>
                <a:cubicBezTo>
                  <a:pt x="3975542" y="4467276"/>
                  <a:pt x="3973903" y="4467276"/>
                  <a:pt x="3973903" y="4467276"/>
                </a:cubicBezTo>
                <a:lnTo>
                  <a:pt x="3472542" y="4180492"/>
                </a:lnTo>
                <a:cubicBezTo>
                  <a:pt x="2782761" y="3785549"/>
                  <a:pt x="2092979" y="3388968"/>
                  <a:pt x="1401560" y="2992387"/>
                </a:cubicBezTo>
                <a:cubicBezTo>
                  <a:pt x="1345853" y="2959611"/>
                  <a:pt x="1291784" y="2928475"/>
                  <a:pt x="1236078" y="2897338"/>
                </a:cubicBezTo>
                <a:cubicBezTo>
                  <a:pt x="875622" y="2689215"/>
                  <a:pt x="503697" y="2472898"/>
                  <a:pt x="264485" y="2133673"/>
                </a:cubicBezTo>
                <a:cubicBezTo>
                  <a:pt x="-77948" y="1646960"/>
                  <a:pt x="-77948" y="961956"/>
                  <a:pt x="207140" y="439189"/>
                </a:cubicBezTo>
                <a:cubicBezTo>
                  <a:pt x="303808" y="262203"/>
                  <a:pt x="439798" y="93410"/>
                  <a:pt x="631495" y="31137"/>
                </a:cubicBezTo>
                <a:cubicBezTo>
                  <a:pt x="731440" y="0"/>
                  <a:pt x="839576" y="0"/>
                  <a:pt x="944436" y="0"/>
                </a:cubicBezTo>
                <a:close/>
              </a:path>
            </a:pathLst>
          </a:custGeom>
        </p:spPr>
        <p:txBody>
          <a:bodyPr wrap="square" tIns="1908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9E9D2E9-D355-BF18-26E2-236ABE0FD38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351" y="5643500"/>
            <a:ext cx="5003993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59075259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Orange, Pink, Image)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9" descr="A colorful background with a white and pink wave&#10;&#10;Description automatically generated with medium confidence">
            <a:extLst>
              <a:ext uri="{FF2B5EF4-FFF2-40B4-BE49-F238E27FC236}">
                <a16:creationId xmlns:a16="http://schemas.microsoft.com/office/drawing/2014/main" id="{70D8D136-4010-BE0C-623D-075EEC1A80C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3697" y="0"/>
            <a:ext cx="5708303" cy="3219254"/>
          </a:xfrm>
          <a:prstGeom prst="rect">
            <a:avLst/>
          </a:prstGeom>
        </p:spPr>
      </p:pic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1335E727-D0FB-7AFB-1BD0-97F4DAA8C68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639666" y="2116371"/>
            <a:ext cx="3552334" cy="4741629"/>
          </a:xfrm>
          <a:custGeom>
            <a:avLst/>
            <a:gdLst>
              <a:gd name="connsiteX0" fmla="*/ 1583776 w 2986706"/>
              <a:gd name="connsiteY0" fmla="*/ 24 h 3986633"/>
              <a:gd name="connsiteX1" fmla="*/ 2155464 w 2986706"/>
              <a:gd name="connsiteY1" fmla="*/ 112872 h 3986633"/>
              <a:gd name="connsiteX2" fmla="*/ 2199565 w 2986706"/>
              <a:gd name="connsiteY2" fmla="*/ 131573 h 3986633"/>
              <a:gd name="connsiteX3" fmla="*/ 2528320 w 2986706"/>
              <a:gd name="connsiteY3" fmla="*/ 329268 h 3986633"/>
              <a:gd name="connsiteX4" fmla="*/ 2553712 w 2986706"/>
              <a:gd name="connsiteY4" fmla="*/ 350641 h 3986633"/>
              <a:gd name="connsiteX5" fmla="*/ 2585785 w 2986706"/>
              <a:gd name="connsiteY5" fmla="*/ 377356 h 3986633"/>
              <a:gd name="connsiteX6" fmla="*/ 2804955 w 2986706"/>
              <a:gd name="connsiteY6" fmla="*/ 612453 h 3986633"/>
              <a:gd name="connsiteX7" fmla="*/ 2986706 w 2986706"/>
              <a:gd name="connsiteY7" fmla="*/ 921019 h 3986633"/>
              <a:gd name="connsiteX8" fmla="*/ 2986706 w 2986706"/>
              <a:gd name="connsiteY8" fmla="*/ 3986633 h 3986633"/>
              <a:gd name="connsiteX9" fmla="*/ 988784 w 2986706"/>
              <a:gd name="connsiteY9" fmla="*/ 3986633 h 3986633"/>
              <a:gd name="connsiteX10" fmla="*/ 661366 w 2986706"/>
              <a:gd name="connsiteY10" fmla="*/ 3521782 h 3986633"/>
              <a:gd name="connsiteX11" fmla="*/ 41275 w 2986706"/>
              <a:gd name="connsiteY11" fmla="*/ 1749202 h 3986633"/>
              <a:gd name="connsiteX12" fmla="*/ 47957 w 2986706"/>
              <a:gd name="connsiteY12" fmla="*/ 585738 h 3986633"/>
              <a:gd name="connsiteX13" fmla="*/ 50630 w 2986706"/>
              <a:gd name="connsiteY13" fmla="*/ 584402 h 3986633"/>
              <a:gd name="connsiteX14" fmla="*/ 86712 w 2986706"/>
              <a:gd name="connsiteY14" fmla="*/ 576387 h 3986633"/>
              <a:gd name="connsiteX15" fmla="*/ 90722 w 2986706"/>
              <a:gd name="connsiteY15" fmla="*/ 575052 h 3986633"/>
              <a:gd name="connsiteX16" fmla="*/ 125468 w 2986706"/>
              <a:gd name="connsiteY16" fmla="*/ 567037 h 3986633"/>
              <a:gd name="connsiteX17" fmla="*/ 128141 w 2986706"/>
              <a:gd name="connsiteY17" fmla="*/ 565701 h 3986633"/>
              <a:gd name="connsiteX18" fmla="*/ 162887 w 2986706"/>
              <a:gd name="connsiteY18" fmla="*/ 556351 h 3986633"/>
              <a:gd name="connsiteX19" fmla="*/ 169569 w 2986706"/>
              <a:gd name="connsiteY19" fmla="*/ 553679 h 3986633"/>
              <a:gd name="connsiteX20" fmla="*/ 204316 w 2986706"/>
              <a:gd name="connsiteY20" fmla="*/ 542993 h 3986633"/>
              <a:gd name="connsiteX21" fmla="*/ 208325 w 2986706"/>
              <a:gd name="connsiteY21" fmla="*/ 541657 h 3986633"/>
              <a:gd name="connsiteX22" fmla="*/ 241735 w 2986706"/>
              <a:gd name="connsiteY22" fmla="*/ 529635 h 3986633"/>
              <a:gd name="connsiteX23" fmla="*/ 245744 w 2986706"/>
              <a:gd name="connsiteY23" fmla="*/ 528299 h 3986633"/>
              <a:gd name="connsiteX24" fmla="*/ 280491 w 2986706"/>
              <a:gd name="connsiteY24" fmla="*/ 516277 h 3986633"/>
              <a:gd name="connsiteX25" fmla="*/ 285836 w 2986706"/>
              <a:gd name="connsiteY25" fmla="*/ 513606 h 3986633"/>
              <a:gd name="connsiteX26" fmla="*/ 320583 w 2986706"/>
              <a:gd name="connsiteY26" fmla="*/ 500248 h 3986633"/>
              <a:gd name="connsiteX27" fmla="*/ 323256 w 2986706"/>
              <a:gd name="connsiteY27" fmla="*/ 498912 h 3986633"/>
              <a:gd name="connsiteX28" fmla="*/ 355329 w 2986706"/>
              <a:gd name="connsiteY28" fmla="*/ 484219 h 3986633"/>
              <a:gd name="connsiteX29" fmla="*/ 360675 w 2986706"/>
              <a:gd name="connsiteY29" fmla="*/ 481547 h 3986633"/>
              <a:gd name="connsiteX30" fmla="*/ 394085 w 2986706"/>
              <a:gd name="connsiteY30" fmla="*/ 466853 h 3986633"/>
              <a:gd name="connsiteX31" fmla="*/ 399431 w 2986706"/>
              <a:gd name="connsiteY31" fmla="*/ 462846 h 3986633"/>
              <a:gd name="connsiteX32" fmla="*/ 432841 w 2986706"/>
              <a:gd name="connsiteY32" fmla="*/ 446817 h 3986633"/>
              <a:gd name="connsiteX33" fmla="*/ 435514 w 2986706"/>
              <a:gd name="connsiteY33" fmla="*/ 445481 h 3986633"/>
              <a:gd name="connsiteX34" fmla="*/ 467587 w 2986706"/>
              <a:gd name="connsiteY34" fmla="*/ 428116 h 3986633"/>
              <a:gd name="connsiteX35" fmla="*/ 472933 w 2986706"/>
              <a:gd name="connsiteY35" fmla="*/ 425444 h 3986633"/>
              <a:gd name="connsiteX36" fmla="*/ 505006 w 2986706"/>
              <a:gd name="connsiteY36" fmla="*/ 406743 h 3986633"/>
              <a:gd name="connsiteX37" fmla="*/ 510352 w 2986706"/>
              <a:gd name="connsiteY37" fmla="*/ 402736 h 3986633"/>
              <a:gd name="connsiteX38" fmla="*/ 543762 w 2986706"/>
              <a:gd name="connsiteY38" fmla="*/ 382699 h 3986633"/>
              <a:gd name="connsiteX39" fmla="*/ 575836 w 2986706"/>
              <a:gd name="connsiteY39" fmla="*/ 362663 h 3986633"/>
              <a:gd name="connsiteX40" fmla="*/ 581181 w 2986706"/>
              <a:gd name="connsiteY40" fmla="*/ 358655 h 3986633"/>
              <a:gd name="connsiteX41" fmla="*/ 611919 w 2986706"/>
              <a:gd name="connsiteY41" fmla="*/ 337283 h 3986633"/>
              <a:gd name="connsiteX42" fmla="*/ 617264 w 2986706"/>
              <a:gd name="connsiteY42" fmla="*/ 333275 h 3986633"/>
              <a:gd name="connsiteX43" fmla="*/ 649338 w 2986706"/>
              <a:gd name="connsiteY43" fmla="*/ 310567 h 3986633"/>
              <a:gd name="connsiteX44" fmla="*/ 1583776 w 2986706"/>
              <a:gd name="connsiteY44" fmla="*/ 24 h 39866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</a:cxnLst>
            <a:rect l="l" t="t" r="r" b="b"/>
            <a:pathLst>
              <a:path w="2986706" h="3986633">
                <a:moveTo>
                  <a:pt x="1583776" y="24"/>
                </a:moveTo>
                <a:cubicBezTo>
                  <a:pt x="1779225" y="1105"/>
                  <a:pt x="1973546" y="39237"/>
                  <a:pt x="2155464" y="112872"/>
                </a:cubicBezTo>
                <a:cubicBezTo>
                  <a:pt x="2170164" y="119551"/>
                  <a:pt x="2184865" y="124894"/>
                  <a:pt x="2199565" y="131573"/>
                </a:cubicBezTo>
                <a:cubicBezTo>
                  <a:pt x="2315832" y="183668"/>
                  <a:pt x="2426753" y="249121"/>
                  <a:pt x="2528320" y="329268"/>
                </a:cubicBezTo>
                <a:cubicBezTo>
                  <a:pt x="2537675" y="335947"/>
                  <a:pt x="2545693" y="342626"/>
                  <a:pt x="2553712" y="350641"/>
                </a:cubicBezTo>
                <a:cubicBezTo>
                  <a:pt x="2564403" y="358655"/>
                  <a:pt x="2575094" y="368006"/>
                  <a:pt x="2585785" y="377356"/>
                </a:cubicBezTo>
                <a:cubicBezTo>
                  <a:pt x="2665969" y="446817"/>
                  <a:pt x="2739472" y="525628"/>
                  <a:pt x="2804955" y="612453"/>
                </a:cubicBezTo>
                <a:cubicBezTo>
                  <a:pt x="2878458" y="709965"/>
                  <a:pt x="2938596" y="814156"/>
                  <a:pt x="2986706" y="921019"/>
                </a:cubicBezTo>
                <a:cubicBezTo>
                  <a:pt x="2986706" y="921019"/>
                  <a:pt x="2986706" y="921019"/>
                  <a:pt x="2986706" y="3986633"/>
                </a:cubicBezTo>
                <a:cubicBezTo>
                  <a:pt x="2986706" y="3986633"/>
                  <a:pt x="2986706" y="3986633"/>
                  <a:pt x="988784" y="3986633"/>
                </a:cubicBezTo>
                <a:cubicBezTo>
                  <a:pt x="859153" y="3850384"/>
                  <a:pt x="756250" y="3684747"/>
                  <a:pt x="661366" y="3521782"/>
                </a:cubicBezTo>
                <a:cubicBezTo>
                  <a:pt x="344638" y="2979455"/>
                  <a:pt x="124132" y="2373011"/>
                  <a:pt x="41275" y="1749202"/>
                </a:cubicBezTo>
                <a:cubicBezTo>
                  <a:pt x="-9509" y="1368505"/>
                  <a:pt x="-20200" y="965099"/>
                  <a:pt x="47957" y="585738"/>
                </a:cubicBezTo>
                <a:cubicBezTo>
                  <a:pt x="49293" y="585738"/>
                  <a:pt x="50630" y="584402"/>
                  <a:pt x="50630" y="584402"/>
                </a:cubicBezTo>
                <a:cubicBezTo>
                  <a:pt x="62657" y="581730"/>
                  <a:pt x="74685" y="579059"/>
                  <a:pt x="86712" y="576387"/>
                </a:cubicBezTo>
                <a:cubicBezTo>
                  <a:pt x="88049" y="576387"/>
                  <a:pt x="89385" y="576387"/>
                  <a:pt x="90722" y="575052"/>
                </a:cubicBezTo>
                <a:cubicBezTo>
                  <a:pt x="102749" y="572380"/>
                  <a:pt x="113441" y="569708"/>
                  <a:pt x="125468" y="567037"/>
                </a:cubicBezTo>
                <a:cubicBezTo>
                  <a:pt x="125468" y="567037"/>
                  <a:pt x="126805" y="565701"/>
                  <a:pt x="128141" y="565701"/>
                </a:cubicBezTo>
                <a:cubicBezTo>
                  <a:pt x="140169" y="563030"/>
                  <a:pt x="152196" y="559022"/>
                  <a:pt x="162887" y="556351"/>
                </a:cubicBezTo>
                <a:cubicBezTo>
                  <a:pt x="165560" y="555015"/>
                  <a:pt x="166897" y="555015"/>
                  <a:pt x="169569" y="553679"/>
                </a:cubicBezTo>
                <a:cubicBezTo>
                  <a:pt x="181597" y="551007"/>
                  <a:pt x="192288" y="547000"/>
                  <a:pt x="204316" y="542993"/>
                </a:cubicBezTo>
                <a:cubicBezTo>
                  <a:pt x="205652" y="542993"/>
                  <a:pt x="206989" y="541657"/>
                  <a:pt x="208325" y="541657"/>
                </a:cubicBezTo>
                <a:cubicBezTo>
                  <a:pt x="219016" y="537650"/>
                  <a:pt x="231044" y="533642"/>
                  <a:pt x="241735" y="529635"/>
                </a:cubicBezTo>
                <a:cubicBezTo>
                  <a:pt x="243072" y="529635"/>
                  <a:pt x="244408" y="529635"/>
                  <a:pt x="245744" y="528299"/>
                </a:cubicBezTo>
                <a:cubicBezTo>
                  <a:pt x="256436" y="524292"/>
                  <a:pt x="268463" y="520285"/>
                  <a:pt x="280491" y="516277"/>
                </a:cubicBezTo>
                <a:cubicBezTo>
                  <a:pt x="281827" y="514941"/>
                  <a:pt x="284500" y="514941"/>
                  <a:pt x="285836" y="513606"/>
                </a:cubicBezTo>
                <a:cubicBezTo>
                  <a:pt x="297864" y="509598"/>
                  <a:pt x="308555" y="504255"/>
                  <a:pt x="320583" y="500248"/>
                </a:cubicBezTo>
                <a:cubicBezTo>
                  <a:pt x="320583" y="498912"/>
                  <a:pt x="321919" y="498912"/>
                  <a:pt x="323256" y="498912"/>
                </a:cubicBezTo>
                <a:cubicBezTo>
                  <a:pt x="333947" y="493569"/>
                  <a:pt x="344638" y="489562"/>
                  <a:pt x="355329" y="484219"/>
                </a:cubicBezTo>
                <a:cubicBezTo>
                  <a:pt x="358002" y="482883"/>
                  <a:pt x="359339" y="482883"/>
                  <a:pt x="360675" y="481547"/>
                </a:cubicBezTo>
                <a:cubicBezTo>
                  <a:pt x="371366" y="477540"/>
                  <a:pt x="382057" y="472197"/>
                  <a:pt x="394085" y="466853"/>
                </a:cubicBezTo>
                <a:cubicBezTo>
                  <a:pt x="395421" y="465518"/>
                  <a:pt x="398094" y="464182"/>
                  <a:pt x="399431" y="462846"/>
                </a:cubicBezTo>
                <a:cubicBezTo>
                  <a:pt x="411458" y="457503"/>
                  <a:pt x="422150" y="452160"/>
                  <a:pt x="432841" y="446817"/>
                </a:cubicBezTo>
                <a:cubicBezTo>
                  <a:pt x="434177" y="445481"/>
                  <a:pt x="434177" y="445481"/>
                  <a:pt x="435514" y="445481"/>
                </a:cubicBezTo>
                <a:cubicBezTo>
                  <a:pt x="446205" y="440138"/>
                  <a:pt x="456896" y="433459"/>
                  <a:pt x="467587" y="428116"/>
                </a:cubicBezTo>
                <a:cubicBezTo>
                  <a:pt x="468924" y="426780"/>
                  <a:pt x="470260" y="426780"/>
                  <a:pt x="472933" y="425444"/>
                </a:cubicBezTo>
                <a:cubicBezTo>
                  <a:pt x="483624" y="418765"/>
                  <a:pt x="494315" y="413422"/>
                  <a:pt x="505006" y="406743"/>
                </a:cubicBezTo>
                <a:cubicBezTo>
                  <a:pt x="506343" y="405407"/>
                  <a:pt x="509016" y="404072"/>
                  <a:pt x="510352" y="402736"/>
                </a:cubicBezTo>
                <a:cubicBezTo>
                  <a:pt x="521043" y="396057"/>
                  <a:pt x="533071" y="389378"/>
                  <a:pt x="543762" y="382699"/>
                </a:cubicBezTo>
                <a:cubicBezTo>
                  <a:pt x="554453" y="376020"/>
                  <a:pt x="565145" y="369342"/>
                  <a:pt x="575836" y="362663"/>
                </a:cubicBezTo>
                <a:cubicBezTo>
                  <a:pt x="577172" y="361327"/>
                  <a:pt x="579845" y="359991"/>
                  <a:pt x="581181" y="358655"/>
                </a:cubicBezTo>
                <a:cubicBezTo>
                  <a:pt x="591873" y="351976"/>
                  <a:pt x="601227" y="343962"/>
                  <a:pt x="611919" y="337283"/>
                </a:cubicBezTo>
                <a:cubicBezTo>
                  <a:pt x="613255" y="335947"/>
                  <a:pt x="615928" y="334611"/>
                  <a:pt x="617264" y="333275"/>
                </a:cubicBezTo>
                <a:cubicBezTo>
                  <a:pt x="627956" y="325261"/>
                  <a:pt x="638647" y="318582"/>
                  <a:pt x="649338" y="310567"/>
                </a:cubicBezTo>
                <a:cubicBezTo>
                  <a:pt x="929147" y="99347"/>
                  <a:pt x="1258028" y="-1776"/>
                  <a:pt x="1583776" y="24"/>
                </a:cubicBezTo>
                <a:close/>
              </a:path>
            </a:pathLst>
          </a:custGeom>
        </p:spPr>
        <p:txBody>
          <a:bodyPr wrap="square" tIns="1584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81BB9FA-F272-BE45-B264-5C6266B602D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351" y="5643500"/>
            <a:ext cx="5003993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26856950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Full Colour)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colorful circle with a white background&#10;&#10;Description automatically generated with medium confidence">
            <a:extLst>
              <a:ext uri="{FF2B5EF4-FFF2-40B4-BE49-F238E27FC236}">
                <a16:creationId xmlns:a16="http://schemas.microsoft.com/office/drawing/2014/main" id="{CD86E345-BD7E-FB12-E0E8-78B6D70049D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3662" y="0"/>
            <a:ext cx="4168338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7" y="1376363"/>
            <a:ext cx="5465763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7" y="3990974"/>
            <a:ext cx="5465763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20" name="AutoShape 3">
            <a:extLst>
              <a:ext uri="{FF2B5EF4-FFF2-40B4-BE49-F238E27FC236}">
                <a16:creationId xmlns:a16="http://schemas.microsoft.com/office/drawing/2014/main" id="{8823F573-A3DF-8EC5-FC9A-A27AF8C52AE5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057775" y="0"/>
            <a:ext cx="713422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7A2D017-DF64-7420-B195-CE9B2E85F0E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351" y="5643500"/>
            <a:ext cx="5003993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009579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D8E0BFA0-78AB-9F34-B8D6-117435C6A8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3"/>
            </p:custDataLst>
            <p:extLst>
              <p:ext uri="{D42A27DB-BD31-4B8C-83A1-F6EECF244321}">
                <p14:modId xmlns:p14="http://schemas.microsoft.com/office/powerpoint/2010/main" val="7735274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4" imgW="473" imgH="473" progId="TCLayout.ActiveDocument.1">
                  <p:embed/>
                </p:oleObj>
              </mc:Choice>
              <mc:Fallback>
                <p:oleObj name="think-cell Folie" r:id="rId64" imgW="473" imgH="47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8E0BFA0-78AB-9F34-B8D6-117435C6A8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37A96AB-8025-800A-2C24-7E888FEFF7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11168062" cy="106527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04E3102-B1BD-6F42-D23F-9839C4945A5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4838" y="1573619"/>
            <a:ext cx="11168062" cy="447793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360478D-6D5E-92AA-A8E5-4B2E1DDB451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97850" y="6449644"/>
            <a:ext cx="2880000" cy="1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8B61785-315A-7A76-7C7E-594293B975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7726" y="6449644"/>
            <a:ext cx="465174" cy="1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900" b="1">
                <a:solidFill>
                  <a:schemeClr val="tx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364773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662" r:id="rId2"/>
    <p:sldLayoutId id="2147483708" r:id="rId3"/>
    <p:sldLayoutId id="2147483701" r:id="rId4"/>
    <p:sldLayoutId id="2147483705" r:id="rId5"/>
    <p:sldLayoutId id="2147483707" r:id="rId6"/>
    <p:sldLayoutId id="2147483709" r:id="rId7"/>
    <p:sldLayoutId id="2147483710" r:id="rId8"/>
    <p:sldLayoutId id="2147483661" r:id="rId9"/>
    <p:sldLayoutId id="2147483711" r:id="rId10"/>
    <p:sldLayoutId id="2147483713" r:id="rId11"/>
    <p:sldLayoutId id="2147483714" r:id="rId12"/>
    <p:sldLayoutId id="2147483715" r:id="rId13"/>
    <p:sldLayoutId id="2147483700" r:id="rId14"/>
    <p:sldLayoutId id="2147483699" r:id="rId15"/>
    <p:sldLayoutId id="2147483650" r:id="rId16"/>
    <p:sldLayoutId id="2147483659" r:id="rId17"/>
    <p:sldLayoutId id="2147483660" r:id="rId18"/>
    <p:sldLayoutId id="2147483656" r:id="rId19"/>
    <p:sldLayoutId id="2147483687" r:id="rId20"/>
    <p:sldLayoutId id="2147483720" r:id="rId21"/>
    <p:sldLayoutId id="2147483721" r:id="rId22"/>
    <p:sldLayoutId id="2147483725" r:id="rId23"/>
    <p:sldLayoutId id="2147483723" r:id="rId24"/>
    <p:sldLayoutId id="2147483726" r:id="rId25"/>
    <p:sldLayoutId id="2147483727" r:id="rId26"/>
    <p:sldLayoutId id="2147483729" r:id="rId27"/>
    <p:sldLayoutId id="2147483730" r:id="rId28"/>
    <p:sldLayoutId id="2147483731" r:id="rId29"/>
    <p:sldLayoutId id="2147483732" r:id="rId30"/>
    <p:sldLayoutId id="2147483733" r:id="rId31"/>
    <p:sldLayoutId id="2147483734" r:id="rId32"/>
    <p:sldLayoutId id="2147483735" r:id="rId33"/>
    <p:sldLayoutId id="2147483681" r:id="rId34"/>
    <p:sldLayoutId id="2147483668" r:id="rId35"/>
    <p:sldLayoutId id="2147483667" r:id="rId36"/>
    <p:sldLayoutId id="2147483669" r:id="rId37"/>
    <p:sldLayoutId id="2147483683" r:id="rId38"/>
    <p:sldLayoutId id="2147483684" r:id="rId39"/>
    <p:sldLayoutId id="2147483672" r:id="rId40"/>
    <p:sldLayoutId id="2147483695" r:id="rId41"/>
    <p:sldLayoutId id="2147483673" r:id="rId42"/>
    <p:sldLayoutId id="2147483716" r:id="rId43"/>
    <p:sldLayoutId id="2147483717" r:id="rId44"/>
    <p:sldLayoutId id="2147483718" r:id="rId45"/>
    <p:sldLayoutId id="2147483719" r:id="rId46"/>
    <p:sldLayoutId id="2147483690" r:id="rId47"/>
    <p:sldLayoutId id="2147483688" r:id="rId48"/>
    <p:sldLayoutId id="2147483738" r:id="rId49"/>
    <p:sldLayoutId id="2147483670" r:id="rId50"/>
    <p:sldLayoutId id="2147483671" r:id="rId51"/>
    <p:sldLayoutId id="2147483692" r:id="rId52"/>
    <p:sldLayoutId id="2147483693" r:id="rId53"/>
    <p:sldLayoutId id="2147483694" r:id="rId54"/>
    <p:sldLayoutId id="2147483654" r:id="rId55"/>
    <p:sldLayoutId id="2147483655" r:id="rId56"/>
    <p:sldLayoutId id="2147483736" r:id="rId57"/>
    <p:sldLayoutId id="2147483737" r:id="rId58"/>
    <p:sldLayoutId id="2147483698" r:id="rId59"/>
    <p:sldLayoutId id="2147483740" r:id="rId60"/>
    <p:sldLayoutId id="2147483741" r:id="rId61"/>
  </p:sldLayoutIdLst>
  <p:hf hd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3000" b="1" kern="1200">
          <a:solidFill>
            <a:srgbClr val="002068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5000"/>
        </a:lnSpc>
        <a:spcBef>
          <a:spcPts val="1000"/>
        </a:spcBef>
        <a:buFontTx/>
        <a:buNone/>
        <a:defRPr sz="2000" b="1" kern="1200">
          <a:solidFill>
            <a:srgbClr val="0460A9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95000"/>
        </a:lnSpc>
        <a:spcBef>
          <a:spcPts val="700"/>
        </a:spcBef>
        <a:buFontTx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95000"/>
        </a:lnSpc>
        <a:spcBef>
          <a:spcPts val="600"/>
        </a:spcBef>
        <a:buClr>
          <a:srgbClr val="0460A9"/>
        </a:buClr>
        <a:buFont typeface="Ping LCG Medium" pitchFamily="50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490538" indent="-268288" algn="l" defTabSz="914400" rtl="0" eaLnBrk="1" latinLnBrk="0" hangingPunct="1">
        <a:lnSpc>
          <a:spcPct val="95000"/>
        </a:lnSpc>
        <a:spcBef>
          <a:spcPts val="600"/>
        </a:spcBef>
        <a:buClr>
          <a:srgbClr val="0460A9"/>
        </a:buClr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73113" indent="-277813" algn="l" defTabSz="914400" rtl="0" eaLnBrk="1" latinLnBrk="0" hangingPunct="1">
        <a:lnSpc>
          <a:spcPct val="95000"/>
        </a:lnSpc>
        <a:spcBef>
          <a:spcPts val="600"/>
        </a:spcBef>
        <a:buClr>
          <a:srgbClr val="0460A9"/>
        </a:buClr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2" userDrawn="1">
          <p15:clr>
            <a:srgbClr val="F26B43"/>
          </p15:clr>
        </p15:guide>
        <p15:guide id="2" pos="3975" userDrawn="1">
          <p15:clr>
            <a:srgbClr val="F26B43"/>
          </p15:clr>
        </p15:guide>
        <p15:guide id="3" orient="horz" pos="243" userDrawn="1">
          <p15:clr>
            <a:srgbClr val="F26B43"/>
          </p15:clr>
        </p15:guide>
        <p15:guide id="4" orient="horz" pos="3812" userDrawn="1">
          <p15:clr>
            <a:srgbClr val="F26B43"/>
          </p15:clr>
        </p15:guide>
        <p15:guide id="5" orient="horz" pos="867" userDrawn="1">
          <p15:clr>
            <a:srgbClr val="F26B43"/>
          </p15:clr>
        </p15:guide>
        <p15:guide id="6" orient="horz" pos="1015" userDrawn="1">
          <p15:clr>
            <a:srgbClr val="F26B43"/>
          </p15:clr>
        </p15:guide>
        <p15:guide id="7" orient="horz" pos="1639" userDrawn="1">
          <p15:clr>
            <a:srgbClr val="F26B43"/>
          </p15:clr>
        </p15:guide>
        <p15:guide id="8" orient="horz" pos="1781" userDrawn="1">
          <p15:clr>
            <a:srgbClr val="F26B43"/>
          </p15:clr>
        </p15:guide>
        <p15:guide id="9" orient="horz" pos="2544" userDrawn="1">
          <p15:clr>
            <a:srgbClr val="F26B43"/>
          </p15:clr>
        </p15:guide>
        <p15:guide id="10" orient="horz" pos="3174" userDrawn="1">
          <p15:clr>
            <a:srgbClr val="F26B43"/>
          </p15:clr>
        </p15:guide>
        <p15:guide id="11" orient="horz" pos="3316" userDrawn="1">
          <p15:clr>
            <a:srgbClr val="F26B43"/>
          </p15:clr>
        </p15:guide>
        <p15:guide id="12" pos="7416" userDrawn="1">
          <p15:clr>
            <a:srgbClr val="F26B43"/>
          </p15:clr>
        </p15:guide>
        <p15:guide id="13" pos="381" userDrawn="1">
          <p15:clr>
            <a:srgbClr val="F26B43"/>
          </p15:clr>
        </p15:guide>
        <p15:guide id="14" pos="1434" userDrawn="1">
          <p15:clr>
            <a:srgbClr val="F26B43"/>
          </p15:clr>
        </p15:guide>
        <p15:guide id="15" pos="1581" userDrawn="1">
          <p15:clr>
            <a:srgbClr val="F26B43"/>
          </p15:clr>
        </p15:guide>
        <p15:guide id="16" pos="2625" userDrawn="1">
          <p15:clr>
            <a:srgbClr val="F26B43"/>
          </p15:clr>
        </p15:guide>
        <p15:guide id="17" pos="2776" userDrawn="1">
          <p15:clr>
            <a:srgbClr val="F26B43"/>
          </p15:clr>
        </p15:guide>
        <p15:guide id="18" pos="3824" userDrawn="1">
          <p15:clr>
            <a:srgbClr val="F26B43"/>
          </p15:clr>
        </p15:guide>
        <p15:guide id="19" pos="5020" userDrawn="1">
          <p15:clr>
            <a:srgbClr val="F26B43"/>
          </p15:clr>
        </p15:guide>
        <p15:guide id="20" pos="5166" userDrawn="1">
          <p15:clr>
            <a:srgbClr val="F26B43"/>
          </p15:clr>
        </p15:guide>
        <p15:guide id="21" pos="6219" userDrawn="1">
          <p15:clr>
            <a:srgbClr val="F26B43"/>
          </p15:clr>
        </p15:guide>
        <p15:guide id="22" pos="636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60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image" Target="../media/image40.png"/><Relationship Id="rId7" Type="http://schemas.openxmlformats.org/officeDocument/2006/relationships/image" Target="../media/image4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1.xml"/><Relationship Id="rId6" Type="http://schemas.openxmlformats.org/officeDocument/2006/relationships/image" Target="../media/image43.png"/><Relationship Id="rId5" Type="http://schemas.openxmlformats.org/officeDocument/2006/relationships/image" Target="../media/image42.png"/><Relationship Id="rId4" Type="http://schemas.openxmlformats.org/officeDocument/2006/relationships/image" Target="../media/image4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1.xml"/><Relationship Id="rId5" Type="http://schemas.openxmlformats.org/officeDocument/2006/relationships/chart" Target="../charts/chart2.xml"/><Relationship Id="rId4" Type="http://schemas.openxmlformats.org/officeDocument/2006/relationships/chart" Target="../charts/char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1.xml"/><Relationship Id="rId5" Type="http://schemas.openxmlformats.org/officeDocument/2006/relationships/chart" Target="../charts/chart3.xml"/><Relationship Id="rId4" Type="http://schemas.openxmlformats.org/officeDocument/2006/relationships/image" Target="../media/image4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chart" Target="../charts/chart4.xml"/><Relationship Id="rId2" Type="http://schemas.openxmlformats.org/officeDocument/2006/relationships/slideLayout" Target="../slideLayouts/slideLayout61.xml"/><Relationship Id="rId1" Type="http://schemas.openxmlformats.org/officeDocument/2006/relationships/tags" Target="../tags/tag4.xml"/><Relationship Id="rId6" Type="http://schemas.openxmlformats.org/officeDocument/2006/relationships/image" Target="../media/image4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1.xml"/><Relationship Id="rId6" Type="http://schemas.openxmlformats.org/officeDocument/2006/relationships/image" Target="../media/image49.png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28DDE4-A76C-D583-0796-26B60D1B35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E8696E6-8356-BD18-1FE7-343881553F0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73" imgH="473" progId="TCLayout.ActiveDocument.1">
                  <p:embed/>
                </p:oleObj>
              </mc:Choice>
              <mc:Fallback>
                <p:oleObj name="think-cell Folie" r:id="rId4" imgW="473" imgH="47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E8696E6-8356-BD18-1FE7-343881553F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BBFDB9E-BBFC-3F2F-6947-D60F8013E99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682992"/>
            <a:ext cx="6879695" cy="1969770"/>
          </a:xfrm>
        </p:spPr>
        <p:txBody>
          <a:bodyPr vert="horz"/>
          <a:lstStyle/>
          <a:p>
            <a:r>
              <a:rPr lang="en-US" sz="3200" dirty="0"/>
              <a:t>Long-term follow-up of real-world adjuvant anti-PD1 checkpoint inhibition and targeted therapy in stage III melanoma patients</a:t>
            </a:r>
            <a:endParaRPr lang="en-GB" sz="3200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A267D7F-8E10-CF4C-8F84-CADA1D45035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6778095" cy="2667001"/>
          </a:xfrm>
        </p:spPr>
        <p:txBody>
          <a:bodyPr/>
          <a:lstStyle/>
          <a:p>
            <a:r>
              <a:rPr lang="en-GB" sz="900" dirty="0"/>
              <a:t>Georg C Lodde</a:t>
            </a:r>
            <a:r>
              <a:rPr lang="en-GB" sz="900" baseline="30000" dirty="0"/>
              <a:t>1</a:t>
            </a:r>
            <a:r>
              <a:rPr lang="en-GB" sz="900" dirty="0"/>
              <a:t>, Jessica C Hassel</a:t>
            </a:r>
            <a:r>
              <a:rPr lang="en-GB" sz="900" baseline="30000" dirty="0"/>
              <a:t>2</a:t>
            </a:r>
            <a:r>
              <a:rPr lang="en-GB" sz="900" dirty="0"/>
              <a:t>, Imke von Wasielewski</a:t>
            </a:r>
            <a:r>
              <a:rPr lang="en-GB" sz="900" baseline="30000" dirty="0"/>
              <a:t>3</a:t>
            </a:r>
            <a:r>
              <a:rPr lang="en-GB" sz="900" dirty="0"/>
              <a:t>, Friedegund Meier</a:t>
            </a:r>
            <a:r>
              <a:rPr lang="en-GB" sz="900" baseline="30000" dirty="0"/>
              <a:t>4,5</a:t>
            </a:r>
            <a:r>
              <a:rPr lang="en-GB" sz="900" dirty="0"/>
              <a:t>, Peter Mohr</a:t>
            </a:r>
            <a:r>
              <a:rPr lang="en-GB" sz="900" baseline="30000" dirty="0"/>
              <a:t>6</a:t>
            </a:r>
            <a:r>
              <a:rPr lang="en-GB" sz="900" dirty="0"/>
              <a:t>, Katharina Kähler</a:t>
            </a:r>
            <a:r>
              <a:rPr lang="en-GB" sz="900" baseline="30000" dirty="0"/>
              <a:t>7</a:t>
            </a:r>
            <a:r>
              <a:rPr lang="en-GB" sz="900" dirty="0"/>
              <a:t>, Axel Hauschild</a:t>
            </a:r>
            <a:r>
              <a:rPr lang="en-GB" sz="900" baseline="30000" dirty="0"/>
              <a:t>7</a:t>
            </a:r>
            <a:r>
              <a:rPr lang="en-GB" sz="900" dirty="0"/>
              <a:t>, Valerie Glutsch</a:t>
            </a:r>
            <a:r>
              <a:rPr lang="en-GB" sz="900" baseline="30000" dirty="0"/>
              <a:t>8</a:t>
            </a:r>
            <a:r>
              <a:rPr lang="en-GB" sz="900" dirty="0"/>
              <a:t>, Henner Stege</a:t>
            </a:r>
            <a:r>
              <a:rPr lang="en-GB" sz="900" baseline="30000" dirty="0"/>
              <a:t>9</a:t>
            </a:r>
            <a:r>
              <a:rPr lang="en-GB" sz="900" dirty="0"/>
              <a:t>, Carola Berking</a:t>
            </a:r>
            <a:r>
              <a:rPr lang="en-GB" sz="900" baseline="30000" dirty="0"/>
              <a:t>10</a:t>
            </a:r>
            <a:r>
              <a:rPr lang="en-GB" sz="900" dirty="0"/>
              <a:t>, Svea Hüning</a:t>
            </a:r>
            <a:r>
              <a:rPr lang="en-GB" sz="900" baseline="30000" dirty="0"/>
              <a:t>11</a:t>
            </a:r>
            <a:r>
              <a:rPr lang="en-GB" sz="900" dirty="0"/>
              <a:t>, Julia Huynh</a:t>
            </a:r>
            <a:r>
              <a:rPr lang="en-GB" sz="900" baseline="30000" dirty="0"/>
              <a:t>12,13</a:t>
            </a:r>
            <a:r>
              <a:rPr lang="en-GB" sz="900" dirty="0"/>
              <a:t>, Ralf Gutzmer</a:t>
            </a:r>
            <a:r>
              <a:rPr lang="en-GB" sz="900" baseline="30000" dirty="0"/>
              <a:t>3,14</a:t>
            </a:r>
            <a:r>
              <a:rPr lang="en-GB" sz="900" dirty="0"/>
              <a:t>, Lydia Reinhardt</a:t>
            </a:r>
            <a:r>
              <a:rPr lang="en-GB" sz="900" baseline="30000" dirty="0"/>
              <a:t>4,5</a:t>
            </a:r>
            <a:r>
              <a:rPr lang="en-GB" sz="900" dirty="0"/>
              <a:t>, Bastian Schilling</a:t>
            </a:r>
            <a:r>
              <a:rPr lang="en-GB" sz="900" baseline="30000" dirty="0"/>
              <a:t>8,15</a:t>
            </a:r>
            <a:r>
              <a:rPr lang="en-GB" sz="900" dirty="0"/>
              <a:t>, Carmen Loquai</a:t>
            </a:r>
            <a:r>
              <a:rPr lang="en-GB" sz="900" baseline="30000" dirty="0"/>
              <a:t>9,16</a:t>
            </a:r>
            <a:r>
              <a:rPr lang="en-GB" sz="900" dirty="0"/>
              <a:t>, Michael Erdmann</a:t>
            </a:r>
            <a:r>
              <a:rPr lang="en-GB" sz="900" baseline="30000" dirty="0"/>
              <a:t>10</a:t>
            </a:r>
            <a:r>
              <a:rPr lang="en-GB" sz="900" dirty="0"/>
              <a:t>, Andreas Stang</a:t>
            </a:r>
            <a:r>
              <a:rPr lang="en-GB" sz="900" baseline="30000" dirty="0"/>
              <a:t>17</a:t>
            </a:r>
            <a:r>
              <a:rPr lang="en-GB" sz="900" dirty="0"/>
              <a:t>, Bernd Kowall</a:t>
            </a:r>
            <a:r>
              <a:rPr lang="en-GB" sz="900" baseline="30000" dirty="0"/>
              <a:t>17</a:t>
            </a:r>
            <a:r>
              <a:rPr lang="en-GB" sz="900" dirty="0"/>
              <a:t>, Wolfgang Galetzka</a:t>
            </a:r>
            <a:r>
              <a:rPr lang="en-GB" sz="900" baseline="30000" dirty="0"/>
              <a:t>17</a:t>
            </a:r>
            <a:r>
              <a:rPr lang="en-GB" sz="900" dirty="0"/>
              <a:t>, Alexander Roesch</a:t>
            </a:r>
            <a:r>
              <a:rPr lang="en-GB" sz="900" baseline="30000" dirty="0"/>
              <a:t>1,18</a:t>
            </a:r>
            <a:r>
              <a:rPr lang="en-GB" sz="900" dirty="0"/>
              <a:t>, Daniel Tilkorn</a:t>
            </a:r>
            <a:r>
              <a:rPr lang="en-GB" sz="900" baseline="30000" dirty="0"/>
              <a:t>1</a:t>
            </a:r>
            <a:r>
              <a:rPr lang="en-GB" sz="900" dirty="0"/>
              <a:t>, Selma Ugurel</a:t>
            </a:r>
            <a:r>
              <a:rPr lang="en-GB" sz="900" baseline="30000" dirty="0"/>
              <a:t>1,18</a:t>
            </a:r>
            <a:r>
              <a:rPr lang="en-GB" sz="900" dirty="0"/>
              <a:t>, Lisa Zimmer</a:t>
            </a:r>
            <a:r>
              <a:rPr lang="en-GB" sz="900" baseline="30000" dirty="0"/>
              <a:t>1</a:t>
            </a:r>
            <a:r>
              <a:rPr lang="en-GB" sz="900" dirty="0"/>
              <a:t>, Dirk </a:t>
            </a:r>
            <a:r>
              <a:rPr lang="en-GB" sz="900" dirty="0" err="1"/>
              <a:t>Schadendorf</a:t>
            </a:r>
            <a:r>
              <a:rPr lang="en-GB" sz="900" dirty="0"/>
              <a:t> </a:t>
            </a:r>
            <a:r>
              <a:rPr lang="en-GB" sz="900" baseline="30000" dirty="0"/>
              <a:t>1,18,19</a:t>
            </a:r>
            <a:r>
              <a:rPr lang="en-GB" sz="900" dirty="0"/>
              <a:t>, Andrea Forschner</a:t>
            </a:r>
            <a:r>
              <a:rPr lang="en-GB" sz="900" baseline="30000" dirty="0"/>
              <a:t>12</a:t>
            </a:r>
            <a:r>
              <a:rPr lang="en-GB" sz="900" dirty="0"/>
              <a:t>, Elisabeth Livingstone</a:t>
            </a:r>
            <a:r>
              <a:rPr lang="en-GB" sz="900" baseline="30000" dirty="0"/>
              <a:t>1</a:t>
            </a:r>
            <a:r>
              <a:rPr lang="en-GB" sz="900" dirty="0"/>
              <a:t> </a:t>
            </a:r>
          </a:p>
          <a:p>
            <a:endParaRPr lang="en-GB" sz="700" b="0" dirty="0"/>
          </a:p>
          <a:p>
            <a:r>
              <a:rPr lang="en-GB" sz="700" dirty="0"/>
              <a:t>1</a:t>
            </a:r>
            <a:r>
              <a:rPr lang="en-GB" sz="700" b="0" dirty="0"/>
              <a:t> Department of Dermatology, Venereology and Allergology, University Hospital Essen, Essen, Germany. </a:t>
            </a:r>
            <a:r>
              <a:rPr lang="en-GB" sz="700" dirty="0"/>
              <a:t>2</a:t>
            </a:r>
            <a:r>
              <a:rPr lang="en-GB" sz="700" b="0" dirty="0"/>
              <a:t> Medical Faculty Heidelberg, Department of Dermatology and National </a:t>
            </a:r>
            <a:r>
              <a:rPr lang="en-GB" sz="700" b="0" dirty="0" err="1"/>
              <a:t>Center</a:t>
            </a:r>
            <a:r>
              <a:rPr lang="en-GB" sz="700" b="0" dirty="0"/>
              <a:t> for </a:t>
            </a:r>
            <a:r>
              <a:rPr lang="en-GB" sz="700" b="0" dirty="0" err="1"/>
              <a:t>Tumor</a:t>
            </a:r>
            <a:r>
              <a:rPr lang="en-GB" sz="700" b="0" dirty="0"/>
              <a:t> Diseases (NCT), NCT Heidelberg, a partnership between DKFZ and University Hospital Heidelberg, Heidelberg University, Heidelberg, Germany. </a:t>
            </a:r>
            <a:r>
              <a:rPr lang="en-GB" sz="700" dirty="0"/>
              <a:t>  </a:t>
            </a:r>
            <a:r>
              <a:rPr lang="en-GB" sz="700" b="0" dirty="0"/>
              <a:t> </a:t>
            </a:r>
            <a:r>
              <a:rPr lang="en-GB" sz="700" dirty="0"/>
              <a:t>3</a:t>
            </a:r>
            <a:r>
              <a:rPr lang="en-GB" sz="700" b="0" dirty="0"/>
              <a:t> Skin Cancer </a:t>
            </a:r>
            <a:r>
              <a:rPr lang="en-GB" sz="700" b="0" dirty="0" err="1"/>
              <a:t>Center</a:t>
            </a:r>
            <a:r>
              <a:rPr lang="en-GB" sz="700" b="0" dirty="0"/>
              <a:t> Hannover, Department of Dermatology and Allergy, Venereology and Allergology, University Hospital Hannover Medical School, Hannover, Germany. </a:t>
            </a:r>
            <a:r>
              <a:rPr lang="en-GB" sz="700" dirty="0"/>
              <a:t>4</a:t>
            </a:r>
            <a:r>
              <a:rPr lang="en-GB" sz="700" b="0" dirty="0"/>
              <a:t> Skin Cancer </a:t>
            </a:r>
            <a:r>
              <a:rPr lang="en-GB" sz="700" b="0" dirty="0" err="1"/>
              <a:t>Center</a:t>
            </a:r>
            <a:r>
              <a:rPr lang="en-GB" sz="700" b="0" dirty="0"/>
              <a:t> at the University Cancer Centre Dresden and National </a:t>
            </a:r>
            <a:r>
              <a:rPr lang="en-GB" sz="700" b="0" dirty="0" err="1"/>
              <a:t>Center</a:t>
            </a:r>
            <a:r>
              <a:rPr lang="en-GB" sz="700" b="0" dirty="0"/>
              <a:t> for </a:t>
            </a:r>
            <a:r>
              <a:rPr lang="en-GB" sz="700" b="0" dirty="0" err="1"/>
              <a:t>Tumor</a:t>
            </a:r>
            <a:r>
              <a:rPr lang="en-GB" sz="700" b="0" dirty="0"/>
              <a:t> Diseases, Dresden, Germany. </a:t>
            </a:r>
            <a:r>
              <a:rPr lang="en-GB" sz="700" dirty="0"/>
              <a:t>5</a:t>
            </a:r>
            <a:r>
              <a:rPr lang="en-GB" sz="700" b="0" dirty="0"/>
              <a:t> Department of Dermatology, University Hospital Carl Gustav Carus, TU Dresden, Dresden, Germany. </a:t>
            </a:r>
            <a:r>
              <a:rPr lang="en-GB" sz="700" dirty="0"/>
              <a:t>6</a:t>
            </a:r>
            <a:r>
              <a:rPr lang="en-GB" sz="700" b="0" dirty="0"/>
              <a:t> Department of Dermatology, Elbe </a:t>
            </a:r>
            <a:r>
              <a:rPr lang="en-GB" sz="700" b="0" dirty="0" err="1"/>
              <a:t>Kliniken</a:t>
            </a:r>
            <a:r>
              <a:rPr lang="en-GB" sz="700" b="0" dirty="0"/>
              <a:t> Stade-Buxtehude, Buxtehude, Germany. </a:t>
            </a:r>
            <a:r>
              <a:rPr lang="en-GB" sz="700" dirty="0"/>
              <a:t>7</a:t>
            </a:r>
            <a:r>
              <a:rPr lang="en-GB" sz="700" b="0" dirty="0"/>
              <a:t> Department of Dermatology, Venereology and Allergology, University Hospital Kiel, Kiel, Germany. </a:t>
            </a:r>
            <a:r>
              <a:rPr lang="en-GB" sz="700" dirty="0"/>
              <a:t>8</a:t>
            </a:r>
            <a:r>
              <a:rPr lang="en-GB" sz="700" b="0" dirty="0"/>
              <a:t> Department of Dermatology, Venereology and Allergology, University Hospital Wuerzburg, Wuerzburg, Germany. </a:t>
            </a:r>
            <a:r>
              <a:rPr lang="en-GB" sz="700" dirty="0"/>
              <a:t>9</a:t>
            </a:r>
            <a:r>
              <a:rPr lang="en-GB" sz="700" b="0" dirty="0"/>
              <a:t> Department of Dermatology, University Hospital Mainz, Mainz, Germany. </a:t>
            </a:r>
            <a:r>
              <a:rPr lang="en-GB" sz="700" dirty="0"/>
              <a:t>10</a:t>
            </a:r>
            <a:r>
              <a:rPr lang="en-GB" sz="700" b="0" dirty="0"/>
              <a:t> Department of Dermatology, </a:t>
            </a:r>
            <a:r>
              <a:rPr lang="en-GB" sz="700" b="0" dirty="0" err="1"/>
              <a:t>Uniklinikum</a:t>
            </a:r>
            <a:r>
              <a:rPr lang="en-GB" sz="700" b="0" dirty="0"/>
              <a:t> Erlangen, Comprehensive Cancer </a:t>
            </a:r>
            <a:r>
              <a:rPr lang="en-GB" sz="700" b="0" dirty="0" err="1"/>
              <a:t>Center</a:t>
            </a:r>
            <a:r>
              <a:rPr lang="en-GB" sz="700" b="0" dirty="0"/>
              <a:t> Erlangen-EMN, Friedrich-Alexander University Erlangen-Nuremberg (FAU), </a:t>
            </a:r>
            <a:r>
              <a:rPr lang="en-GB" sz="700" b="0" dirty="0" err="1"/>
              <a:t>Deutsches</a:t>
            </a:r>
            <a:r>
              <a:rPr lang="en-GB" sz="700" b="0" dirty="0"/>
              <a:t> Zentrum </a:t>
            </a:r>
            <a:r>
              <a:rPr lang="en-GB" sz="700" b="0" dirty="0" err="1"/>
              <a:t>Immuntherapie</a:t>
            </a:r>
            <a:r>
              <a:rPr lang="en-GB" sz="700" b="0" dirty="0"/>
              <a:t> (DZI), Erlangen, Germany. </a:t>
            </a:r>
            <a:r>
              <a:rPr lang="en-GB" sz="700" dirty="0"/>
              <a:t>11</a:t>
            </a:r>
            <a:r>
              <a:rPr lang="en-GB" sz="700" b="0" dirty="0"/>
              <a:t> Department of Dermatology, Klinikum Dortmund </a:t>
            </a:r>
            <a:r>
              <a:rPr lang="en-GB" sz="700" b="0" dirty="0" err="1"/>
              <a:t>gGmbH</a:t>
            </a:r>
            <a:r>
              <a:rPr lang="en-GB" sz="700" b="0" dirty="0"/>
              <a:t>, Dortmund, Germany. </a:t>
            </a:r>
            <a:r>
              <a:rPr lang="en-GB" sz="700" dirty="0"/>
              <a:t>12</a:t>
            </a:r>
            <a:r>
              <a:rPr lang="en-GB" sz="700" b="0" dirty="0"/>
              <a:t> Department of Dermatology, University Hospital </a:t>
            </a:r>
            <a:r>
              <a:rPr lang="en-GB" sz="700" b="0" dirty="0" err="1"/>
              <a:t>Tuebingen</a:t>
            </a:r>
            <a:r>
              <a:rPr lang="en-GB" sz="700" b="0" dirty="0"/>
              <a:t>, </a:t>
            </a:r>
            <a:r>
              <a:rPr lang="en-GB" sz="700" b="0" dirty="0" err="1"/>
              <a:t>Tuebingen</a:t>
            </a:r>
            <a:r>
              <a:rPr lang="en-GB" sz="700" b="0" dirty="0"/>
              <a:t>, Germany. </a:t>
            </a:r>
            <a:r>
              <a:rPr lang="en-GB" sz="700" dirty="0"/>
              <a:t>13</a:t>
            </a:r>
            <a:r>
              <a:rPr lang="en-GB" sz="700" b="0" dirty="0"/>
              <a:t> Department of Dermatology, Charité-</a:t>
            </a:r>
            <a:r>
              <a:rPr lang="en-GB" sz="700" b="0" dirty="0" err="1"/>
              <a:t>Universitätsmedizin</a:t>
            </a:r>
            <a:r>
              <a:rPr lang="en-GB" sz="700" b="0" dirty="0"/>
              <a:t> Berlin, corporate member of Freie Universität Berlin and Humboldt-Universität </a:t>
            </a:r>
            <a:r>
              <a:rPr lang="en-GB" sz="700" b="0" dirty="0" err="1"/>
              <a:t>zu</a:t>
            </a:r>
            <a:r>
              <a:rPr lang="en-GB" sz="700" b="0" dirty="0"/>
              <a:t> Berlin, Berlin, Germany. </a:t>
            </a:r>
            <a:r>
              <a:rPr lang="en-GB" sz="700" dirty="0"/>
              <a:t>14</a:t>
            </a:r>
            <a:r>
              <a:rPr lang="en-GB" sz="700" b="0" dirty="0"/>
              <a:t> Department of Dermatology, Johannes Wesling Medical </a:t>
            </a:r>
            <a:r>
              <a:rPr lang="en-GB" sz="700" b="0" dirty="0" err="1"/>
              <a:t>Center</a:t>
            </a:r>
            <a:r>
              <a:rPr lang="en-GB" sz="700" b="0" dirty="0"/>
              <a:t>, Ruhr University Bochum, Minden, Germany. </a:t>
            </a:r>
            <a:r>
              <a:rPr lang="en-GB" sz="700" dirty="0"/>
              <a:t>15</a:t>
            </a:r>
            <a:r>
              <a:rPr lang="en-GB" sz="700" b="0" dirty="0"/>
              <a:t> Department of Dermatology, Venereology and Allergology, University Hospital Frankfurt, Frankfurt, Germany. </a:t>
            </a:r>
            <a:r>
              <a:rPr lang="en-GB" sz="700" dirty="0"/>
              <a:t>16</a:t>
            </a:r>
            <a:r>
              <a:rPr lang="en-GB" sz="700" b="0" dirty="0"/>
              <a:t> Department of Dermatology, Klinikum Bremen-Ost, Gesundheit Nord </a:t>
            </a:r>
            <a:r>
              <a:rPr lang="en-GB" sz="700" b="0" dirty="0" err="1"/>
              <a:t>gGmbH</a:t>
            </a:r>
            <a:r>
              <a:rPr lang="en-GB" sz="700" b="0" dirty="0"/>
              <a:t>, Bremen, Germany. </a:t>
            </a:r>
            <a:r>
              <a:rPr lang="en-GB" sz="700" dirty="0"/>
              <a:t>17</a:t>
            </a:r>
            <a:r>
              <a:rPr lang="en-GB" sz="700" b="0" dirty="0"/>
              <a:t> Institute for Medical Informatics, Biometry and Epidemiology, University Hospital Essen, Essen, Germany. </a:t>
            </a:r>
            <a:r>
              <a:rPr lang="en-GB" sz="700" dirty="0"/>
              <a:t>18</a:t>
            </a:r>
            <a:r>
              <a:rPr lang="en-GB" sz="700" b="0" dirty="0"/>
              <a:t> German Consortium for Translational Cancer Research (DKTK), partner site Essen and German Cancer Re-search </a:t>
            </a:r>
            <a:r>
              <a:rPr lang="en-GB" sz="700" b="0" dirty="0" err="1"/>
              <a:t>Center</a:t>
            </a:r>
            <a:r>
              <a:rPr lang="en-GB" sz="700" b="0" dirty="0"/>
              <a:t> (DKFZ), Heidelberg, Germany. </a:t>
            </a:r>
            <a:r>
              <a:rPr lang="en-GB" sz="700" dirty="0"/>
              <a:t>19</a:t>
            </a:r>
            <a:r>
              <a:rPr lang="en-GB" sz="700" b="0" dirty="0"/>
              <a:t> NCT-West, Campus Essen and University Alliance Ruhr, Research </a:t>
            </a:r>
            <a:r>
              <a:rPr lang="en-GB" sz="700" b="0" dirty="0" err="1"/>
              <a:t>Center</a:t>
            </a:r>
            <a:r>
              <a:rPr lang="en-GB" sz="700" b="0" dirty="0"/>
              <a:t> One Health, Essen, Germany.</a:t>
            </a:r>
          </a:p>
          <a:p>
            <a:endParaRPr lang="en-GB" sz="700" b="0" dirty="0"/>
          </a:p>
        </p:txBody>
      </p:sp>
    </p:spTree>
    <p:extLst>
      <p:ext uri="{BB962C8B-B14F-4D97-AF65-F5344CB8AC3E}">
        <p14:creationId xmlns:p14="http://schemas.microsoft.com/office/powerpoint/2010/main" val="352835935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BA9D4AC-5DCD-B9EF-2219-A61DFC56E8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380104"/>
          </a:xfrm>
        </p:spPr>
        <p:txBody>
          <a:bodyPr/>
          <a:lstStyle/>
          <a:p>
            <a:r>
              <a:rPr lang="de-DE"/>
              <a:t>Hintergrund und Studienz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194C97C-3901-220F-6B23-8DD612C583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3CB0E19-F4C8-4F98-96D2-CE1ECDE59975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9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7070041A-CD92-4ED8-7DDC-303050A595C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4838" y="5916082"/>
            <a:ext cx="7455430" cy="587375"/>
          </a:xfrm>
        </p:spPr>
        <p:txBody>
          <a:bodyPr/>
          <a:lstStyle/>
          <a:p>
            <a:r>
              <a:rPr lang="de-DE" b="1" dirty="0"/>
              <a:t># </a:t>
            </a:r>
            <a:r>
              <a:rPr lang="de-DE" dirty="0"/>
              <a:t>Einteilung anhand AJCC, 8. Auflage. </a:t>
            </a:r>
            <a:r>
              <a:rPr lang="de-DE" b="1" dirty="0"/>
              <a:t>AJCC </a:t>
            </a:r>
            <a:r>
              <a:rPr lang="en-US" i="1" dirty="0"/>
              <a:t>American Joint Committee on Cancer</a:t>
            </a:r>
            <a:r>
              <a:rPr lang="en-US" dirty="0"/>
              <a:t>. </a:t>
            </a:r>
            <a:r>
              <a:rPr lang="de-DE" b="1" dirty="0"/>
              <a:t>BRAF </a:t>
            </a:r>
            <a:r>
              <a:rPr lang="de-DE" dirty="0"/>
              <a:t>Serin/Threonin-Kinase B-</a:t>
            </a:r>
            <a:r>
              <a:rPr lang="de-DE" dirty="0" err="1"/>
              <a:t>Raf</a:t>
            </a:r>
            <a:r>
              <a:rPr lang="de-DE" dirty="0"/>
              <a:t>. </a:t>
            </a:r>
            <a:r>
              <a:rPr lang="de-DE" b="1" dirty="0" err="1"/>
              <a:t>DeCOG</a:t>
            </a:r>
            <a:r>
              <a:rPr lang="de-DE" dirty="0"/>
              <a:t> </a:t>
            </a:r>
            <a:r>
              <a:rPr lang="de-DE" i="1" dirty="0" err="1"/>
              <a:t>Dermatologic</a:t>
            </a:r>
            <a:r>
              <a:rPr lang="de-DE" i="1" dirty="0"/>
              <a:t> </a:t>
            </a:r>
            <a:r>
              <a:rPr lang="de-DE" i="1" dirty="0" err="1"/>
              <a:t>Cooperative</a:t>
            </a:r>
            <a:r>
              <a:rPr lang="de-DE" i="1" dirty="0"/>
              <a:t> </a:t>
            </a:r>
            <a:r>
              <a:rPr lang="de-DE" i="1" dirty="0" err="1"/>
              <a:t>Oncology</a:t>
            </a:r>
            <a:r>
              <a:rPr lang="de-DE" i="1" dirty="0"/>
              <a:t> Group.</a:t>
            </a:r>
            <a:r>
              <a:rPr lang="de-DE" b="1" i="1" dirty="0"/>
              <a:t> </a:t>
            </a:r>
            <a:r>
              <a:rPr lang="de-DE" b="1" dirty="0"/>
              <a:t>MEK </a:t>
            </a:r>
            <a:r>
              <a:rPr lang="de-DE" dirty="0" err="1"/>
              <a:t>Mitogen</a:t>
            </a:r>
            <a:r>
              <a:rPr lang="de-DE" dirty="0"/>
              <a:t>-aktivierte Proteinkinase-Kinase. </a:t>
            </a:r>
            <a:r>
              <a:rPr lang="de-DE" b="1" dirty="0"/>
              <a:t>PD1</a:t>
            </a:r>
            <a:r>
              <a:rPr lang="de-DE" dirty="0"/>
              <a:t> </a:t>
            </a:r>
            <a:r>
              <a:rPr lang="en-US" i="1" dirty="0"/>
              <a:t>Programmed Cell Death Protein 1</a:t>
            </a:r>
            <a:r>
              <a:rPr lang="de-DE" dirty="0"/>
              <a:t>. </a:t>
            </a:r>
            <a:r>
              <a:rPr lang="de-DE" b="1" dirty="0"/>
              <a:t>TT</a:t>
            </a:r>
            <a:r>
              <a:rPr lang="de-DE" dirty="0"/>
              <a:t> Zielgerichtete Therapie.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625CC3D5-E729-F0C9-2815-92692A10D668}"/>
              </a:ext>
            </a:extLst>
          </p:cNvPr>
          <p:cNvSpPr txBox="1"/>
          <p:nvPr/>
        </p:nvSpPr>
        <p:spPr>
          <a:xfrm>
            <a:off x="1474434" y="1266082"/>
            <a:ext cx="8488586" cy="14260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>
                <a:ln>
                  <a:noFill/>
                </a:ln>
                <a:solidFill>
                  <a:srgbClr val="0460A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intergrund</a:t>
            </a:r>
          </a:p>
          <a:p>
            <a:pPr marL="285750" lvl="0" indent="-285750">
              <a:buClr>
                <a:schemeClr val="accent2"/>
              </a:buClr>
              <a:buFont typeface="Arial" panose="020B0604020202020204" pitchFamily="34" charset="0"/>
              <a:buChar char="•"/>
              <a:defRPr/>
            </a:pPr>
            <a:r>
              <a:rPr kumimoji="0" lang="de-DE" sz="140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e </a:t>
            </a:r>
            <a:r>
              <a:rPr kumimoji="0" lang="de-DE" sz="1400" i="0" u="none" strike="noStrike" kern="1200" cap="none" spc="0" normalizeH="0" baseline="0" noProof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COG</a:t>
            </a:r>
            <a:r>
              <a:rPr kumimoji="0" lang="de-DE" sz="140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-Studie untersuchte die Wirksamkeit adjuvanter Therapien beim malignen Melanom unter </a:t>
            </a:r>
            <a:r>
              <a:rPr kumimoji="0" lang="de-DE" sz="1400" i="1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al-World</a:t>
            </a:r>
            <a:r>
              <a:rPr kumimoji="0" lang="de-DE" sz="140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-Bedingungen:</a:t>
            </a: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srgbClr val="0460A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lvl="1">
              <a:spcAft>
                <a:spcPts val="600"/>
              </a:spcAft>
              <a:buClr>
                <a:schemeClr val="accent4"/>
              </a:buClr>
              <a:defRPr/>
            </a:pPr>
            <a:endParaRPr lang="de-DE" sz="1400">
              <a:solidFill>
                <a:srgbClr val="000000"/>
              </a:solidFill>
              <a:latin typeface="Arial" panose="020B0604020202020204"/>
            </a:endParaRPr>
          </a:p>
          <a:p>
            <a:pPr marL="285750" indent="-285750"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/>
            </a:pPr>
            <a:endParaRPr lang="de-DE" sz="1400" baseline="30000">
              <a:solidFill>
                <a:schemeClr val="tx2"/>
              </a:solidFill>
              <a:latin typeface="Arial" panose="020B0604020202020204"/>
            </a:endParaRPr>
          </a:p>
          <a:p>
            <a:pPr marL="285750" indent="-285750"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/>
            </a:pPr>
            <a:endParaRPr kumimoji="0" lang="de-DE" sz="1400" i="0" u="none" strike="noStrike" kern="1200" cap="none" spc="0" normalizeH="0" baseline="3000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7" name="Grafik 6" descr="Ein Bild, das Grafiken, Kreis, Design enthält.&#10;&#10;KI-generierte Inhalte können fehlerhaft sein.">
            <a:extLst>
              <a:ext uri="{FF2B5EF4-FFF2-40B4-BE49-F238E27FC236}">
                <a16:creationId xmlns:a16="http://schemas.microsoft.com/office/drawing/2014/main" id="{756E7BB2-3C43-0500-1C7F-2025E83ADBC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3995" y="1338022"/>
            <a:ext cx="720000" cy="720000"/>
          </a:xfrm>
          <a:prstGeom prst="rect">
            <a:avLst/>
          </a:prstGeom>
        </p:spPr>
      </p:pic>
      <p:pic>
        <p:nvPicPr>
          <p:cNvPr id="10" name="Grafik 9" descr="Ein Bild, das Kreis, Grafiken, Schrift, Logo enthält.&#10;&#10;KI-generierte Inhalte können fehlerhaft sein.">
            <a:extLst>
              <a:ext uri="{FF2B5EF4-FFF2-40B4-BE49-F238E27FC236}">
                <a16:creationId xmlns:a16="http://schemas.microsoft.com/office/drawing/2014/main" id="{E2894204-9BE5-5DFA-451A-CA065F335B2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3995" y="3774572"/>
            <a:ext cx="720000" cy="720000"/>
          </a:xfrm>
          <a:prstGeom prst="rect">
            <a:avLst/>
          </a:prstGeom>
        </p:spPr>
      </p:pic>
      <p:sp>
        <p:nvSpPr>
          <p:cNvPr id="25" name="Textfeld 24">
            <a:extLst>
              <a:ext uri="{FF2B5EF4-FFF2-40B4-BE49-F238E27FC236}">
                <a16:creationId xmlns:a16="http://schemas.microsoft.com/office/drawing/2014/main" id="{275853B5-8C10-2CA5-0D4F-9625C2D9229D}"/>
              </a:ext>
            </a:extLst>
          </p:cNvPr>
          <p:cNvSpPr txBox="1"/>
          <p:nvPr/>
        </p:nvSpPr>
        <p:spPr>
          <a:xfrm>
            <a:off x="1474434" y="3827242"/>
            <a:ext cx="7725466" cy="18620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  <a:buClr>
                <a:schemeClr val="accent2"/>
              </a:buClr>
              <a:defRPr/>
            </a:pPr>
            <a:r>
              <a:rPr lang="de-DE" sz="1600" b="1" dirty="0">
                <a:solidFill>
                  <a:schemeClr val="accent6"/>
                </a:solidFill>
              </a:rPr>
              <a:t>Methode &amp; Studienziel</a:t>
            </a:r>
          </a:p>
          <a:p>
            <a:pPr marL="285750" indent="-285750"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/>
            </a:pPr>
            <a:r>
              <a:rPr lang="de-DE" sz="1400" dirty="0">
                <a:solidFill>
                  <a:schemeClr val="tx2"/>
                </a:solidFill>
              </a:rPr>
              <a:t>Retrospektive Erfassung von Patient*innen, die eine adjuvante Therapie im Zeitraum von Juni 2018 bis September 2019 begonnen haben</a:t>
            </a:r>
          </a:p>
          <a:p>
            <a:pPr marL="285750" indent="-285750"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/>
            </a:pPr>
            <a:r>
              <a:rPr lang="de-DE" sz="1400" dirty="0">
                <a:solidFill>
                  <a:schemeClr val="tx2"/>
                </a:solidFill>
              </a:rPr>
              <a:t>Prospektive Erhebung und Auswertung von Langzeitdaten mit einer Nachbeobachtung von 4 Jahren u. a. zu: </a:t>
            </a:r>
          </a:p>
          <a:p>
            <a:pPr marL="742950" lvl="1" indent="-285750">
              <a:buFont typeface="Arial" panose="020B0604020202020204" pitchFamily="34" charset="0"/>
              <a:buChar char="•"/>
              <a:defRPr/>
            </a:pPr>
            <a:r>
              <a:rPr lang="de-DE" sz="1400" dirty="0" err="1">
                <a:solidFill>
                  <a:schemeClr val="tx2"/>
                </a:solidFill>
              </a:rPr>
              <a:t>Rezidivfreiem</a:t>
            </a:r>
            <a:r>
              <a:rPr lang="de-DE" sz="1400" dirty="0">
                <a:solidFill>
                  <a:schemeClr val="tx2"/>
                </a:solidFill>
              </a:rPr>
              <a:t> Überleben (RFS)</a:t>
            </a:r>
          </a:p>
          <a:p>
            <a:pPr marL="742950" lvl="1" indent="-285750">
              <a:buFont typeface="Arial" panose="020B0604020202020204" pitchFamily="34" charset="0"/>
              <a:buChar char="•"/>
              <a:defRPr/>
            </a:pPr>
            <a:r>
              <a:rPr lang="de-DE" sz="1400" dirty="0">
                <a:solidFill>
                  <a:schemeClr val="tx2"/>
                </a:solidFill>
              </a:rPr>
              <a:t>Gesamtüberleben (OS)</a:t>
            </a: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F3E99EBD-428D-98E0-C103-345582A831C8}"/>
              </a:ext>
            </a:extLst>
          </p:cNvPr>
          <p:cNvGrpSpPr/>
          <p:nvPr/>
        </p:nvGrpSpPr>
        <p:grpSpPr>
          <a:xfrm>
            <a:off x="1250645" y="2016249"/>
            <a:ext cx="8322296" cy="1454013"/>
            <a:chOff x="1383995" y="2003418"/>
            <a:chExt cx="8322296" cy="1454013"/>
          </a:xfrm>
        </p:grpSpPr>
        <p:grpSp>
          <p:nvGrpSpPr>
            <p:cNvPr id="36" name="Gruppieren 35">
              <a:extLst>
                <a:ext uri="{FF2B5EF4-FFF2-40B4-BE49-F238E27FC236}">
                  <a16:creationId xmlns:a16="http://schemas.microsoft.com/office/drawing/2014/main" id="{2C609764-2AFA-40AE-97C4-A6415477AD6B}"/>
                </a:ext>
              </a:extLst>
            </p:cNvPr>
            <p:cNvGrpSpPr/>
            <p:nvPr/>
          </p:nvGrpSpPr>
          <p:grpSpPr>
            <a:xfrm>
              <a:off x="1383995" y="2003418"/>
              <a:ext cx="8322296" cy="1454013"/>
              <a:chOff x="1552106" y="1576606"/>
              <a:chExt cx="8322296" cy="1454013"/>
            </a:xfrm>
          </p:grpSpPr>
          <p:grpSp>
            <p:nvGrpSpPr>
              <p:cNvPr id="4" name="Gruppieren 3">
                <a:extLst>
                  <a:ext uri="{FF2B5EF4-FFF2-40B4-BE49-F238E27FC236}">
                    <a16:creationId xmlns:a16="http://schemas.microsoft.com/office/drawing/2014/main" id="{9CF755A8-74E5-303E-F8D9-8FB8BD7B8C59}"/>
                  </a:ext>
                </a:extLst>
              </p:cNvPr>
              <p:cNvGrpSpPr/>
              <p:nvPr/>
            </p:nvGrpSpPr>
            <p:grpSpPr>
              <a:xfrm>
                <a:off x="1552106" y="1576606"/>
                <a:ext cx="8322296" cy="1454013"/>
                <a:chOff x="166214" y="2373117"/>
                <a:chExt cx="8322296" cy="1454013"/>
              </a:xfrm>
            </p:grpSpPr>
            <p:sp>
              <p:nvSpPr>
                <p:cNvPr id="9" name="Textfeld 8">
                  <a:extLst>
                    <a:ext uri="{FF2B5EF4-FFF2-40B4-BE49-F238E27FC236}">
                      <a16:creationId xmlns:a16="http://schemas.microsoft.com/office/drawing/2014/main" id="{07AF2D31-BFF8-3033-7968-C990C3B4C18E}"/>
                    </a:ext>
                  </a:extLst>
                </p:cNvPr>
                <p:cNvSpPr txBox="1"/>
                <p:nvPr/>
              </p:nvSpPr>
              <p:spPr>
                <a:xfrm>
                  <a:off x="166214" y="3381876"/>
                  <a:ext cx="2528000" cy="40011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de-DE" sz="1000">
                      <a:solidFill>
                        <a:schemeClr val="accent6"/>
                      </a:solidFill>
                    </a:rPr>
                    <a:t>11 deutsche </a:t>
                  </a:r>
                </a:p>
                <a:p>
                  <a:pPr algn="ctr"/>
                  <a:r>
                    <a:rPr lang="de-DE" sz="1000">
                      <a:solidFill>
                        <a:schemeClr val="accent6"/>
                      </a:solidFill>
                    </a:rPr>
                    <a:t>Hautkrebszentren</a:t>
                  </a:r>
                </a:p>
              </p:txBody>
            </p:sp>
            <p:pic>
              <p:nvPicPr>
                <p:cNvPr id="11" name="Grafik 10" descr="Ein Bild, das Screenshot, Grafiken, Symbol, Schrift enthält.&#10;&#10;KI-generierte Inhalte können fehlerhaft sein.">
                  <a:extLst>
                    <a:ext uri="{FF2B5EF4-FFF2-40B4-BE49-F238E27FC236}">
                      <a16:creationId xmlns:a16="http://schemas.microsoft.com/office/drawing/2014/main" id="{0D295960-3E82-4056-E13D-8B710E521AF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77939" y="2413320"/>
                  <a:ext cx="1148281" cy="1148281"/>
                </a:xfrm>
                <a:prstGeom prst="rect">
                  <a:avLst/>
                </a:prstGeom>
              </p:spPr>
            </p:pic>
            <p:pic>
              <p:nvPicPr>
                <p:cNvPr id="12" name="Grafik 11" descr="Ein Bild, das Kreis, Grafiken, Screenshot, Design enthält.&#10;&#10;KI-generierte Inhalte können fehlerhaft sein.">
                  <a:extLst>
                    <a:ext uri="{FF2B5EF4-FFF2-40B4-BE49-F238E27FC236}">
                      <a16:creationId xmlns:a16="http://schemas.microsoft.com/office/drawing/2014/main" id="{A6BBF97D-88B0-0530-0679-0AD3DFD1F57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792472" y="2542732"/>
                  <a:ext cx="1122717" cy="1122717"/>
                </a:xfrm>
                <a:prstGeom prst="rect">
                  <a:avLst/>
                </a:prstGeom>
              </p:spPr>
            </p:pic>
            <p:sp>
              <p:nvSpPr>
                <p:cNvPr id="13" name="Textfeld 12">
                  <a:extLst>
                    <a:ext uri="{FF2B5EF4-FFF2-40B4-BE49-F238E27FC236}">
                      <a16:creationId xmlns:a16="http://schemas.microsoft.com/office/drawing/2014/main" id="{7A4EE347-A369-5B3D-1CCE-09CAB770F254}"/>
                    </a:ext>
                  </a:extLst>
                </p:cNvPr>
                <p:cNvSpPr txBox="1"/>
                <p:nvPr/>
              </p:nvSpPr>
              <p:spPr>
                <a:xfrm>
                  <a:off x="2421096" y="3420779"/>
                  <a:ext cx="1914564" cy="40011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de-DE" sz="1000" dirty="0">
                      <a:solidFill>
                        <a:schemeClr val="accent6"/>
                      </a:solidFill>
                    </a:rPr>
                    <a:t>589 Melanom-Patient*innen </a:t>
                  </a:r>
                </a:p>
                <a:p>
                  <a:pPr algn="ctr"/>
                  <a:r>
                    <a:rPr lang="de-DE" sz="1000" dirty="0">
                      <a:solidFill>
                        <a:schemeClr val="accent6"/>
                      </a:solidFill>
                    </a:rPr>
                    <a:t>im Stadium III</a:t>
                  </a:r>
                  <a:r>
                    <a:rPr lang="de-DE" sz="1000" baseline="50000" dirty="0">
                      <a:solidFill>
                        <a:schemeClr val="accent6"/>
                      </a:solidFill>
                    </a:rPr>
                    <a:t>#</a:t>
                  </a:r>
                  <a:r>
                    <a:rPr lang="de-DE" sz="1000" dirty="0">
                      <a:solidFill>
                        <a:schemeClr val="accent6"/>
                      </a:solidFill>
                    </a:rPr>
                    <a:t> </a:t>
                  </a:r>
                </a:p>
              </p:txBody>
            </p:sp>
            <p:sp>
              <p:nvSpPr>
                <p:cNvPr id="16" name="Textfeld 15">
                  <a:extLst>
                    <a:ext uri="{FF2B5EF4-FFF2-40B4-BE49-F238E27FC236}">
                      <a16:creationId xmlns:a16="http://schemas.microsoft.com/office/drawing/2014/main" id="{44128F14-65EF-DDB5-37FB-DBC47C89E0A8}"/>
                    </a:ext>
                  </a:extLst>
                </p:cNvPr>
                <p:cNvSpPr txBox="1"/>
                <p:nvPr/>
              </p:nvSpPr>
              <p:spPr>
                <a:xfrm>
                  <a:off x="5396649" y="3273132"/>
                  <a:ext cx="1419490" cy="553998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de-DE" sz="1000" dirty="0">
                      <a:solidFill>
                        <a:schemeClr val="accent6"/>
                      </a:solidFill>
                    </a:rPr>
                    <a:t>n = 110 </a:t>
                  </a:r>
                </a:p>
                <a:p>
                  <a:r>
                    <a:rPr lang="de-DE" sz="1000" dirty="0">
                      <a:solidFill>
                        <a:schemeClr val="accent6"/>
                      </a:solidFill>
                    </a:rPr>
                    <a:t>BRAF/MEK-Inhibitor-Therapie (TT)</a:t>
                  </a:r>
                </a:p>
              </p:txBody>
            </p:sp>
            <p:sp>
              <p:nvSpPr>
                <p:cNvPr id="17" name="Textfeld 16">
                  <a:extLst>
                    <a:ext uri="{FF2B5EF4-FFF2-40B4-BE49-F238E27FC236}">
                      <a16:creationId xmlns:a16="http://schemas.microsoft.com/office/drawing/2014/main" id="{9CC69F59-3F30-5669-6437-B8B451FC5E1F}"/>
                    </a:ext>
                  </a:extLst>
                </p:cNvPr>
                <p:cNvSpPr txBox="1"/>
                <p:nvPr/>
              </p:nvSpPr>
              <p:spPr>
                <a:xfrm>
                  <a:off x="5352368" y="2373117"/>
                  <a:ext cx="1882247" cy="553998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de-DE" sz="1000" dirty="0">
                      <a:solidFill>
                        <a:schemeClr val="accent6"/>
                      </a:solidFill>
                    </a:rPr>
                    <a:t>n = 479 (n = 122 mit </a:t>
                  </a:r>
                </a:p>
                <a:p>
                  <a:r>
                    <a:rPr lang="de-DE" sz="1000" i="1" dirty="0">
                      <a:solidFill>
                        <a:schemeClr val="accent6"/>
                      </a:solidFill>
                    </a:rPr>
                    <a:t>BRAF</a:t>
                  </a:r>
                  <a:r>
                    <a:rPr lang="de-DE" sz="1000" dirty="0">
                      <a:solidFill>
                        <a:schemeClr val="accent6"/>
                      </a:solidFill>
                    </a:rPr>
                    <a:t>V600-Mutation)</a:t>
                  </a:r>
                </a:p>
                <a:p>
                  <a:r>
                    <a:rPr lang="de-DE" sz="1000" dirty="0">
                      <a:solidFill>
                        <a:schemeClr val="accent6"/>
                      </a:solidFill>
                    </a:rPr>
                    <a:t>PD1-Inhibitor-Therapie (PD1) </a:t>
                  </a:r>
                </a:p>
              </p:txBody>
            </p:sp>
            <p:sp>
              <p:nvSpPr>
                <p:cNvPr id="18" name="Textfeld 17">
                  <a:extLst>
                    <a:ext uri="{FF2B5EF4-FFF2-40B4-BE49-F238E27FC236}">
                      <a16:creationId xmlns:a16="http://schemas.microsoft.com/office/drawing/2014/main" id="{800785F9-ED25-224A-C6D1-7FBE13C932FA}"/>
                    </a:ext>
                  </a:extLst>
                </p:cNvPr>
                <p:cNvSpPr txBox="1"/>
                <p:nvPr/>
              </p:nvSpPr>
              <p:spPr>
                <a:xfrm>
                  <a:off x="6480790" y="2373117"/>
                  <a:ext cx="2007720" cy="246221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/>
                  <a:endParaRPr lang="de-DE" sz="1000" dirty="0">
                    <a:solidFill>
                      <a:schemeClr val="accent6"/>
                    </a:solidFill>
                  </a:endParaRPr>
                </a:p>
              </p:txBody>
            </p:sp>
            <p:sp>
              <p:nvSpPr>
                <p:cNvPr id="22" name="Textfeld 21">
                  <a:extLst>
                    <a:ext uri="{FF2B5EF4-FFF2-40B4-BE49-F238E27FC236}">
                      <a16:creationId xmlns:a16="http://schemas.microsoft.com/office/drawing/2014/main" id="{011D5E70-38D8-FDDA-8719-D112AF63EA54}"/>
                    </a:ext>
                  </a:extLst>
                </p:cNvPr>
                <p:cNvSpPr txBox="1"/>
                <p:nvPr/>
              </p:nvSpPr>
              <p:spPr>
                <a:xfrm>
                  <a:off x="6480790" y="3550131"/>
                  <a:ext cx="2007720" cy="246221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/>
                  <a:endParaRPr lang="de-DE" sz="1000" dirty="0">
                    <a:solidFill>
                      <a:schemeClr val="accent6"/>
                    </a:solidFill>
                    <a:highlight>
                      <a:srgbClr val="FFFF00"/>
                    </a:highlight>
                  </a:endParaRPr>
                </a:p>
              </p:txBody>
            </p:sp>
          </p:grpSp>
          <p:cxnSp>
            <p:nvCxnSpPr>
              <p:cNvPr id="30" name="Gerade Verbindung mit Pfeil 29">
                <a:extLst>
                  <a:ext uri="{FF2B5EF4-FFF2-40B4-BE49-F238E27FC236}">
                    <a16:creationId xmlns:a16="http://schemas.microsoft.com/office/drawing/2014/main" id="{EA3C9BD5-EE54-7244-9115-43DE8530F203}"/>
                  </a:ext>
                </a:extLst>
              </p:cNvPr>
              <p:cNvCxnSpPr/>
              <p:nvPr/>
            </p:nvCxnSpPr>
            <p:spPr>
              <a:xfrm>
                <a:off x="5430434" y="2347014"/>
                <a:ext cx="561140" cy="414865"/>
              </a:xfrm>
              <a:prstGeom prst="straightConnector1">
                <a:avLst/>
              </a:prstGeom>
              <a:ln w="12700">
                <a:solidFill>
                  <a:schemeClr val="accent2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Gerade Verbindung mit Pfeil 30">
                <a:extLst>
                  <a:ext uri="{FF2B5EF4-FFF2-40B4-BE49-F238E27FC236}">
                    <a16:creationId xmlns:a16="http://schemas.microsoft.com/office/drawing/2014/main" id="{77CD3556-B922-E1CE-9421-2AEEF641F91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14013" y="1802956"/>
                <a:ext cx="561140" cy="414865"/>
              </a:xfrm>
              <a:prstGeom prst="straightConnector1">
                <a:avLst/>
              </a:prstGeom>
              <a:ln w="12700">
                <a:solidFill>
                  <a:schemeClr val="accent2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21" name="Gerade Verbindung mit Pfeil 20">
              <a:extLst>
                <a:ext uri="{FF2B5EF4-FFF2-40B4-BE49-F238E27FC236}">
                  <a16:creationId xmlns:a16="http://schemas.microsoft.com/office/drawing/2014/main" id="{CFBE2ED8-532C-77BB-012C-BD8749F6EAC4}"/>
                </a:ext>
              </a:extLst>
            </p:cNvPr>
            <p:cNvCxnSpPr>
              <a:cxnSpLocks/>
            </p:cNvCxnSpPr>
            <p:nvPr/>
          </p:nvCxnSpPr>
          <p:spPr>
            <a:xfrm>
              <a:off x="3227550" y="2746575"/>
              <a:ext cx="667994" cy="0"/>
            </a:xfrm>
            <a:prstGeom prst="straightConnector1">
              <a:avLst/>
            </a:prstGeom>
            <a:ln w="12700">
              <a:solidFill>
                <a:schemeClr val="accent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Grafik 19" descr="Ein Bild, das Screenshot, Symbol, Grafiken, Logo enthält.&#10;&#10;KI-generierte Inhalte können fehlerhaft sein.">
            <a:extLst>
              <a:ext uri="{FF2B5EF4-FFF2-40B4-BE49-F238E27FC236}">
                <a16:creationId xmlns:a16="http://schemas.microsoft.com/office/drawing/2014/main" id="{594DF23D-326B-FAC4-2043-E32544939BA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90113" y="1770070"/>
            <a:ext cx="1060933" cy="1060933"/>
          </a:xfrm>
          <a:prstGeom prst="rect">
            <a:avLst/>
          </a:prstGeom>
        </p:spPr>
      </p:pic>
      <p:pic>
        <p:nvPicPr>
          <p:cNvPr id="24" name="Grafik 23" descr="Ein Bild, das Grafiken, Symbol, Screenshot, Kreis enthält.&#10;&#10;KI-generierte Inhalte können fehlerhaft sein.">
            <a:extLst>
              <a:ext uri="{FF2B5EF4-FFF2-40B4-BE49-F238E27FC236}">
                <a16:creationId xmlns:a16="http://schemas.microsoft.com/office/drawing/2014/main" id="{BCC5A5A2-ABC6-B710-8AFC-C50CC4E0412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2434" y="2747613"/>
            <a:ext cx="907817" cy="907817"/>
          </a:xfrm>
          <a:prstGeom prst="rect">
            <a:avLst/>
          </a:prstGeom>
        </p:spPr>
      </p:pic>
      <p:sp>
        <p:nvSpPr>
          <p:cNvPr id="14" name="Textfeld 13">
            <a:extLst>
              <a:ext uri="{FF2B5EF4-FFF2-40B4-BE49-F238E27FC236}">
                <a16:creationId xmlns:a16="http://schemas.microsoft.com/office/drawing/2014/main" id="{75ACA0EA-FDA6-1D31-E9EF-A716CC925ACE}"/>
              </a:ext>
            </a:extLst>
          </p:cNvPr>
          <p:cNvSpPr txBox="1"/>
          <p:nvPr/>
        </p:nvSpPr>
        <p:spPr>
          <a:xfrm>
            <a:off x="8648699" y="6334695"/>
            <a:ext cx="2835133" cy="2144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  <a:buNone/>
            </a:pPr>
            <a:r>
              <a:rPr lang="en-US" sz="800" kern="1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Lodde GC et al. </a:t>
            </a:r>
            <a:r>
              <a:rPr lang="en-US" sz="800" i="1" kern="1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J Clin Oncol</a:t>
            </a:r>
            <a:r>
              <a:rPr lang="en-US" sz="800" kern="1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. 2025;43(25):2793-2805</a:t>
            </a:r>
            <a:endParaRPr lang="de-DE" sz="800" kern="100" dirty="0">
              <a:effectLst/>
              <a:latin typeface="Arial" panose="020B060402020202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4603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609FCC1-06B3-21A1-C69D-0CB0056F3B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10260012" cy="1065278"/>
          </a:xfrm>
        </p:spPr>
        <p:txBody>
          <a:bodyPr/>
          <a:lstStyle/>
          <a:p>
            <a:r>
              <a:rPr lang="de-DE" sz="2800" dirty="0">
                <a:solidFill>
                  <a:schemeClr val="tx2"/>
                </a:solidFill>
              </a:rPr>
              <a:t>Ergebnisse der 4-Jahres-Analyse der </a:t>
            </a:r>
            <a:r>
              <a:rPr lang="de-DE" sz="2800" dirty="0" err="1">
                <a:solidFill>
                  <a:schemeClr val="tx2"/>
                </a:solidFill>
              </a:rPr>
              <a:t>DeCOG</a:t>
            </a:r>
            <a:r>
              <a:rPr lang="de-DE" sz="2800" dirty="0">
                <a:solidFill>
                  <a:schemeClr val="tx2"/>
                </a:solidFill>
              </a:rPr>
              <a:t>-Studie: </a:t>
            </a:r>
            <a:r>
              <a:rPr lang="de-DE" sz="2800" dirty="0" err="1">
                <a:solidFill>
                  <a:schemeClr val="tx2"/>
                </a:solidFill>
              </a:rPr>
              <a:t>RFS</a:t>
            </a:r>
            <a:r>
              <a:rPr lang="de-DE" sz="2800" baseline="30000" dirty="0" err="1">
                <a:solidFill>
                  <a:schemeClr val="tx2"/>
                </a:solidFill>
              </a:rPr>
              <a:t>a</a:t>
            </a:r>
            <a:endParaRPr lang="de-DE" sz="3200" baseline="30000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CFD25351-6CCA-ECCF-1268-4E392CFD61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3</a:t>
            </a:fld>
            <a:endParaRPr lang="en-GB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E599F70-79D5-68EE-677F-0CE9FB929A9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4838" y="6051550"/>
            <a:ext cx="6748462" cy="587375"/>
          </a:xfrm>
        </p:spPr>
        <p:txBody>
          <a:bodyPr/>
          <a:lstStyle/>
          <a:p>
            <a:r>
              <a:rPr lang="de-DE" b="1" dirty="0"/>
              <a:t>a </a:t>
            </a:r>
            <a:r>
              <a:rPr lang="de-DE" dirty="0"/>
              <a:t>Dargestellt ist die RFS-Rohanalyse.</a:t>
            </a:r>
          </a:p>
          <a:p>
            <a:r>
              <a:rPr lang="de-DE" b="1" dirty="0"/>
              <a:t>BRAF </a:t>
            </a:r>
            <a:r>
              <a:rPr lang="de-DE" dirty="0"/>
              <a:t>Serin/Threonin-Kinase B-</a:t>
            </a:r>
            <a:r>
              <a:rPr lang="de-DE" dirty="0" err="1"/>
              <a:t>Raf</a:t>
            </a:r>
            <a:r>
              <a:rPr lang="de-DE" dirty="0"/>
              <a:t>. </a:t>
            </a:r>
            <a:r>
              <a:rPr lang="de-DE" b="1" dirty="0" err="1"/>
              <a:t>DeCOG</a:t>
            </a:r>
            <a:r>
              <a:rPr lang="de-DE" dirty="0"/>
              <a:t> </a:t>
            </a:r>
            <a:r>
              <a:rPr lang="de-DE" i="1" dirty="0" err="1"/>
              <a:t>Dermatologic</a:t>
            </a:r>
            <a:r>
              <a:rPr lang="de-DE" i="1" dirty="0"/>
              <a:t> </a:t>
            </a:r>
            <a:r>
              <a:rPr lang="de-DE" i="1" dirty="0" err="1"/>
              <a:t>Cooperative</a:t>
            </a:r>
            <a:r>
              <a:rPr lang="de-DE" i="1" dirty="0"/>
              <a:t> </a:t>
            </a:r>
            <a:r>
              <a:rPr lang="de-DE" i="1" dirty="0" err="1"/>
              <a:t>Oncology</a:t>
            </a:r>
            <a:r>
              <a:rPr lang="de-DE" i="1" dirty="0"/>
              <a:t> Group. </a:t>
            </a:r>
            <a:r>
              <a:rPr lang="de-DE" b="1" dirty="0"/>
              <a:t>HR</a:t>
            </a:r>
            <a:r>
              <a:rPr lang="de-DE" b="1" i="1" dirty="0"/>
              <a:t> </a:t>
            </a:r>
            <a:r>
              <a:rPr lang="de-DE" i="1" dirty="0"/>
              <a:t>Hazard Ratio. </a:t>
            </a:r>
            <a:r>
              <a:rPr lang="de-DE" b="1" dirty="0"/>
              <a:t>KI</a:t>
            </a:r>
            <a:r>
              <a:rPr lang="de-DE" dirty="0"/>
              <a:t> Konfidenzintervall. </a:t>
            </a:r>
            <a:r>
              <a:rPr lang="de-DE" b="1" dirty="0"/>
              <a:t>NR</a:t>
            </a:r>
            <a:r>
              <a:rPr lang="de-DE" dirty="0"/>
              <a:t> Nicht erreicht.</a:t>
            </a:r>
            <a:r>
              <a:rPr lang="de-DE" b="1" dirty="0"/>
              <a:t> PD1</a:t>
            </a:r>
            <a:r>
              <a:rPr lang="de-DE" dirty="0"/>
              <a:t> </a:t>
            </a:r>
            <a:r>
              <a:rPr lang="en-US" i="1" dirty="0"/>
              <a:t>Programmed Cell Death Protein 1</a:t>
            </a:r>
            <a:r>
              <a:rPr lang="de-DE" dirty="0"/>
              <a:t>. </a:t>
            </a:r>
            <a:r>
              <a:rPr lang="de-DE" b="1" dirty="0"/>
              <a:t>RFS</a:t>
            </a:r>
            <a:r>
              <a:rPr lang="de-DE" dirty="0"/>
              <a:t> Rezidivfreies Überleben. </a:t>
            </a:r>
            <a:r>
              <a:rPr lang="de-DE" b="1" dirty="0"/>
              <a:t>TT</a:t>
            </a:r>
            <a:r>
              <a:rPr lang="de-DE" dirty="0"/>
              <a:t> Zielgerichtete Therapie.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D41D4D77-C700-0A23-3ABD-D702292DBD2A}"/>
              </a:ext>
            </a:extLst>
          </p:cNvPr>
          <p:cNvSpPr txBox="1"/>
          <p:nvPr/>
        </p:nvSpPr>
        <p:spPr>
          <a:xfrm>
            <a:off x="1059656" y="4831617"/>
            <a:ext cx="8813006" cy="1328023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marL="742950" lvl="1" indent="-285750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tx2"/>
                </a:solidFill>
              </a:rPr>
              <a:t>Das </a:t>
            </a:r>
            <a:r>
              <a:rPr lang="en-GB" dirty="0" err="1">
                <a:solidFill>
                  <a:schemeClr val="tx2"/>
                </a:solidFill>
              </a:rPr>
              <a:t>Rezidivrisiko</a:t>
            </a:r>
            <a:r>
              <a:rPr lang="en-GB" dirty="0">
                <a:solidFill>
                  <a:schemeClr val="tx2"/>
                </a:solidFill>
              </a:rPr>
              <a:t> </a:t>
            </a:r>
            <a:r>
              <a:rPr lang="en-GB" dirty="0" err="1">
                <a:solidFill>
                  <a:schemeClr val="tx2"/>
                </a:solidFill>
              </a:rPr>
              <a:t>ist</a:t>
            </a:r>
            <a:r>
              <a:rPr lang="en-GB" dirty="0">
                <a:solidFill>
                  <a:schemeClr val="tx2"/>
                </a:solidFill>
              </a:rPr>
              <a:t> </a:t>
            </a:r>
            <a:r>
              <a:rPr lang="en-GB" dirty="0" err="1">
                <a:solidFill>
                  <a:schemeClr val="tx2"/>
                </a:solidFill>
              </a:rPr>
              <a:t>unter</a:t>
            </a:r>
            <a:r>
              <a:rPr lang="en-GB" dirty="0">
                <a:solidFill>
                  <a:schemeClr val="tx2"/>
                </a:solidFill>
              </a:rPr>
              <a:t> </a:t>
            </a:r>
            <a:r>
              <a:rPr lang="en-GB" dirty="0" err="1">
                <a:solidFill>
                  <a:schemeClr val="tx2"/>
                </a:solidFill>
              </a:rPr>
              <a:t>zielgerichteter</a:t>
            </a:r>
            <a:r>
              <a:rPr lang="en-GB" dirty="0">
                <a:solidFill>
                  <a:schemeClr val="tx2"/>
                </a:solidFill>
              </a:rPr>
              <a:t> </a:t>
            </a:r>
            <a:r>
              <a:rPr lang="en-GB" dirty="0" err="1">
                <a:solidFill>
                  <a:schemeClr val="tx2"/>
                </a:solidFill>
              </a:rPr>
              <a:t>Therapie</a:t>
            </a:r>
            <a:r>
              <a:rPr lang="en-GB" dirty="0">
                <a:solidFill>
                  <a:schemeClr val="tx2"/>
                </a:solidFill>
              </a:rPr>
              <a:t> </a:t>
            </a:r>
            <a:r>
              <a:rPr lang="en-GB" dirty="0" err="1">
                <a:solidFill>
                  <a:schemeClr val="tx2"/>
                </a:solidFill>
              </a:rPr>
              <a:t>im</a:t>
            </a:r>
            <a:r>
              <a:rPr lang="en-GB" dirty="0">
                <a:solidFill>
                  <a:schemeClr val="tx2"/>
                </a:solidFill>
              </a:rPr>
              <a:t> </a:t>
            </a:r>
            <a:r>
              <a:rPr lang="en-GB" dirty="0" err="1">
                <a:solidFill>
                  <a:schemeClr val="tx2"/>
                </a:solidFill>
              </a:rPr>
              <a:t>Vergleich</a:t>
            </a:r>
            <a:r>
              <a:rPr lang="en-GB" dirty="0">
                <a:solidFill>
                  <a:schemeClr val="tx2"/>
                </a:solidFill>
              </a:rPr>
              <a:t> </a:t>
            </a:r>
            <a:r>
              <a:rPr lang="en-GB" dirty="0" err="1">
                <a:solidFill>
                  <a:schemeClr val="tx2"/>
                </a:solidFill>
              </a:rPr>
              <a:t>zur</a:t>
            </a:r>
            <a:r>
              <a:rPr lang="en-GB" dirty="0">
                <a:solidFill>
                  <a:schemeClr val="tx2"/>
                </a:solidFill>
              </a:rPr>
              <a:t> PD1-Therapie </a:t>
            </a:r>
            <a:r>
              <a:rPr lang="en-GB" dirty="0" err="1">
                <a:solidFill>
                  <a:schemeClr val="tx2"/>
                </a:solidFill>
              </a:rPr>
              <a:t>geringer</a:t>
            </a:r>
            <a:endParaRPr lang="en-GB" dirty="0">
              <a:solidFill>
                <a:schemeClr val="tx2"/>
              </a:solidFill>
            </a:endParaRPr>
          </a:p>
          <a:p>
            <a:pPr marL="742950" lvl="1" indent="-285750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tx2"/>
                </a:solidFill>
              </a:rPr>
              <a:t>Dies gilt </a:t>
            </a:r>
            <a:r>
              <a:rPr lang="en-GB" dirty="0" err="1">
                <a:solidFill>
                  <a:schemeClr val="tx2"/>
                </a:solidFill>
              </a:rPr>
              <a:t>ebenfalls</a:t>
            </a:r>
            <a:r>
              <a:rPr lang="en-GB" dirty="0">
                <a:solidFill>
                  <a:schemeClr val="tx2"/>
                </a:solidFill>
              </a:rPr>
              <a:t> für die </a:t>
            </a:r>
            <a:r>
              <a:rPr lang="en-GB" i="1" dirty="0">
                <a:solidFill>
                  <a:schemeClr val="tx2"/>
                </a:solidFill>
              </a:rPr>
              <a:t>BRAF</a:t>
            </a:r>
            <a:r>
              <a:rPr lang="en-GB" dirty="0">
                <a:solidFill>
                  <a:schemeClr val="tx2"/>
                </a:solidFill>
              </a:rPr>
              <a:t>-</a:t>
            </a:r>
            <a:r>
              <a:rPr lang="en-GB" dirty="0" err="1">
                <a:solidFill>
                  <a:schemeClr val="tx2"/>
                </a:solidFill>
              </a:rPr>
              <a:t>positiven</a:t>
            </a:r>
            <a:r>
              <a:rPr lang="en-GB" dirty="0">
                <a:solidFill>
                  <a:schemeClr val="tx2"/>
                </a:solidFill>
              </a:rPr>
              <a:t> Patient*</a:t>
            </a:r>
            <a:r>
              <a:rPr lang="en-GB" dirty="0" err="1">
                <a:solidFill>
                  <a:schemeClr val="tx2"/>
                </a:solidFill>
              </a:rPr>
              <a:t>innen</a:t>
            </a:r>
            <a:r>
              <a:rPr lang="en-GB" dirty="0">
                <a:solidFill>
                  <a:schemeClr val="tx2"/>
                </a:solidFill>
              </a:rPr>
              <a:t> </a:t>
            </a:r>
            <a:r>
              <a:rPr lang="en-GB" dirty="0" err="1">
                <a:solidFill>
                  <a:schemeClr val="tx2"/>
                </a:solidFill>
              </a:rPr>
              <a:t>innerhalb</a:t>
            </a:r>
            <a:r>
              <a:rPr lang="en-GB" dirty="0">
                <a:solidFill>
                  <a:schemeClr val="tx2"/>
                </a:solidFill>
              </a:rPr>
              <a:t> der PD1-Gruppe</a:t>
            </a:r>
            <a:endParaRPr lang="en-GB" dirty="0">
              <a:solidFill>
                <a:schemeClr val="tx2"/>
              </a:solidFill>
              <a:highlight>
                <a:srgbClr val="FFFF00"/>
              </a:highlight>
            </a:endParaRPr>
          </a:p>
        </p:txBody>
      </p:sp>
      <p:pic>
        <p:nvPicPr>
          <p:cNvPr id="5" name="Grafik 4" descr="Ein Bild, das Kreis, Grafiken, Farbigkeit, orange enthält.&#10;&#10;KI-generierte Inhalte können fehlerhaft sein.">
            <a:extLst>
              <a:ext uri="{FF2B5EF4-FFF2-40B4-BE49-F238E27FC236}">
                <a16:creationId xmlns:a16="http://schemas.microsoft.com/office/drawing/2014/main" id="{9CB5E299-0109-1529-78F1-F0CAD755908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758" y="4775629"/>
            <a:ext cx="720000" cy="720000"/>
          </a:xfrm>
          <a:prstGeom prst="rect">
            <a:avLst/>
          </a:prstGeom>
        </p:spPr>
      </p:pic>
      <p:graphicFrame>
        <p:nvGraphicFramePr>
          <p:cNvPr id="724" name="Tabelle 723">
            <a:extLst>
              <a:ext uri="{FF2B5EF4-FFF2-40B4-BE49-F238E27FC236}">
                <a16:creationId xmlns:a16="http://schemas.microsoft.com/office/drawing/2014/main" id="{2587CCD7-D59E-B72E-D37F-D48216A8491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14691368"/>
              </p:ext>
            </p:extLst>
          </p:nvPr>
        </p:nvGraphicFramePr>
        <p:xfrm>
          <a:off x="865595" y="4239694"/>
          <a:ext cx="4949318" cy="304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9938">
                  <a:extLst>
                    <a:ext uri="{9D8B030D-6E8A-4147-A177-3AD203B41FA5}">
                      <a16:colId xmlns:a16="http://schemas.microsoft.com/office/drawing/2014/main" val="1378299196"/>
                    </a:ext>
                  </a:extLst>
                </a:gridCol>
                <a:gridCol w="449938">
                  <a:extLst>
                    <a:ext uri="{9D8B030D-6E8A-4147-A177-3AD203B41FA5}">
                      <a16:colId xmlns:a16="http://schemas.microsoft.com/office/drawing/2014/main" val="2720059670"/>
                    </a:ext>
                  </a:extLst>
                </a:gridCol>
                <a:gridCol w="449938">
                  <a:extLst>
                    <a:ext uri="{9D8B030D-6E8A-4147-A177-3AD203B41FA5}">
                      <a16:colId xmlns:a16="http://schemas.microsoft.com/office/drawing/2014/main" val="3558843235"/>
                    </a:ext>
                  </a:extLst>
                </a:gridCol>
                <a:gridCol w="449938">
                  <a:extLst>
                    <a:ext uri="{9D8B030D-6E8A-4147-A177-3AD203B41FA5}">
                      <a16:colId xmlns:a16="http://schemas.microsoft.com/office/drawing/2014/main" val="642524864"/>
                    </a:ext>
                  </a:extLst>
                </a:gridCol>
                <a:gridCol w="449938">
                  <a:extLst>
                    <a:ext uri="{9D8B030D-6E8A-4147-A177-3AD203B41FA5}">
                      <a16:colId xmlns:a16="http://schemas.microsoft.com/office/drawing/2014/main" val="400611306"/>
                    </a:ext>
                  </a:extLst>
                </a:gridCol>
                <a:gridCol w="449938">
                  <a:extLst>
                    <a:ext uri="{9D8B030D-6E8A-4147-A177-3AD203B41FA5}">
                      <a16:colId xmlns:a16="http://schemas.microsoft.com/office/drawing/2014/main" val="3315586355"/>
                    </a:ext>
                  </a:extLst>
                </a:gridCol>
                <a:gridCol w="449938">
                  <a:extLst>
                    <a:ext uri="{9D8B030D-6E8A-4147-A177-3AD203B41FA5}">
                      <a16:colId xmlns:a16="http://schemas.microsoft.com/office/drawing/2014/main" val="1430594064"/>
                    </a:ext>
                  </a:extLst>
                </a:gridCol>
                <a:gridCol w="449938">
                  <a:extLst>
                    <a:ext uri="{9D8B030D-6E8A-4147-A177-3AD203B41FA5}">
                      <a16:colId xmlns:a16="http://schemas.microsoft.com/office/drawing/2014/main" val="3098826525"/>
                    </a:ext>
                  </a:extLst>
                </a:gridCol>
                <a:gridCol w="449938">
                  <a:extLst>
                    <a:ext uri="{9D8B030D-6E8A-4147-A177-3AD203B41FA5}">
                      <a16:colId xmlns:a16="http://schemas.microsoft.com/office/drawing/2014/main" val="3997508032"/>
                    </a:ext>
                  </a:extLst>
                </a:gridCol>
                <a:gridCol w="449938">
                  <a:extLst>
                    <a:ext uri="{9D8B030D-6E8A-4147-A177-3AD203B41FA5}">
                      <a16:colId xmlns:a16="http://schemas.microsoft.com/office/drawing/2014/main" val="2238665104"/>
                    </a:ext>
                  </a:extLst>
                </a:gridCol>
                <a:gridCol w="449938">
                  <a:extLst>
                    <a:ext uri="{9D8B030D-6E8A-4147-A177-3AD203B41FA5}">
                      <a16:colId xmlns:a16="http://schemas.microsoft.com/office/drawing/2014/main" val="197371410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de-DE" sz="1000" b="1" dirty="0">
                          <a:solidFill>
                            <a:schemeClr val="accent2"/>
                          </a:solidFill>
                        </a:rPr>
                        <a:t>PD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2"/>
                          </a:solidFill>
                        </a:rPr>
                        <a:t>47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2"/>
                          </a:solidFill>
                        </a:rPr>
                        <a:t>37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2"/>
                          </a:solidFill>
                        </a:rPr>
                        <a:t>29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2"/>
                          </a:solidFill>
                        </a:rPr>
                        <a:t>24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2"/>
                          </a:solidFill>
                        </a:rPr>
                        <a:t>22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2"/>
                          </a:solidFill>
                        </a:rPr>
                        <a:t>19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2"/>
                          </a:solidFill>
                        </a:rPr>
                        <a:t>18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2"/>
                          </a:solidFill>
                        </a:rPr>
                        <a:t>16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2"/>
                          </a:solidFill>
                        </a:rPr>
                        <a:t>11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2"/>
                          </a:solidFill>
                        </a:rPr>
                        <a:t>5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35971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de-DE" sz="1000" b="1" dirty="0">
                          <a:solidFill>
                            <a:schemeClr val="accent6"/>
                          </a:solidFill>
                        </a:rPr>
                        <a:t>TT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6"/>
                          </a:solidFill>
                        </a:rPr>
                        <a:t>1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6"/>
                          </a:solidFill>
                        </a:rPr>
                        <a:t>10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6"/>
                          </a:solidFill>
                        </a:rPr>
                        <a:t>9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6"/>
                          </a:solidFill>
                        </a:rPr>
                        <a:t>8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6"/>
                          </a:solidFill>
                        </a:rPr>
                        <a:t>7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6"/>
                          </a:solidFill>
                        </a:rPr>
                        <a:t>6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6"/>
                          </a:solidFill>
                        </a:rPr>
                        <a:t>5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6"/>
                          </a:solidFill>
                        </a:rPr>
                        <a:t>4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6"/>
                          </a:solidFill>
                        </a:rPr>
                        <a:t>3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6"/>
                          </a:solidFill>
                        </a:rPr>
                        <a:t>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80541496"/>
                  </a:ext>
                </a:extLst>
              </a:tr>
            </a:tbl>
          </a:graphicData>
        </a:graphic>
      </p:graphicFrame>
      <p:sp>
        <p:nvSpPr>
          <p:cNvPr id="725" name="Textfeld 724">
            <a:extLst>
              <a:ext uri="{FF2B5EF4-FFF2-40B4-BE49-F238E27FC236}">
                <a16:creationId xmlns:a16="http://schemas.microsoft.com/office/drawing/2014/main" id="{18DEA816-306D-A753-0B9F-66130DA2A926}"/>
              </a:ext>
            </a:extLst>
          </p:cNvPr>
          <p:cNvSpPr txBox="1"/>
          <p:nvPr/>
        </p:nvSpPr>
        <p:spPr>
          <a:xfrm>
            <a:off x="762758" y="833548"/>
            <a:ext cx="479867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600" b="1" dirty="0">
                <a:solidFill>
                  <a:schemeClr val="accent6"/>
                </a:solidFill>
              </a:rPr>
              <a:t>Alle Patient*innen</a:t>
            </a:r>
          </a:p>
        </p:txBody>
      </p:sp>
      <p:sp>
        <p:nvSpPr>
          <p:cNvPr id="726" name="Textfeld 725">
            <a:extLst>
              <a:ext uri="{FF2B5EF4-FFF2-40B4-BE49-F238E27FC236}">
                <a16:creationId xmlns:a16="http://schemas.microsoft.com/office/drawing/2014/main" id="{B779D0C1-1F9D-71E9-18B6-C1BC0FC4066F}"/>
              </a:ext>
            </a:extLst>
          </p:cNvPr>
          <p:cNvSpPr txBox="1"/>
          <p:nvPr/>
        </p:nvSpPr>
        <p:spPr>
          <a:xfrm>
            <a:off x="801522" y="3981049"/>
            <a:ext cx="2238559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de-DE" sz="1000" b="1" dirty="0">
                <a:solidFill>
                  <a:srgbClr val="000000"/>
                </a:solidFill>
                <a:latin typeface="Arial" panose="020B0604020202020204"/>
              </a:rPr>
              <a:t>Anzahl unter Risiko</a:t>
            </a:r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</a:endParaRPr>
          </a:p>
        </p:txBody>
      </p:sp>
      <p:graphicFrame>
        <p:nvGraphicFramePr>
          <p:cNvPr id="727" name="Diagramm 726">
            <a:extLst>
              <a:ext uri="{FF2B5EF4-FFF2-40B4-BE49-F238E27FC236}">
                <a16:creationId xmlns:a16="http://schemas.microsoft.com/office/drawing/2014/main" id="{7A30F126-3A62-FC82-D413-610E0E5C517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61256266"/>
              </p:ext>
            </p:extLst>
          </p:nvPr>
        </p:nvGraphicFramePr>
        <p:xfrm>
          <a:off x="534566" y="1254386"/>
          <a:ext cx="5331506" cy="28266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728" name="Gerader Verbinder 727">
            <a:extLst>
              <a:ext uri="{FF2B5EF4-FFF2-40B4-BE49-F238E27FC236}">
                <a16:creationId xmlns:a16="http://schemas.microsoft.com/office/drawing/2014/main" id="{96AA7A25-CA69-DD30-3DD5-E118A6362DD1}"/>
              </a:ext>
            </a:extLst>
          </p:cNvPr>
          <p:cNvCxnSpPr>
            <a:cxnSpLocks/>
          </p:cNvCxnSpPr>
          <p:nvPr/>
        </p:nvCxnSpPr>
        <p:spPr>
          <a:xfrm>
            <a:off x="5079355" y="2455907"/>
            <a:ext cx="0" cy="1131426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9" name="Gerader Verbinder 728">
            <a:extLst>
              <a:ext uri="{FF2B5EF4-FFF2-40B4-BE49-F238E27FC236}">
                <a16:creationId xmlns:a16="http://schemas.microsoft.com/office/drawing/2014/main" id="{BD5514C7-71E2-31B9-DCE5-4D0AFBE4732D}"/>
              </a:ext>
            </a:extLst>
          </p:cNvPr>
          <p:cNvCxnSpPr>
            <a:cxnSpLocks/>
          </p:cNvCxnSpPr>
          <p:nvPr/>
        </p:nvCxnSpPr>
        <p:spPr>
          <a:xfrm>
            <a:off x="2391475" y="1622469"/>
            <a:ext cx="0" cy="1964864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0" name="Gerader Verbinder 729">
            <a:extLst>
              <a:ext uri="{FF2B5EF4-FFF2-40B4-BE49-F238E27FC236}">
                <a16:creationId xmlns:a16="http://schemas.microsoft.com/office/drawing/2014/main" id="{976A50F7-59FF-E481-5F6F-F136583BFB42}"/>
              </a:ext>
            </a:extLst>
          </p:cNvPr>
          <p:cNvCxnSpPr>
            <a:cxnSpLocks/>
          </p:cNvCxnSpPr>
          <p:nvPr/>
        </p:nvCxnSpPr>
        <p:spPr>
          <a:xfrm>
            <a:off x="3279802" y="2084432"/>
            <a:ext cx="0" cy="1502901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1" name="Gerader Verbinder 730">
            <a:extLst>
              <a:ext uri="{FF2B5EF4-FFF2-40B4-BE49-F238E27FC236}">
                <a16:creationId xmlns:a16="http://schemas.microsoft.com/office/drawing/2014/main" id="{DF7F77A2-1DAB-31E3-4630-B89767C22FD3}"/>
              </a:ext>
            </a:extLst>
          </p:cNvPr>
          <p:cNvCxnSpPr>
            <a:cxnSpLocks/>
          </p:cNvCxnSpPr>
          <p:nvPr/>
        </p:nvCxnSpPr>
        <p:spPr>
          <a:xfrm>
            <a:off x="4186665" y="2374944"/>
            <a:ext cx="0" cy="1212389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2" name="Freihandform: Form 731">
            <a:extLst>
              <a:ext uri="{FF2B5EF4-FFF2-40B4-BE49-F238E27FC236}">
                <a16:creationId xmlns:a16="http://schemas.microsoft.com/office/drawing/2014/main" id="{7B383F56-D70F-904E-264E-C520CAC2E6D4}"/>
              </a:ext>
            </a:extLst>
          </p:cNvPr>
          <p:cNvSpPr/>
          <p:nvPr/>
        </p:nvSpPr>
        <p:spPr>
          <a:xfrm>
            <a:off x="1498472" y="1368336"/>
            <a:ext cx="4084709" cy="1071771"/>
          </a:xfrm>
          <a:custGeom>
            <a:avLst/>
            <a:gdLst>
              <a:gd name="connsiteX0" fmla="*/ 0 w 4084709"/>
              <a:gd name="connsiteY0" fmla="*/ 14467 h 1071771"/>
              <a:gd name="connsiteX1" fmla="*/ 196045 w 4084709"/>
              <a:gd name="connsiteY1" fmla="*/ 14467 h 1071771"/>
              <a:gd name="connsiteX2" fmla="*/ 196045 w 4084709"/>
              <a:gd name="connsiteY2" fmla="*/ 27595 h 1071771"/>
              <a:gd name="connsiteX3" fmla="*/ 197608 w 4084709"/>
              <a:gd name="connsiteY3" fmla="*/ 32685 h 1071771"/>
              <a:gd name="connsiteX4" fmla="*/ 201320 w 4084709"/>
              <a:gd name="connsiteY4" fmla="*/ 34828 h 1071771"/>
              <a:gd name="connsiteX5" fmla="*/ 355557 w 4084709"/>
              <a:gd name="connsiteY5" fmla="*/ 34828 h 1071771"/>
              <a:gd name="connsiteX6" fmla="*/ 355557 w 4084709"/>
              <a:gd name="connsiteY6" fmla="*/ 47822 h 1071771"/>
              <a:gd name="connsiteX7" fmla="*/ 357120 w 4084709"/>
              <a:gd name="connsiteY7" fmla="*/ 52912 h 1071771"/>
              <a:gd name="connsiteX8" fmla="*/ 360832 w 4084709"/>
              <a:gd name="connsiteY8" fmla="*/ 55055 h 1071771"/>
              <a:gd name="connsiteX9" fmla="*/ 561761 w 4084709"/>
              <a:gd name="connsiteY9" fmla="*/ 55055 h 1071771"/>
              <a:gd name="connsiteX10" fmla="*/ 561761 w 4084709"/>
              <a:gd name="connsiteY10" fmla="*/ 68183 h 1071771"/>
              <a:gd name="connsiteX11" fmla="*/ 563324 w 4084709"/>
              <a:gd name="connsiteY11" fmla="*/ 73273 h 1071771"/>
              <a:gd name="connsiteX12" fmla="*/ 567036 w 4084709"/>
              <a:gd name="connsiteY12" fmla="*/ 75416 h 1071771"/>
              <a:gd name="connsiteX13" fmla="*/ 625644 w 4084709"/>
              <a:gd name="connsiteY13" fmla="*/ 75416 h 1071771"/>
              <a:gd name="connsiteX14" fmla="*/ 625644 w 4084709"/>
              <a:gd name="connsiteY14" fmla="*/ 88678 h 1071771"/>
              <a:gd name="connsiteX15" fmla="*/ 627207 w 4084709"/>
              <a:gd name="connsiteY15" fmla="*/ 93768 h 1071771"/>
              <a:gd name="connsiteX16" fmla="*/ 630919 w 4084709"/>
              <a:gd name="connsiteY16" fmla="*/ 95912 h 1071771"/>
              <a:gd name="connsiteX17" fmla="*/ 701835 w 4084709"/>
              <a:gd name="connsiteY17" fmla="*/ 95912 h 1071771"/>
              <a:gd name="connsiteX18" fmla="*/ 701835 w 4084709"/>
              <a:gd name="connsiteY18" fmla="*/ 109173 h 1071771"/>
              <a:gd name="connsiteX19" fmla="*/ 703398 w 4084709"/>
              <a:gd name="connsiteY19" fmla="*/ 114263 h 1071771"/>
              <a:gd name="connsiteX20" fmla="*/ 707110 w 4084709"/>
              <a:gd name="connsiteY20" fmla="*/ 116407 h 1071771"/>
              <a:gd name="connsiteX21" fmla="*/ 750969 w 4084709"/>
              <a:gd name="connsiteY21" fmla="*/ 116407 h 1071771"/>
              <a:gd name="connsiteX22" fmla="*/ 750969 w 4084709"/>
              <a:gd name="connsiteY22" fmla="*/ 129668 h 1071771"/>
              <a:gd name="connsiteX23" fmla="*/ 752531 w 4084709"/>
              <a:gd name="connsiteY23" fmla="*/ 134758 h 1071771"/>
              <a:gd name="connsiteX24" fmla="*/ 756243 w 4084709"/>
              <a:gd name="connsiteY24" fmla="*/ 136902 h 1071771"/>
              <a:gd name="connsiteX25" fmla="*/ 804986 w 4084709"/>
              <a:gd name="connsiteY25" fmla="*/ 136902 h 1071771"/>
              <a:gd name="connsiteX26" fmla="*/ 804986 w 4084709"/>
              <a:gd name="connsiteY26" fmla="*/ 150297 h 1071771"/>
              <a:gd name="connsiteX27" fmla="*/ 806549 w 4084709"/>
              <a:gd name="connsiteY27" fmla="*/ 155387 h 1071771"/>
              <a:gd name="connsiteX28" fmla="*/ 810261 w 4084709"/>
              <a:gd name="connsiteY28" fmla="*/ 157531 h 1071771"/>
              <a:gd name="connsiteX29" fmla="*/ 834485 w 4084709"/>
              <a:gd name="connsiteY29" fmla="*/ 157531 h 1071771"/>
              <a:gd name="connsiteX30" fmla="*/ 834485 w 4084709"/>
              <a:gd name="connsiteY30" fmla="*/ 170926 h 1071771"/>
              <a:gd name="connsiteX31" fmla="*/ 836048 w 4084709"/>
              <a:gd name="connsiteY31" fmla="*/ 176016 h 1071771"/>
              <a:gd name="connsiteX32" fmla="*/ 839760 w 4084709"/>
              <a:gd name="connsiteY32" fmla="*/ 178160 h 1071771"/>
              <a:gd name="connsiteX33" fmla="*/ 866427 w 4084709"/>
              <a:gd name="connsiteY33" fmla="*/ 178160 h 1071771"/>
              <a:gd name="connsiteX34" fmla="*/ 866427 w 4084709"/>
              <a:gd name="connsiteY34" fmla="*/ 191555 h 1071771"/>
              <a:gd name="connsiteX35" fmla="*/ 867990 w 4084709"/>
              <a:gd name="connsiteY35" fmla="*/ 196645 h 1071771"/>
              <a:gd name="connsiteX36" fmla="*/ 871702 w 4084709"/>
              <a:gd name="connsiteY36" fmla="*/ 198789 h 1071771"/>
              <a:gd name="connsiteX37" fmla="*/ 881177 w 4084709"/>
              <a:gd name="connsiteY37" fmla="*/ 198789 h 1071771"/>
              <a:gd name="connsiteX38" fmla="*/ 881177 w 4084709"/>
              <a:gd name="connsiteY38" fmla="*/ 212318 h 1071771"/>
              <a:gd name="connsiteX39" fmla="*/ 882740 w 4084709"/>
              <a:gd name="connsiteY39" fmla="*/ 217408 h 1071771"/>
              <a:gd name="connsiteX40" fmla="*/ 886451 w 4084709"/>
              <a:gd name="connsiteY40" fmla="*/ 219552 h 1071771"/>
              <a:gd name="connsiteX41" fmla="*/ 900811 w 4084709"/>
              <a:gd name="connsiteY41" fmla="*/ 219552 h 1071771"/>
              <a:gd name="connsiteX42" fmla="*/ 900811 w 4084709"/>
              <a:gd name="connsiteY42" fmla="*/ 232947 h 1071771"/>
              <a:gd name="connsiteX43" fmla="*/ 902373 w 4084709"/>
              <a:gd name="connsiteY43" fmla="*/ 238037 h 1071771"/>
              <a:gd name="connsiteX44" fmla="*/ 906085 w 4084709"/>
              <a:gd name="connsiteY44" fmla="*/ 240181 h 1071771"/>
              <a:gd name="connsiteX45" fmla="*/ 942618 w 4084709"/>
              <a:gd name="connsiteY45" fmla="*/ 240181 h 1071771"/>
              <a:gd name="connsiteX46" fmla="*/ 942618 w 4084709"/>
              <a:gd name="connsiteY46" fmla="*/ 253576 h 1071771"/>
              <a:gd name="connsiteX47" fmla="*/ 944181 w 4084709"/>
              <a:gd name="connsiteY47" fmla="*/ 258666 h 1071771"/>
              <a:gd name="connsiteX48" fmla="*/ 947893 w 4084709"/>
              <a:gd name="connsiteY48" fmla="*/ 260810 h 1071771"/>
              <a:gd name="connsiteX49" fmla="*/ 964694 w 4084709"/>
              <a:gd name="connsiteY49" fmla="*/ 260810 h 1071771"/>
              <a:gd name="connsiteX50" fmla="*/ 964694 w 4084709"/>
              <a:gd name="connsiteY50" fmla="*/ 274339 h 1071771"/>
              <a:gd name="connsiteX51" fmla="*/ 966256 w 4084709"/>
              <a:gd name="connsiteY51" fmla="*/ 279429 h 1071771"/>
              <a:gd name="connsiteX52" fmla="*/ 969968 w 4084709"/>
              <a:gd name="connsiteY52" fmla="*/ 281573 h 1071771"/>
              <a:gd name="connsiteX53" fmla="*/ 989309 w 4084709"/>
              <a:gd name="connsiteY53" fmla="*/ 281573 h 1071771"/>
              <a:gd name="connsiteX54" fmla="*/ 989309 w 4084709"/>
              <a:gd name="connsiteY54" fmla="*/ 295236 h 1071771"/>
              <a:gd name="connsiteX55" fmla="*/ 990872 w 4084709"/>
              <a:gd name="connsiteY55" fmla="*/ 300326 h 1071771"/>
              <a:gd name="connsiteX56" fmla="*/ 994584 w 4084709"/>
              <a:gd name="connsiteY56" fmla="*/ 302470 h 1071771"/>
              <a:gd name="connsiteX57" fmla="*/ 1021251 w 4084709"/>
              <a:gd name="connsiteY57" fmla="*/ 302470 h 1071771"/>
              <a:gd name="connsiteX58" fmla="*/ 1021251 w 4084709"/>
              <a:gd name="connsiteY58" fmla="*/ 316133 h 1071771"/>
              <a:gd name="connsiteX59" fmla="*/ 1022814 w 4084709"/>
              <a:gd name="connsiteY59" fmla="*/ 321223 h 1071771"/>
              <a:gd name="connsiteX60" fmla="*/ 1026525 w 4084709"/>
              <a:gd name="connsiteY60" fmla="*/ 323367 h 1071771"/>
              <a:gd name="connsiteX61" fmla="*/ 1094902 w 4084709"/>
              <a:gd name="connsiteY61" fmla="*/ 323367 h 1071771"/>
              <a:gd name="connsiteX62" fmla="*/ 1094902 w 4084709"/>
              <a:gd name="connsiteY62" fmla="*/ 337030 h 1071771"/>
              <a:gd name="connsiteX63" fmla="*/ 1096465 w 4084709"/>
              <a:gd name="connsiteY63" fmla="*/ 342120 h 1071771"/>
              <a:gd name="connsiteX64" fmla="*/ 1100177 w 4084709"/>
              <a:gd name="connsiteY64" fmla="*/ 344264 h 1071771"/>
              <a:gd name="connsiteX65" fmla="*/ 1198053 w 4084709"/>
              <a:gd name="connsiteY65" fmla="*/ 344264 h 1071771"/>
              <a:gd name="connsiteX66" fmla="*/ 1198053 w 4084709"/>
              <a:gd name="connsiteY66" fmla="*/ 357927 h 1071771"/>
              <a:gd name="connsiteX67" fmla="*/ 1199615 w 4084709"/>
              <a:gd name="connsiteY67" fmla="*/ 363017 h 1071771"/>
              <a:gd name="connsiteX68" fmla="*/ 1203327 w 4084709"/>
              <a:gd name="connsiteY68" fmla="*/ 365160 h 1071771"/>
              <a:gd name="connsiteX69" fmla="*/ 1210360 w 4084709"/>
              <a:gd name="connsiteY69" fmla="*/ 365160 h 1071771"/>
              <a:gd name="connsiteX70" fmla="*/ 1210360 w 4084709"/>
              <a:gd name="connsiteY70" fmla="*/ 378824 h 1071771"/>
              <a:gd name="connsiteX71" fmla="*/ 1211923 w 4084709"/>
              <a:gd name="connsiteY71" fmla="*/ 383914 h 1071771"/>
              <a:gd name="connsiteX72" fmla="*/ 1215635 w 4084709"/>
              <a:gd name="connsiteY72" fmla="*/ 386057 h 1071771"/>
              <a:gd name="connsiteX73" fmla="*/ 1230092 w 4084709"/>
              <a:gd name="connsiteY73" fmla="*/ 386057 h 1071771"/>
              <a:gd name="connsiteX74" fmla="*/ 1230092 w 4084709"/>
              <a:gd name="connsiteY74" fmla="*/ 420484 h 1071771"/>
              <a:gd name="connsiteX75" fmla="*/ 1231655 w 4084709"/>
              <a:gd name="connsiteY75" fmla="*/ 425574 h 1071771"/>
              <a:gd name="connsiteX76" fmla="*/ 1235367 w 4084709"/>
              <a:gd name="connsiteY76" fmla="*/ 427717 h 1071771"/>
              <a:gd name="connsiteX77" fmla="*/ 1288993 w 4084709"/>
              <a:gd name="connsiteY77" fmla="*/ 427717 h 1071771"/>
              <a:gd name="connsiteX78" fmla="*/ 1288993 w 4084709"/>
              <a:gd name="connsiteY78" fmla="*/ 441381 h 1071771"/>
              <a:gd name="connsiteX79" fmla="*/ 1290556 w 4084709"/>
              <a:gd name="connsiteY79" fmla="*/ 446471 h 1071771"/>
              <a:gd name="connsiteX80" fmla="*/ 1294268 w 4084709"/>
              <a:gd name="connsiteY80" fmla="*/ 448614 h 1071771"/>
              <a:gd name="connsiteX81" fmla="*/ 1308725 w 4084709"/>
              <a:gd name="connsiteY81" fmla="*/ 448614 h 1071771"/>
              <a:gd name="connsiteX82" fmla="*/ 1308725 w 4084709"/>
              <a:gd name="connsiteY82" fmla="*/ 483041 h 1071771"/>
              <a:gd name="connsiteX83" fmla="*/ 1310288 w 4084709"/>
              <a:gd name="connsiteY83" fmla="*/ 488131 h 1071771"/>
              <a:gd name="connsiteX84" fmla="*/ 1313999 w 4084709"/>
              <a:gd name="connsiteY84" fmla="*/ 490274 h 1071771"/>
              <a:gd name="connsiteX85" fmla="*/ 1318884 w 4084709"/>
              <a:gd name="connsiteY85" fmla="*/ 490274 h 1071771"/>
              <a:gd name="connsiteX86" fmla="*/ 1318884 w 4084709"/>
              <a:gd name="connsiteY86" fmla="*/ 483041 h 1071771"/>
              <a:gd name="connsiteX87" fmla="*/ 1313609 w 4084709"/>
              <a:gd name="connsiteY87" fmla="*/ 483041 h 1071771"/>
              <a:gd name="connsiteX88" fmla="*/ 1313609 w 4084709"/>
              <a:gd name="connsiteY88" fmla="*/ 503803 h 1071771"/>
              <a:gd name="connsiteX89" fmla="*/ 1315172 w 4084709"/>
              <a:gd name="connsiteY89" fmla="*/ 508894 h 1071771"/>
              <a:gd name="connsiteX90" fmla="*/ 1318884 w 4084709"/>
              <a:gd name="connsiteY90" fmla="*/ 511037 h 1071771"/>
              <a:gd name="connsiteX91" fmla="*/ 1325917 w 4084709"/>
              <a:gd name="connsiteY91" fmla="*/ 511037 h 1071771"/>
              <a:gd name="connsiteX92" fmla="*/ 1325917 w 4084709"/>
              <a:gd name="connsiteY92" fmla="*/ 524700 h 1071771"/>
              <a:gd name="connsiteX93" fmla="*/ 1327479 w 4084709"/>
              <a:gd name="connsiteY93" fmla="*/ 529791 h 1071771"/>
              <a:gd name="connsiteX94" fmla="*/ 1331191 w 4084709"/>
              <a:gd name="connsiteY94" fmla="*/ 531934 h 1071771"/>
              <a:gd name="connsiteX95" fmla="*/ 1335782 w 4084709"/>
              <a:gd name="connsiteY95" fmla="*/ 531934 h 1071771"/>
              <a:gd name="connsiteX96" fmla="*/ 1335782 w 4084709"/>
              <a:gd name="connsiteY96" fmla="*/ 566360 h 1071771"/>
              <a:gd name="connsiteX97" fmla="*/ 1337345 w 4084709"/>
              <a:gd name="connsiteY97" fmla="*/ 571451 h 1071771"/>
              <a:gd name="connsiteX98" fmla="*/ 1341057 w 4084709"/>
              <a:gd name="connsiteY98" fmla="*/ 573594 h 1071771"/>
              <a:gd name="connsiteX99" fmla="*/ 1458567 w 4084709"/>
              <a:gd name="connsiteY99" fmla="*/ 573594 h 1071771"/>
              <a:gd name="connsiteX100" fmla="*/ 1458567 w 4084709"/>
              <a:gd name="connsiteY100" fmla="*/ 587525 h 1071771"/>
              <a:gd name="connsiteX101" fmla="*/ 1460130 w 4084709"/>
              <a:gd name="connsiteY101" fmla="*/ 592615 h 1071771"/>
              <a:gd name="connsiteX102" fmla="*/ 1463841 w 4084709"/>
              <a:gd name="connsiteY102" fmla="*/ 594759 h 1071771"/>
              <a:gd name="connsiteX103" fmla="*/ 1485624 w 4084709"/>
              <a:gd name="connsiteY103" fmla="*/ 594759 h 1071771"/>
              <a:gd name="connsiteX104" fmla="*/ 1485624 w 4084709"/>
              <a:gd name="connsiteY104" fmla="*/ 608690 h 1071771"/>
              <a:gd name="connsiteX105" fmla="*/ 1487187 w 4084709"/>
              <a:gd name="connsiteY105" fmla="*/ 613780 h 1071771"/>
              <a:gd name="connsiteX106" fmla="*/ 1490899 w 4084709"/>
              <a:gd name="connsiteY106" fmla="*/ 615924 h 1071771"/>
              <a:gd name="connsiteX107" fmla="*/ 1493341 w 4084709"/>
              <a:gd name="connsiteY107" fmla="*/ 615924 h 1071771"/>
              <a:gd name="connsiteX108" fmla="*/ 1493341 w 4084709"/>
              <a:gd name="connsiteY108" fmla="*/ 608690 h 1071771"/>
              <a:gd name="connsiteX109" fmla="*/ 1488066 w 4084709"/>
              <a:gd name="connsiteY109" fmla="*/ 608690 h 1071771"/>
              <a:gd name="connsiteX110" fmla="*/ 1488066 w 4084709"/>
              <a:gd name="connsiteY110" fmla="*/ 629721 h 1071771"/>
              <a:gd name="connsiteX111" fmla="*/ 1489629 w 4084709"/>
              <a:gd name="connsiteY111" fmla="*/ 634811 h 1071771"/>
              <a:gd name="connsiteX112" fmla="*/ 1493341 w 4084709"/>
              <a:gd name="connsiteY112" fmla="*/ 636954 h 1071771"/>
              <a:gd name="connsiteX113" fmla="*/ 1583793 w 4084709"/>
              <a:gd name="connsiteY113" fmla="*/ 636954 h 1071771"/>
              <a:gd name="connsiteX114" fmla="*/ 1583793 w 4084709"/>
              <a:gd name="connsiteY114" fmla="*/ 650886 h 1071771"/>
              <a:gd name="connsiteX115" fmla="*/ 1585356 w 4084709"/>
              <a:gd name="connsiteY115" fmla="*/ 655976 h 1071771"/>
              <a:gd name="connsiteX116" fmla="*/ 1589068 w 4084709"/>
              <a:gd name="connsiteY116" fmla="*/ 658119 h 1071771"/>
              <a:gd name="connsiteX117" fmla="*/ 1765479 w 4084709"/>
              <a:gd name="connsiteY117" fmla="*/ 658119 h 1071771"/>
              <a:gd name="connsiteX118" fmla="*/ 1765479 w 4084709"/>
              <a:gd name="connsiteY118" fmla="*/ 672051 h 1071771"/>
              <a:gd name="connsiteX119" fmla="*/ 1767042 w 4084709"/>
              <a:gd name="connsiteY119" fmla="*/ 677141 h 1071771"/>
              <a:gd name="connsiteX120" fmla="*/ 1770754 w 4084709"/>
              <a:gd name="connsiteY120" fmla="*/ 679284 h 1071771"/>
              <a:gd name="connsiteX121" fmla="*/ 1780229 w 4084709"/>
              <a:gd name="connsiteY121" fmla="*/ 679284 h 1071771"/>
              <a:gd name="connsiteX122" fmla="*/ 1780229 w 4084709"/>
              <a:gd name="connsiteY122" fmla="*/ 693215 h 1071771"/>
              <a:gd name="connsiteX123" fmla="*/ 1781792 w 4084709"/>
              <a:gd name="connsiteY123" fmla="*/ 698306 h 1071771"/>
              <a:gd name="connsiteX124" fmla="*/ 1785504 w 4084709"/>
              <a:gd name="connsiteY124" fmla="*/ 700449 h 1071771"/>
              <a:gd name="connsiteX125" fmla="*/ 1826920 w 4084709"/>
              <a:gd name="connsiteY125" fmla="*/ 700449 h 1071771"/>
              <a:gd name="connsiteX126" fmla="*/ 1826920 w 4084709"/>
              <a:gd name="connsiteY126" fmla="*/ 714380 h 1071771"/>
              <a:gd name="connsiteX127" fmla="*/ 1828483 w 4084709"/>
              <a:gd name="connsiteY127" fmla="*/ 719471 h 1071771"/>
              <a:gd name="connsiteX128" fmla="*/ 1832195 w 4084709"/>
              <a:gd name="connsiteY128" fmla="*/ 721614 h 1071771"/>
              <a:gd name="connsiteX129" fmla="*/ 1925089 w 4084709"/>
              <a:gd name="connsiteY129" fmla="*/ 721614 h 1071771"/>
              <a:gd name="connsiteX130" fmla="*/ 1925089 w 4084709"/>
              <a:gd name="connsiteY130" fmla="*/ 735545 h 1071771"/>
              <a:gd name="connsiteX131" fmla="*/ 1926652 w 4084709"/>
              <a:gd name="connsiteY131" fmla="*/ 740635 h 1071771"/>
              <a:gd name="connsiteX132" fmla="*/ 1930364 w 4084709"/>
              <a:gd name="connsiteY132" fmla="*/ 742779 h 1071771"/>
              <a:gd name="connsiteX133" fmla="*/ 1974223 w 4084709"/>
              <a:gd name="connsiteY133" fmla="*/ 742779 h 1071771"/>
              <a:gd name="connsiteX134" fmla="*/ 1974223 w 4084709"/>
              <a:gd name="connsiteY134" fmla="*/ 756710 h 1071771"/>
              <a:gd name="connsiteX135" fmla="*/ 1975786 w 4084709"/>
              <a:gd name="connsiteY135" fmla="*/ 761800 h 1071771"/>
              <a:gd name="connsiteX136" fmla="*/ 1979497 w 4084709"/>
              <a:gd name="connsiteY136" fmla="*/ 763944 h 1071771"/>
              <a:gd name="connsiteX137" fmla="*/ 1998740 w 4084709"/>
              <a:gd name="connsiteY137" fmla="*/ 763944 h 1071771"/>
              <a:gd name="connsiteX138" fmla="*/ 1998740 w 4084709"/>
              <a:gd name="connsiteY138" fmla="*/ 777875 h 1071771"/>
              <a:gd name="connsiteX139" fmla="*/ 2000303 w 4084709"/>
              <a:gd name="connsiteY139" fmla="*/ 782965 h 1071771"/>
              <a:gd name="connsiteX140" fmla="*/ 2004015 w 4084709"/>
              <a:gd name="connsiteY140" fmla="*/ 785108 h 1071771"/>
              <a:gd name="connsiteX141" fmla="*/ 2276153 w 4084709"/>
              <a:gd name="connsiteY141" fmla="*/ 785108 h 1071771"/>
              <a:gd name="connsiteX142" fmla="*/ 2276153 w 4084709"/>
              <a:gd name="connsiteY142" fmla="*/ 800245 h 1071771"/>
              <a:gd name="connsiteX143" fmla="*/ 2277716 w 4084709"/>
              <a:gd name="connsiteY143" fmla="*/ 805335 h 1071771"/>
              <a:gd name="connsiteX144" fmla="*/ 2281428 w 4084709"/>
              <a:gd name="connsiteY144" fmla="*/ 807479 h 1071771"/>
              <a:gd name="connsiteX145" fmla="*/ 2298229 w 4084709"/>
              <a:gd name="connsiteY145" fmla="*/ 807479 h 1071771"/>
              <a:gd name="connsiteX146" fmla="*/ 2298229 w 4084709"/>
              <a:gd name="connsiteY146" fmla="*/ 822616 h 1071771"/>
              <a:gd name="connsiteX147" fmla="*/ 2299792 w 4084709"/>
              <a:gd name="connsiteY147" fmla="*/ 827706 h 1071771"/>
              <a:gd name="connsiteX148" fmla="*/ 2303504 w 4084709"/>
              <a:gd name="connsiteY148" fmla="*/ 829849 h 1071771"/>
              <a:gd name="connsiteX149" fmla="*/ 2330171 w 4084709"/>
              <a:gd name="connsiteY149" fmla="*/ 829849 h 1071771"/>
              <a:gd name="connsiteX150" fmla="*/ 2330171 w 4084709"/>
              <a:gd name="connsiteY150" fmla="*/ 844986 h 1071771"/>
              <a:gd name="connsiteX151" fmla="*/ 2331734 w 4084709"/>
              <a:gd name="connsiteY151" fmla="*/ 850076 h 1071771"/>
              <a:gd name="connsiteX152" fmla="*/ 2335445 w 4084709"/>
              <a:gd name="connsiteY152" fmla="*/ 852220 h 1071771"/>
              <a:gd name="connsiteX153" fmla="*/ 2342479 w 4084709"/>
              <a:gd name="connsiteY153" fmla="*/ 852220 h 1071771"/>
              <a:gd name="connsiteX154" fmla="*/ 2342479 w 4084709"/>
              <a:gd name="connsiteY154" fmla="*/ 867490 h 1071771"/>
              <a:gd name="connsiteX155" fmla="*/ 2344041 w 4084709"/>
              <a:gd name="connsiteY155" fmla="*/ 872581 h 1071771"/>
              <a:gd name="connsiteX156" fmla="*/ 2347753 w 4084709"/>
              <a:gd name="connsiteY156" fmla="*/ 874724 h 1071771"/>
              <a:gd name="connsiteX157" fmla="*/ 2502089 w 4084709"/>
              <a:gd name="connsiteY157" fmla="*/ 874724 h 1071771"/>
              <a:gd name="connsiteX158" fmla="*/ 2502089 w 4084709"/>
              <a:gd name="connsiteY158" fmla="*/ 889861 h 1071771"/>
              <a:gd name="connsiteX159" fmla="*/ 2503651 w 4084709"/>
              <a:gd name="connsiteY159" fmla="*/ 894951 h 1071771"/>
              <a:gd name="connsiteX160" fmla="*/ 2507363 w 4084709"/>
              <a:gd name="connsiteY160" fmla="*/ 897094 h 1071771"/>
              <a:gd name="connsiteX161" fmla="*/ 2538914 w 4084709"/>
              <a:gd name="connsiteY161" fmla="*/ 897094 h 1071771"/>
              <a:gd name="connsiteX162" fmla="*/ 2538914 w 4084709"/>
              <a:gd name="connsiteY162" fmla="*/ 912365 h 1071771"/>
              <a:gd name="connsiteX163" fmla="*/ 2540477 w 4084709"/>
              <a:gd name="connsiteY163" fmla="*/ 917456 h 1071771"/>
              <a:gd name="connsiteX164" fmla="*/ 2544189 w 4084709"/>
              <a:gd name="connsiteY164" fmla="*/ 919599 h 1071771"/>
              <a:gd name="connsiteX165" fmla="*/ 2592932 w 4084709"/>
              <a:gd name="connsiteY165" fmla="*/ 919599 h 1071771"/>
              <a:gd name="connsiteX166" fmla="*/ 2592932 w 4084709"/>
              <a:gd name="connsiteY166" fmla="*/ 935138 h 1071771"/>
              <a:gd name="connsiteX167" fmla="*/ 2594495 w 4084709"/>
              <a:gd name="connsiteY167" fmla="*/ 940228 h 1071771"/>
              <a:gd name="connsiteX168" fmla="*/ 2598206 w 4084709"/>
              <a:gd name="connsiteY168" fmla="*/ 942371 h 1071771"/>
              <a:gd name="connsiteX169" fmla="*/ 2659257 w 4084709"/>
              <a:gd name="connsiteY169" fmla="*/ 942371 h 1071771"/>
              <a:gd name="connsiteX170" fmla="*/ 2659257 w 4084709"/>
              <a:gd name="connsiteY170" fmla="*/ 958714 h 1071771"/>
              <a:gd name="connsiteX171" fmla="*/ 2660820 w 4084709"/>
              <a:gd name="connsiteY171" fmla="*/ 963804 h 1071771"/>
              <a:gd name="connsiteX172" fmla="*/ 2664531 w 4084709"/>
              <a:gd name="connsiteY172" fmla="*/ 965947 h 1071771"/>
              <a:gd name="connsiteX173" fmla="*/ 2691198 w 4084709"/>
              <a:gd name="connsiteY173" fmla="*/ 965947 h 1071771"/>
              <a:gd name="connsiteX174" fmla="*/ 2691198 w 4084709"/>
              <a:gd name="connsiteY174" fmla="*/ 982290 h 1071771"/>
              <a:gd name="connsiteX175" fmla="*/ 2692761 w 4084709"/>
              <a:gd name="connsiteY175" fmla="*/ 987380 h 1071771"/>
              <a:gd name="connsiteX176" fmla="*/ 2696473 w 4084709"/>
              <a:gd name="connsiteY176" fmla="*/ 989523 h 1071771"/>
              <a:gd name="connsiteX177" fmla="*/ 2863019 w 4084709"/>
              <a:gd name="connsiteY177" fmla="*/ 989523 h 1071771"/>
              <a:gd name="connsiteX178" fmla="*/ 2863019 w 4084709"/>
              <a:gd name="connsiteY178" fmla="*/ 1006401 h 1071771"/>
              <a:gd name="connsiteX179" fmla="*/ 2864581 w 4084709"/>
              <a:gd name="connsiteY179" fmla="*/ 1011492 h 1071771"/>
              <a:gd name="connsiteX180" fmla="*/ 2868293 w 4084709"/>
              <a:gd name="connsiteY180" fmla="*/ 1013635 h 1071771"/>
              <a:gd name="connsiteX181" fmla="*/ 3299944 w 4084709"/>
              <a:gd name="connsiteY181" fmla="*/ 1013635 h 1071771"/>
              <a:gd name="connsiteX182" fmla="*/ 3299944 w 4084709"/>
              <a:gd name="connsiteY182" fmla="*/ 1033728 h 1071771"/>
              <a:gd name="connsiteX183" fmla="*/ 3301507 w 4084709"/>
              <a:gd name="connsiteY183" fmla="*/ 1038818 h 1071771"/>
              <a:gd name="connsiteX184" fmla="*/ 3305218 w 4084709"/>
              <a:gd name="connsiteY184" fmla="*/ 1040962 h 1071771"/>
              <a:gd name="connsiteX185" fmla="*/ 3407979 w 4084709"/>
              <a:gd name="connsiteY185" fmla="*/ 1040962 h 1071771"/>
              <a:gd name="connsiteX186" fmla="*/ 3407979 w 4084709"/>
              <a:gd name="connsiteY186" fmla="*/ 1064538 h 1071771"/>
              <a:gd name="connsiteX187" fmla="*/ 3409541 w 4084709"/>
              <a:gd name="connsiteY187" fmla="*/ 1069628 h 1071771"/>
              <a:gd name="connsiteX188" fmla="*/ 3413253 w 4084709"/>
              <a:gd name="connsiteY188" fmla="*/ 1071771 h 1071771"/>
              <a:gd name="connsiteX189" fmla="*/ 4084710 w 4084709"/>
              <a:gd name="connsiteY189" fmla="*/ 1071771 h 1071771"/>
              <a:gd name="connsiteX190" fmla="*/ 4084710 w 4084709"/>
              <a:gd name="connsiteY190" fmla="*/ 1057438 h 1071771"/>
              <a:gd name="connsiteX191" fmla="*/ 3418528 w 4084709"/>
              <a:gd name="connsiteY191" fmla="*/ 1057438 h 1071771"/>
              <a:gd name="connsiteX192" fmla="*/ 3418528 w 4084709"/>
              <a:gd name="connsiteY192" fmla="*/ 1033862 h 1071771"/>
              <a:gd name="connsiteX193" fmla="*/ 3416965 w 4084709"/>
              <a:gd name="connsiteY193" fmla="*/ 1028772 h 1071771"/>
              <a:gd name="connsiteX194" fmla="*/ 3413253 w 4084709"/>
              <a:gd name="connsiteY194" fmla="*/ 1026629 h 1071771"/>
              <a:gd name="connsiteX195" fmla="*/ 3310493 w 4084709"/>
              <a:gd name="connsiteY195" fmla="*/ 1026629 h 1071771"/>
              <a:gd name="connsiteX196" fmla="*/ 3310493 w 4084709"/>
              <a:gd name="connsiteY196" fmla="*/ 1006535 h 1071771"/>
              <a:gd name="connsiteX197" fmla="*/ 3308930 w 4084709"/>
              <a:gd name="connsiteY197" fmla="*/ 1001445 h 1071771"/>
              <a:gd name="connsiteX198" fmla="*/ 3305218 w 4084709"/>
              <a:gd name="connsiteY198" fmla="*/ 999302 h 1071771"/>
              <a:gd name="connsiteX199" fmla="*/ 2873568 w 4084709"/>
              <a:gd name="connsiteY199" fmla="*/ 999302 h 1071771"/>
              <a:gd name="connsiteX200" fmla="*/ 2873568 w 4084709"/>
              <a:gd name="connsiteY200" fmla="*/ 982424 h 1071771"/>
              <a:gd name="connsiteX201" fmla="*/ 2872005 w 4084709"/>
              <a:gd name="connsiteY201" fmla="*/ 977333 h 1071771"/>
              <a:gd name="connsiteX202" fmla="*/ 2868293 w 4084709"/>
              <a:gd name="connsiteY202" fmla="*/ 975190 h 1071771"/>
              <a:gd name="connsiteX203" fmla="*/ 2701748 w 4084709"/>
              <a:gd name="connsiteY203" fmla="*/ 975190 h 1071771"/>
              <a:gd name="connsiteX204" fmla="*/ 2701748 w 4084709"/>
              <a:gd name="connsiteY204" fmla="*/ 958848 h 1071771"/>
              <a:gd name="connsiteX205" fmla="*/ 2700185 w 4084709"/>
              <a:gd name="connsiteY205" fmla="*/ 953757 h 1071771"/>
              <a:gd name="connsiteX206" fmla="*/ 2696473 w 4084709"/>
              <a:gd name="connsiteY206" fmla="*/ 951614 h 1071771"/>
              <a:gd name="connsiteX207" fmla="*/ 2669806 w 4084709"/>
              <a:gd name="connsiteY207" fmla="*/ 951614 h 1071771"/>
              <a:gd name="connsiteX208" fmla="*/ 2669806 w 4084709"/>
              <a:gd name="connsiteY208" fmla="*/ 935271 h 1071771"/>
              <a:gd name="connsiteX209" fmla="*/ 2668243 w 4084709"/>
              <a:gd name="connsiteY209" fmla="*/ 930181 h 1071771"/>
              <a:gd name="connsiteX210" fmla="*/ 2664531 w 4084709"/>
              <a:gd name="connsiteY210" fmla="*/ 928038 h 1071771"/>
              <a:gd name="connsiteX211" fmla="*/ 2603481 w 4084709"/>
              <a:gd name="connsiteY211" fmla="*/ 928038 h 1071771"/>
              <a:gd name="connsiteX212" fmla="*/ 2603481 w 4084709"/>
              <a:gd name="connsiteY212" fmla="*/ 912499 h 1071771"/>
              <a:gd name="connsiteX213" fmla="*/ 2601918 w 4084709"/>
              <a:gd name="connsiteY213" fmla="*/ 907409 h 1071771"/>
              <a:gd name="connsiteX214" fmla="*/ 2598206 w 4084709"/>
              <a:gd name="connsiteY214" fmla="*/ 905266 h 1071771"/>
              <a:gd name="connsiteX215" fmla="*/ 2549464 w 4084709"/>
              <a:gd name="connsiteY215" fmla="*/ 905266 h 1071771"/>
              <a:gd name="connsiteX216" fmla="*/ 2549464 w 4084709"/>
              <a:gd name="connsiteY216" fmla="*/ 889995 h 1071771"/>
              <a:gd name="connsiteX217" fmla="*/ 2547901 w 4084709"/>
              <a:gd name="connsiteY217" fmla="*/ 884905 h 1071771"/>
              <a:gd name="connsiteX218" fmla="*/ 2544189 w 4084709"/>
              <a:gd name="connsiteY218" fmla="*/ 882761 h 1071771"/>
              <a:gd name="connsiteX219" fmla="*/ 2512638 w 4084709"/>
              <a:gd name="connsiteY219" fmla="*/ 882761 h 1071771"/>
              <a:gd name="connsiteX220" fmla="*/ 2512638 w 4084709"/>
              <a:gd name="connsiteY220" fmla="*/ 867624 h 1071771"/>
              <a:gd name="connsiteX221" fmla="*/ 2511075 w 4084709"/>
              <a:gd name="connsiteY221" fmla="*/ 862534 h 1071771"/>
              <a:gd name="connsiteX222" fmla="*/ 2507363 w 4084709"/>
              <a:gd name="connsiteY222" fmla="*/ 860391 h 1071771"/>
              <a:gd name="connsiteX223" fmla="*/ 2353028 w 4084709"/>
              <a:gd name="connsiteY223" fmla="*/ 860391 h 1071771"/>
              <a:gd name="connsiteX224" fmla="*/ 2353028 w 4084709"/>
              <a:gd name="connsiteY224" fmla="*/ 845120 h 1071771"/>
              <a:gd name="connsiteX225" fmla="*/ 2351465 w 4084709"/>
              <a:gd name="connsiteY225" fmla="*/ 840030 h 1071771"/>
              <a:gd name="connsiteX226" fmla="*/ 2347753 w 4084709"/>
              <a:gd name="connsiteY226" fmla="*/ 837886 h 1071771"/>
              <a:gd name="connsiteX227" fmla="*/ 2340818 w 4084709"/>
              <a:gd name="connsiteY227" fmla="*/ 837886 h 1071771"/>
              <a:gd name="connsiteX228" fmla="*/ 2340818 w 4084709"/>
              <a:gd name="connsiteY228" fmla="*/ 822750 h 1071771"/>
              <a:gd name="connsiteX229" fmla="*/ 2339255 w 4084709"/>
              <a:gd name="connsiteY229" fmla="*/ 817659 h 1071771"/>
              <a:gd name="connsiteX230" fmla="*/ 2335543 w 4084709"/>
              <a:gd name="connsiteY230" fmla="*/ 815516 h 1071771"/>
              <a:gd name="connsiteX231" fmla="*/ 2308876 w 4084709"/>
              <a:gd name="connsiteY231" fmla="*/ 815516 h 1071771"/>
              <a:gd name="connsiteX232" fmla="*/ 2308876 w 4084709"/>
              <a:gd name="connsiteY232" fmla="*/ 800379 h 1071771"/>
              <a:gd name="connsiteX233" fmla="*/ 2307314 w 4084709"/>
              <a:gd name="connsiteY233" fmla="*/ 795289 h 1071771"/>
              <a:gd name="connsiteX234" fmla="*/ 2303602 w 4084709"/>
              <a:gd name="connsiteY234" fmla="*/ 793146 h 1071771"/>
              <a:gd name="connsiteX235" fmla="*/ 2286801 w 4084709"/>
              <a:gd name="connsiteY235" fmla="*/ 793146 h 1071771"/>
              <a:gd name="connsiteX236" fmla="*/ 2286801 w 4084709"/>
              <a:gd name="connsiteY236" fmla="*/ 778009 h 1071771"/>
              <a:gd name="connsiteX237" fmla="*/ 2285238 w 4084709"/>
              <a:gd name="connsiteY237" fmla="*/ 772918 h 1071771"/>
              <a:gd name="connsiteX238" fmla="*/ 2281526 w 4084709"/>
              <a:gd name="connsiteY238" fmla="*/ 770775 h 1071771"/>
              <a:gd name="connsiteX239" fmla="*/ 2009388 w 4084709"/>
              <a:gd name="connsiteY239" fmla="*/ 770775 h 1071771"/>
              <a:gd name="connsiteX240" fmla="*/ 2009388 w 4084709"/>
              <a:gd name="connsiteY240" fmla="*/ 756844 h 1071771"/>
              <a:gd name="connsiteX241" fmla="*/ 2007825 w 4084709"/>
              <a:gd name="connsiteY241" fmla="*/ 751754 h 1071771"/>
              <a:gd name="connsiteX242" fmla="*/ 2004113 w 4084709"/>
              <a:gd name="connsiteY242" fmla="*/ 749610 h 1071771"/>
              <a:gd name="connsiteX243" fmla="*/ 1984870 w 4084709"/>
              <a:gd name="connsiteY243" fmla="*/ 749610 h 1071771"/>
              <a:gd name="connsiteX244" fmla="*/ 1984870 w 4084709"/>
              <a:gd name="connsiteY244" fmla="*/ 735679 h 1071771"/>
              <a:gd name="connsiteX245" fmla="*/ 1983307 w 4084709"/>
              <a:gd name="connsiteY245" fmla="*/ 730589 h 1071771"/>
              <a:gd name="connsiteX246" fmla="*/ 1979595 w 4084709"/>
              <a:gd name="connsiteY246" fmla="*/ 728445 h 1071771"/>
              <a:gd name="connsiteX247" fmla="*/ 1935736 w 4084709"/>
              <a:gd name="connsiteY247" fmla="*/ 728445 h 1071771"/>
              <a:gd name="connsiteX248" fmla="*/ 1935736 w 4084709"/>
              <a:gd name="connsiteY248" fmla="*/ 714514 h 1071771"/>
              <a:gd name="connsiteX249" fmla="*/ 1934174 w 4084709"/>
              <a:gd name="connsiteY249" fmla="*/ 709424 h 1071771"/>
              <a:gd name="connsiteX250" fmla="*/ 1930462 w 4084709"/>
              <a:gd name="connsiteY250" fmla="*/ 707281 h 1071771"/>
              <a:gd name="connsiteX251" fmla="*/ 1837567 w 4084709"/>
              <a:gd name="connsiteY251" fmla="*/ 707281 h 1071771"/>
              <a:gd name="connsiteX252" fmla="*/ 1837567 w 4084709"/>
              <a:gd name="connsiteY252" fmla="*/ 693349 h 1071771"/>
              <a:gd name="connsiteX253" fmla="*/ 1836005 w 4084709"/>
              <a:gd name="connsiteY253" fmla="*/ 688259 h 1071771"/>
              <a:gd name="connsiteX254" fmla="*/ 1832293 w 4084709"/>
              <a:gd name="connsiteY254" fmla="*/ 686116 h 1071771"/>
              <a:gd name="connsiteX255" fmla="*/ 1790876 w 4084709"/>
              <a:gd name="connsiteY255" fmla="*/ 686116 h 1071771"/>
              <a:gd name="connsiteX256" fmla="*/ 1790876 w 4084709"/>
              <a:gd name="connsiteY256" fmla="*/ 672185 h 1071771"/>
              <a:gd name="connsiteX257" fmla="*/ 1789313 w 4084709"/>
              <a:gd name="connsiteY257" fmla="*/ 667094 h 1071771"/>
              <a:gd name="connsiteX258" fmla="*/ 1785601 w 4084709"/>
              <a:gd name="connsiteY258" fmla="*/ 664951 h 1071771"/>
              <a:gd name="connsiteX259" fmla="*/ 1776126 w 4084709"/>
              <a:gd name="connsiteY259" fmla="*/ 664951 h 1071771"/>
              <a:gd name="connsiteX260" fmla="*/ 1776126 w 4084709"/>
              <a:gd name="connsiteY260" fmla="*/ 651020 h 1071771"/>
              <a:gd name="connsiteX261" fmla="*/ 1774563 w 4084709"/>
              <a:gd name="connsiteY261" fmla="*/ 645929 h 1071771"/>
              <a:gd name="connsiteX262" fmla="*/ 1770852 w 4084709"/>
              <a:gd name="connsiteY262" fmla="*/ 643786 h 1071771"/>
              <a:gd name="connsiteX263" fmla="*/ 1594440 w 4084709"/>
              <a:gd name="connsiteY263" fmla="*/ 643786 h 1071771"/>
              <a:gd name="connsiteX264" fmla="*/ 1594440 w 4084709"/>
              <a:gd name="connsiteY264" fmla="*/ 629855 h 1071771"/>
              <a:gd name="connsiteX265" fmla="*/ 1592878 w 4084709"/>
              <a:gd name="connsiteY265" fmla="*/ 624765 h 1071771"/>
              <a:gd name="connsiteX266" fmla="*/ 1589166 w 4084709"/>
              <a:gd name="connsiteY266" fmla="*/ 622621 h 1071771"/>
              <a:gd name="connsiteX267" fmla="*/ 1498714 w 4084709"/>
              <a:gd name="connsiteY267" fmla="*/ 622621 h 1071771"/>
              <a:gd name="connsiteX268" fmla="*/ 1498714 w 4084709"/>
              <a:gd name="connsiteY268" fmla="*/ 608690 h 1071771"/>
              <a:gd name="connsiteX269" fmla="*/ 1497151 w 4084709"/>
              <a:gd name="connsiteY269" fmla="*/ 603600 h 1071771"/>
              <a:gd name="connsiteX270" fmla="*/ 1493439 w 4084709"/>
              <a:gd name="connsiteY270" fmla="*/ 601456 h 1071771"/>
              <a:gd name="connsiteX271" fmla="*/ 1490997 w 4084709"/>
              <a:gd name="connsiteY271" fmla="*/ 601456 h 1071771"/>
              <a:gd name="connsiteX272" fmla="*/ 1490997 w 4084709"/>
              <a:gd name="connsiteY272" fmla="*/ 608556 h 1071771"/>
              <a:gd name="connsiteX273" fmla="*/ 1496272 w 4084709"/>
              <a:gd name="connsiteY273" fmla="*/ 608556 h 1071771"/>
              <a:gd name="connsiteX274" fmla="*/ 1496272 w 4084709"/>
              <a:gd name="connsiteY274" fmla="*/ 587525 h 1071771"/>
              <a:gd name="connsiteX275" fmla="*/ 1494709 w 4084709"/>
              <a:gd name="connsiteY275" fmla="*/ 582435 h 1071771"/>
              <a:gd name="connsiteX276" fmla="*/ 1490997 w 4084709"/>
              <a:gd name="connsiteY276" fmla="*/ 580292 h 1071771"/>
              <a:gd name="connsiteX277" fmla="*/ 1469214 w 4084709"/>
              <a:gd name="connsiteY277" fmla="*/ 580292 h 1071771"/>
              <a:gd name="connsiteX278" fmla="*/ 1469214 w 4084709"/>
              <a:gd name="connsiteY278" fmla="*/ 566360 h 1071771"/>
              <a:gd name="connsiteX279" fmla="*/ 1467651 w 4084709"/>
              <a:gd name="connsiteY279" fmla="*/ 561270 h 1071771"/>
              <a:gd name="connsiteX280" fmla="*/ 1463939 w 4084709"/>
              <a:gd name="connsiteY280" fmla="*/ 559127 h 1071771"/>
              <a:gd name="connsiteX281" fmla="*/ 1346429 w 4084709"/>
              <a:gd name="connsiteY281" fmla="*/ 559127 h 1071771"/>
              <a:gd name="connsiteX282" fmla="*/ 1346429 w 4084709"/>
              <a:gd name="connsiteY282" fmla="*/ 524700 h 1071771"/>
              <a:gd name="connsiteX283" fmla="*/ 1344867 w 4084709"/>
              <a:gd name="connsiteY283" fmla="*/ 519610 h 1071771"/>
              <a:gd name="connsiteX284" fmla="*/ 1341155 w 4084709"/>
              <a:gd name="connsiteY284" fmla="*/ 517467 h 1071771"/>
              <a:gd name="connsiteX285" fmla="*/ 1336564 w 4084709"/>
              <a:gd name="connsiteY285" fmla="*/ 517467 h 1071771"/>
              <a:gd name="connsiteX286" fmla="*/ 1336564 w 4084709"/>
              <a:gd name="connsiteY286" fmla="*/ 503803 h 1071771"/>
              <a:gd name="connsiteX287" fmla="*/ 1335001 w 4084709"/>
              <a:gd name="connsiteY287" fmla="*/ 498713 h 1071771"/>
              <a:gd name="connsiteX288" fmla="*/ 1331289 w 4084709"/>
              <a:gd name="connsiteY288" fmla="*/ 496570 h 1071771"/>
              <a:gd name="connsiteX289" fmla="*/ 1324256 w 4084709"/>
              <a:gd name="connsiteY289" fmla="*/ 496570 h 1071771"/>
              <a:gd name="connsiteX290" fmla="*/ 1324256 w 4084709"/>
              <a:gd name="connsiteY290" fmla="*/ 482907 h 1071771"/>
              <a:gd name="connsiteX291" fmla="*/ 1322693 w 4084709"/>
              <a:gd name="connsiteY291" fmla="*/ 477816 h 1071771"/>
              <a:gd name="connsiteX292" fmla="*/ 1318981 w 4084709"/>
              <a:gd name="connsiteY292" fmla="*/ 475673 h 1071771"/>
              <a:gd name="connsiteX293" fmla="*/ 1314097 w 4084709"/>
              <a:gd name="connsiteY293" fmla="*/ 475673 h 1071771"/>
              <a:gd name="connsiteX294" fmla="*/ 1314097 w 4084709"/>
              <a:gd name="connsiteY294" fmla="*/ 482907 h 1071771"/>
              <a:gd name="connsiteX295" fmla="*/ 1319372 w 4084709"/>
              <a:gd name="connsiteY295" fmla="*/ 482907 h 1071771"/>
              <a:gd name="connsiteX296" fmla="*/ 1319372 w 4084709"/>
              <a:gd name="connsiteY296" fmla="*/ 441247 h 1071771"/>
              <a:gd name="connsiteX297" fmla="*/ 1317809 w 4084709"/>
              <a:gd name="connsiteY297" fmla="*/ 436156 h 1071771"/>
              <a:gd name="connsiteX298" fmla="*/ 1314097 w 4084709"/>
              <a:gd name="connsiteY298" fmla="*/ 434013 h 1071771"/>
              <a:gd name="connsiteX299" fmla="*/ 1299640 w 4084709"/>
              <a:gd name="connsiteY299" fmla="*/ 434013 h 1071771"/>
              <a:gd name="connsiteX300" fmla="*/ 1299640 w 4084709"/>
              <a:gd name="connsiteY300" fmla="*/ 420350 h 1071771"/>
              <a:gd name="connsiteX301" fmla="*/ 1298078 w 4084709"/>
              <a:gd name="connsiteY301" fmla="*/ 415259 h 1071771"/>
              <a:gd name="connsiteX302" fmla="*/ 1294366 w 4084709"/>
              <a:gd name="connsiteY302" fmla="*/ 413116 h 1071771"/>
              <a:gd name="connsiteX303" fmla="*/ 1240739 w 4084709"/>
              <a:gd name="connsiteY303" fmla="*/ 413116 h 1071771"/>
              <a:gd name="connsiteX304" fmla="*/ 1240739 w 4084709"/>
              <a:gd name="connsiteY304" fmla="*/ 378690 h 1071771"/>
              <a:gd name="connsiteX305" fmla="*/ 1239176 w 4084709"/>
              <a:gd name="connsiteY305" fmla="*/ 373600 h 1071771"/>
              <a:gd name="connsiteX306" fmla="*/ 1235464 w 4084709"/>
              <a:gd name="connsiteY306" fmla="*/ 371456 h 1071771"/>
              <a:gd name="connsiteX307" fmla="*/ 1221008 w 4084709"/>
              <a:gd name="connsiteY307" fmla="*/ 371456 h 1071771"/>
              <a:gd name="connsiteX308" fmla="*/ 1221008 w 4084709"/>
              <a:gd name="connsiteY308" fmla="*/ 357793 h 1071771"/>
              <a:gd name="connsiteX309" fmla="*/ 1219445 w 4084709"/>
              <a:gd name="connsiteY309" fmla="*/ 352703 h 1071771"/>
              <a:gd name="connsiteX310" fmla="*/ 1215733 w 4084709"/>
              <a:gd name="connsiteY310" fmla="*/ 350559 h 1071771"/>
              <a:gd name="connsiteX311" fmla="*/ 1208700 w 4084709"/>
              <a:gd name="connsiteY311" fmla="*/ 350559 h 1071771"/>
              <a:gd name="connsiteX312" fmla="*/ 1208700 w 4084709"/>
              <a:gd name="connsiteY312" fmla="*/ 336896 h 1071771"/>
              <a:gd name="connsiteX313" fmla="*/ 1207137 w 4084709"/>
              <a:gd name="connsiteY313" fmla="*/ 331806 h 1071771"/>
              <a:gd name="connsiteX314" fmla="*/ 1203425 w 4084709"/>
              <a:gd name="connsiteY314" fmla="*/ 329662 h 1071771"/>
              <a:gd name="connsiteX315" fmla="*/ 1105549 w 4084709"/>
              <a:gd name="connsiteY315" fmla="*/ 329662 h 1071771"/>
              <a:gd name="connsiteX316" fmla="*/ 1105549 w 4084709"/>
              <a:gd name="connsiteY316" fmla="*/ 315999 h 1071771"/>
              <a:gd name="connsiteX317" fmla="*/ 1103986 w 4084709"/>
              <a:gd name="connsiteY317" fmla="*/ 310909 h 1071771"/>
              <a:gd name="connsiteX318" fmla="*/ 1100274 w 4084709"/>
              <a:gd name="connsiteY318" fmla="*/ 308766 h 1071771"/>
              <a:gd name="connsiteX319" fmla="*/ 1031898 w 4084709"/>
              <a:gd name="connsiteY319" fmla="*/ 308766 h 1071771"/>
              <a:gd name="connsiteX320" fmla="*/ 1031898 w 4084709"/>
              <a:gd name="connsiteY320" fmla="*/ 295102 h 1071771"/>
              <a:gd name="connsiteX321" fmla="*/ 1030335 w 4084709"/>
              <a:gd name="connsiteY321" fmla="*/ 290012 h 1071771"/>
              <a:gd name="connsiteX322" fmla="*/ 1026623 w 4084709"/>
              <a:gd name="connsiteY322" fmla="*/ 287869 h 1071771"/>
              <a:gd name="connsiteX323" fmla="*/ 999956 w 4084709"/>
              <a:gd name="connsiteY323" fmla="*/ 287869 h 1071771"/>
              <a:gd name="connsiteX324" fmla="*/ 999956 w 4084709"/>
              <a:gd name="connsiteY324" fmla="*/ 274205 h 1071771"/>
              <a:gd name="connsiteX325" fmla="*/ 998393 w 4084709"/>
              <a:gd name="connsiteY325" fmla="*/ 269115 h 1071771"/>
              <a:gd name="connsiteX326" fmla="*/ 994682 w 4084709"/>
              <a:gd name="connsiteY326" fmla="*/ 266972 h 1071771"/>
              <a:gd name="connsiteX327" fmla="*/ 975341 w 4084709"/>
              <a:gd name="connsiteY327" fmla="*/ 266972 h 1071771"/>
              <a:gd name="connsiteX328" fmla="*/ 975341 w 4084709"/>
              <a:gd name="connsiteY328" fmla="*/ 253442 h 1071771"/>
              <a:gd name="connsiteX329" fmla="*/ 973778 w 4084709"/>
              <a:gd name="connsiteY329" fmla="*/ 248352 h 1071771"/>
              <a:gd name="connsiteX330" fmla="*/ 970066 w 4084709"/>
              <a:gd name="connsiteY330" fmla="*/ 246209 h 1071771"/>
              <a:gd name="connsiteX331" fmla="*/ 953265 w 4084709"/>
              <a:gd name="connsiteY331" fmla="*/ 246209 h 1071771"/>
              <a:gd name="connsiteX332" fmla="*/ 953265 w 4084709"/>
              <a:gd name="connsiteY332" fmla="*/ 232813 h 1071771"/>
              <a:gd name="connsiteX333" fmla="*/ 951702 w 4084709"/>
              <a:gd name="connsiteY333" fmla="*/ 227723 h 1071771"/>
              <a:gd name="connsiteX334" fmla="*/ 947990 w 4084709"/>
              <a:gd name="connsiteY334" fmla="*/ 225580 h 1071771"/>
              <a:gd name="connsiteX335" fmla="*/ 911458 w 4084709"/>
              <a:gd name="connsiteY335" fmla="*/ 225580 h 1071771"/>
              <a:gd name="connsiteX336" fmla="*/ 911458 w 4084709"/>
              <a:gd name="connsiteY336" fmla="*/ 212184 h 1071771"/>
              <a:gd name="connsiteX337" fmla="*/ 909895 w 4084709"/>
              <a:gd name="connsiteY337" fmla="*/ 207094 h 1071771"/>
              <a:gd name="connsiteX338" fmla="*/ 906183 w 4084709"/>
              <a:gd name="connsiteY338" fmla="*/ 204951 h 1071771"/>
              <a:gd name="connsiteX339" fmla="*/ 891824 w 4084709"/>
              <a:gd name="connsiteY339" fmla="*/ 204951 h 1071771"/>
              <a:gd name="connsiteX340" fmla="*/ 891824 w 4084709"/>
              <a:gd name="connsiteY340" fmla="*/ 191555 h 1071771"/>
              <a:gd name="connsiteX341" fmla="*/ 890261 w 4084709"/>
              <a:gd name="connsiteY341" fmla="*/ 186465 h 1071771"/>
              <a:gd name="connsiteX342" fmla="*/ 886549 w 4084709"/>
              <a:gd name="connsiteY342" fmla="*/ 184322 h 1071771"/>
              <a:gd name="connsiteX343" fmla="*/ 877074 w 4084709"/>
              <a:gd name="connsiteY343" fmla="*/ 184322 h 1071771"/>
              <a:gd name="connsiteX344" fmla="*/ 877074 w 4084709"/>
              <a:gd name="connsiteY344" fmla="*/ 170926 h 1071771"/>
              <a:gd name="connsiteX345" fmla="*/ 875511 w 4084709"/>
              <a:gd name="connsiteY345" fmla="*/ 165836 h 1071771"/>
              <a:gd name="connsiteX346" fmla="*/ 871799 w 4084709"/>
              <a:gd name="connsiteY346" fmla="*/ 163693 h 1071771"/>
              <a:gd name="connsiteX347" fmla="*/ 845133 w 4084709"/>
              <a:gd name="connsiteY347" fmla="*/ 163693 h 1071771"/>
              <a:gd name="connsiteX348" fmla="*/ 845133 w 4084709"/>
              <a:gd name="connsiteY348" fmla="*/ 150297 h 1071771"/>
              <a:gd name="connsiteX349" fmla="*/ 843570 w 4084709"/>
              <a:gd name="connsiteY349" fmla="*/ 145207 h 1071771"/>
              <a:gd name="connsiteX350" fmla="*/ 839858 w 4084709"/>
              <a:gd name="connsiteY350" fmla="*/ 143064 h 1071771"/>
              <a:gd name="connsiteX351" fmla="*/ 815633 w 4084709"/>
              <a:gd name="connsiteY351" fmla="*/ 143064 h 1071771"/>
              <a:gd name="connsiteX352" fmla="*/ 815633 w 4084709"/>
              <a:gd name="connsiteY352" fmla="*/ 129668 h 1071771"/>
              <a:gd name="connsiteX353" fmla="*/ 814070 w 4084709"/>
              <a:gd name="connsiteY353" fmla="*/ 124578 h 1071771"/>
              <a:gd name="connsiteX354" fmla="*/ 810358 w 4084709"/>
              <a:gd name="connsiteY354" fmla="*/ 122435 h 1071771"/>
              <a:gd name="connsiteX355" fmla="*/ 761616 w 4084709"/>
              <a:gd name="connsiteY355" fmla="*/ 122435 h 1071771"/>
              <a:gd name="connsiteX356" fmla="*/ 761616 w 4084709"/>
              <a:gd name="connsiteY356" fmla="*/ 109173 h 1071771"/>
              <a:gd name="connsiteX357" fmla="*/ 760053 w 4084709"/>
              <a:gd name="connsiteY357" fmla="*/ 104083 h 1071771"/>
              <a:gd name="connsiteX358" fmla="*/ 756341 w 4084709"/>
              <a:gd name="connsiteY358" fmla="*/ 101940 h 1071771"/>
              <a:gd name="connsiteX359" fmla="*/ 712482 w 4084709"/>
              <a:gd name="connsiteY359" fmla="*/ 101940 h 1071771"/>
              <a:gd name="connsiteX360" fmla="*/ 712482 w 4084709"/>
              <a:gd name="connsiteY360" fmla="*/ 88678 h 1071771"/>
              <a:gd name="connsiteX361" fmla="*/ 710919 w 4084709"/>
              <a:gd name="connsiteY361" fmla="*/ 83588 h 1071771"/>
              <a:gd name="connsiteX362" fmla="*/ 707208 w 4084709"/>
              <a:gd name="connsiteY362" fmla="*/ 81444 h 1071771"/>
              <a:gd name="connsiteX363" fmla="*/ 636389 w 4084709"/>
              <a:gd name="connsiteY363" fmla="*/ 81444 h 1071771"/>
              <a:gd name="connsiteX364" fmla="*/ 636389 w 4084709"/>
              <a:gd name="connsiteY364" fmla="*/ 68183 h 1071771"/>
              <a:gd name="connsiteX365" fmla="*/ 634826 w 4084709"/>
              <a:gd name="connsiteY365" fmla="*/ 63093 h 1071771"/>
              <a:gd name="connsiteX366" fmla="*/ 631114 w 4084709"/>
              <a:gd name="connsiteY366" fmla="*/ 60949 h 1071771"/>
              <a:gd name="connsiteX367" fmla="*/ 572506 w 4084709"/>
              <a:gd name="connsiteY367" fmla="*/ 60949 h 1071771"/>
              <a:gd name="connsiteX368" fmla="*/ 572506 w 4084709"/>
              <a:gd name="connsiteY368" fmla="*/ 47822 h 1071771"/>
              <a:gd name="connsiteX369" fmla="*/ 570943 w 4084709"/>
              <a:gd name="connsiteY369" fmla="*/ 42732 h 1071771"/>
              <a:gd name="connsiteX370" fmla="*/ 567231 w 4084709"/>
              <a:gd name="connsiteY370" fmla="*/ 40588 h 1071771"/>
              <a:gd name="connsiteX371" fmla="*/ 366302 w 4084709"/>
              <a:gd name="connsiteY371" fmla="*/ 40588 h 1071771"/>
              <a:gd name="connsiteX372" fmla="*/ 366302 w 4084709"/>
              <a:gd name="connsiteY372" fmla="*/ 27595 h 1071771"/>
              <a:gd name="connsiteX373" fmla="*/ 364739 w 4084709"/>
              <a:gd name="connsiteY373" fmla="*/ 22504 h 1071771"/>
              <a:gd name="connsiteX374" fmla="*/ 361028 w 4084709"/>
              <a:gd name="connsiteY374" fmla="*/ 20361 h 1071771"/>
              <a:gd name="connsiteX375" fmla="*/ 206790 w 4084709"/>
              <a:gd name="connsiteY375" fmla="*/ 20361 h 1071771"/>
              <a:gd name="connsiteX376" fmla="*/ 206790 w 4084709"/>
              <a:gd name="connsiteY376" fmla="*/ 7234 h 1071771"/>
              <a:gd name="connsiteX377" fmla="*/ 205227 w 4084709"/>
              <a:gd name="connsiteY377" fmla="*/ 2143 h 1071771"/>
              <a:gd name="connsiteX378" fmla="*/ 201515 w 4084709"/>
              <a:gd name="connsiteY378" fmla="*/ 0 h 1071771"/>
              <a:gd name="connsiteX379" fmla="*/ 0 w 4084709"/>
              <a:gd name="connsiteY379" fmla="*/ 0 h 1071771"/>
              <a:gd name="connsiteX380" fmla="*/ 0 w 4084709"/>
              <a:gd name="connsiteY380" fmla="*/ 14333 h 10717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</a:cxnLst>
            <a:rect l="l" t="t" r="r" b="b"/>
            <a:pathLst>
              <a:path w="4084709" h="1071771">
                <a:moveTo>
                  <a:pt x="0" y="14467"/>
                </a:moveTo>
                <a:lnTo>
                  <a:pt x="196045" y="14467"/>
                </a:lnTo>
                <a:lnTo>
                  <a:pt x="196045" y="27595"/>
                </a:lnTo>
                <a:cubicBezTo>
                  <a:pt x="196045" y="29470"/>
                  <a:pt x="196631" y="31345"/>
                  <a:pt x="197608" y="32685"/>
                </a:cubicBezTo>
                <a:cubicBezTo>
                  <a:pt x="198585" y="34024"/>
                  <a:pt x="199952" y="34828"/>
                  <a:pt x="201320" y="34828"/>
                </a:cubicBezTo>
                <a:lnTo>
                  <a:pt x="355557" y="34828"/>
                </a:lnTo>
                <a:lnTo>
                  <a:pt x="355557" y="47822"/>
                </a:lnTo>
                <a:cubicBezTo>
                  <a:pt x="355557" y="49697"/>
                  <a:pt x="356143" y="51573"/>
                  <a:pt x="357120" y="52912"/>
                </a:cubicBezTo>
                <a:cubicBezTo>
                  <a:pt x="358097" y="54252"/>
                  <a:pt x="359465" y="55055"/>
                  <a:pt x="360832" y="55055"/>
                </a:cubicBezTo>
                <a:lnTo>
                  <a:pt x="561761" y="55055"/>
                </a:lnTo>
                <a:lnTo>
                  <a:pt x="561761" y="68183"/>
                </a:lnTo>
                <a:cubicBezTo>
                  <a:pt x="561761" y="70058"/>
                  <a:pt x="562347" y="71934"/>
                  <a:pt x="563324" y="73273"/>
                </a:cubicBezTo>
                <a:cubicBezTo>
                  <a:pt x="564301" y="74613"/>
                  <a:pt x="565668" y="75416"/>
                  <a:pt x="567036" y="75416"/>
                </a:cubicBezTo>
                <a:lnTo>
                  <a:pt x="625644" y="75416"/>
                </a:lnTo>
                <a:lnTo>
                  <a:pt x="625644" y="88678"/>
                </a:lnTo>
                <a:cubicBezTo>
                  <a:pt x="625644" y="90553"/>
                  <a:pt x="626230" y="92429"/>
                  <a:pt x="627207" y="93768"/>
                </a:cubicBezTo>
                <a:cubicBezTo>
                  <a:pt x="628184" y="95108"/>
                  <a:pt x="629552" y="95912"/>
                  <a:pt x="630919" y="95912"/>
                </a:cubicBezTo>
                <a:lnTo>
                  <a:pt x="701835" y="95912"/>
                </a:lnTo>
                <a:lnTo>
                  <a:pt x="701835" y="109173"/>
                </a:lnTo>
                <a:cubicBezTo>
                  <a:pt x="701835" y="111048"/>
                  <a:pt x="702421" y="112924"/>
                  <a:pt x="703398" y="114263"/>
                </a:cubicBezTo>
                <a:cubicBezTo>
                  <a:pt x="704375" y="115603"/>
                  <a:pt x="705742" y="116407"/>
                  <a:pt x="707110" y="116407"/>
                </a:cubicBezTo>
                <a:lnTo>
                  <a:pt x="750969" y="116407"/>
                </a:lnTo>
                <a:lnTo>
                  <a:pt x="750969" y="129668"/>
                </a:lnTo>
                <a:cubicBezTo>
                  <a:pt x="750969" y="131543"/>
                  <a:pt x="751555" y="133419"/>
                  <a:pt x="752531" y="134758"/>
                </a:cubicBezTo>
                <a:cubicBezTo>
                  <a:pt x="753508" y="136098"/>
                  <a:pt x="754876" y="136902"/>
                  <a:pt x="756243" y="136902"/>
                </a:cubicBezTo>
                <a:lnTo>
                  <a:pt x="804986" y="136902"/>
                </a:lnTo>
                <a:lnTo>
                  <a:pt x="804986" y="150297"/>
                </a:lnTo>
                <a:cubicBezTo>
                  <a:pt x="804986" y="152173"/>
                  <a:pt x="805572" y="154048"/>
                  <a:pt x="806549" y="155387"/>
                </a:cubicBezTo>
                <a:cubicBezTo>
                  <a:pt x="807526" y="156727"/>
                  <a:pt x="808893" y="157531"/>
                  <a:pt x="810261" y="157531"/>
                </a:cubicBezTo>
                <a:lnTo>
                  <a:pt x="834485" y="157531"/>
                </a:lnTo>
                <a:lnTo>
                  <a:pt x="834485" y="170926"/>
                </a:lnTo>
                <a:cubicBezTo>
                  <a:pt x="834485" y="172802"/>
                  <a:pt x="835071" y="174677"/>
                  <a:pt x="836048" y="176016"/>
                </a:cubicBezTo>
                <a:cubicBezTo>
                  <a:pt x="837025" y="177356"/>
                  <a:pt x="838393" y="178160"/>
                  <a:pt x="839760" y="178160"/>
                </a:cubicBezTo>
                <a:lnTo>
                  <a:pt x="866427" y="178160"/>
                </a:lnTo>
                <a:lnTo>
                  <a:pt x="866427" y="191555"/>
                </a:lnTo>
                <a:cubicBezTo>
                  <a:pt x="866427" y="193431"/>
                  <a:pt x="867013" y="195306"/>
                  <a:pt x="867990" y="196645"/>
                </a:cubicBezTo>
                <a:cubicBezTo>
                  <a:pt x="868967" y="197985"/>
                  <a:pt x="870334" y="198789"/>
                  <a:pt x="871702" y="198789"/>
                </a:cubicBezTo>
                <a:lnTo>
                  <a:pt x="881177" y="198789"/>
                </a:lnTo>
                <a:lnTo>
                  <a:pt x="881177" y="212318"/>
                </a:lnTo>
                <a:cubicBezTo>
                  <a:pt x="881177" y="214194"/>
                  <a:pt x="881763" y="216069"/>
                  <a:pt x="882740" y="217408"/>
                </a:cubicBezTo>
                <a:cubicBezTo>
                  <a:pt x="883716" y="218748"/>
                  <a:pt x="885084" y="219552"/>
                  <a:pt x="886451" y="219552"/>
                </a:cubicBezTo>
                <a:lnTo>
                  <a:pt x="900811" y="219552"/>
                </a:lnTo>
                <a:lnTo>
                  <a:pt x="900811" y="232947"/>
                </a:lnTo>
                <a:cubicBezTo>
                  <a:pt x="900811" y="234823"/>
                  <a:pt x="901397" y="236698"/>
                  <a:pt x="902373" y="238037"/>
                </a:cubicBezTo>
                <a:cubicBezTo>
                  <a:pt x="903350" y="239377"/>
                  <a:pt x="904718" y="240181"/>
                  <a:pt x="906085" y="240181"/>
                </a:cubicBezTo>
                <a:lnTo>
                  <a:pt x="942618" y="240181"/>
                </a:lnTo>
                <a:lnTo>
                  <a:pt x="942618" y="253576"/>
                </a:lnTo>
                <a:cubicBezTo>
                  <a:pt x="942618" y="255452"/>
                  <a:pt x="943204" y="257327"/>
                  <a:pt x="944181" y="258666"/>
                </a:cubicBezTo>
                <a:cubicBezTo>
                  <a:pt x="945158" y="260006"/>
                  <a:pt x="946525" y="260810"/>
                  <a:pt x="947893" y="260810"/>
                </a:cubicBezTo>
                <a:lnTo>
                  <a:pt x="964694" y="260810"/>
                </a:lnTo>
                <a:lnTo>
                  <a:pt x="964694" y="274339"/>
                </a:lnTo>
                <a:cubicBezTo>
                  <a:pt x="964694" y="276215"/>
                  <a:pt x="965280" y="278090"/>
                  <a:pt x="966256" y="279429"/>
                </a:cubicBezTo>
                <a:cubicBezTo>
                  <a:pt x="967233" y="280769"/>
                  <a:pt x="968601" y="281573"/>
                  <a:pt x="969968" y="281573"/>
                </a:cubicBezTo>
                <a:lnTo>
                  <a:pt x="989309" y="281573"/>
                </a:lnTo>
                <a:lnTo>
                  <a:pt x="989309" y="295236"/>
                </a:lnTo>
                <a:cubicBezTo>
                  <a:pt x="989309" y="297111"/>
                  <a:pt x="989895" y="298987"/>
                  <a:pt x="990872" y="300326"/>
                </a:cubicBezTo>
                <a:cubicBezTo>
                  <a:pt x="991849" y="301666"/>
                  <a:pt x="993216" y="302470"/>
                  <a:pt x="994584" y="302470"/>
                </a:cubicBezTo>
                <a:lnTo>
                  <a:pt x="1021251" y="302470"/>
                </a:lnTo>
                <a:lnTo>
                  <a:pt x="1021251" y="316133"/>
                </a:lnTo>
                <a:cubicBezTo>
                  <a:pt x="1021251" y="318008"/>
                  <a:pt x="1021837" y="319884"/>
                  <a:pt x="1022814" y="321223"/>
                </a:cubicBezTo>
                <a:cubicBezTo>
                  <a:pt x="1023790" y="322563"/>
                  <a:pt x="1025158" y="323367"/>
                  <a:pt x="1026525" y="323367"/>
                </a:cubicBezTo>
                <a:lnTo>
                  <a:pt x="1094902" y="323367"/>
                </a:lnTo>
                <a:lnTo>
                  <a:pt x="1094902" y="337030"/>
                </a:lnTo>
                <a:cubicBezTo>
                  <a:pt x="1094902" y="338905"/>
                  <a:pt x="1095488" y="340781"/>
                  <a:pt x="1096465" y="342120"/>
                </a:cubicBezTo>
                <a:cubicBezTo>
                  <a:pt x="1097442" y="343460"/>
                  <a:pt x="1098809" y="344264"/>
                  <a:pt x="1100177" y="344264"/>
                </a:cubicBezTo>
                <a:lnTo>
                  <a:pt x="1198053" y="344264"/>
                </a:lnTo>
                <a:lnTo>
                  <a:pt x="1198053" y="357927"/>
                </a:lnTo>
                <a:cubicBezTo>
                  <a:pt x="1198053" y="359802"/>
                  <a:pt x="1198639" y="361678"/>
                  <a:pt x="1199615" y="363017"/>
                </a:cubicBezTo>
                <a:cubicBezTo>
                  <a:pt x="1200592" y="364357"/>
                  <a:pt x="1201960" y="365160"/>
                  <a:pt x="1203327" y="365160"/>
                </a:cubicBezTo>
                <a:lnTo>
                  <a:pt x="1210360" y="365160"/>
                </a:lnTo>
                <a:lnTo>
                  <a:pt x="1210360" y="378824"/>
                </a:lnTo>
                <a:cubicBezTo>
                  <a:pt x="1210360" y="380699"/>
                  <a:pt x="1210946" y="382575"/>
                  <a:pt x="1211923" y="383914"/>
                </a:cubicBezTo>
                <a:cubicBezTo>
                  <a:pt x="1212900" y="385254"/>
                  <a:pt x="1214268" y="386057"/>
                  <a:pt x="1215635" y="386057"/>
                </a:cubicBezTo>
                <a:lnTo>
                  <a:pt x="1230092" y="386057"/>
                </a:lnTo>
                <a:lnTo>
                  <a:pt x="1230092" y="420484"/>
                </a:lnTo>
                <a:cubicBezTo>
                  <a:pt x="1230092" y="422359"/>
                  <a:pt x="1230678" y="424234"/>
                  <a:pt x="1231655" y="425574"/>
                </a:cubicBezTo>
                <a:cubicBezTo>
                  <a:pt x="1232632" y="426914"/>
                  <a:pt x="1233999" y="427717"/>
                  <a:pt x="1235367" y="427717"/>
                </a:cubicBezTo>
                <a:lnTo>
                  <a:pt x="1288993" y="427717"/>
                </a:lnTo>
                <a:lnTo>
                  <a:pt x="1288993" y="441381"/>
                </a:lnTo>
                <a:cubicBezTo>
                  <a:pt x="1288993" y="443256"/>
                  <a:pt x="1289579" y="445131"/>
                  <a:pt x="1290556" y="446471"/>
                </a:cubicBezTo>
                <a:cubicBezTo>
                  <a:pt x="1291533" y="447810"/>
                  <a:pt x="1292900" y="448614"/>
                  <a:pt x="1294268" y="448614"/>
                </a:cubicBezTo>
                <a:lnTo>
                  <a:pt x="1308725" y="448614"/>
                </a:lnTo>
                <a:lnTo>
                  <a:pt x="1308725" y="483041"/>
                </a:lnTo>
                <a:cubicBezTo>
                  <a:pt x="1308725" y="484916"/>
                  <a:pt x="1309311" y="486791"/>
                  <a:pt x="1310288" y="488131"/>
                </a:cubicBezTo>
                <a:cubicBezTo>
                  <a:pt x="1311264" y="489470"/>
                  <a:pt x="1312632" y="490274"/>
                  <a:pt x="1313999" y="490274"/>
                </a:cubicBezTo>
                <a:lnTo>
                  <a:pt x="1318884" y="490274"/>
                </a:lnTo>
                <a:lnTo>
                  <a:pt x="1318884" y="483041"/>
                </a:lnTo>
                <a:lnTo>
                  <a:pt x="1313609" y="483041"/>
                </a:lnTo>
                <a:lnTo>
                  <a:pt x="1313609" y="503803"/>
                </a:lnTo>
                <a:cubicBezTo>
                  <a:pt x="1313609" y="505679"/>
                  <a:pt x="1314195" y="507554"/>
                  <a:pt x="1315172" y="508894"/>
                </a:cubicBezTo>
                <a:cubicBezTo>
                  <a:pt x="1316148" y="510233"/>
                  <a:pt x="1317516" y="511037"/>
                  <a:pt x="1318884" y="511037"/>
                </a:cubicBezTo>
                <a:lnTo>
                  <a:pt x="1325917" y="511037"/>
                </a:lnTo>
                <a:lnTo>
                  <a:pt x="1325917" y="524700"/>
                </a:lnTo>
                <a:cubicBezTo>
                  <a:pt x="1325917" y="526576"/>
                  <a:pt x="1326503" y="528451"/>
                  <a:pt x="1327479" y="529791"/>
                </a:cubicBezTo>
                <a:cubicBezTo>
                  <a:pt x="1328456" y="531130"/>
                  <a:pt x="1329824" y="531934"/>
                  <a:pt x="1331191" y="531934"/>
                </a:cubicBezTo>
                <a:lnTo>
                  <a:pt x="1335782" y="531934"/>
                </a:lnTo>
                <a:lnTo>
                  <a:pt x="1335782" y="566360"/>
                </a:lnTo>
                <a:cubicBezTo>
                  <a:pt x="1335782" y="568236"/>
                  <a:pt x="1336368" y="570111"/>
                  <a:pt x="1337345" y="571451"/>
                </a:cubicBezTo>
                <a:cubicBezTo>
                  <a:pt x="1338322" y="572790"/>
                  <a:pt x="1339689" y="573594"/>
                  <a:pt x="1341057" y="573594"/>
                </a:cubicBezTo>
                <a:lnTo>
                  <a:pt x="1458567" y="573594"/>
                </a:lnTo>
                <a:lnTo>
                  <a:pt x="1458567" y="587525"/>
                </a:lnTo>
                <a:cubicBezTo>
                  <a:pt x="1458567" y="589401"/>
                  <a:pt x="1459153" y="591276"/>
                  <a:pt x="1460130" y="592615"/>
                </a:cubicBezTo>
                <a:cubicBezTo>
                  <a:pt x="1461106" y="593955"/>
                  <a:pt x="1462474" y="594759"/>
                  <a:pt x="1463841" y="594759"/>
                </a:cubicBezTo>
                <a:lnTo>
                  <a:pt x="1485624" y="594759"/>
                </a:lnTo>
                <a:lnTo>
                  <a:pt x="1485624" y="608690"/>
                </a:lnTo>
                <a:cubicBezTo>
                  <a:pt x="1485624" y="610565"/>
                  <a:pt x="1486210" y="612441"/>
                  <a:pt x="1487187" y="613780"/>
                </a:cubicBezTo>
                <a:cubicBezTo>
                  <a:pt x="1488164" y="615120"/>
                  <a:pt x="1489532" y="615924"/>
                  <a:pt x="1490899" y="615924"/>
                </a:cubicBezTo>
                <a:lnTo>
                  <a:pt x="1493341" y="615924"/>
                </a:lnTo>
                <a:lnTo>
                  <a:pt x="1493341" y="608690"/>
                </a:lnTo>
                <a:lnTo>
                  <a:pt x="1488066" y="608690"/>
                </a:lnTo>
                <a:lnTo>
                  <a:pt x="1488066" y="629721"/>
                </a:lnTo>
                <a:cubicBezTo>
                  <a:pt x="1488066" y="631596"/>
                  <a:pt x="1488652" y="633472"/>
                  <a:pt x="1489629" y="634811"/>
                </a:cubicBezTo>
                <a:cubicBezTo>
                  <a:pt x="1490606" y="636151"/>
                  <a:pt x="1491974" y="636954"/>
                  <a:pt x="1493341" y="636954"/>
                </a:cubicBezTo>
                <a:lnTo>
                  <a:pt x="1583793" y="636954"/>
                </a:lnTo>
                <a:lnTo>
                  <a:pt x="1583793" y="650886"/>
                </a:lnTo>
                <a:cubicBezTo>
                  <a:pt x="1583793" y="652761"/>
                  <a:pt x="1584379" y="654636"/>
                  <a:pt x="1585356" y="655976"/>
                </a:cubicBezTo>
                <a:cubicBezTo>
                  <a:pt x="1586333" y="657316"/>
                  <a:pt x="1587701" y="658119"/>
                  <a:pt x="1589068" y="658119"/>
                </a:cubicBezTo>
                <a:lnTo>
                  <a:pt x="1765479" y="658119"/>
                </a:lnTo>
                <a:lnTo>
                  <a:pt x="1765479" y="672051"/>
                </a:lnTo>
                <a:cubicBezTo>
                  <a:pt x="1765479" y="673926"/>
                  <a:pt x="1766065" y="675801"/>
                  <a:pt x="1767042" y="677141"/>
                </a:cubicBezTo>
                <a:cubicBezTo>
                  <a:pt x="1768019" y="678480"/>
                  <a:pt x="1769386" y="679284"/>
                  <a:pt x="1770754" y="679284"/>
                </a:cubicBezTo>
                <a:lnTo>
                  <a:pt x="1780229" y="679284"/>
                </a:lnTo>
                <a:lnTo>
                  <a:pt x="1780229" y="693215"/>
                </a:lnTo>
                <a:cubicBezTo>
                  <a:pt x="1780229" y="695091"/>
                  <a:pt x="1780815" y="696966"/>
                  <a:pt x="1781792" y="698306"/>
                </a:cubicBezTo>
                <a:cubicBezTo>
                  <a:pt x="1782769" y="699645"/>
                  <a:pt x="1784136" y="700449"/>
                  <a:pt x="1785504" y="700449"/>
                </a:cubicBezTo>
                <a:lnTo>
                  <a:pt x="1826920" y="700449"/>
                </a:lnTo>
                <a:lnTo>
                  <a:pt x="1826920" y="714380"/>
                </a:lnTo>
                <a:cubicBezTo>
                  <a:pt x="1826920" y="716256"/>
                  <a:pt x="1827506" y="718131"/>
                  <a:pt x="1828483" y="719471"/>
                </a:cubicBezTo>
                <a:cubicBezTo>
                  <a:pt x="1829460" y="720810"/>
                  <a:pt x="1830828" y="721614"/>
                  <a:pt x="1832195" y="721614"/>
                </a:cubicBezTo>
                <a:lnTo>
                  <a:pt x="1925089" y="721614"/>
                </a:lnTo>
                <a:lnTo>
                  <a:pt x="1925089" y="735545"/>
                </a:lnTo>
                <a:cubicBezTo>
                  <a:pt x="1925089" y="737420"/>
                  <a:pt x="1925675" y="739296"/>
                  <a:pt x="1926652" y="740635"/>
                </a:cubicBezTo>
                <a:cubicBezTo>
                  <a:pt x="1927629" y="741975"/>
                  <a:pt x="1928996" y="742779"/>
                  <a:pt x="1930364" y="742779"/>
                </a:cubicBezTo>
                <a:lnTo>
                  <a:pt x="1974223" y="742779"/>
                </a:lnTo>
                <a:lnTo>
                  <a:pt x="1974223" y="756710"/>
                </a:lnTo>
                <a:cubicBezTo>
                  <a:pt x="1974223" y="758585"/>
                  <a:pt x="1974809" y="760461"/>
                  <a:pt x="1975786" y="761800"/>
                </a:cubicBezTo>
                <a:cubicBezTo>
                  <a:pt x="1976762" y="763140"/>
                  <a:pt x="1978130" y="763944"/>
                  <a:pt x="1979497" y="763944"/>
                </a:cubicBezTo>
                <a:lnTo>
                  <a:pt x="1998740" y="763944"/>
                </a:lnTo>
                <a:lnTo>
                  <a:pt x="1998740" y="777875"/>
                </a:lnTo>
                <a:cubicBezTo>
                  <a:pt x="1998740" y="779750"/>
                  <a:pt x="1999327" y="781626"/>
                  <a:pt x="2000303" y="782965"/>
                </a:cubicBezTo>
                <a:cubicBezTo>
                  <a:pt x="2001280" y="784305"/>
                  <a:pt x="2002648" y="785108"/>
                  <a:pt x="2004015" y="785108"/>
                </a:cubicBezTo>
                <a:lnTo>
                  <a:pt x="2276153" y="785108"/>
                </a:lnTo>
                <a:lnTo>
                  <a:pt x="2276153" y="800245"/>
                </a:lnTo>
                <a:cubicBezTo>
                  <a:pt x="2276153" y="802121"/>
                  <a:pt x="2276740" y="803996"/>
                  <a:pt x="2277716" y="805335"/>
                </a:cubicBezTo>
                <a:cubicBezTo>
                  <a:pt x="2278693" y="806675"/>
                  <a:pt x="2280061" y="807479"/>
                  <a:pt x="2281428" y="807479"/>
                </a:cubicBezTo>
                <a:lnTo>
                  <a:pt x="2298229" y="807479"/>
                </a:lnTo>
                <a:lnTo>
                  <a:pt x="2298229" y="822616"/>
                </a:lnTo>
                <a:cubicBezTo>
                  <a:pt x="2298229" y="824491"/>
                  <a:pt x="2298815" y="826366"/>
                  <a:pt x="2299792" y="827706"/>
                </a:cubicBezTo>
                <a:cubicBezTo>
                  <a:pt x="2300769" y="829045"/>
                  <a:pt x="2302137" y="829849"/>
                  <a:pt x="2303504" y="829849"/>
                </a:cubicBezTo>
                <a:lnTo>
                  <a:pt x="2330171" y="829849"/>
                </a:lnTo>
                <a:lnTo>
                  <a:pt x="2330171" y="844986"/>
                </a:lnTo>
                <a:cubicBezTo>
                  <a:pt x="2330171" y="846861"/>
                  <a:pt x="2330757" y="848737"/>
                  <a:pt x="2331734" y="850076"/>
                </a:cubicBezTo>
                <a:cubicBezTo>
                  <a:pt x="2332710" y="851416"/>
                  <a:pt x="2334078" y="852220"/>
                  <a:pt x="2335445" y="852220"/>
                </a:cubicBezTo>
                <a:lnTo>
                  <a:pt x="2342479" y="852220"/>
                </a:lnTo>
                <a:lnTo>
                  <a:pt x="2342479" y="867490"/>
                </a:lnTo>
                <a:cubicBezTo>
                  <a:pt x="2342479" y="869366"/>
                  <a:pt x="2343065" y="871241"/>
                  <a:pt x="2344041" y="872581"/>
                </a:cubicBezTo>
                <a:cubicBezTo>
                  <a:pt x="2345018" y="873920"/>
                  <a:pt x="2346386" y="874724"/>
                  <a:pt x="2347753" y="874724"/>
                </a:cubicBezTo>
                <a:lnTo>
                  <a:pt x="2502089" y="874724"/>
                </a:lnTo>
                <a:lnTo>
                  <a:pt x="2502089" y="889861"/>
                </a:lnTo>
                <a:cubicBezTo>
                  <a:pt x="2502089" y="891736"/>
                  <a:pt x="2502675" y="893612"/>
                  <a:pt x="2503651" y="894951"/>
                </a:cubicBezTo>
                <a:cubicBezTo>
                  <a:pt x="2504628" y="896291"/>
                  <a:pt x="2505996" y="897094"/>
                  <a:pt x="2507363" y="897094"/>
                </a:cubicBezTo>
                <a:lnTo>
                  <a:pt x="2538914" y="897094"/>
                </a:lnTo>
                <a:lnTo>
                  <a:pt x="2538914" y="912365"/>
                </a:lnTo>
                <a:cubicBezTo>
                  <a:pt x="2538914" y="914241"/>
                  <a:pt x="2539500" y="916116"/>
                  <a:pt x="2540477" y="917456"/>
                </a:cubicBezTo>
                <a:cubicBezTo>
                  <a:pt x="2541454" y="918795"/>
                  <a:pt x="2542822" y="919599"/>
                  <a:pt x="2544189" y="919599"/>
                </a:cubicBezTo>
                <a:lnTo>
                  <a:pt x="2592932" y="919599"/>
                </a:lnTo>
                <a:lnTo>
                  <a:pt x="2592932" y="935138"/>
                </a:lnTo>
                <a:cubicBezTo>
                  <a:pt x="2592932" y="937013"/>
                  <a:pt x="2593518" y="938888"/>
                  <a:pt x="2594495" y="940228"/>
                </a:cubicBezTo>
                <a:cubicBezTo>
                  <a:pt x="2595471" y="941567"/>
                  <a:pt x="2596839" y="942371"/>
                  <a:pt x="2598206" y="942371"/>
                </a:cubicBezTo>
                <a:lnTo>
                  <a:pt x="2659257" y="942371"/>
                </a:lnTo>
                <a:lnTo>
                  <a:pt x="2659257" y="958714"/>
                </a:lnTo>
                <a:cubicBezTo>
                  <a:pt x="2659257" y="960589"/>
                  <a:pt x="2659843" y="962464"/>
                  <a:pt x="2660820" y="963804"/>
                </a:cubicBezTo>
                <a:cubicBezTo>
                  <a:pt x="2661796" y="965143"/>
                  <a:pt x="2663164" y="965947"/>
                  <a:pt x="2664531" y="965947"/>
                </a:cubicBezTo>
                <a:lnTo>
                  <a:pt x="2691198" y="965947"/>
                </a:lnTo>
                <a:lnTo>
                  <a:pt x="2691198" y="982290"/>
                </a:lnTo>
                <a:cubicBezTo>
                  <a:pt x="2691198" y="984165"/>
                  <a:pt x="2691784" y="986040"/>
                  <a:pt x="2692761" y="987380"/>
                </a:cubicBezTo>
                <a:cubicBezTo>
                  <a:pt x="2693738" y="988719"/>
                  <a:pt x="2695106" y="989523"/>
                  <a:pt x="2696473" y="989523"/>
                </a:cubicBezTo>
                <a:lnTo>
                  <a:pt x="2863019" y="989523"/>
                </a:lnTo>
                <a:lnTo>
                  <a:pt x="2863019" y="1006401"/>
                </a:lnTo>
                <a:cubicBezTo>
                  <a:pt x="2863019" y="1008277"/>
                  <a:pt x="2863605" y="1010152"/>
                  <a:pt x="2864581" y="1011492"/>
                </a:cubicBezTo>
                <a:cubicBezTo>
                  <a:pt x="2865558" y="1012831"/>
                  <a:pt x="2866926" y="1013635"/>
                  <a:pt x="2868293" y="1013635"/>
                </a:cubicBezTo>
                <a:lnTo>
                  <a:pt x="3299944" y="1013635"/>
                </a:lnTo>
                <a:lnTo>
                  <a:pt x="3299944" y="1033728"/>
                </a:lnTo>
                <a:cubicBezTo>
                  <a:pt x="3299944" y="1035604"/>
                  <a:pt x="3300530" y="1037479"/>
                  <a:pt x="3301507" y="1038818"/>
                </a:cubicBezTo>
                <a:cubicBezTo>
                  <a:pt x="3302483" y="1040158"/>
                  <a:pt x="3303851" y="1040962"/>
                  <a:pt x="3305218" y="1040962"/>
                </a:cubicBezTo>
                <a:lnTo>
                  <a:pt x="3407979" y="1040962"/>
                </a:lnTo>
                <a:lnTo>
                  <a:pt x="3407979" y="1064538"/>
                </a:lnTo>
                <a:cubicBezTo>
                  <a:pt x="3407979" y="1066413"/>
                  <a:pt x="3408565" y="1068289"/>
                  <a:pt x="3409541" y="1069628"/>
                </a:cubicBezTo>
                <a:cubicBezTo>
                  <a:pt x="3410518" y="1070968"/>
                  <a:pt x="3411886" y="1071771"/>
                  <a:pt x="3413253" y="1071771"/>
                </a:cubicBezTo>
                <a:lnTo>
                  <a:pt x="4084710" y="1071771"/>
                </a:lnTo>
                <a:lnTo>
                  <a:pt x="4084710" y="1057438"/>
                </a:lnTo>
                <a:lnTo>
                  <a:pt x="3418528" y="1057438"/>
                </a:lnTo>
                <a:lnTo>
                  <a:pt x="3418528" y="1033862"/>
                </a:lnTo>
                <a:cubicBezTo>
                  <a:pt x="3418528" y="1031987"/>
                  <a:pt x="3417942" y="1030111"/>
                  <a:pt x="3416965" y="1028772"/>
                </a:cubicBezTo>
                <a:cubicBezTo>
                  <a:pt x="3415988" y="1027432"/>
                  <a:pt x="3414621" y="1026629"/>
                  <a:pt x="3413253" y="1026629"/>
                </a:cubicBezTo>
                <a:lnTo>
                  <a:pt x="3310493" y="1026629"/>
                </a:lnTo>
                <a:lnTo>
                  <a:pt x="3310493" y="1006535"/>
                </a:lnTo>
                <a:cubicBezTo>
                  <a:pt x="3310493" y="1004660"/>
                  <a:pt x="3309907" y="1002785"/>
                  <a:pt x="3308930" y="1001445"/>
                </a:cubicBezTo>
                <a:cubicBezTo>
                  <a:pt x="3307954" y="1000106"/>
                  <a:pt x="3306586" y="999302"/>
                  <a:pt x="3305218" y="999302"/>
                </a:cubicBezTo>
                <a:lnTo>
                  <a:pt x="2873568" y="999302"/>
                </a:lnTo>
                <a:lnTo>
                  <a:pt x="2873568" y="982424"/>
                </a:lnTo>
                <a:cubicBezTo>
                  <a:pt x="2873568" y="980548"/>
                  <a:pt x="2872982" y="978673"/>
                  <a:pt x="2872005" y="977333"/>
                </a:cubicBezTo>
                <a:cubicBezTo>
                  <a:pt x="2871028" y="975994"/>
                  <a:pt x="2869661" y="975190"/>
                  <a:pt x="2868293" y="975190"/>
                </a:cubicBezTo>
                <a:lnTo>
                  <a:pt x="2701748" y="975190"/>
                </a:lnTo>
                <a:lnTo>
                  <a:pt x="2701748" y="958848"/>
                </a:lnTo>
                <a:cubicBezTo>
                  <a:pt x="2701748" y="956972"/>
                  <a:pt x="2701162" y="955097"/>
                  <a:pt x="2700185" y="953757"/>
                </a:cubicBezTo>
                <a:cubicBezTo>
                  <a:pt x="2699208" y="952418"/>
                  <a:pt x="2697841" y="951614"/>
                  <a:pt x="2696473" y="951614"/>
                </a:cubicBezTo>
                <a:lnTo>
                  <a:pt x="2669806" y="951614"/>
                </a:lnTo>
                <a:lnTo>
                  <a:pt x="2669806" y="935271"/>
                </a:lnTo>
                <a:cubicBezTo>
                  <a:pt x="2669806" y="933396"/>
                  <a:pt x="2669220" y="931521"/>
                  <a:pt x="2668243" y="930181"/>
                </a:cubicBezTo>
                <a:cubicBezTo>
                  <a:pt x="2667267" y="928842"/>
                  <a:pt x="2665899" y="928038"/>
                  <a:pt x="2664531" y="928038"/>
                </a:cubicBezTo>
                <a:lnTo>
                  <a:pt x="2603481" y="928038"/>
                </a:lnTo>
                <a:lnTo>
                  <a:pt x="2603481" y="912499"/>
                </a:lnTo>
                <a:cubicBezTo>
                  <a:pt x="2603481" y="910624"/>
                  <a:pt x="2602895" y="908749"/>
                  <a:pt x="2601918" y="907409"/>
                </a:cubicBezTo>
                <a:cubicBezTo>
                  <a:pt x="2600941" y="906069"/>
                  <a:pt x="2599574" y="905266"/>
                  <a:pt x="2598206" y="905266"/>
                </a:cubicBezTo>
                <a:lnTo>
                  <a:pt x="2549464" y="905266"/>
                </a:lnTo>
                <a:lnTo>
                  <a:pt x="2549464" y="889995"/>
                </a:lnTo>
                <a:cubicBezTo>
                  <a:pt x="2549464" y="888119"/>
                  <a:pt x="2548878" y="886244"/>
                  <a:pt x="2547901" y="884905"/>
                </a:cubicBezTo>
                <a:cubicBezTo>
                  <a:pt x="2546924" y="883565"/>
                  <a:pt x="2545557" y="882761"/>
                  <a:pt x="2544189" y="882761"/>
                </a:cubicBezTo>
                <a:lnTo>
                  <a:pt x="2512638" y="882761"/>
                </a:lnTo>
                <a:lnTo>
                  <a:pt x="2512638" y="867624"/>
                </a:lnTo>
                <a:cubicBezTo>
                  <a:pt x="2512638" y="865749"/>
                  <a:pt x="2512052" y="863874"/>
                  <a:pt x="2511075" y="862534"/>
                </a:cubicBezTo>
                <a:cubicBezTo>
                  <a:pt x="2510098" y="861195"/>
                  <a:pt x="2508731" y="860391"/>
                  <a:pt x="2507363" y="860391"/>
                </a:cubicBezTo>
                <a:lnTo>
                  <a:pt x="2353028" y="860391"/>
                </a:lnTo>
                <a:lnTo>
                  <a:pt x="2353028" y="845120"/>
                </a:lnTo>
                <a:cubicBezTo>
                  <a:pt x="2353028" y="843245"/>
                  <a:pt x="2352442" y="841369"/>
                  <a:pt x="2351465" y="840030"/>
                </a:cubicBezTo>
                <a:cubicBezTo>
                  <a:pt x="2350488" y="838690"/>
                  <a:pt x="2349121" y="837886"/>
                  <a:pt x="2347753" y="837886"/>
                </a:cubicBezTo>
                <a:lnTo>
                  <a:pt x="2340818" y="837886"/>
                </a:lnTo>
                <a:lnTo>
                  <a:pt x="2340818" y="822750"/>
                </a:lnTo>
                <a:cubicBezTo>
                  <a:pt x="2340818" y="820874"/>
                  <a:pt x="2340232" y="818999"/>
                  <a:pt x="2339255" y="817659"/>
                </a:cubicBezTo>
                <a:cubicBezTo>
                  <a:pt x="2338278" y="816320"/>
                  <a:pt x="2336911" y="815516"/>
                  <a:pt x="2335543" y="815516"/>
                </a:cubicBezTo>
                <a:lnTo>
                  <a:pt x="2308876" y="815516"/>
                </a:lnTo>
                <a:lnTo>
                  <a:pt x="2308876" y="800379"/>
                </a:lnTo>
                <a:cubicBezTo>
                  <a:pt x="2308876" y="798504"/>
                  <a:pt x="2308290" y="796628"/>
                  <a:pt x="2307314" y="795289"/>
                </a:cubicBezTo>
                <a:cubicBezTo>
                  <a:pt x="2306337" y="793949"/>
                  <a:pt x="2304969" y="793146"/>
                  <a:pt x="2303602" y="793146"/>
                </a:cubicBezTo>
                <a:lnTo>
                  <a:pt x="2286801" y="793146"/>
                </a:lnTo>
                <a:lnTo>
                  <a:pt x="2286801" y="778009"/>
                </a:lnTo>
                <a:cubicBezTo>
                  <a:pt x="2286801" y="776133"/>
                  <a:pt x="2286215" y="774258"/>
                  <a:pt x="2285238" y="772918"/>
                </a:cubicBezTo>
                <a:cubicBezTo>
                  <a:pt x="2284261" y="771579"/>
                  <a:pt x="2282893" y="770775"/>
                  <a:pt x="2281526" y="770775"/>
                </a:cubicBezTo>
                <a:lnTo>
                  <a:pt x="2009388" y="770775"/>
                </a:lnTo>
                <a:lnTo>
                  <a:pt x="2009388" y="756844"/>
                </a:lnTo>
                <a:cubicBezTo>
                  <a:pt x="2009388" y="754969"/>
                  <a:pt x="2008801" y="753093"/>
                  <a:pt x="2007825" y="751754"/>
                </a:cubicBezTo>
                <a:cubicBezTo>
                  <a:pt x="2006848" y="750414"/>
                  <a:pt x="2005480" y="749610"/>
                  <a:pt x="2004113" y="749610"/>
                </a:cubicBezTo>
                <a:lnTo>
                  <a:pt x="1984870" y="749610"/>
                </a:lnTo>
                <a:lnTo>
                  <a:pt x="1984870" y="735679"/>
                </a:lnTo>
                <a:cubicBezTo>
                  <a:pt x="1984870" y="733804"/>
                  <a:pt x="1984284" y="731928"/>
                  <a:pt x="1983307" y="730589"/>
                </a:cubicBezTo>
                <a:cubicBezTo>
                  <a:pt x="1982330" y="729249"/>
                  <a:pt x="1980963" y="728445"/>
                  <a:pt x="1979595" y="728445"/>
                </a:cubicBezTo>
                <a:lnTo>
                  <a:pt x="1935736" y="728445"/>
                </a:lnTo>
                <a:lnTo>
                  <a:pt x="1935736" y="714514"/>
                </a:lnTo>
                <a:cubicBezTo>
                  <a:pt x="1935736" y="712639"/>
                  <a:pt x="1935150" y="710763"/>
                  <a:pt x="1934174" y="709424"/>
                </a:cubicBezTo>
                <a:cubicBezTo>
                  <a:pt x="1933197" y="708084"/>
                  <a:pt x="1931829" y="707281"/>
                  <a:pt x="1930462" y="707281"/>
                </a:cubicBezTo>
                <a:lnTo>
                  <a:pt x="1837567" y="707281"/>
                </a:lnTo>
                <a:lnTo>
                  <a:pt x="1837567" y="693349"/>
                </a:lnTo>
                <a:cubicBezTo>
                  <a:pt x="1837567" y="691474"/>
                  <a:pt x="1836981" y="689599"/>
                  <a:pt x="1836005" y="688259"/>
                </a:cubicBezTo>
                <a:cubicBezTo>
                  <a:pt x="1835028" y="686920"/>
                  <a:pt x="1833660" y="686116"/>
                  <a:pt x="1832293" y="686116"/>
                </a:cubicBezTo>
                <a:lnTo>
                  <a:pt x="1790876" y="686116"/>
                </a:lnTo>
                <a:lnTo>
                  <a:pt x="1790876" y="672185"/>
                </a:lnTo>
                <a:cubicBezTo>
                  <a:pt x="1790876" y="670309"/>
                  <a:pt x="1790290" y="668434"/>
                  <a:pt x="1789313" y="667094"/>
                </a:cubicBezTo>
                <a:cubicBezTo>
                  <a:pt x="1788336" y="665755"/>
                  <a:pt x="1786969" y="664951"/>
                  <a:pt x="1785601" y="664951"/>
                </a:cubicBezTo>
                <a:lnTo>
                  <a:pt x="1776126" y="664951"/>
                </a:lnTo>
                <a:lnTo>
                  <a:pt x="1776126" y="651020"/>
                </a:lnTo>
                <a:cubicBezTo>
                  <a:pt x="1776126" y="649144"/>
                  <a:pt x="1775540" y="647269"/>
                  <a:pt x="1774563" y="645929"/>
                </a:cubicBezTo>
                <a:cubicBezTo>
                  <a:pt x="1773587" y="644590"/>
                  <a:pt x="1772219" y="643786"/>
                  <a:pt x="1770852" y="643786"/>
                </a:cubicBezTo>
                <a:lnTo>
                  <a:pt x="1594440" y="643786"/>
                </a:lnTo>
                <a:lnTo>
                  <a:pt x="1594440" y="629855"/>
                </a:lnTo>
                <a:cubicBezTo>
                  <a:pt x="1594440" y="627979"/>
                  <a:pt x="1593854" y="626104"/>
                  <a:pt x="1592878" y="624765"/>
                </a:cubicBezTo>
                <a:cubicBezTo>
                  <a:pt x="1591901" y="623425"/>
                  <a:pt x="1590533" y="622621"/>
                  <a:pt x="1589166" y="622621"/>
                </a:cubicBezTo>
                <a:lnTo>
                  <a:pt x="1498714" y="622621"/>
                </a:lnTo>
                <a:lnTo>
                  <a:pt x="1498714" y="608690"/>
                </a:lnTo>
                <a:cubicBezTo>
                  <a:pt x="1498714" y="606815"/>
                  <a:pt x="1498127" y="604939"/>
                  <a:pt x="1497151" y="603600"/>
                </a:cubicBezTo>
                <a:cubicBezTo>
                  <a:pt x="1496174" y="602260"/>
                  <a:pt x="1494806" y="601456"/>
                  <a:pt x="1493439" y="601456"/>
                </a:cubicBezTo>
                <a:lnTo>
                  <a:pt x="1490997" y="601456"/>
                </a:lnTo>
                <a:lnTo>
                  <a:pt x="1490997" y="608556"/>
                </a:lnTo>
                <a:lnTo>
                  <a:pt x="1496272" y="608556"/>
                </a:lnTo>
                <a:lnTo>
                  <a:pt x="1496272" y="587525"/>
                </a:lnTo>
                <a:cubicBezTo>
                  <a:pt x="1496272" y="585650"/>
                  <a:pt x="1495685" y="583774"/>
                  <a:pt x="1494709" y="582435"/>
                </a:cubicBezTo>
                <a:cubicBezTo>
                  <a:pt x="1493732" y="581095"/>
                  <a:pt x="1492364" y="580292"/>
                  <a:pt x="1490997" y="580292"/>
                </a:cubicBezTo>
                <a:lnTo>
                  <a:pt x="1469214" y="580292"/>
                </a:lnTo>
                <a:lnTo>
                  <a:pt x="1469214" y="566360"/>
                </a:lnTo>
                <a:cubicBezTo>
                  <a:pt x="1469214" y="564485"/>
                  <a:pt x="1468628" y="562610"/>
                  <a:pt x="1467651" y="561270"/>
                </a:cubicBezTo>
                <a:cubicBezTo>
                  <a:pt x="1466674" y="559931"/>
                  <a:pt x="1465307" y="559127"/>
                  <a:pt x="1463939" y="559127"/>
                </a:cubicBezTo>
                <a:lnTo>
                  <a:pt x="1346429" y="559127"/>
                </a:lnTo>
                <a:lnTo>
                  <a:pt x="1346429" y="524700"/>
                </a:lnTo>
                <a:cubicBezTo>
                  <a:pt x="1346429" y="522825"/>
                  <a:pt x="1345843" y="520950"/>
                  <a:pt x="1344867" y="519610"/>
                </a:cubicBezTo>
                <a:cubicBezTo>
                  <a:pt x="1343890" y="518271"/>
                  <a:pt x="1342522" y="517467"/>
                  <a:pt x="1341155" y="517467"/>
                </a:cubicBezTo>
                <a:lnTo>
                  <a:pt x="1336564" y="517467"/>
                </a:lnTo>
                <a:lnTo>
                  <a:pt x="1336564" y="503803"/>
                </a:lnTo>
                <a:cubicBezTo>
                  <a:pt x="1336564" y="501928"/>
                  <a:pt x="1335978" y="500053"/>
                  <a:pt x="1335001" y="498713"/>
                </a:cubicBezTo>
                <a:cubicBezTo>
                  <a:pt x="1334024" y="497374"/>
                  <a:pt x="1332657" y="496570"/>
                  <a:pt x="1331289" y="496570"/>
                </a:cubicBezTo>
                <a:lnTo>
                  <a:pt x="1324256" y="496570"/>
                </a:lnTo>
                <a:lnTo>
                  <a:pt x="1324256" y="482907"/>
                </a:lnTo>
                <a:cubicBezTo>
                  <a:pt x="1324256" y="481031"/>
                  <a:pt x="1323670" y="479156"/>
                  <a:pt x="1322693" y="477816"/>
                </a:cubicBezTo>
                <a:cubicBezTo>
                  <a:pt x="1321716" y="476477"/>
                  <a:pt x="1320349" y="475673"/>
                  <a:pt x="1318981" y="475673"/>
                </a:cubicBezTo>
                <a:lnTo>
                  <a:pt x="1314097" y="475673"/>
                </a:lnTo>
                <a:lnTo>
                  <a:pt x="1314097" y="482907"/>
                </a:lnTo>
                <a:lnTo>
                  <a:pt x="1319372" y="482907"/>
                </a:lnTo>
                <a:lnTo>
                  <a:pt x="1319372" y="441247"/>
                </a:lnTo>
                <a:cubicBezTo>
                  <a:pt x="1319372" y="439371"/>
                  <a:pt x="1318786" y="437496"/>
                  <a:pt x="1317809" y="436156"/>
                </a:cubicBezTo>
                <a:cubicBezTo>
                  <a:pt x="1316832" y="434817"/>
                  <a:pt x="1315465" y="434013"/>
                  <a:pt x="1314097" y="434013"/>
                </a:cubicBezTo>
                <a:lnTo>
                  <a:pt x="1299640" y="434013"/>
                </a:lnTo>
                <a:lnTo>
                  <a:pt x="1299640" y="420350"/>
                </a:lnTo>
                <a:cubicBezTo>
                  <a:pt x="1299640" y="418474"/>
                  <a:pt x="1299054" y="416599"/>
                  <a:pt x="1298078" y="415259"/>
                </a:cubicBezTo>
                <a:cubicBezTo>
                  <a:pt x="1297101" y="413920"/>
                  <a:pt x="1295733" y="413116"/>
                  <a:pt x="1294366" y="413116"/>
                </a:cubicBezTo>
                <a:lnTo>
                  <a:pt x="1240739" y="413116"/>
                </a:lnTo>
                <a:lnTo>
                  <a:pt x="1240739" y="378690"/>
                </a:lnTo>
                <a:cubicBezTo>
                  <a:pt x="1240739" y="376815"/>
                  <a:pt x="1240153" y="374939"/>
                  <a:pt x="1239176" y="373600"/>
                </a:cubicBezTo>
                <a:cubicBezTo>
                  <a:pt x="1238199" y="372260"/>
                  <a:pt x="1236832" y="371456"/>
                  <a:pt x="1235464" y="371456"/>
                </a:cubicBezTo>
                <a:lnTo>
                  <a:pt x="1221008" y="371456"/>
                </a:lnTo>
                <a:lnTo>
                  <a:pt x="1221008" y="357793"/>
                </a:lnTo>
                <a:cubicBezTo>
                  <a:pt x="1221008" y="355918"/>
                  <a:pt x="1220421" y="354042"/>
                  <a:pt x="1219445" y="352703"/>
                </a:cubicBezTo>
                <a:cubicBezTo>
                  <a:pt x="1218468" y="351363"/>
                  <a:pt x="1217100" y="350559"/>
                  <a:pt x="1215733" y="350559"/>
                </a:cubicBezTo>
                <a:lnTo>
                  <a:pt x="1208700" y="350559"/>
                </a:lnTo>
                <a:lnTo>
                  <a:pt x="1208700" y="336896"/>
                </a:lnTo>
                <a:cubicBezTo>
                  <a:pt x="1208700" y="335021"/>
                  <a:pt x="1208114" y="333145"/>
                  <a:pt x="1207137" y="331806"/>
                </a:cubicBezTo>
                <a:cubicBezTo>
                  <a:pt x="1206160" y="330466"/>
                  <a:pt x="1204793" y="329662"/>
                  <a:pt x="1203425" y="329662"/>
                </a:cubicBezTo>
                <a:lnTo>
                  <a:pt x="1105549" y="329662"/>
                </a:lnTo>
                <a:lnTo>
                  <a:pt x="1105549" y="315999"/>
                </a:lnTo>
                <a:cubicBezTo>
                  <a:pt x="1105549" y="314124"/>
                  <a:pt x="1104963" y="312248"/>
                  <a:pt x="1103986" y="310909"/>
                </a:cubicBezTo>
                <a:cubicBezTo>
                  <a:pt x="1103009" y="309569"/>
                  <a:pt x="1101642" y="308766"/>
                  <a:pt x="1100274" y="308766"/>
                </a:cubicBezTo>
                <a:lnTo>
                  <a:pt x="1031898" y="308766"/>
                </a:lnTo>
                <a:lnTo>
                  <a:pt x="1031898" y="295102"/>
                </a:lnTo>
                <a:cubicBezTo>
                  <a:pt x="1031898" y="293227"/>
                  <a:pt x="1031312" y="291351"/>
                  <a:pt x="1030335" y="290012"/>
                </a:cubicBezTo>
                <a:cubicBezTo>
                  <a:pt x="1029358" y="288672"/>
                  <a:pt x="1027991" y="287869"/>
                  <a:pt x="1026623" y="287869"/>
                </a:cubicBezTo>
                <a:lnTo>
                  <a:pt x="999956" y="287869"/>
                </a:lnTo>
                <a:lnTo>
                  <a:pt x="999956" y="274205"/>
                </a:lnTo>
                <a:cubicBezTo>
                  <a:pt x="999956" y="272330"/>
                  <a:pt x="999370" y="270454"/>
                  <a:pt x="998393" y="269115"/>
                </a:cubicBezTo>
                <a:cubicBezTo>
                  <a:pt x="997417" y="267775"/>
                  <a:pt x="996049" y="266972"/>
                  <a:pt x="994682" y="266972"/>
                </a:cubicBezTo>
                <a:lnTo>
                  <a:pt x="975341" y="266972"/>
                </a:lnTo>
                <a:lnTo>
                  <a:pt x="975341" y="253442"/>
                </a:lnTo>
                <a:cubicBezTo>
                  <a:pt x="975341" y="251567"/>
                  <a:pt x="974755" y="249691"/>
                  <a:pt x="973778" y="248352"/>
                </a:cubicBezTo>
                <a:cubicBezTo>
                  <a:pt x="972801" y="247012"/>
                  <a:pt x="971434" y="246209"/>
                  <a:pt x="970066" y="246209"/>
                </a:cubicBezTo>
                <a:lnTo>
                  <a:pt x="953265" y="246209"/>
                </a:lnTo>
                <a:lnTo>
                  <a:pt x="953265" y="232813"/>
                </a:lnTo>
                <a:cubicBezTo>
                  <a:pt x="953265" y="230938"/>
                  <a:pt x="952679" y="229062"/>
                  <a:pt x="951702" y="227723"/>
                </a:cubicBezTo>
                <a:cubicBezTo>
                  <a:pt x="950725" y="226383"/>
                  <a:pt x="949358" y="225580"/>
                  <a:pt x="947990" y="225580"/>
                </a:cubicBezTo>
                <a:lnTo>
                  <a:pt x="911458" y="225580"/>
                </a:lnTo>
                <a:lnTo>
                  <a:pt x="911458" y="212184"/>
                </a:lnTo>
                <a:cubicBezTo>
                  <a:pt x="911458" y="210309"/>
                  <a:pt x="910872" y="208433"/>
                  <a:pt x="909895" y="207094"/>
                </a:cubicBezTo>
                <a:cubicBezTo>
                  <a:pt x="908918" y="205754"/>
                  <a:pt x="907550" y="204951"/>
                  <a:pt x="906183" y="204951"/>
                </a:cubicBezTo>
                <a:lnTo>
                  <a:pt x="891824" y="204951"/>
                </a:lnTo>
                <a:lnTo>
                  <a:pt x="891824" y="191555"/>
                </a:lnTo>
                <a:cubicBezTo>
                  <a:pt x="891824" y="189680"/>
                  <a:pt x="891238" y="187804"/>
                  <a:pt x="890261" y="186465"/>
                </a:cubicBezTo>
                <a:cubicBezTo>
                  <a:pt x="889284" y="185125"/>
                  <a:pt x="887917" y="184322"/>
                  <a:pt x="886549" y="184322"/>
                </a:cubicBezTo>
                <a:lnTo>
                  <a:pt x="877074" y="184322"/>
                </a:lnTo>
                <a:lnTo>
                  <a:pt x="877074" y="170926"/>
                </a:lnTo>
                <a:cubicBezTo>
                  <a:pt x="877074" y="169051"/>
                  <a:pt x="876488" y="167175"/>
                  <a:pt x="875511" y="165836"/>
                </a:cubicBezTo>
                <a:cubicBezTo>
                  <a:pt x="874534" y="164496"/>
                  <a:pt x="873167" y="163693"/>
                  <a:pt x="871799" y="163693"/>
                </a:cubicBezTo>
                <a:lnTo>
                  <a:pt x="845133" y="163693"/>
                </a:lnTo>
                <a:lnTo>
                  <a:pt x="845133" y="150297"/>
                </a:lnTo>
                <a:cubicBezTo>
                  <a:pt x="845133" y="148422"/>
                  <a:pt x="844546" y="146546"/>
                  <a:pt x="843570" y="145207"/>
                </a:cubicBezTo>
                <a:cubicBezTo>
                  <a:pt x="842593" y="143867"/>
                  <a:pt x="841225" y="143064"/>
                  <a:pt x="839858" y="143064"/>
                </a:cubicBezTo>
                <a:lnTo>
                  <a:pt x="815633" y="143064"/>
                </a:lnTo>
                <a:lnTo>
                  <a:pt x="815633" y="129668"/>
                </a:lnTo>
                <a:cubicBezTo>
                  <a:pt x="815633" y="127793"/>
                  <a:pt x="815047" y="125917"/>
                  <a:pt x="814070" y="124578"/>
                </a:cubicBezTo>
                <a:cubicBezTo>
                  <a:pt x="813093" y="123238"/>
                  <a:pt x="811726" y="122435"/>
                  <a:pt x="810358" y="122435"/>
                </a:cubicBezTo>
                <a:lnTo>
                  <a:pt x="761616" y="122435"/>
                </a:lnTo>
                <a:lnTo>
                  <a:pt x="761616" y="109173"/>
                </a:lnTo>
                <a:cubicBezTo>
                  <a:pt x="761616" y="107298"/>
                  <a:pt x="761030" y="105422"/>
                  <a:pt x="760053" y="104083"/>
                </a:cubicBezTo>
                <a:cubicBezTo>
                  <a:pt x="759076" y="102743"/>
                  <a:pt x="757708" y="101940"/>
                  <a:pt x="756341" y="101940"/>
                </a:cubicBezTo>
                <a:lnTo>
                  <a:pt x="712482" y="101940"/>
                </a:lnTo>
                <a:lnTo>
                  <a:pt x="712482" y="88678"/>
                </a:lnTo>
                <a:cubicBezTo>
                  <a:pt x="712482" y="86803"/>
                  <a:pt x="711896" y="84927"/>
                  <a:pt x="710919" y="83588"/>
                </a:cubicBezTo>
                <a:cubicBezTo>
                  <a:pt x="709943" y="82248"/>
                  <a:pt x="708575" y="81444"/>
                  <a:pt x="707208" y="81444"/>
                </a:cubicBezTo>
                <a:lnTo>
                  <a:pt x="636389" y="81444"/>
                </a:lnTo>
                <a:lnTo>
                  <a:pt x="636389" y="68183"/>
                </a:lnTo>
                <a:cubicBezTo>
                  <a:pt x="636389" y="66308"/>
                  <a:pt x="635803" y="64432"/>
                  <a:pt x="634826" y="63093"/>
                </a:cubicBezTo>
                <a:cubicBezTo>
                  <a:pt x="633849" y="61753"/>
                  <a:pt x="632482" y="60949"/>
                  <a:pt x="631114" y="60949"/>
                </a:cubicBezTo>
                <a:lnTo>
                  <a:pt x="572506" y="60949"/>
                </a:lnTo>
                <a:lnTo>
                  <a:pt x="572506" y="47822"/>
                </a:lnTo>
                <a:cubicBezTo>
                  <a:pt x="572506" y="45946"/>
                  <a:pt x="571920" y="44071"/>
                  <a:pt x="570943" y="42732"/>
                </a:cubicBezTo>
                <a:cubicBezTo>
                  <a:pt x="569966" y="41392"/>
                  <a:pt x="568599" y="40588"/>
                  <a:pt x="567231" y="40588"/>
                </a:cubicBezTo>
                <a:lnTo>
                  <a:pt x="366302" y="40588"/>
                </a:lnTo>
                <a:lnTo>
                  <a:pt x="366302" y="27595"/>
                </a:lnTo>
                <a:cubicBezTo>
                  <a:pt x="366302" y="25719"/>
                  <a:pt x="365716" y="23844"/>
                  <a:pt x="364739" y="22504"/>
                </a:cubicBezTo>
                <a:cubicBezTo>
                  <a:pt x="363763" y="21165"/>
                  <a:pt x="362395" y="20361"/>
                  <a:pt x="361028" y="20361"/>
                </a:cubicBezTo>
                <a:lnTo>
                  <a:pt x="206790" y="20361"/>
                </a:lnTo>
                <a:lnTo>
                  <a:pt x="206790" y="7234"/>
                </a:lnTo>
                <a:cubicBezTo>
                  <a:pt x="206790" y="5358"/>
                  <a:pt x="206204" y="3483"/>
                  <a:pt x="205227" y="2143"/>
                </a:cubicBezTo>
                <a:cubicBezTo>
                  <a:pt x="204250" y="804"/>
                  <a:pt x="202883" y="0"/>
                  <a:pt x="201515" y="0"/>
                </a:cubicBezTo>
                <a:lnTo>
                  <a:pt x="0" y="0"/>
                </a:lnTo>
                <a:lnTo>
                  <a:pt x="0" y="14333"/>
                </a:lnTo>
              </a:path>
            </a:pathLst>
          </a:custGeom>
          <a:solidFill>
            <a:schemeClr val="accent6"/>
          </a:solidFill>
          <a:ln w="9753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733" name="Freihandform: Form 732">
            <a:extLst>
              <a:ext uri="{FF2B5EF4-FFF2-40B4-BE49-F238E27FC236}">
                <a16:creationId xmlns:a16="http://schemas.microsoft.com/office/drawing/2014/main" id="{89D5589A-07F1-2E1F-720E-4256BDCEE423}"/>
              </a:ext>
            </a:extLst>
          </p:cNvPr>
          <p:cNvSpPr/>
          <p:nvPr/>
        </p:nvSpPr>
        <p:spPr>
          <a:xfrm>
            <a:off x="1503453" y="1377548"/>
            <a:ext cx="4079044" cy="1306058"/>
          </a:xfrm>
          <a:custGeom>
            <a:avLst/>
            <a:gdLst>
              <a:gd name="connsiteX0" fmla="*/ 4077579 w 4079044"/>
              <a:gd name="connsiteY0" fmla="*/ 1306058 h 1306058"/>
              <a:gd name="connsiteX1" fmla="*/ 3977945 w 4079044"/>
              <a:gd name="connsiteY1" fmla="*/ 1306058 h 1306058"/>
              <a:gd name="connsiteX2" fmla="*/ 3974233 w 4079044"/>
              <a:gd name="connsiteY2" fmla="*/ 1303915 h 1306058"/>
              <a:gd name="connsiteX3" fmla="*/ 3972670 w 4079044"/>
              <a:gd name="connsiteY3" fmla="*/ 1298824 h 1306058"/>
              <a:gd name="connsiteX4" fmla="*/ 3972670 w 4079044"/>
              <a:gd name="connsiteY4" fmla="*/ 1290117 h 1306058"/>
              <a:gd name="connsiteX5" fmla="*/ 3862584 w 4079044"/>
              <a:gd name="connsiteY5" fmla="*/ 1290117 h 1306058"/>
              <a:gd name="connsiteX6" fmla="*/ 3858872 w 4079044"/>
              <a:gd name="connsiteY6" fmla="*/ 1287974 h 1306058"/>
              <a:gd name="connsiteX7" fmla="*/ 3857309 w 4079044"/>
              <a:gd name="connsiteY7" fmla="*/ 1282884 h 1306058"/>
              <a:gd name="connsiteX8" fmla="*/ 3857309 w 4079044"/>
              <a:gd name="connsiteY8" fmla="*/ 1277526 h 1306058"/>
              <a:gd name="connsiteX9" fmla="*/ 3482216 w 4079044"/>
              <a:gd name="connsiteY9" fmla="*/ 1277526 h 1306058"/>
              <a:gd name="connsiteX10" fmla="*/ 3478504 w 4079044"/>
              <a:gd name="connsiteY10" fmla="*/ 1275382 h 1306058"/>
              <a:gd name="connsiteX11" fmla="*/ 3476941 w 4079044"/>
              <a:gd name="connsiteY11" fmla="*/ 1270292 h 1306058"/>
              <a:gd name="connsiteX12" fmla="*/ 3476941 w 4079044"/>
              <a:gd name="connsiteY12" fmla="*/ 1269756 h 1306058"/>
              <a:gd name="connsiteX13" fmla="*/ 3469908 w 4079044"/>
              <a:gd name="connsiteY13" fmla="*/ 1269756 h 1306058"/>
              <a:gd name="connsiteX14" fmla="*/ 3466196 w 4079044"/>
              <a:gd name="connsiteY14" fmla="*/ 1267613 h 1306058"/>
              <a:gd name="connsiteX15" fmla="*/ 3464633 w 4079044"/>
              <a:gd name="connsiteY15" fmla="*/ 1262523 h 1306058"/>
              <a:gd name="connsiteX16" fmla="*/ 3464633 w 4079044"/>
              <a:gd name="connsiteY16" fmla="*/ 1262255 h 1306058"/>
              <a:gd name="connsiteX17" fmla="*/ 3366757 w 4079044"/>
              <a:gd name="connsiteY17" fmla="*/ 1262255 h 1306058"/>
              <a:gd name="connsiteX18" fmla="*/ 3363045 w 4079044"/>
              <a:gd name="connsiteY18" fmla="*/ 1260112 h 1306058"/>
              <a:gd name="connsiteX19" fmla="*/ 3361483 w 4079044"/>
              <a:gd name="connsiteY19" fmla="*/ 1255289 h 1306058"/>
              <a:gd name="connsiteX20" fmla="*/ 3349566 w 4079044"/>
              <a:gd name="connsiteY20" fmla="*/ 1255289 h 1306058"/>
              <a:gd name="connsiteX21" fmla="*/ 3345854 w 4079044"/>
              <a:gd name="connsiteY21" fmla="*/ 1253146 h 1306058"/>
              <a:gd name="connsiteX22" fmla="*/ 3344389 w 4079044"/>
              <a:gd name="connsiteY22" fmla="*/ 1248591 h 1306058"/>
              <a:gd name="connsiteX23" fmla="*/ 3278454 w 4079044"/>
              <a:gd name="connsiteY23" fmla="*/ 1248591 h 1306058"/>
              <a:gd name="connsiteX24" fmla="*/ 3274742 w 4079044"/>
              <a:gd name="connsiteY24" fmla="*/ 1246448 h 1306058"/>
              <a:gd name="connsiteX25" fmla="*/ 3273277 w 4079044"/>
              <a:gd name="connsiteY25" fmla="*/ 1242162 h 1306058"/>
              <a:gd name="connsiteX26" fmla="*/ 3118942 w 4079044"/>
              <a:gd name="connsiteY26" fmla="*/ 1242162 h 1306058"/>
              <a:gd name="connsiteX27" fmla="*/ 3115230 w 4079044"/>
              <a:gd name="connsiteY27" fmla="*/ 1240018 h 1306058"/>
              <a:gd name="connsiteX28" fmla="*/ 3113765 w 4079044"/>
              <a:gd name="connsiteY28" fmla="*/ 1236134 h 1306058"/>
              <a:gd name="connsiteX29" fmla="*/ 3067366 w 4079044"/>
              <a:gd name="connsiteY29" fmla="*/ 1236134 h 1306058"/>
              <a:gd name="connsiteX30" fmla="*/ 3063654 w 4079044"/>
              <a:gd name="connsiteY30" fmla="*/ 1233990 h 1306058"/>
              <a:gd name="connsiteX31" fmla="*/ 3062091 w 4079044"/>
              <a:gd name="connsiteY31" fmla="*/ 1228900 h 1306058"/>
              <a:gd name="connsiteX32" fmla="*/ 3061212 w 4079044"/>
              <a:gd name="connsiteY32" fmla="*/ 1227962 h 1306058"/>
              <a:gd name="connsiteX33" fmla="*/ 3059747 w 4079044"/>
              <a:gd name="connsiteY33" fmla="*/ 1224212 h 1306058"/>
              <a:gd name="connsiteX34" fmla="*/ 3052616 w 4079044"/>
              <a:gd name="connsiteY34" fmla="*/ 1224212 h 1306058"/>
              <a:gd name="connsiteX35" fmla="*/ 3048905 w 4079044"/>
              <a:gd name="connsiteY35" fmla="*/ 1222069 h 1306058"/>
              <a:gd name="connsiteX36" fmla="*/ 3047439 w 4079044"/>
              <a:gd name="connsiteY36" fmla="*/ 1218184 h 1306058"/>
              <a:gd name="connsiteX37" fmla="*/ 2964216 w 4079044"/>
              <a:gd name="connsiteY37" fmla="*/ 1218184 h 1306058"/>
              <a:gd name="connsiteX38" fmla="*/ 2960504 w 4079044"/>
              <a:gd name="connsiteY38" fmla="*/ 1216041 h 1306058"/>
              <a:gd name="connsiteX39" fmla="*/ 2959038 w 4079044"/>
              <a:gd name="connsiteY39" fmla="*/ 1212290 h 1306058"/>
              <a:gd name="connsiteX40" fmla="*/ 2910198 w 4079044"/>
              <a:gd name="connsiteY40" fmla="*/ 1212290 h 1306058"/>
              <a:gd name="connsiteX41" fmla="*/ 2906486 w 4079044"/>
              <a:gd name="connsiteY41" fmla="*/ 1210146 h 1306058"/>
              <a:gd name="connsiteX42" fmla="*/ 2905021 w 4079044"/>
              <a:gd name="connsiteY42" fmla="*/ 1206396 h 1306058"/>
              <a:gd name="connsiteX43" fmla="*/ 2726070 w 4079044"/>
              <a:gd name="connsiteY43" fmla="*/ 1206396 h 1306058"/>
              <a:gd name="connsiteX44" fmla="*/ 2722358 w 4079044"/>
              <a:gd name="connsiteY44" fmla="*/ 1204253 h 1306058"/>
              <a:gd name="connsiteX45" fmla="*/ 2720795 w 4079044"/>
              <a:gd name="connsiteY45" fmla="*/ 1199162 h 1306058"/>
              <a:gd name="connsiteX46" fmla="*/ 2720795 w 4079044"/>
              <a:gd name="connsiteY46" fmla="*/ 1195010 h 1306058"/>
              <a:gd name="connsiteX47" fmla="*/ 2578768 w 4079044"/>
              <a:gd name="connsiteY47" fmla="*/ 1195010 h 1306058"/>
              <a:gd name="connsiteX48" fmla="*/ 2575056 w 4079044"/>
              <a:gd name="connsiteY48" fmla="*/ 1192866 h 1306058"/>
              <a:gd name="connsiteX49" fmla="*/ 2573688 w 4079044"/>
              <a:gd name="connsiteY49" fmla="*/ 1189384 h 1306058"/>
              <a:gd name="connsiteX50" fmla="*/ 2539500 w 4079044"/>
              <a:gd name="connsiteY50" fmla="*/ 1189384 h 1306058"/>
              <a:gd name="connsiteX51" fmla="*/ 2535789 w 4079044"/>
              <a:gd name="connsiteY51" fmla="*/ 1187240 h 1306058"/>
              <a:gd name="connsiteX52" fmla="*/ 2534421 w 4079044"/>
              <a:gd name="connsiteY52" fmla="*/ 1183757 h 1306058"/>
              <a:gd name="connsiteX53" fmla="*/ 2522309 w 4079044"/>
              <a:gd name="connsiteY53" fmla="*/ 1183757 h 1306058"/>
              <a:gd name="connsiteX54" fmla="*/ 2518597 w 4079044"/>
              <a:gd name="connsiteY54" fmla="*/ 1181614 h 1306058"/>
              <a:gd name="connsiteX55" fmla="*/ 2517229 w 4079044"/>
              <a:gd name="connsiteY55" fmla="*/ 1178131 h 1306058"/>
              <a:gd name="connsiteX56" fmla="*/ 2434005 w 4079044"/>
              <a:gd name="connsiteY56" fmla="*/ 1178131 h 1306058"/>
              <a:gd name="connsiteX57" fmla="*/ 2430293 w 4079044"/>
              <a:gd name="connsiteY57" fmla="*/ 1175988 h 1306058"/>
              <a:gd name="connsiteX58" fmla="*/ 2428926 w 4079044"/>
              <a:gd name="connsiteY58" fmla="*/ 1172639 h 1306058"/>
              <a:gd name="connsiteX59" fmla="*/ 2335934 w 4079044"/>
              <a:gd name="connsiteY59" fmla="*/ 1172639 h 1306058"/>
              <a:gd name="connsiteX60" fmla="*/ 2332222 w 4079044"/>
              <a:gd name="connsiteY60" fmla="*/ 1170496 h 1306058"/>
              <a:gd name="connsiteX61" fmla="*/ 2330855 w 4079044"/>
              <a:gd name="connsiteY61" fmla="*/ 1167147 h 1306058"/>
              <a:gd name="connsiteX62" fmla="*/ 2284359 w 4079044"/>
              <a:gd name="connsiteY62" fmla="*/ 1167147 h 1306058"/>
              <a:gd name="connsiteX63" fmla="*/ 2280647 w 4079044"/>
              <a:gd name="connsiteY63" fmla="*/ 1165004 h 1306058"/>
              <a:gd name="connsiteX64" fmla="*/ 2279279 w 4079044"/>
              <a:gd name="connsiteY64" fmla="*/ 1161789 h 1306058"/>
              <a:gd name="connsiteX65" fmla="*/ 2262283 w 4079044"/>
              <a:gd name="connsiteY65" fmla="*/ 1161789 h 1306058"/>
              <a:gd name="connsiteX66" fmla="*/ 2258571 w 4079044"/>
              <a:gd name="connsiteY66" fmla="*/ 1159646 h 1306058"/>
              <a:gd name="connsiteX67" fmla="*/ 2257203 w 4079044"/>
              <a:gd name="connsiteY67" fmla="*/ 1156297 h 1306058"/>
              <a:gd name="connsiteX68" fmla="*/ 2247533 w 4079044"/>
              <a:gd name="connsiteY68" fmla="*/ 1156297 h 1306058"/>
              <a:gd name="connsiteX69" fmla="*/ 2243821 w 4079044"/>
              <a:gd name="connsiteY69" fmla="*/ 1154154 h 1306058"/>
              <a:gd name="connsiteX70" fmla="*/ 2242454 w 4079044"/>
              <a:gd name="connsiteY70" fmla="*/ 1150805 h 1306058"/>
              <a:gd name="connsiteX71" fmla="*/ 2149364 w 4079044"/>
              <a:gd name="connsiteY71" fmla="*/ 1150805 h 1306058"/>
              <a:gd name="connsiteX72" fmla="*/ 2145652 w 4079044"/>
              <a:gd name="connsiteY72" fmla="*/ 1148661 h 1306058"/>
              <a:gd name="connsiteX73" fmla="*/ 2144187 w 4079044"/>
              <a:gd name="connsiteY73" fmla="*/ 1144375 h 1306058"/>
              <a:gd name="connsiteX74" fmla="*/ 2143210 w 4079044"/>
              <a:gd name="connsiteY74" fmla="*/ 1143303 h 1306058"/>
              <a:gd name="connsiteX75" fmla="*/ 2141647 w 4079044"/>
              <a:gd name="connsiteY75" fmla="*/ 1138213 h 1306058"/>
              <a:gd name="connsiteX76" fmla="*/ 2141647 w 4079044"/>
              <a:gd name="connsiteY76" fmla="*/ 1134730 h 1306058"/>
              <a:gd name="connsiteX77" fmla="*/ 2109999 w 4079044"/>
              <a:gd name="connsiteY77" fmla="*/ 1134730 h 1306058"/>
              <a:gd name="connsiteX78" fmla="*/ 2106287 w 4079044"/>
              <a:gd name="connsiteY78" fmla="*/ 1132587 h 1306058"/>
              <a:gd name="connsiteX79" fmla="*/ 2104919 w 4079044"/>
              <a:gd name="connsiteY79" fmla="*/ 1129372 h 1306058"/>
              <a:gd name="connsiteX80" fmla="*/ 2004504 w 4079044"/>
              <a:gd name="connsiteY80" fmla="*/ 1129372 h 1306058"/>
              <a:gd name="connsiteX81" fmla="*/ 2000792 w 4079044"/>
              <a:gd name="connsiteY81" fmla="*/ 1127229 h 1306058"/>
              <a:gd name="connsiteX82" fmla="*/ 1999424 w 4079044"/>
              <a:gd name="connsiteY82" fmla="*/ 1124148 h 1306058"/>
              <a:gd name="connsiteX83" fmla="*/ 1852317 w 4079044"/>
              <a:gd name="connsiteY83" fmla="*/ 1124148 h 1306058"/>
              <a:gd name="connsiteX84" fmla="*/ 1848605 w 4079044"/>
              <a:gd name="connsiteY84" fmla="*/ 1122004 h 1306058"/>
              <a:gd name="connsiteX85" fmla="*/ 1847336 w 4079044"/>
              <a:gd name="connsiteY85" fmla="*/ 1118923 h 1306058"/>
              <a:gd name="connsiteX86" fmla="*/ 1842549 w 4079044"/>
              <a:gd name="connsiteY86" fmla="*/ 1118923 h 1306058"/>
              <a:gd name="connsiteX87" fmla="*/ 1838837 w 4079044"/>
              <a:gd name="connsiteY87" fmla="*/ 1116780 h 1306058"/>
              <a:gd name="connsiteX88" fmla="*/ 1837568 w 4079044"/>
              <a:gd name="connsiteY88" fmla="*/ 1113699 h 1306058"/>
              <a:gd name="connsiteX89" fmla="*/ 1825357 w 4079044"/>
              <a:gd name="connsiteY89" fmla="*/ 1113699 h 1306058"/>
              <a:gd name="connsiteX90" fmla="*/ 1821646 w 4079044"/>
              <a:gd name="connsiteY90" fmla="*/ 1111556 h 1306058"/>
              <a:gd name="connsiteX91" fmla="*/ 1820278 w 4079044"/>
              <a:gd name="connsiteY91" fmla="*/ 1108475 h 1306058"/>
              <a:gd name="connsiteX92" fmla="*/ 1798300 w 4079044"/>
              <a:gd name="connsiteY92" fmla="*/ 1108475 h 1306058"/>
              <a:gd name="connsiteX93" fmla="*/ 1794588 w 4079044"/>
              <a:gd name="connsiteY93" fmla="*/ 1106332 h 1306058"/>
              <a:gd name="connsiteX94" fmla="*/ 1793318 w 4079044"/>
              <a:gd name="connsiteY94" fmla="*/ 1103251 h 1306058"/>
              <a:gd name="connsiteX95" fmla="*/ 1788532 w 4079044"/>
              <a:gd name="connsiteY95" fmla="*/ 1103251 h 1306058"/>
              <a:gd name="connsiteX96" fmla="*/ 1784820 w 4079044"/>
              <a:gd name="connsiteY96" fmla="*/ 1101107 h 1306058"/>
              <a:gd name="connsiteX97" fmla="*/ 1783452 w 4079044"/>
              <a:gd name="connsiteY97" fmla="*/ 1098026 h 1306058"/>
              <a:gd name="connsiteX98" fmla="*/ 1712341 w 4079044"/>
              <a:gd name="connsiteY98" fmla="*/ 1098026 h 1306058"/>
              <a:gd name="connsiteX99" fmla="*/ 1708629 w 4079044"/>
              <a:gd name="connsiteY99" fmla="*/ 1095883 h 1306058"/>
              <a:gd name="connsiteX100" fmla="*/ 1707359 w 4079044"/>
              <a:gd name="connsiteY100" fmla="*/ 1092802 h 1306058"/>
              <a:gd name="connsiteX101" fmla="*/ 1703745 w 4079044"/>
              <a:gd name="connsiteY101" fmla="*/ 1090659 h 1306058"/>
              <a:gd name="connsiteX102" fmla="*/ 1702475 w 4079044"/>
              <a:gd name="connsiteY102" fmla="*/ 1087712 h 1306058"/>
              <a:gd name="connsiteX103" fmla="*/ 1655979 w 4079044"/>
              <a:gd name="connsiteY103" fmla="*/ 1087712 h 1306058"/>
              <a:gd name="connsiteX104" fmla="*/ 1652267 w 4079044"/>
              <a:gd name="connsiteY104" fmla="*/ 1085569 h 1306058"/>
              <a:gd name="connsiteX105" fmla="*/ 1650998 w 4079044"/>
              <a:gd name="connsiteY105" fmla="*/ 1082622 h 1306058"/>
              <a:gd name="connsiteX106" fmla="*/ 1601962 w 4079044"/>
              <a:gd name="connsiteY106" fmla="*/ 1082622 h 1306058"/>
              <a:gd name="connsiteX107" fmla="*/ 1598250 w 4079044"/>
              <a:gd name="connsiteY107" fmla="*/ 1080478 h 1306058"/>
              <a:gd name="connsiteX108" fmla="*/ 1596980 w 4079044"/>
              <a:gd name="connsiteY108" fmla="*/ 1077397 h 1306058"/>
              <a:gd name="connsiteX109" fmla="*/ 1572560 w 4079044"/>
              <a:gd name="connsiteY109" fmla="*/ 1077397 h 1306058"/>
              <a:gd name="connsiteX110" fmla="*/ 1568848 w 4079044"/>
              <a:gd name="connsiteY110" fmla="*/ 1075254 h 1306058"/>
              <a:gd name="connsiteX111" fmla="*/ 1567578 w 4079044"/>
              <a:gd name="connsiteY111" fmla="*/ 1072173 h 1306058"/>
              <a:gd name="connsiteX112" fmla="*/ 1555368 w 4079044"/>
              <a:gd name="connsiteY112" fmla="*/ 1072173 h 1306058"/>
              <a:gd name="connsiteX113" fmla="*/ 1551656 w 4079044"/>
              <a:gd name="connsiteY113" fmla="*/ 1070030 h 1306058"/>
              <a:gd name="connsiteX114" fmla="*/ 1550386 w 4079044"/>
              <a:gd name="connsiteY114" fmla="*/ 1067083 h 1306058"/>
              <a:gd name="connsiteX115" fmla="*/ 1535734 w 4079044"/>
              <a:gd name="connsiteY115" fmla="*/ 1067083 h 1306058"/>
              <a:gd name="connsiteX116" fmla="*/ 1532023 w 4079044"/>
              <a:gd name="connsiteY116" fmla="*/ 1064940 h 1306058"/>
              <a:gd name="connsiteX117" fmla="*/ 1530753 w 4079044"/>
              <a:gd name="connsiteY117" fmla="*/ 1061993 h 1306058"/>
              <a:gd name="connsiteX118" fmla="*/ 1469507 w 4079044"/>
              <a:gd name="connsiteY118" fmla="*/ 1061993 h 1306058"/>
              <a:gd name="connsiteX119" fmla="*/ 1465795 w 4079044"/>
              <a:gd name="connsiteY119" fmla="*/ 1059849 h 1306058"/>
              <a:gd name="connsiteX120" fmla="*/ 1464232 w 4079044"/>
              <a:gd name="connsiteY120" fmla="*/ 1054759 h 1306058"/>
              <a:gd name="connsiteX121" fmla="*/ 1464232 w 4079044"/>
              <a:gd name="connsiteY121" fmla="*/ 1051946 h 1306058"/>
              <a:gd name="connsiteX122" fmla="*/ 1454757 w 4079044"/>
              <a:gd name="connsiteY122" fmla="*/ 1051946 h 1306058"/>
              <a:gd name="connsiteX123" fmla="*/ 1451045 w 4079044"/>
              <a:gd name="connsiteY123" fmla="*/ 1049803 h 1306058"/>
              <a:gd name="connsiteX124" fmla="*/ 1449776 w 4079044"/>
              <a:gd name="connsiteY124" fmla="*/ 1046856 h 1306058"/>
              <a:gd name="connsiteX125" fmla="*/ 1447431 w 4079044"/>
              <a:gd name="connsiteY125" fmla="*/ 1046856 h 1306058"/>
              <a:gd name="connsiteX126" fmla="*/ 1443719 w 4079044"/>
              <a:gd name="connsiteY126" fmla="*/ 1044712 h 1306058"/>
              <a:gd name="connsiteX127" fmla="*/ 1442254 w 4079044"/>
              <a:gd name="connsiteY127" fmla="*/ 1040828 h 1306058"/>
              <a:gd name="connsiteX128" fmla="*/ 1441277 w 4079044"/>
              <a:gd name="connsiteY128" fmla="*/ 1039756 h 1306058"/>
              <a:gd name="connsiteX129" fmla="*/ 1440008 w 4079044"/>
              <a:gd name="connsiteY129" fmla="*/ 1036943 h 1306058"/>
              <a:gd name="connsiteX130" fmla="*/ 1435123 w 4079044"/>
              <a:gd name="connsiteY130" fmla="*/ 1036943 h 1306058"/>
              <a:gd name="connsiteX131" fmla="*/ 1431412 w 4079044"/>
              <a:gd name="connsiteY131" fmla="*/ 1034800 h 1306058"/>
              <a:gd name="connsiteX132" fmla="*/ 1430142 w 4079044"/>
              <a:gd name="connsiteY132" fmla="*/ 1031853 h 1306058"/>
              <a:gd name="connsiteX133" fmla="*/ 1426528 w 4079044"/>
              <a:gd name="connsiteY133" fmla="*/ 1029710 h 1306058"/>
              <a:gd name="connsiteX134" fmla="*/ 1425258 w 4079044"/>
              <a:gd name="connsiteY134" fmla="*/ 1026897 h 1306058"/>
              <a:gd name="connsiteX135" fmla="*/ 1383548 w 4079044"/>
              <a:gd name="connsiteY135" fmla="*/ 1026897 h 1306058"/>
              <a:gd name="connsiteX136" fmla="*/ 1379836 w 4079044"/>
              <a:gd name="connsiteY136" fmla="*/ 1024753 h 1306058"/>
              <a:gd name="connsiteX137" fmla="*/ 1378566 w 4079044"/>
              <a:gd name="connsiteY137" fmla="*/ 1021806 h 1306058"/>
              <a:gd name="connsiteX138" fmla="*/ 1368896 w 4079044"/>
              <a:gd name="connsiteY138" fmla="*/ 1021806 h 1306058"/>
              <a:gd name="connsiteX139" fmla="*/ 1365184 w 4079044"/>
              <a:gd name="connsiteY139" fmla="*/ 1019663 h 1306058"/>
              <a:gd name="connsiteX140" fmla="*/ 1363621 w 4079044"/>
              <a:gd name="connsiteY140" fmla="*/ 1014573 h 1306058"/>
              <a:gd name="connsiteX141" fmla="*/ 1363621 w 4079044"/>
              <a:gd name="connsiteY141" fmla="*/ 1011760 h 1306058"/>
              <a:gd name="connsiteX142" fmla="*/ 1349165 w 4079044"/>
              <a:gd name="connsiteY142" fmla="*/ 1011760 h 1306058"/>
              <a:gd name="connsiteX143" fmla="*/ 1345453 w 4079044"/>
              <a:gd name="connsiteY143" fmla="*/ 1009616 h 1306058"/>
              <a:gd name="connsiteX144" fmla="*/ 1344183 w 4079044"/>
              <a:gd name="connsiteY144" fmla="*/ 1006669 h 1306058"/>
              <a:gd name="connsiteX145" fmla="*/ 1336857 w 4079044"/>
              <a:gd name="connsiteY145" fmla="*/ 1006669 h 1306058"/>
              <a:gd name="connsiteX146" fmla="*/ 1333145 w 4079044"/>
              <a:gd name="connsiteY146" fmla="*/ 1004526 h 1306058"/>
              <a:gd name="connsiteX147" fmla="*/ 1331875 w 4079044"/>
              <a:gd name="connsiteY147" fmla="*/ 1001579 h 1306058"/>
              <a:gd name="connsiteX148" fmla="*/ 1329531 w 4079044"/>
              <a:gd name="connsiteY148" fmla="*/ 1001579 h 1306058"/>
              <a:gd name="connsiteX149" fmla="*/ 1325819 w 4079044"/>
              <a:gd name="connsiteY149" fmla="*/ 999436 h 1306058"/>
              <a:gd name="connsiteX150" fmla="*/ 1324549 w 4079044"/>
              <a:gd name="connsiteY150" fmla="*/ 996489 h 1306058"/>
              <a:gd name="connsiteX151" fmla="*/ 1312339 w 4079044"/>
              <a:gd name="connsiteY151" fmla="*/ 996489 h 1306058"/>
              <a:gd name="connsiteX152" fmla="*/ 1308627 w 4079044"/>
              <a:gd name="connsiteY152" fmla="*/ 994346 h 1306058"/>
              <a:gd name="connsiteX153" fmla="*/ 1307357 w 4079044"/>
              <a:gd name="connsiteY153" fmla="*/ 991399 h 1306058"/>
              <a:gd name="connsiteX154" fmla="*/ 1255880 w 4079044"/>
              <a:gd name="connsiteY154" fmla="*/ 991399 h 1306058"/>
              <a:gd name="connsiteX155" fmla="*/ 1252168 w 4079044"/>
              <a:gd name="connsiteY155" fmla="*/ 989255 h 1306058"/>
              <a:gd name="connsiteX156" fmla="*/ 1250898 w 4079044"/>
              <a:gd name="connsiteY156" fmla="*/ 986308 h 1306058"/>
              <a:gd name="connsiteX157" fmla="*/ 1238688 w 4079044"/>
              <a:gd name="connsiteY157" fmla="*/ 986308 h 1306058"/>
              <a:gd name="connsiteX158" fmla="*/ 1234976 w 4079044"/>
              <a:gd name="connsiteY158" fmla="*/ 984165 h 1306058"/>
              <a:gd name="connsiteX159" fmla="*/ 1233413 w 4079044"/>
              <a:gd name="connsiteY159" fmla="*/ 979075 h 1306058"/>
              <a:gd name="connsiteX160" fmla="*/ 1233413 w 4079044"/>
              <a:gd name="connsiteY160" fmla="*/ 976262 h 1306058"/>
              <a:gd name="connsiteX161" fmla="*/ 1229994 w 4079044"/>
              <a:gd name="connsiteY161" fmla="*/ 974118 h 1306058"/>
              <a:gd name="connsiteX162" fmla="*/ 1228724 w 4079044"/>
              <a:gd name="connsiteY162" fmla="*/ 971305 h 1306058"/>
              <a:gd name="connsiteX163" fmla="*/ 1218956 w 4079044"/>
              <a:gd name="connsiteY163" fmla="*/ 971305 h 1306058"/>
              <a:gd name="connsiteX164" fmla="*/ 1215244 w 4079044"/>
              <a:gd name="connsiteY164" fmla="*/ 969162 h 1306058"/>
              <a:gd name="connsiteX165" fmla="*/ 1213975 w 4079044"/>
              <a:gd name="connsiteY165" fmla="*/ 966349 h 1306058"/>
              <a:gd name="connsiteX166" fmla="*/ 1199322 w 4079044"/>
              <a:gd name="connsiteY166" fmla="*/ 966349 h 1306058"/>
              <a:gd name="connsiteX167" fmla="*/ 1195611 w 4079044"/>
              <a:gd name="connsiteY167" fmla="*/ 964206 h 1306058"/>
              <a:gd name="connsiteX168" fmla="*/ 1194341 w 4079044"/>
              <a:gd name="connsiteY168" fmla="*/ 961393 h 1306058"/>
              <a:gd name="connsiteX169" fmla="*/ 1189457 w 4079044"/>
              <a:gd name="connsiteY169" fmla="*/ 961393 h 1306058"/>
              <a:gd name="connsiteX170" fmla="*/ 1185745 w 4079044"/>
              <a:gd name="connsiteY170" fmla="*/ 959249 h 1306058"/>
              <a:gd name="connsiteX171" fmla="*/ 1184280 w 4079044"/>
              <a:gd name="connsiteY171" fmla="*/ 955365 h 1306058"/>
              <a:gd name="connsiteX172" fmla="*/ 1183303 w 4079044"/>
              <a:gd name="connsiteY172" fmla="*/ 954293 h 1306058"/>
              <a:gd name="connsiteX173" fmla="*/ 1182033 w 4079044"/>
              <a:gd name="connsiteY173" fmla="*/ 951480 h 1306058"/>
              <a:gd name="connsiteX174" fmla="*/ 1174707 w 4079044"/>
              <a:gd name="connsiteY174" fmla="*/ 951480 h 1306058"/>
              <a:gd name="connsiteX175" fmla="*/ 1170995 w 4079044"/>
              <a:gd name="connsiteY175" fmla="*/ 949337 h 1306058"/>
              <a:gd name="connsiteX176" fmla="*/ 1169725 w 4079044"/>
              <a:gd name="connsiteY176" fmla="*/ 946524 h 1306058"/>
              <a:gd name="connsiteX177" fmla="*/ 1166111 w 4079044"/>
              <a:gd name="connsiteY177" fmla="*/ 944380 h 1306058"/>
              <a:gd name="connsiteX178" fmla="*/ 1164646 w 4079044"/>
              <a:gd name="connsiteY178" fmla="*/ 940496 h 1306058"/>
              <a:gd name="connsiteX179" fmla="*/ 1163669 w 4079044"/>
              <a:gd name="connsiteY179" fmla="*/ 939424 h 1306058"/>
              <a:gd name="connsiteX180" fmla="*/ 1162399 w 4079044"/>
              <a:gd name="connsiteY180" fmla="*/ 936611 h 1306058"/>
              <a:gd name="connsiteX181" fmla="*/ 1132997 w 4079044"/>
              <a:gd name="connsiteY181" fmla="*/ 936611 h 1306058"/>
              <a:gd name="connsiteX182" fmla="*/ 1129285 w 4079044"/>
              <a:gd name="connsiteY182" fmla="*/ 934468 h 1306058"/>
              <a:gd name="connsiteX183" fmla="*/ 1128016 w 4079044"/>
              <a:gd name="connsiteY183" fmla="*/ 931655 h 1306058"/>
              <a:gd name="connsiteX184" fmla="*/ 1118248 w 4079044"/>
              <a:gd name="connsiteY184" fmla="*/ 931655 h 1306058"/>
              <a:gd name="connsiteX185" fmla="*/ 1114536 w 4079044"/>
              <a:gd name="connsiteY185" fmla="*/ 929511 h 1306058"/>
              <a:gd name="connsiteX186" fmla="*/ 1112973 w 4079044"/>
              <a:gd name="connsiteY186" fmla="*/ 924421 h 1306058"/>
              <a:gd name="connsiteX187" fmla="*/ 1112973 w 4079044"/>
              <a:gd name="connsiteY187" fmla="*/ 921742 h 1306058"/>
              <a:gd name="connsiteX188" fmla="*/ 1086306 w 4079044"/>
              <a:gd name="connsiteY188" fmla="*/ 921742 h 1306058"/>
              <a:gd name="connsiteX189" fmla="*/ 1082594 w 4079044"/>
              <a:gd name="connsiteY189" fmla="*/ 919599 h 1306058"/>
              <a:gd name="connsiteX190" fmla="*/ 1081324 w 4079044"/>
              <a:gd name="connsiteY190" fmla="*/ 916786 h 1306058"/>
              <a:gd name="connsiteX191" fmla="*/ 1059346 w 4079044"/>
              <a:gd name="connsiteY191" fmla="*/ 916786 h 1306058"/>
              <a:gd name="connsiteX192" fmla="*/ 1055634 w 4079044"/>
              <a:gd name="connsiteY192" fmla="*/ 914642 h 1306058"/>
              <a:gd name="connsiteX193" fmla="*/ 1054364 w 4079044"/>
              <a:gd name="connsiteY193" fmla="*/ 911963 h 1306058"/>
              <a:gd name="connsiteX194" fmla="*/ 1050653 w 4079044"/>
              <a:gd name="connsiteY194" fmla="*/ 909820 h 1306058"/>
              <a:gd name="connsiteX195" fmla="*/ 1049187 w 4079044"/>
              <a:gd name="connsiteY195" fmla="*/ 906069 h 1306058"/>
              <a:gd name="connsiteX196" fmla="*/ 1048211 w 4079044"/>
              <a:gd name="connsiteY196" fmla="*/ 904998 h 1306058"/>
              <a:gd name="connsiteX197" fmla="*/ 1046941 w 4079044"/>
              <a:gd name="connsiteY197" fmla="*/ 902319 h 1306058"/>
              <a:gd name="connsiteX198" fmla="*/ 1032289 w 4079044"/>
              <a:gd name="connsiteY198" fmla="*/ 902319 h 1306058"/>
              <a:gd name="connsiteX199" fmla="*/ 1028577 w 4079044"/>
              <a:gd name="connsiteY199" fmla="*/ 900175 h 1306058"/>
              <a:gd name="connsiteX200" fmla="*/ 1027112 w 4079044"/>
              <a:gd name="connsiteY200" fmla="*/ 896291 h 1306058"/>
              <a:gd name="connsiteX201" fmla="*/ 1026135 w 4079044"/>
              <a:gd name="connsiteY201" fmla="*/ 895219 h 1306058"/>
              <a:gd name="connsiteX202" fmla="*/ 1024865 w 4079044"/>
              <a:gd name="connsiteY202" fmla="*/ 892406 h 1306058"/>
              <a:gd name="connsiteX203" fmla="*/ 1007673 w 4079044"/>
              <a:gd name="connsiteY203" fmla="*/ 892406 h 1306058"/>
              <a:gd name="connsiteX204" fmla="*/ 1003961 w 4079044"/>
              <a:gd name="connsiteY204" fmla="*/ 890263 h 1306058"/>
              <a:gd name="connsiteX205" fmla="*/ 1002496 w 4079044"/>
              <a:gd name="connsiteY205" fmla="*/ 886512 h 1306058"/>
              <a:gd name="connsiteX206" fmla="*/ 1001519 w 4079044"/>
              <a:gd name="connsiteY206" fmla="*/ 885440 h 1306058"/>
              <a:gd name="connsiteX207" fmla="*/ 1000054 w 4079044"/>
              <a:gd name="connsiteY207" fmla="*/ 881690 h 1306058"/>
              <a:gd name="connsiteX208" fmla="*/ 999077 w 4079044"/>
              <a:gd name="connsiteY208" fmla="*/ 880618 h 1306058"/>
              <a:gd name="connsiteX209" fmla="*/ 997807 w 4079044"/>
              <a:gd name="connsiteY209" fmla="*/ 877805 h 1306058"/>
              <a:gd name="connsiteX210" fmla="*/ 995365 w 4079044"/>
              <a:gd name="connsiteY210" fmla="*/ 877805 h 1306058"/>
              <a:gd name="connsiteX211" fmla="*/ 991653 w 4079044"/>
              <a:gd name="connsiteY211" fmla="*/ 875662 h 1306058"/>
              <a:gd name="connsiteX212" fmla="*/ 990384 w 4079044"/>
              <a:gd name="connsiteY212" fmla="*/ 872849 h 1306058"/>
              <a:gd name="connsiteX213" fmla="*/ 986672 w 4079044"/>
              <a:gd name="connsiteY213" fmla="*/ 870705 h 1306058"/>
              <a:gd name="connsiteX214" fmla="*/ 985402 w 4079044"/>
              <a:gd name="connsiteY214" fmla="*/ 868026 h 1306058"/>
              <a:gd name="connsiteX215" fmla="*/ 973192 w 4079044"/>
              <a:gd name="connsiteY215" fmla="*/ 868026 h 1306058"/>
              <a:gd name="connsiteX216" fmla="*/ 969480 w 4079044"/>
              <a:gd name="connsiteY216" fmla="*/ 865883 h 1306058"/>
              <a:gd name="connsiteX217" fmla="*/ 968015 w 4079044"/>
              <a:gd name="connsiteY217" fmla="*/ 862132 h 1306058"/>
              <a:gd name="connsiteX218" fmla="*/ 967038 w 4079044"/>
              <a:gd name="connsiteY218" fmla="*/ 861061 h 1306058"/>
              <a:gd name="connsiteX219" fmla="*/ 965768 w 4079044"/>
              <a:gd name="connsiteY219" fmla="*/ 858382 h 1306058"/>
              <a:gd name="connsiteX220" fmla="*/ 963326 w 4079044"/>
              <a:gd name="connsiteY220" fmla="*/ 858382 h 1306058"/>
              <a:gd name="connsiteX221" fmla="*/ 959614 w 4079044"/>
              <a:gd name="connsiteY221" fmla="*/ 856238 h 1306058"/>
              <a:gd name="connsiteX222" fmla="*/ 958149 w 4079044"/>
              <a:gd name="connsiteY222" fmla="*/ 852488 h 1306058"/>
              <a:gd name="connsiteX223" fmla="*/ 957172 w 4079044"/>
              <a:gd name="connsiteY223" fmla="*/ 851416 h 1306058"/>
              <a:gd name="connsiteX224" fmla="*/ 955902 w 4079044"/>
              <a:gd name="connsiteY224" fmla="*/ 848737 h 1306058"/>
              <a:gd name="connsiteX225" fmla="*/ 926500 w 4079044"/>
              <a:gd name="connsiteY225" fmla="*/ 848737 h 1306058"/>
              <a:gd name="connsiteX226" fmla="*/ 922789 w 4079044"/>
              <a:gd name="connsiteY226" fmla="*/ 846594 h 1306058"/>
              <a:gd name="connsiteX227" fmla="*/ 921519 w 4079044"/>
              <a:gd name="connsiteY227" fmla="*/ 843780 h 1306058"/>
              <a:gd name="connsiteX228" fmla="*/ 904327 w 4079044"/>
              <a:gd name="connsiteY228" fmla="*/ 843780 h 1306058"/>
              <a:gd name="connsiteX229" fmla="*/ 900615 w 4079044"/>
              <a:gd name="connsiteY229" fmla="*/ 841637 h 1306058"/>
              <a:gd name="connsiteX230" fmla="*/ 899345 w 4079044"/>
              <a:gd name="connsiteY230" fmla="*/ 838958 h 1306058"/>
              <a:gd name="connsiteX231" fmla="*/ 896903 w 4079044"/>
              <a:gd name="connsiteY231" fmla="*/ 838958 h 1306058"/>
              <a:gd name="connsiteX232" fmla="*/ 893191 w 4079044"/>
              <a:gd name="connsiteY232" fmla="*/ 836815 h 1306058"/>
              <a:gd name="connsiteX233" fmla="*/ 891629 w 4079044"/>
              <a:gd name="connsiteY233" fmla="*/ 831725 h 1306058"/>
              <a:gd name="connsiteX234" fmla="*/ 891629 w 4079044"/>
              <a:gd name="connsiteY234" fmla="*/ 828242 h 1306058"/>
              <a:gd name="connsiteX235" fmla="*/ 890749 w 4079044"/>
              <a:gd name="connsiteY235" fmla="*/ 827304 h 1306058"/>
              <a:gd name="connsiteX236" fmla="*/ 889577 w 4079044"/>
              <a:gd name="connsiteY236" fmla="*/ 824625 h 1306058"/>
              <a:gd name="connsiteX237" fmla="*/ 887135 w 4079044"/>
              <a:gd name="connsiteY237" fmla="*/ 824625 h 1306058"/>
              <a:gd name="connsiteX238" fmla="*/ 883423 w 4079044"/>
              <a:gd name="connsiteY238" fmla="*/ 822482 h 1306058"/>
              <a:gd name="connsiteX239" fmla="*/ 882153 w 4079044"/>
              <a:gd name="connsiteY239" fmla="*/ 819803 h 1306058"/>
              <a:gd name="connsiteX240" fmla="*/ 867501 w 4079044"/>
              <a:gd name="connsiteY240" fmla="*/ 819803 h 1306058"/>
              <a:gd name="connsiteX241" fmla="*/ 863790 w 4079044"/>
              <a:gd name="connsiteY241" fmla="*/ 817659 h 1306058"/>
              <a:gd name="connsiteX242" fmla="*/ 862617 w 4079044"/>
              <a:gd name="connsiteY242" fmla="*/ 814980 h 1306058"/>
              <a:gd name="connsiteX243" fmla="*/ 858906 w 4079044"/>
              <a:gd name="connsiteY243" fmla="*/ 812837 h 1306058"/>
              <a:gd name="connsiteX244" fmla="*/ 857343 w 4079044"/>
              <a:gd name="connsiteY244" fmla="*/ 807747 h 1306058"/>
              <a:gd name="connsiteX245" fmla="*/ 857343 w 4079044"/>
              <a:gd name="connsiteY245" fmla="*/ 805469 h 1306058"/>
              <a:gd name="connsiteX246" fmla="*/ 852752 w 4079044"/>
              <a:gd name="connsiteY246" fmla="*/ 805469 h 1306058"/>
              <a:gd name="connsiteX247" fmla="*/ 849040 w 4079044"/>
              <a:gd name="connsiteY247" fmla="*/ 803326 h 1306058"/>
              <a:gd name="connsiteX248" fmla="*/ 847770 w 4079044"/>
              <a:gd name="connsiteY248" fmla="*/ 800647 h 1306058"/>
              <a:gd name="connsiteX249" fmla="*/ 835462 w 4079044"/>
              <a:gd name="connsiteY249" fmla="*/ 800647 h 1306058"/>
              <a:gd name="connsiteX250" fmla="*/ 831750 w 4079044"/>
              <a:gd name="connsiteY250" fmla="*/ 798504 h 1306058"/>
              <a:gd name="connsiteX251" fmla="*/ 830383 w 4079044"/>
              <a:gd name="connsiteY251" fmla="*/ 794887 h 1306058"/>
              <a:gd name="connsiteX252" fmla="*/ 829308 w 4079044"/>
              <a:gd name="connsiteY252" fmla="*/ 793815 h 1306058"/>
              <a:gd name="connsiteX253" fmla="*/ 828136 w 4079044"/>
              <a:gd name="connsiteY253" fmla="*/ 791136 h 1306058"/>
              <a:gd name="connsiteX254" fmla="*/ 820810 w 4079044"/>
              <a:gd name="connsiteY254" fmla="*/ 791136 h 1306058"/>
              <a:gd name="connsiteX255" fmla="*/ 817098 w 4079044"/>
              <a:gd name="connsiteY255" fmla="*/ 788993 h 1306058"/>
              <a:gd name="connsiteX256" fmla="*/ 815926 w 4079044"/>
              <a:gd name="connsiteY256" fmla="*/ 786314 h 1306058"/>
              <a:gd name="connsiteX257" fmla="*/ 806060 w 4079044"/>
              <a:gd name="connsiteY257" fmla="*/ 786314 h 1306058"/>
              <a:gd name="connsiteX258" fmla="*/ 802348 w 4079044"/>
              <a:gd name="connsiteY258" fmla="*/ 784171 h 1306058"/>
              <a:gd name="connsiteX259" fmla="*/ 800883 w 4079044"/>
              <a:gd name="connsiteY259" fmla="*/ 780554 h 1306058"/>
              <a:gd name="connsiteX260" fmla="*/ 799809 w 4079044"/>
              <a:gd name="connsiteY260" fmla="*/ 779482 h 1306058"/>
              <a:gd name="connsiteX261" fmla="*/ 798246 w 4079044"/>
              <a:gd name="connsiteY261" fmla="*/ 774392 h 1306058"/>
              <a:gd name="connsiteX262" fmla="*/ 798246 w 4079044"/>
              <a:gd name="connsiteY262" fmla="*/ 770909 h 1306058"/>
              <a:gd name="connsiteX263" fmla="*/ 797269 w 4079044"/>
              <a:gd name="connsiteY263" fmla="*/ 769838 h 1306058"/>
              <a:gd name="connsiteX264" fmla="*/ 796097 w 4079044"/>
              <a:gd name="connsiteY264" fmla="*/ 767158 h 1306058"/>
              <a:gd name="connsiteX265" fmla="*/ 783789 w 4079044"/>
              <a:gd name="connsiteY265" fmla="*/ 767158 h 1306058"/>
              <a:gd name="connsiteX266" fmla="*/ 780077 w 4079044"/>
              <a:gd name="connsiteY266" fmla="*/ 765015 h 1306058"/>
              <a:gd name="connsiteX267" fmla="*/ 778905 w 4079044"/>
              <a:gd name="connsiteY267" fmla="*/ 762336 h 1306058"/>
              <a:gd name="connsiteX268" fmla="*/ 775193 w 4079044"/>
              <a:gd name="connsiteY268" fmla="*/ 760193 h 1306058"/>
              <a:gd name="connsiteX269" fmla="*/ 773826 w 4079044"/>
              <a:gd name="connsiteY269" fmla="*/ 756576 h 1306058"/>
              <a:gd name="connsiteX270" fmla="*/ 772751 w 4079044"/>
              <a:gd name="connsiteY270" fmla="*/ 755504 h 1306058"/>
              <a:gd name="connsiteX271" fmla="*/ 771286 w 4079044"/>
              <a:gd name="connsiteY271" fmla="*/ 751888 h 1306058"/>
              <a:gd name="connsiteX272" fmla="*/ 770212 w 4079044"/>
              <a:gd name="connsiteY272" fmla="*/ 750816 h 1306058"/>
              <a:gd name="connsiteX273" fmla="*/ 768649 w 4079044"/>
              <a:gd name="connsiteY273" fmla="*/ 745726 h 1306058"/>
              <a:gd name="connsiteX274" fmla="*/ 768649 w 4079044"/>
              <a:gd name="connsiteY274" fmla="*/ 742377 h 1306058"/>
              <a:gd name="connsiteX275" fmla="*/ 767770 w 4079044"/>
              <a:gd name="connsiteY275" fmla="*/ 741305 h 1306058"/>
              <a:gd name="connsiteX276" fmla="*/ 766597 w 4079044"/>
              <a:gd name="connsiteY276" fmla="*/ 738760 h 1306058"/>
              <a:gd name="connsiteX277" fmla="*/ 764155 w 4079044"/>
              <a:gd name="connsiteY277" fmla="*/ 738760 h 1306058"/>
              <a:gd name="connsiteX278" fmla="*/ 760443 w 4079044"/>
              <a:gd name="connsiteY278" fmla="*/ 736617 h 1306058"/>
              <a:gd name="connsiteX279" fmla="*/ 758978 w 4079044"/>
              <a:gd name="connsiteY279" fmla="*/ 732866 h 1306058"/>
              <a:gd name="connsiteX280" fmla="*/ 758001 w 4079044"/>
              <a:gd name="connsiteY280" fmla="*/ 731794 h 1306058"/>
              <a:gd name="connsiteX281" fmla="*/ 756829 w 4079044"/>
              <a:gd name="connsiteY281" fmla="*/ 729115 h 1306058"/>
              <a:gd name="connsiteX282" fmla="*/ 754387 w 4079044"/>
              <a:gd name="connsiteY282" fmla="*/ 729115 h 1306058"/>
              <a:gd name="connsiteX283" fmla="*/ 750675 w 4079044"/>
              <a:gd name="connsiteY283" fmla="*/ 726972 h 1306058"/>
              <a:gd name="connsiteX284" fmla="*/ 749406 w 4079044"/>
              <a:gd name="connsiteY284" fmla="*/ 724293 h 1306058"/>
              <a:gd name="connsiteX285" fmla="*/ 746964 w 4079044"/>
              <a:gd name="connsiteY285" fmla="*/ 724293 h 1306058"/>
              <a:gd name="connsiteX286" fmla="*/ 743252 w 4079044"/>
              <a:gd name="connsiteY286" fmla="*/ 722150 h 1306058"/>
              <a:gd name="connsiteX287" fmla="*/ 742080 w 4079044"/>
              <a:gd name="connsiteY287" fmla="*/ 719471 h 1306058"/>
              <a:gd name="connsiteX288" fmla="*/ 738368 w 4079044"/>
              <a:gd name="connsiteY288" fmla="*/ 717327 h 1306058"/>
              <a:gd name="connsiteX289" fmla="*/ 737196 w 4079044"/>
              <a:gd name="connsiteY289" fmla="*/ 714648 h 1306058"/>
              <a:gd name="connsiteX290" fmla="*/ 733484 w 4079044"/>
              <a:gd name="connsiteY290" fmla="*/ 712505 h 1306058"/>
              <a:gd name="connsiteX291" fmla="*/ 732311 w 4079044"/>
              <a:gd name="connsiteY291" fmla="*/ 709960 h 1306058"/>
              <a:gd name="connsiteX292" fmla="*/ 727427 w 4079044"/>
              <a:gd name="connsiteY292" fmla="*/ 709960 h 1306058"/>
              <a:gd name="connsiteX293" fmla="*/ 723716 w 4079044"/>
              <a:gd name="connsiteY293" fmla="*/ 707816 h 1306058"/>
              <a:gd name="connsiteX294" fmla="*/ 722153 w 4079044"/>
              <a:gd name="connsiteY294" fmla="*/ 702726 h 1306058"/>
              <a:gd name="connsiteX295" fmla="*/ 722153 w 4079044"/>
              <a:gd name="connsiteY295" fmla="*/ 700583 h 1306058"/>
              <a:gd name="connsiteX296" fmla="*/ 715120 w 4079044"/>
              <a:gd name="connsiteY296" fmla="*/ 700583 h 1306058"/>
              <a:gd name="connsiteX297" fmla="*/ 711408 w 4079044"/>
              <a:gd name="connsiteY297" fmla="*/ 698440 h 1306058"/>
              <a:gd name="connsiteX298" fmla="*/ 710236 w 4079044"/>
              <a:gd name="connsiteY298" fmla="*/ 695895 h 1306058"/>
              <a:gd name="connsiteX299" fmla="*/ 702910 w 4079044"/>
              <a:gd name="connsiteY299" fmla="*/ 695895 h 1306058"/>
              <a:gd name="connsiteX300" fmla="*/ 699198 w 4079044"/>
              <a:gd name="connsiteY300" fmla="*/ 693751 h 1306058"/>
              <a:gd name="connsiteX301" fmla="*/ 698026 w 4079044"/>
              <a:gd name="connsiteY301" fmla="*/ 691206 h 1306058"/>
              <a:gd name="connsiteX302" fmla="*/ 694314 w 4079044"/>
              <a:gd name="connsiteY302" fmla="*/ 689063 h 1306058"/>
              <a:gd name="connsiteX303" fmla="*/ 693142 w 4079044"/>
              <a:gd name="connsiteY303" fmla="*/ 686518 h 1306058"/>
              <a:gd name="connsiteX304" fmla="*/ 683276 w 4079044"/>
              <a:gd name="connsiteY304" fmla="*/ 686518 h 1306058"/>
              <a:gd name="connsiteX305" fmla="*/ 679564 w 4079044"/>
              <a:gd name="connsiteY305" fmla="*/ 684374 h 1306058"/>
              <a:gd name="connsiteX306" fmla="*/ 678392 w 4079044"/>
              <a:gd name="connsiteY306" fmla="*/ 681695 h 1306058"/>
              <a:gd name="connsiteX307" fmla="*/ 670968 w 4079044"/>
              <a:gd name="connsiteY307" fmla="*/ 681695 h 1306058"/>
              <a:gd name="connsiteX308" fmla="*/ 667256 w 4079044"/>
              <a:gd name="connsiteY308" fmla="*/ 679552 h 1306058"/>
              <a:gd name="connsiteX309" fmla="*/ 666084 w 4079044"/>
              <a:gd name="connsiteY309" fmla="*/ 677007 h 1306058"/>
              <a:gd name="connsiteX310" fmla="*/ 663642 w 4079044"/>
              <a:gd name="connsiteY310" fmla="*/ 677007 h 1306058"/>
              <a:gd name="connsiteX311" fmla="*/ 659930 w 4079044"/>
              <a:gd name="connsiteY311" fmla="*/ 674864 h 1306058"/>
              <a:gd name="connsiteX312" fmla="*/ 658367 w 4079044"/>
              <a:gd name="connsiteY312" fmla="*/ 669773 h 1306058"/>
              <a:gd name="connsiteX313" fmla="*/ 658367 w 4079044"/>
              <a:gd name="connsiteY313" fmla="*/ 661736 h 1306058"/>
              <a:gd name="connsiteX314" fmla="*/ 657390 w 4079044"/>
              <a:gd name="connsiteY314" fmla="*/ 660664 h 1306058"/>
              <a:gd name="connsiteX315" fmla="*/ 656218 w 4079044"/>
              <a:gd name="connsiteY315" fmla="*/ 658119 h 1306058"/>
              <a:gd name="connsiteX316" fmla="*/ 656218 w 4079044"/>
              <a:gd name="connsiteY316" fmla="*/ 658119 h 1306058"/>
              <a:gd name="connsiteX317" fmla="*/ 652506 w 4079044"/>
              <a:gd name="connsiteY317" fmla="*/ 655976 h 1306058"/>
              <a:gd name="connsiteX318" fmla="*/ 651334 w 4079044"/>
              <a:gd name="connsiteY318" fmla="*/ 653431 h 1306058"/>
              <a:gd name="connsiteX319" fmla="*/ 651334 w 4079044"/>
              <a:gd name="connsiteY319" fmla="*/ 653431 h 1306058"/>
              <a:gd name="connsiteX320" fmla="*/ 647622 w 4079044"/>
              <a:gd name="connsiteY320" fmla="*/ 651288 h 1306058"/>
              <a:gd name="connsiteX321" fmla="*/ 646157 w 4079044"/>
              <a:gd name="connsiteY321" fmla="*/ 647671 h 1306058"/>
              <a:gd name="connsiteX322" fmla="*/ 645180 w 4079044"/>
              <a:gd name="connsiteY322" fmla="*/ 646599 h 1306058"/>
              <a:gd name="connsiteX323" fmla="*/ 644008 w 4079044"/>
              <a:gd name="connsiteY323" fmla="*/ 644054 h 1306058"/>
              <a:gd name="connsiteX324" fmla="*/ 631798 w 4079044"/>
              <a:gd name="connsiteY324" fmla="*/ 644054 h 1306058"/>
              <a:gd name="connsiteX325" fmla="*/ 628086 w 4079044"/>
              <a:gd name="connsiteY325" fmla="*/ 641911 h 1306058"/>
              <a:gd name="connsiteX326" fmla="*/ 626914 w 4079044"/>
              <a:gd name="connsiteY326" fmla="*/ 639232 h 1306058"/>
              <a:gd name="connsiteX327" fmla="*/ 624472 w 4079044"/>
              <a:gd name="connsiteY327" fmla="*/ 639232 h 1306058"/>
              <a:gd name="connsiteX328" fmla="*/ 620760 w 4079044"/>
              <a:gd name="connsiteY328" fmla="*/ 637088 h 1306058"/>
              <a:gd name="connsiteX329" fmla="*/ 619393 w 4079044"/>
              <a:gd name="connsiteY329" fmla="*/ 633472 h 1306058"/>
              <a:gd name="connsiteX330" fmla="*/ 618318 w 4079044"/>
              <a:gd name="connsiteY330" fmla="*/ 632400 h 1306058"/>
              <a:gd name="connsiteX331" fmla="*/ 616755 w 4079044"/>
              <a:gd name="connsiteY331" fmla="*/ 627310 h 1306058"/>
              <a:gd name="connsiteX332" fmla="*/ 616755 w 4079044"/>
              <a:gd name="connsiteY332" fmla="*/ 620344 h 1306058"/>
              <a:gd name="connsiteX333" fmla="*/ 614606 w 4079044"/>
              <a:gd name="connsiteY333" fmla="*/ 620344 h 1306058"/>
              <a:gd name="connsiteX334" fmla="*/ 610895 w 4079044"/>
              <a:gd name="connsiteY334" fmla="*/ 618201 h 1306058"/>
              <a:gd name="connsiteX335" fmla="*/ 609722 w 4079044"/>
              <a:gd name="connsiteY335" fmla="*/ 615656 h 1306058"/>
              <a:gd name="connsiteX336" fmla="*/ 609722 w 4079044"/>
              <a:gd name="connsiteY336" fmla="*/ 615656 h 1306058"/>
              <a:gd name="connsiteX337" fmla="*/ 606010 w 4079044"/>
              <a:gd name="connsiteY337" fmla="*/ 613512 h 1306058"/>
              <a:gd name="connsiteX338" fmla="*/ 604448 w 4079044"/>
              <a:gd name="connsiteY338" fmla="*/ 608422 h 1306058"/>
              <a:gd name="connsiteX339" fmla="*/ 604448 w 4079044"/>
              <a:gd name="connsiteY339" fmla="*/ 601590 h 1306058"/>
              <a:gd name="connsiteX340" fmla="*/ 597415 w 4079044"/>
              <a:gd name="connsiteY340" fmla="*/ 601590 h 1306058"/>
              <a:gd name="connsiteX341" fmla="*/ 593703 w 4079044"/>
              <a:gd name="connsiteY341" fmla="*/ 599447 h 1306058"/>
              <a:gd name="connsiteX342" fmla="*/ 592531 w 4079044"/>
              <a:gd name="connsiteY342" fmla="*/ 596768 h 1306058"/>
              <a:gd name="connsiteX343" fmla="*/ 590089 w 4079044"/>
              <a:gd name="connsiteY343" fmla="*/ 596768 h 1306058"/>
              <a:gd name="connsiteX344" fmla="*/ 586377 w 4079044"/>
              <a:gd name="connsiteY344" fmla="*/ 594625 h 1306058"/>
              <a:gd name="connsiteX345" fmla="*/ 585009 w 4079044"/>
              <a:gd name="connsiteY345" fmla="*/ 591142 h 1306058"/>
              <a:gd name="connsiteX346" fmla="*/ 583935 w 4079044"/>
              <a:gd name="connsiteY346" fmla="*/ 590070 h 1306058"/>
              <a:gd name="connsiteX347" fmla="*/ 582762 w 4079044"/>
              <a:gd name="connsiteY347" fmla="*/ 587391 h 1306058"/>
              <a:gd name="connsiteX348" fmla="*/ 568110 w 4079044"/>
              <a:gd name="connsiteY348" fmla="*/ 587391 h 1306058"/>
              <a:gd name="connsiteX349" fmla="*/ 564399 w 4079044"/>
              <a:gd name="connsiteY349" fmla="*/ 585248 h 1306058"/>
              <a:gd name="connsiteX350" fmla="*/ 563226 w 4079044"/>
              <a:gd name="connsiteY350" fmla="*/ 582703 h 1306058"/>
              <a:gd name="connsiteX351" fmla="*/ 558342 w 4079044"/>
              <a:gd name="connsiteY351" fmla="*/ 582703 h 1306058"/>
              <a:gd name="connsiteX352" fmla="*/ 554630 w 4079044"/>
              <a:gd name="connsiteY352" fmla="*/ 580560 h 1306058"/>
              <a:gd name="connsiteX353" fmla="*/ 553165 w 4079044"/>
              <a:gd name="connsiteY353" fmla="*/ 576943 h 1306058"/>
              <a:gd name="connsiteX354" fmla="*/ 552091 w 4079044"/>
              <a:gd name="connsiteY354" fmla="*/ 575871 h 1306058"/>
              <a:gd name="connsiteX355" fmla="*/ 550626 w 4079044"/>
              <a:gd name="connsiteY355" fmla="*/ 572254 h 1306058"/>
              <a:gd name="connsiteX356" fmla="*/ 549551 w 4079044"/>
              <a:gd name="connsiteY356" fmla="*/ 571183 h 1306058"/>
              <a:gd name="connsiteX357" fmla="*/ 548379 w 4079044"/>
              <a:gd name="connsiteY357" fmla="*/ 568638 h 1306058"/>
              <a:gd name="connsiteX358" fmla="*/ 545937 w 4079044"/>
              <a:gd name="connsiteY358" fmla="*/ 568638 h 1306058"/>
              <a:gd name="connsiteX359" fmla="*/ 542225 w 4079044"/>
              <a:gd name="connsiteY359" fmla="*/ 566494 h 1306058"/>
              <a:gd name="connsiteX360" fmla="*/ 541053 w 4079044"/>
              <a:gd name="connsiteY360" fmla="*/ 563815 h 1306058"/>
              <a:gd name="connsiteX361" fmla="*/ 537341 w 4079044"/>
              <a:gd name="connsiteY361" fmla="*/ 561672 h 1306058"/>
              <a:gd name="connsiteX362" fmla="*/ 536169 w 4079044"/>
              <a:gd name="connsiteY362" fmla="*/ 559127 h 1306058"/>
              <a:gd name="connsiteX363" fmla="*/ 526303 w 4079044"/>
              <a:gd name="connsiteY363" fmla="*/ 559127 h 1306058"/>
              <a:gd name="connsiteX364" fmla="*/ 522591 w 4079044"/>
              <a:gd name="connsiteY364" fmla="*/ 556984 h 1306058"/>
              <a:gd name="connsiteX365" fmla="*/ 521126 w 4079044"/>
              <a:gd name="connsiteY365" fmla="*/ 553367 h 1306058"/>
              <a:gd name="connsiteX366" fmla="*/ 520052 w 4079044"/>
              <a:gd name="connsiteY366" fmla="*/ 552295 h 1306058"/>
              <a:gd name="connsiteX367" fmla="*/ 518489 w 4079044"/>
              <a:gd name="connsiteY367" fmla="*/ 547205 h 1306058"/>
              <a:gd name="connsiteX368" fmla="*/ 518489 w 4079044"/>
              <a:gd name="connsiteY368" fmla="*/ 545062 h 1306058"/>
              <a:gd name="connsiteX369" fmla="*/ 513995 w 4079044"/>
              <a:gd name="connsiteY369" fmla="*/ 545062 h 1306058"/>
              <a:gd name="connsiteX370" fmla="*/ 510283 w 4079044"/>
              <a:gd name="connsiteY370" fmla="*/ 542918 h 1306058"/>
              <a:gd name="connsiteX371" fmla="*/ 508721 w 4079044"/>
              <a:gd name="connsiteY371" fmla="*/ 537828 h 1306058"/>
              <a:gd name="connsiteX372" fmla="*/ 508721 w 4079044"/>
              <a:gd name="connsiteY372" fmla="*/ 535685 h 1306058"/>
              <a:gd name="connsiteX373" fmla="*/ 506572 w 4079044"/>
              <a:gd name="connsiteY373" fmla="*/ 535685 h 1306058"/>
              <a:gd name="connsiteX374" fmla="*/ 502860 w 4079044"/>
              <a:gd name="connsiteY374" fmla="*/ 533541 h 1306058"/>
              <a:gd name="connsiteX375" fmla="*/ 501297 w 4079044"/>
              <a:gd name="connsiteY375" fmla="*/ 528451 h 1306058"/>
              <a:gd name="connsiteX376" fmla="*/ 501297 w 4079044"/>
              <a:gd name="connsiteY376" fmla="*/ 525236 h 1306058"/>
              <a:gd name="connsiteX377" fmla="*/ 500418 w 4079044"/>
              <a:gd name="connsiteY377" fmla="*/ 524165 h 1306058"/>
              <a:gd name="connsiteX378" fmla="*/ 499050 w 4079044"/>
              <a:gd name="connsiteY378" fmla="*/ 520682 h 1306058"/>
              <a:gd name="connsiteX379" fmla="*/ 497976 w 4079044"/>
              <a:gd name="connsiteY379" fmla="*/ 519610 h 1306058"/>
              <a:gd name="connsiteX380" fmla="*/ 496804 w 4079044"/>
              <a:gd name="connsiteY380" fmla="*/ 517065 h 1306058"/>
              <a:gd name="connsiteX381" fmla="*/ 484496 w 4079044"/>
              <a:gd name="connsiteY381" fmla="*/ 517065 h 1306058"/>
              <a:gd name="connsiteX382" fmla="*/ 480784 w 4079044"/>
              <a:gd name="connsiteY382" fmla="*/ 514922 h 1306058"/>
              <a:gd name="connsiteX383" fmla="*/ 479612 w 4079044"/>
              <a:gd name="connsiteY383" fmla="*/ 512377 h 1306058"/>
              <a:gd name="connsiteX384" fmla="*/ 479612 w 4079044"/>
              <a:gd name="connsiteY384" fmla="*/ 512377 h 1306058"/>
              <a:gd name="connsiteX385" fmla="*/ 475900 w 4079044"/>
              <a:gd name="connsiteY385" fmla="*/ 510233 h 1306058"/>
              <a:gd name="connsiteX386" fmla="*/ 474337 w 4079044"/>
              <a:gd name="connsiteY386" fmla="*/ 505143 h 1306058"/>
              <a:gd name="connsiteX387" fmla="*/ 474337 w 4079044"/>
              <a:gd name="connsiteY387" fmla="*/ 501928 h 1306058"/>
              <a:gd name="connsiteX388" fmla="*/ 473458 w 4079044"/>
              <a:gd name="connsiteY388" fmla="*/ 500990 h 1306058"/>
              <a:gd name="connsiteX389" fmla="*/ 472286 w 4079044"/>
              <a:gd name="connsiteY389" fmla="*/ 498445 h 1306058"/>
              <a:gd name="connsiteX390" fmla="*/ 459978 w 4079044"/>
              <a:gd name="connsiteY390" fmla="*/ 498445 h 1306058"/>
              <a:gd name="connsiteX391" fmla="*/ 456266 w 4079044"/>
              <a:gd name="connsiteY391" fmla="*/ 496302 h 1306058"/>
              <a:gd name="connsiteX392" fmla="*/ 455094 w 4079044"/>
              <a:gd name="connsiteY392" fmla="*/ 493757 h 1306058"/>
              <a:gd name="connsiteX393" fmla="*/ 445228 w 4079044"/>
              <a:gd name="connsiteY393" fmla="*/ 493757 h 1306058"/>
              <a:gd name="connsiteX394" fmla="*/ 441516 w 4079044"/>
              <a:gd name="connsiteY394" fmla="*/ 491614 h 1306058"/>
              <a:gd name="connsiteX395" fmla="*/ 439953 w 4079044"/>
              <a:gd name="connsiteY395" fmla="*/ 486523 h 1306058"/>
              <a:gd name="connsiteX396" fmla="*/ 439953 w 4079044"/>
              <a:gd name="connsiteY396" fmla="*/ 483308 h 1306058"/>
              <a:gd name="connsiteX397" fmla="*/ 439074 w 4079044"/>
              <a:gd name="connsiteY397" fmla="*/ 482371 h 1306058"/>
              <a:gd name="connsiteX398" fmla="*/ 437707 w 4079044"/>
              <a:gd name="connsiteY398" fmla="*/ 478888 h 1306058"/>
              <a:gd name="connsiteX399" fmla="*/ 436632 w 4079044"/>
              <a:gd name="connsiteY399" fmla="*/ 477816 h 1306058"/>
              <a:gd name="connsiteX400" fmla="*/ 435069 w 4079044"/>
              <a:gd name="connsiteY400" fmla="*/ 472726 h 1306058"/>
              <a:gd name="connsiteX401" fmla="*/ 435069 w 4079044"/>
              <a:gd name="connsiteY401" fmla="*/ 469511 h 1306058"/>
              <a:gd name="connsiteX402" fmla="*/ 434190 w 4079044"/>
              <a:gd name="connsiteY402" fmla="*/ 468573 h 1306058"/>
              <a:gd name="connsiteX403" fmla="*/ 433018 w 4079044"/>
              <a:gd name="connsiteY403" fmla="*/ 466028 h 1306058"/>
              <a:gd name="connsiteX404" fmla="*/ 428134 w 4079044"/>
              <a:gd name="connsiteY404" fmla="*/ 466028 h 1306058"/>
              <a:gd name="connsiteX405" fmla="*/ 424422 w 4079044"/>
              <a:gd name="connsiteY405" fmla="*/ 463885 h 1306058"/>
              <a:gd name="connsiteX406" fmla="*/ 422957 w 4079044"/>
              <a:gd name="connsiteY406" fmla="*/ 460268 h 1306058"/>
              <a:gd name="connsiteX407" fmla="*/ 421883 w 4079044"/>
              <a:gd name="connsiteY407" fmla="*/ 459197 h 1306058"/>
              <a:gd name="connsiteX408" fmla="*/ 420515 w 4079044"/>
              <a:gd name="connsiteY408" fmla="*/ 455580 h 1306058"/>
              <a:gd name="connsiteX409" fmla="*/ 419440 w 4079044"/>
              <a:gd name="connsiteY409" fmla="*/ 454508 h 1306058"/>
              <a:gd name="connsiteX410" fmla="*/ 417975 w 4079044"/>
              <a:gd name="connsiteY410" fmla="*/ 450891 h 1306058"/>
              <a:gd name="connsiteX411" fmla="*/ 416901 w 4079044"/>
              <a:gd name="connsiteY411" fmla="*/ 449820 h 1306058"/>
              <a:gd name="connsiteX412" fmla="*/ 415533 w 4079044"/>
              <a:gd name="connsiteY412" fmla="*/ 446337 h 1306058"/>
              <a:gd name="connsiteX413" fmla="*/ 414459 w 4079044"/>
              <a:gd name="connsiteY413" fmla="*/ 445265 h 1306058"/>
              <a:gd name="connsiteX414" fmla="*/ 413091 w 4079044"/>
              <a:gd name="connsiteY414" fmla="*/ 441783 h 1306058"/>
              <a:gd name="connsiteX415" fmla="*/ 412017 w 4079044"/>
              <a:gd name="connsiteY415" fmla="*/ 440711 h 1306058"/>
              <a:gd name="connsiteX416" fmla="*/ 410845 w 4079044"/>
              <a:gd name="connsiteY416" fmla="*/ 438166 h 1306058"/>
              <a:gd name="connsiteX417" fmla="*/ 405961 w 4079044"/>
              <a:gd name="connsiteY417" fmla="*/ 438166 h 1306058"/>
              <a:gd name="connsiteX418" fmla="*/ 402249 w 4079044"/>
              <a:gd name="connsiteY418" fmla="*/ 436022 h 1306058"/>
              <a:gd name="connsiteX419" fmla="*/ 400784 w 4079044"/>
              <a:gd name="connsiteY419" fmla="*/ 432406 h 1306058"/>
              <a:gd name="connsiteX420" fmla="*/ 399709 w 4079044"/>
              <a:gd name="connsiteY420" fmla="*/ 431334 h 1306058"/>
              <a:gd name="connsiteX421" fmla="*/ 398244 w 4079044"/>
              <a:gd name="connsiteY421" fmla="*/ 427851 h 1306058"/>
              <a:gd name="connsiteX422" fmla="*/ 397169 w 4079044"/>
              <a:gd name="connsiteY422" fmla="*/ 426780 h 1306058"/>
              <a:gd name="connsiteX423" fmla="*/ 395997 w 4079044"/>
              <a:gd name="connsiteY423" fmla="*/ 424234 h 1306058"/>
              <a:gd name="connsiteX424" fmla="*/ 393555 w 4079044"/>
              <a:gd name="connsiteY424" fmla="*/ 424234 h 1306058"/>
              <a:gd name="connsiteX425" fmla="*/ 389843 w 4079044"/>
              <a:gd name="connsiteY425" fmla="*/ 422091 h 1306058"/>
              <a:gd name="connsiteX426" fmla="*/ 388671 w 4079044"/>
              <a:gd name="connsiteY426" fmla="*/ 419546 h 1306058"/>
              <a:gd name="connsiteX427" fmla="*/ 388671 w 4079044"/>
              <a:gd name="connsiteY427" fmla="*/ 419546 h 1306058"/>
              <a:gd name="connsiteX428" fmla="*/ 384959 w 4079044"/>
              <a:gd name="connsiteY428" fmla="*/ 417403 h 1306058"/>
              <a:gd name="connsiteX429" fmla="*/ 383787 w 4079044"/>
              <a:gd name="connsiteY429" fmla="*/ 414858 h 1306058"/>
              <a:gd name="connsiteX430" fmla="*/ 383787 w 4079044"/>
              <a:gd name="connsiteY430" fmla="*/ 414858 h 1306058"/>
              <a:gd name="connsiteX431" fmla="*/ 380075 w 4079044"/>
              <a:gd name="connsiteY431" fmla="*/ 412714 h 1306058"/>
              <a:gd name="connsiteX432" fmla="*/ 378708 w 4079044"/>
              <a:gd name="connsiteY432" fmla="*/ 409098 h 1306058"/>
              <a:gd name="connsiteX433" fmla="*/ 377633 w 4079044"/>
              <a:gd name="connsiteY433" fmla="*/ 408026 h 1306058"/>
              <a:gd name="connsiteX434" fmla="*/ 376461 w 4079044"/>
              <a:gd name="connsiteY434" fmla="*/ 405481 h 1306058"/>
              <a:gd name="connsiteX435" fmla="*/ 371479 w 4079044"/>
              <a:gd name="connsiteY435" fmla="*/ 405481 h 1306058"/>
              <a:gd name="connsiteX436" fmla="*/ 367767 w 4079044"/>
              <a:gd name="connsiteY436" fmla="*/ 403338 h 1306058"/>
              <a:gd name="connsiteX437" fmla="*/ 366302 w 4079044"/>
              <a:gd name="connsiteY437" fmla="*/ 399721 h 1306058"/>
              <a:gd name="connsiteX438" fmla="*/ 365228 w 4079044"/>
              <a:gd name="connsiteY438" fmla="*/ 398649 h 1306058"/>
              <a:gd name="connsiteX439" fmla="*/ 363665 w 4079044"/>
              <a:gd name="connsiteY439" fmla="*/ 393559 h 1306058"/>
              <a:gd name="connsiteX440" fmla="*/ 363665 w 4079044"/>
              <a:gd name="connsiteY440" fmla="*/ 390344 h 1306058"/>
              <a:gd name="connsiteX441" fmla="*/ 362786 w 4079044"/>
              <a:gd name="connsiteY441" fmla="*/ 389272 h 1306058"/>
              <a:gd name="connsiteX442" fmla="*/ 361614 w 4079044"/>
              <a:gd name="connsiteY442" fmla="*/ 386727 h 1306058"/>
              <a:gd name="connsiteX443" fmla="*/ 361614 w 4079044"/>
              <a:gd name="connsiteY443" fmla="*/ 386727 h 1306058"/>
              <a:gd name="connsiteX444" fmla="*/ 357902 w 4079044"/>
              <a:gd name="connsiteY444" fmla="*/ 384584 h 1306058"/>
              <a:gd name="connsiteX445" fmla="*/ 356730 w 4079044"/>
              <a:gd name="connsiteY445" fmla="*/ 382039 h 1306058"/>
              <a:gd name="connsiteX446" fmla="*/ 356730 w 4079044"/>
              <a:gd name="connsiteY446" fmla="*/ 382039 h 1306058"/>
              <a:gd name="connsiteX447" fmla="*/ 353018 w 4079044"/>
              <a:gd name="connsiteY447" fmla="*/ 379895 h 1306058"/>
              <a:gd name="connsiteX448" fmla="*/ 351455 w 4079044"/>
              <a:gd name="connsiteY448" fmla="*/ 374805 h 1306058"/>
              <a:gd name="connsiteX449" fmla="*/ 351455 w 4079044"/>
              <a:gd name="connsiteY449" fmla="*/ 371590 h 1306058"/>
              <a:gd name="connsiteX450" fmla="*/ 350576 w 4079044"/>
              <a:gd name="connsiteY450" fmla="*/ 370653 h 1306058"/>
              <a:gd name="connsiteX451" fmla="*/ 349013 w 4079044"/>
              <a:gd name="connsiteY451" fmla="*/ 365562 h 1306058"/>
              <a:gd name="connsiteX452" fmla="*/ 349013 w 4079044"/>
              <a:gd name="connsiteY452" fmla="*/ 363419 h 1306058"/>
              <a:gd name="connsiteX453" fmla="*/ 344422 w 4079044"/>
              <a:gd name="connsiteY453" fmla="*/ 363419 h 1306058"/>
              <a:gd name="connsiteX454" fmla="*/ 340710 w 4079044"/>
              <a:gd name="connsiteY454" fmla="*/ 361276 h 1306058"/>
              <a:gd name="connsiteX455" fmla="*/ 339245 w 4079044"/>
              <a:gd name="connsiteY455" fmla="*/ 357659 h 1306058"/>
              <a:gd name="connsiteX456" fmla="*/ 338170 w 4079044"/>
              <a:gd name="connsiteY456" fmla="*/ 356587 h 1306058"/>
              <a:gd name="connsiteX457" fmla="*/ 336705 w 4079044"/>
              <a:gd name="connsiteY457" fmla="*/ 352971 h 1306058"/>
              <a:gd name="connsiteX458" fmla="*/ 335728 w 4079044"/>
              <a:gd name="connsiteY458" fmla="*/ 351899 h 1306058"/>
              <a:gd name="connsiteX459" fmla="*/ 334361 w 4079044"/>
              <a:gd name="connsiteY459" fmla="*/ 348416 h 1306058"/>
              <a:gd name="connsiteX460" fmla="*/ 333286 w 4079044"/>
              <a:gd name="connsiteY460" fmla="*/ 347344 h 1306058"/>
              <a:gd name="connsiteX461" fmla="*/ 331723 w 4079044"/>
              <a:gd name="connsiteY461" fmla="*/ 342254 h 1306058"/>
              <a:gd name="connsiteX462" fmla="*/ 331723 w 4079044"/>
              <a:gd name="connsiteY462" fmla="*/ 340111 h 1306058"/>
              <a:gd name="connsiteX463" fmla="*/ 327132 w 4079044"/>
              <a:gd name="connsiteY463" fmla="*/ 340111 h 1306058"/>
              <a:gd name="connsiteX464" fmla="*/ 323420 w 4079044"/>
              <a:gd name="connsiteY464" fmla="*/ 337968 h 1306058"/>
              <a:gd name="connsiteX465" fmla="*/ 322248 w 4079044"/>
              <a:gd name="connsiteY465" fmla="*/ 335423 h 1306058"/>
              <a:gd name="connsiteX466" fmla="*/ 314825 w 4079044"/>
              <a:gd name="connsiteY466" fmla="*/ 335423 h 1306058"/>
              <a:gd name="connsiteX467" fmla="*/ 311113 w 4079044"/>
              <a:gd name="connsiteY467" fmla="*/ 333279 h 1306058"/>
              <a:gd name="connsiteX468" fmla="*/ 309941 w 4079044"/>
              <a:gd name="connsiteY468" fmla="*/ 330734 h 1306058"/>
              <a:gd name="connsiteX469" fmla="*/ 305057 w 4079044"/>
              <a:gd name="connsiteY469" fmla="*/ 330734 h 1306058"/>
              <a:gd name="connsiteX470" fmla="*/ 301345 w 4079044"/>
              <a:gd name="connsiteY470" fmla="*/ 328591 h 1306058"/>
              <a:gd name="connsiteX471" fmla="*/ 299782 w 4079044"/>
              <a:gd name="connsiteY471" fmla="*/ 323501 h 1306058"/>
              <a:gd name="connsiteX472" fmla="*/ 299782 w 4079044"/>
              <a:gd name="connsiteY472" fmla="*/ 320286 h 1306058"/>
              <a:gd name="connsiteX473" fmla="*/ 298903 w 4079044"/>
              <a:gd name="connsiteY473" fmla="*/ 319214 h 1306058"/>
              <a:gd name="connsiteX474" fmla="*/ 297730 w 4079044"/>
              <a:gd name="connsiteY474" fmla="*/ 316669 h 1306058"/>
              <a:gd name="connsiteX475" fmla="*/ 292749 w 4079044"/>
              <a:gd name="connsiteY475" fmla="*/ 316669 h 1306058"/>
              <a:gd name="connsiteX476" fmla="*/ 289037 w 4079044"/>
              <a:gd name="connsiteY476" fmla="*/ 314526 h 1306058"/>
              <a:gd name="connsiteX477" fmla="*/ 287865 w 4079044"/>
              <a:gd name="connsiteY477" fmla="*/ 311980 h 1306058"/>
              <a:gd name="connsiteX478" fmla="*/ 287865 w 4079044"/>
              <a:gd name="connsiteY478" fmla="*/ 311980 h 1306058"/>
              <a:gd name="connsiteX479" fmla="*/ 284153 w 4079044"/>
              <a:gd name="connsiteY479" fmla="*/ 309837 h 1306058"/>
              <a:gd name="connsiteX480" fmla="*/ 282590 w 4079044"/>
              <a:gd name="connsiteY480" fmla="*/ 304747 h 1306058"/>
              <a:gd name="connsiteX481" fmla="*/ 282590 w 4079044"/>
              <a:gd name="connsiteY481" fmla="*/ 302738 h 1306058"/>
              <a:gd name="connsiteX482" fmla="*/ 278097 w 4079044"/>
              <a:gd name="connsiteY482" fmla="*/ 302738 h 1306058"/>
              <a:gd name="connsiteX483" fmla="*/ 274385 w 4079044"/>
              <a:gd name="connsiteY483" fmla="*/ 300594 h 1306058"/>
              <a:gd name="connsiteX484" fmla="*/ 273213 w 4079044"/>
              <a:gd name="connsiteY484" fmla="*/ 298049 h 1306058"/>
              <a:gd name="connsiteX485" fmla="*/ 268231 w 4079044"/>
              <a:gd name="connsiteY485" fmla="*/ 298049 h 1306058"/>
              <a:gd name="connsiteX486" fmla="*/ 264519 w 4079044"/>
              <a:gd name="connsiteY486" fmla="*/ 295906 h 1306058"/>
              <a:gd name="connsiteX487" fmla="*/ 262956 w 4079044"/>
              <a:gd name="connsiteY487" fmla="*/ 290816 h 1306058"/>
              <a:gd name="connsiteX488" fmla="*/ 262956 w 4079044"/>
              <a:gd name="connsiteY488" fmla="*/ 283984 h 1306058"/>
              <a:gd name="connsiteX489" fmla="*/ 259537 w 4079044"/>
              <a:gd name="connsiteY489" fmla="*/ 281841 h 1306058"/>
              <a:gd name="connsiteX490" fmla="*/ 257974 w 4079044"/>
              <a:gd name="connsiteY490" fmla="*/ 276750 h 1306058"/>
              <a:gd name="connsiteX491" fmla="*/ 257974 w 4079044"/>
              <a:gd name="connsiteY491" fmla="*/ 273535 h 1306058"/>
              <a:gd name="connsiteX492" fmla="*/ 257095 w 4079044"/>
              <a:gd name="connsiteY492" fmla="*/ 272464 h 1306058"/>
              <a:gd name="connsiteX493" fmla="*/ 255532 w 4079044"/>
              <a:gd name="connsiteY493" fmla="*/ 267374 h 1306058"/>
              <a:gd name="connsiteX494" fmla="*/ 255532 w 4079044"/>
              <a:gd name="connsiteY494" fmla="*/ 265230 h 1306058"/>
              <a:gd name="connsiteX495" fmla="*/ 252114 w 4079044"/>
              <a:gd name="connsiteY495" fmla="*/ 263087 h 1306058"/>
              <a:gd name="connsiteX496" fmla="*/ 250941 w 4079044"/>
              <a:gd name="connsiteY496" fmla="*/ 260542 h 1306058"/>
              <a:gd name="connsiteX497" fmla="*/ 250941 w 4079044"/>
              <a:gd name="connsiteY497" fmla="*/ 260542 h 1306058"/>
              <a:gd name="connsiteX498" fmla="*/ 247230 w 4079044"/>
              <a:gd name="connsiteY498" fmla="*/ 258399 h 1306058"/>
              <a:gd name="connsiteX499" fmla="*/ 245667 w 4079044"/>
              <a:gd name="connsiteY499" fmla="*/ 253308 h 1306058"/>
              <a:gd name="connsiteX500" fmla="*/ 245667 w 4079044"/>
              <a:gd name="connsiteY500" fmla="*/ 245405 h 1306058"/>
              <a:gd name="connsiteX501" fmla="*/ 244788 w 4079044"/>
              <a:gd name="connsiteY501" fmla="*/ 244467 h 1306058"/>
              <a:gd name="connsiteX502" fmla="*/ 243225 w 4079044"/>
              <a:gd name="connsiteY502" fmla="*/ 239377 h 1306058"/>
              <a:gd name="connsiteX503" fmla="*/ 243225 w 4079044"/>
              <a:gd name="connsiteY503" fmla="*/ 236162 h 1306058"/>
              <a:gd name="connsiteX504" fmla="*/ 242248 w 4079044"/>
              <a:gd name="connsiteY504" fmla="*/ 235090 h 1306058"/>
              <a:gd name="connsiteX505" fmla="*/ 240880 w 4079044"/>
              <a:gd name="connsiteY505" fmla="*/ 231608 h 1306058"/>
              <a:gd name="connsiteX506" fmla="*/ 239806 w 4079044"/>
              <a:gd name="connsiteY506" fmla="*/ 230536 h 1306058"/>
              <a:gd name="connsiteX507" fmla="*/ 238634 w 4079044"/>
              <a:gd name="connsiteY507" fmla="*/ 227991 h 1306058"/>
              <a:gd name="connsiteX508" fmla="*/ 238634 w 4079044"/>
              <a:gd name="connsiteY508" fmla="*/ 227991 h 1306058"/>
              <a:gd name="connsiteX509" fmla="*/ 234922 w 4079044"/>
              <a:gd name="connsiteY509" fmla="*/ 225848 h 1306058"/>
              <a:gd name="connsiteX510" fmla="*/ 233554 w 4079044"/>
              <a:gd name="connsiteY510" fmla="*/ 222231 h 1306058"/>
              <a:gd name="connsiteX511" fmla="*/ 232480 w 4079044"/>
              <a:gd name="connsiteY511" fmla="*/ 221159 h 1306058"/>
              <a:gd name="connsiteX512" fmla="*/ 231308 w 4079044"/>
              <a:gd name="connsiteY512" fmla="*/ 218748 h 1306058"/>
              <a:gd name="connsiteX513" fmla="*/ 231308 w 4079044"/>
              <a:gd name="connsiteY513" fmla="*/ 218748 h 1306058"/>
              <a:gd name="connsiteX514" fmla="*/ 227596 w 4079044"/>
              <a:gd name="connsiteY514" fmla="*/ 216605 h 1306058"/>
              <a:gd name="connsiteX515" fmla="*/ 226424 w 4079044"/>
              <a:gd name="connsiteY515" fmla="*/ 214060 h 1306058"/>
              <a:gd name="connsiteX516" fmla="*/ 216656 w 4079044"/>
              <a:gd name="connsiteY516" fmla="*/ 214060 h 1306058"/>
              <a:gd name="connsiteX517" fmla="*/ 212944 w 4079044"/>
              <a:gd name="connsiteY517" fmla="*/ 211916 h 1306058"/>
              <a:gd name="connsiteX518" fmla="*/ 211381 w 4079044"/>
              <a:gd name="connsiteY518" fmla="*/ 206826 h 1306058"/>
              <a:gd name="connsiteX519" fmla="*/ 211381 w 4079044"/>
              <a:gd name="connsiteY519" fmla="*/ 204683 h 1306058"/>
              <a:gd name="connsiteX520" fmla="*/ 206790 w 4079044"/>
              <a:gd name="connsiteY520" fmla="*/ 204683 h 1306058"/>
              <a:gd name="connsiteX521" fmla="*/ 203078 w 4079044"/>
              <a:gd name="connsiteY521" fmla="*/ 202539 h 1306058"/>
              <a:gd name="connsiteX522" fmla="*/ 201710 w 4079044"/>
              <a:gd name="connsiteY522" fmla="*/ 198923 h 1306058"/>
              <a:gd name="connsiteX523" fmla="*/ 200636 w 4079044"/>
              <a:gd name="connsiteY523" fmla="*/ 197851 h 1306058"/>
              <a:gd name="connsiteX524" fmla="*/ 199073 w 4079044"/>
              <a:gd name="connsiteY524" fmla="*/ 192761 h 1306058"/>
              <a:gd name="connsiteX525" fmla="*/ 199073 w 4079044"/>
              <a:gd name="connsiteY525" fmla="*/ 189546 h 1306058"/>
              <a:gd name="connsiteX526" fmla="*/ 198096 w 4079044"/>
              <a:gd name="connsiteY526" fmla="*/ 188474 h 1306058"/>
              <a:gd name="connsiteX527" fmla="*/ 196729 w 4079044"/>
              <a:gd name="connsiteY527" fmla="*/ 184991 h 1306058"/>
              <a:gd name="connsiteX528" fmla="*/ 195654 w 4079044"/>
              <a:gd name="connsiteY528" fmla="*/ 183920 h 1306058"/>
              <a:gd name="connsiteX529" fmla="*/ 194287 w 4079044"/>
              <a:gd name="connsiteY529" fmla="*/ 180437 h 1306058"/>
              <a:gd name="connsiteX530" fmla="*/ 193212 w 4079044"/>
              <a:gd name="connsiteY530" fmla="*/ 179365 h 1306058"/>
              <a:gd name="connsiteX531" fmla="*/ 191845 w 4079044"/>
              <a:gd name="connsiteY531" fmla="*/ 175882 h 1306058"/>
              <a:gd name="connsiteX532" fmla="*/ 190770 w 4079044"/>
              <a:gd name="connsiteY532" fmla="*/ 174811 h 1306058"/>
              <a:gd name="connsiteX533" fmla="*/ 189207 w 4079044"/>
              <a:gd name="connsiteY533" fmla="*/ 169721 h 1306058"/>
              <a:gd name="connsiteX534" fmla="*/ 189207 w 4079044"/>
              <a:gd name="connsiteY534" fmla="*/ 162889 h 1306058"/>
              <a:gd name="connsiteX535" fmla="*/ 185788 w 4079044"/>
              <a:gd name="connsiteY535" fmla="*/ 160746 h 1306058"/>
              <a:gd name="connsiteX536" fmla="*/ 184421 w 4079044"/>
              <a:gd name="connsiteY536" fmla="*/ 157263 h 1306058"/>
              <a:gd name="connsiteX537" fmla="*/ 183346 w 4079044"/>
              <a:gd name="connsiteY537" fmla="*/ 156191 h 1306058"/>
              <a:gd name="connsiteX538" fmla="*/ 181979 w 4079044"/>
              <a:gd name="connsiteY538" fmla="*/ 152708 h 1306058"/>
              <a:gd name="connsiteX539" fmla="*/ 180904 w 4079044"/>
              <a:gd name="connsiteY539" fmla="*/ 151637 h 1306058"/>
              <a:gd name="connsiteX540" fmla="*/ 179342 w 4079044"/>
              <a:gd name="connsiteY540" fmla="*/ 146546 h 1306058"/>
              <a:gd name="connsiteX541" fmla="*/ 179342 w 4079044"/>
              <a:gd name="connsiteY541" fmla="*/ 143331 h 1306058"/>
              <a:gd name="connsiteX542" fmla="*/ 178462 w 4079044"/>
              <a:gd name="connsiteY542" fmla="*/ 142260 h 1306058"/>
              <a:gd name="connsiteX543" fmla="*/ 177290 w 4079044"/>
              <a:gd name="connsiteY543" fmla="*/ 139715 h 1306058"/>
              <a:gd name="connsiteX544" fmla="*/ 174848 w 4079044"/>
              <a:gd name="connsiteY544" fmla="*/ 139715 h 1306058"/>
              <a:gd name="connsiteX545" fmla="*/ 171136 w 4079044"/>
              <a:gd name="connsiteY545" fmla="*/ 137571 h 1306058"/>
              <a:gd name="connsiteX546" fmla="*/ 169574 w 4079044"/>
              <a:gd name="connsiteY546" fmla="*/ 132481 h 1306058"/>
              <a:gd name="connsiteX547" fmla="*/ 169574 w 4079044"/>
              <a:gd name="connsiteY547" fmla="*/ 129266 h 1306058"/>
              <a:gd name="connsiteX548" fmla="*/ 168694 w 4079044"/>
              <a:gd name="connsiteY548" fmla="*/ 128195 h 1306058"/>
              <a:gd name="connsiteX549" fmla="*/ 167522 w 4079044"/>
              <a:gd name="connsiteY549" fmla="*/ 125649 h 1306058"/>
              <a:gd name="connsiteX550" fmla="*/ 165080 w 4079044"/>
              <a:gd name="connsiteY550" fmla="*/ 125649 h 1306058"/>
              <a:gd name="connsiteX551" fmla="*/ 161368 w 4079044"/>
              <a:gd name="connsiteY551" fmla="*/ 123506 h 1306058"/>
              <a:gd name="connsiteX552" fmla="*/ 160001 w 4079044"/>
              <a:gd name="connsiteY552" fmla="*/ 120023 h 1306058"/>
              <a:gd name="connsiteX553" fmla="*/ 158926 w 4079044"/>
              <a:gd name="connsiteY553" fmla="*/ 118952 h 1306058"/>
              <a:gd name="connsiteX554" fmla="*/ 157559 w 4079044"/>
              <a:gd name="connsiteY554" fmla="*/ 115335 h 1306058"/>
              <a:gd name="connsiteX555" fmla="*/ 156484 w 4079044"/>
              <a:gd name="connsiteY555" fmla="*/ 114263 h 1306058"/>
              <a:gd name="connsiteX556" fmla="*/ 155312 w 4079044"/>
              <a:gd name="connsiteY556" fmla="*/ 111718 h 1306058"/>
              <a:gd name="connsiteX557" fmla="*/ 152870 w 4079044"/>
              <a:gd name="connsiteY557" fmla="*/ 111718 h 1306058"/>
              <a:gd name="connsiteX558" fmla="*/ 149158 w 4079044"/>
              <a:gd name="connsiteY558" fmla="*/ 109575 h 1306058"/>
              <a:gd name="connsiteX559" fmla="*/ 147986 w 4079044"/>
              <a:gd name="connsiteY559" fmla="*/ 107030 h 1306058"/>
              <a:gd name="connsiteX560" fmla="*/ 140562 w 4079044"/>
              <a:gd name="connsiteY560" fmla="*/ 107030 h 1306058"/>
              <a:gd name="connsiteX561" fmla="*/ 136851 w 4079044"/>
              <a:gd name="connsiteY561" fmla="*/ 104887 h 1306058"/>
              <a:gd name="connsiteX562" fmla="*/ 135678 w 4079044"/>
              <a:gd name="connsiteY562" fmla="*/ 102341 h 1306058"/>
              <a:gd name="connsiteX563" fmla="*/ 133236 w 4079044"/>
              <a:gd name="connsiteY563" fmla="*/ 102341 h 1306058"/>
              <a:gd name="connsiteX564" fmla="*/ 129524 w 4079044"/>
              <a:gd name="connsiteY564" fmla="*/ 100198 h 1306058"/>
              <a:gd name="connsiteX565" fmla="*/ 128059 w 4079044"/>
              <a:gd name="connsiteY565" fmla="*/ 96715 h 1306058"/>
              <a:gd name="connsiteX566" fmla="*/ 126985 w 4079044"/>
              <a:gd name="connsiteY566" fmla="*/ 95644 h 1306058"/>
              <a:gd name="connsiteX567" fmla="*/ 125813 w 4079044"/>
              <a:gd name="connsiteY567" fmla="*/ 93232 h 1306058"/>
              <a:gd name="connsiteX568" fmla="*/ 120831 w 4079044"/>
              <a:gd name="connsiteY568" fmla="*/ 93232 h 1306058"/>
              <a:gd name="connsiteX569" fmla="*/ 117119 w 4079044"/>
              <a:gd name="connsiteY569" fmla="*/ 91089 h 1306058"/>
              <a:gd name="connsiteX570" fmla="*/ 115752 w 4079044"/>
              <a:gd name="connsiteY570" fmla="*/ 87606 h 1306058"/>
              <a:gd name="connsiteX571" fmla="*/ 114677 w 4079044"/>
              <a:gd name="connsiteY571" fmla="*/ 86535 h 1306058"/>
              <a:gd name="connsiteX572" fmla="*/ 113114 w 4079044"/>
              <a:gd name="connsiteY572" fmla="*/ 81444 h 1306058"/>
              <a:gd name="connsiteX573" fmla="*/ 113114 w 4079044"/>
              <a:gd name="connsiteY573" fmla="*/ 79301 h 1306058"/>
              <a:gd name="connsiteX574" fmla="*/ 109695 w 4079044"/>
              <a:gd name="connsiteY574" fmla="*/ 77158 h 1306058"/>
              <a:gd name="connsiteX575" fmla="*/ 108523 w 4079044"/>
              <a:gd name="connsiteY575" fmla="*/ 74613 h 1306058"/>
              <a:gd name="connsiteX576" fmla="*/ 96313 w 4079044"/>
              <a:gd name="connsiteY576" fmla="*/ 74613 h 1306058"/>
              <a:gd name="connsiteX577" fmla="*/ 92601 w 4079044"/>
              <a:gd name="connsiteY577" fmla="*/ 72469 h 1306058"/>
              <a:gd name="connsiteX578" fmla="*/ 91038 w 4079044"/>
              <a:gd name="connsiteY578" fmla="*/ 67379 h 1306058"/>
              <a:gd name="connsiteX579" fmla="*/ 91038 w 4079044"/>
              <a:gd name="connsiteY579" fmla="*/ 64164 h 1306058"/>
              <a:gd name="connsiteX580" fmla="*/ 90159 w 4079044"/>
              <a:gd name="connsiteY580" fmla="*/ 63093 h 1306058"/>
              <a:gd name="connsiteX581" fmla="*/ 88987 w 4079044"/>
              <a:gd name="connsiteY581" fmla="*/ 60548 h 1306058"/>
              <a:gd name="connsiteX582" fmla="*/ 81661 w 4079044"/>
              <a:gd name="connsiteY582" fmla="*/ 60548 h 1306058"/>
              <a:gd name="connsiteX583" fmla="*/ 77949 w 4079044"/>
              <a:gd name="connsiteY583" fmla="*/ 58404 h 1306058"/>
              <a:gd name="connsiteX584" fmla="*/ 76582 w 4079044"/>
              <a:gd name="connsiteY584" fmla="*/ 54921 h 1306058"/>
              <a:gd name="connsiteX585" fmla="*/ 75507 w 4079044"/>
              <a:gd name="connsiteY585" fmla="*/ 53850 h 1306058"/>
              <a:gd name="connsiteX586" fmla="*/ 74140 w 4079044"/>
              <a:gd name="connsiteY586" fmla="*/ 50367 h 1306058"/>
              <a:gd name="connsiteX587" fmla="*/ 73065 w 4079044"/>
              <a:gd name="connsiteY587" fmla="*/ 49295 h 1306058"/>
              <a:gd name="connsiteX588" fmla="*/ 71893 w 4079044"/>
              <a:gd name="connsiteY588" fmla="*/ 46750 h 1306058"/>
              <a:gd name="connsiteX589" fmla="*/ 69451 w 4079044"/>
              <a:gd name="connsiteY589" fmla="*/ 46750 h 1306058"/>
              <a:gd name="connsiteX590" fmla="*/ 65739 w 4079044"/>
              <a:gd name="connsiteY590" fmla="*/ 44607 h 1306058"/>
              <a:gd name="connsiteX591" fmla="*/ 64567 w 4079044"/>
              <a:gd name="connsiteY591" fmla="*/ 42062 h 1306058"/>
              <a:gd name="connsiteX592" fmla="*/ 57143 w 4079044"/>
              <a:gd name="connsiteY592" fmla="*/ 42062 h 1306058"/>
              <a:gd name="connsiteX593" fmla="*/ 53431 w 4079044"/>
              <a:gd name="connsiteY593" fmla="*/ 39918 h 1306058"/>
              <a:gd name="connsiteX594" fmla="*/ 51868 w 4079044"/>
              <a:gd name="connsiteY594" fmla="*/ 34828 h 1306058"/>
              <a:gd name="connsiteX595" fmla="*/ 51868 w 4079044"/>
              <a:gd name="connsiteY595" fmla="*/ 32685 h 1306058"/>
              <a:gd name="connsiteX596" fmla="*/ 49719 w 4079044"/>
              <a:gd name="connsiteY596" fmla="*/ 32685 h 1306058"/>
              <a:gd name="connsiteX597" fmla="*/ 46008 w 4079044"/>
              <a:gd name="connsiteY597" fmla="*/ 30542 h 1306058"/>
              <a:gd name="connsiteX598" fmla="*/ 44835 w 4079044"/>
              <a:gd name="connsiteY598" fmla="*/ 27997 h 1306058"/>
              <a:gd name="connsiteX599" fmla="*/ 44835 w 4079044"/>
              <a:gd name="connsiteY599" fmla="*/ 27997 h 1306058"/>
              <a:gd name="connsiteX600" fmla="*/ 41124 w 4079044"/>
              <a:gd name="connsiteY600" fmla="*/ 25853 h 1306058"/>
              <a:gd name="connsiteX601" fmla="*/ 39561 w 4079044"/>
              <a:gd name="connsiteY601" fmla="*/ 20763 h 1306058"/>
              <a:gd name="connsiteX602" fmla="*/ 39561 w 4079044"/>
              <a:gd name="connsiteY602" fmla="*/ 18620 h 1306058"/>
              <a:gd name="connsiteX603" fmla="*/ 27644 w 4079044"/>
              <a:gd name="connsiteY603" fmla="*/ 18620 h 1306058"/>
              <a:gd name="connsiteX604" fmla="*/ 27644 w 4079044"/>
              <a:gd name="connsiteY604" fmla="*/ 6564 h 1306058"/>
              <a:gd name="connsiteX605" fmla="*/ 22369 w 4079044"/>
              <a:gd name="connsiteY605" fmla="*/ 6564 h 1306058"/>
              <a:gd name="connsiteX606" fmla="*/ 22369 w 4079044"/>
              <a:gd name="connsiteY606" fmla="*/ 4688 h 1306058"/>
              <a:gd name="connsiteX607" fmla="*/ 0 w 4079044"/>
              <a:gd name="connsiteY607" fmla="*/ 4688 h 1306058"/>
              <a:gd name="connsiteX608" fmla="*/ 0 w 4079044"/>
              <a:gd name="connsiteY608" fmla="*/ 0 h 1306058"/>
              <a:gd name="connsiteX609" fmla="*/ 34677 w 4079044"/>
              <a:gd name="connsiteY609" fmla="*/ 0 h 1306058"/>
              <a:gd name="connsiteX610" fmla="*/ 34677 w 4079044"/>
              <a:gd name="connsiteY610" fmla="*/ 4153 h 1306058"/>
              <a:gd name="connsiteX611" fmla="*/ 46594 w 4079044"/>
              <a:gd name="connsiteY611" fmla="*/ 4153 h 1306058"/>
              <a:gd name="connsiteX612" fmla="*/ 50306 w 4079044"/>
              <a:gd name="connsiteY612" fmla="*/ 6296 h 1306058"/>
              <a:gd name="connsiteX613" fmla="*/ 51868 w 4079044"/>
              <a:gd name="connsiteY613" fmla="*/ 11386 h 1306058"/>
              <a:gd name="connsiteX614" fmla="*/ 51868 w 4079044"/>
              <a:gd name="connsiteY614" fmla="*/ 13529 h 1306058"/>
              <a:gd name="connsiteX615" fmla="*/ 55287 w 4079044"/>
              <a:gd name="connsiteY615" fmla="*/ 15673 h 1306058"/>
              <a:gd name="connsiteX616" fmla="*/ 56459 w 4079044"/>
              <a:gd name="connsiteY616" fmla="*/ 18218 h 1306058"/>
              <a:gd name="connsiteX617" fmla="*/ 58901 w 4079044"/>
              <a:gd name="connsiteY617" fmla="*/ 18218 h 1306058"/>
              <a:gd name="connsiteX618" fmla="*/ 62613 w 4079044"/>
              <a:gd name="connsiteY618" fmla="*/ 20361 h 1306058"/>
              <a:gd name="connsiteX619" fmla="*/ 64176 w 4079044"/>
              <a:gd name="connsiteY619" fmla="*/ 25451 h 1306058"/>
              <a:gd name="connsiteX620" fmla="*/ 64176 w 4079044"/>
              <a:gd name="connsiteY620" fmla="*/ 27595 h 1306058"/>
              <a:gd name="connsiteX621" fmla="*/ 71209 w 4079044"/>
              <a:gd name="connsiteY621" fmla="*/ 27595 h 1306058"/>
              <a:gd name="connsiteX622" fmla="*/ 74921 w 4079044"/>
              <a:gd name="connsiteY622" fmla="*/ 29738 h 1306058"/>
              <a:gd name="connsiteX623" fmla="*/ 76093 w 4079044"/>
              <a:gd name="connsiteY623" fmla="*/ 32283 h 1306058"/>
              <a:gd name="connsiteX624" fmla="*/ 78535 w 4079044"/>
              <a:gd name="connsiteY624" fmla="*/ 32283 h 1306058"/>
              <a:gd name="connsiteX625" fmla="*/ 82247 w 4079044"/>
              <a:gd name="connsiteY625" fmla="*/ 34426 h 1306058"/>
              <a:gd name="connsiteX626" fmla="*/ 83615 w 4079044"/>
              <a:gd name="connsiteY626" fmla="*/ 37909 h 1306058"/>
              <a:gd name="connsiteX627" fmla="*/ 84689 w 4079044"/>
              <a:gd name="connsiteY627" fmla="*/ 38981 h 1306058"/>
              <a:gd name="connsiteX628" fmla="*/ 86057 w 4079044"/>
              <a:gd name="connsiteY628" fmla="*/ 42464 h 1306058"/>
              <a:gd name="connsiteX629" fmla="*/ 87131 w 4079044"/>
              <a:gd name="connsiteY629" fmla="*/ 43535 h 1306058"/>
              <a:gd name="connsiteX630" fmla="*/ 88303 w 4079044"/>
              <a:gd name="connsiteY630" fmla="*/ 46080 h 1306058"/>
              <a:gd name="connsiteX631" fmla="*/ 95727 w 4079044"/>
              <a:gd name="connsiteY631" fmla="*/ 46080 h 1306058"/>
              <a:gd name="connsiteX632" fmla="*/ 99439 w 4079044"/>
              <a:gd name="connsiteY632" fmla="*/ 48224 h 1306058"/>
              <a:gd name="connsiteX633" fmla="*/ 100904 w 4079044"/>
              <a:gd name="connsiteY633" fmla="*/ 51840 h 1306058"/>
              <a:gd name="connsiteX634" fmla="*/ 101979 w 4079044"/>
              <a:gd name="connsiteY634" fmla="*/ 52912 h 1306058"/>
              <a:gd name="connsiteX635" fmla="*/ 103541 w 4079044"/>
              <a:gd name="connsiteY635" fmla="*/ 58002 h 1306058"/>
              <a:gd name="connsiteX636" fmla="*/ 103541 w 4079044"/>
              <a:gd name="connsiteY636" fmla="*/ 60146 h 1306058"/>
              <a:gd name="connsiteX637" fmla="*/ 115458 w 4079044"/>
              <a:gd name="connsiteY637" fmla="*/ 60146 h 1306058"/>
              <a:gd name="connsiteX638" fmla="*/ 119170 w 4079044"/>
              <a:gd name="connsiteY638" fmla="*/ 62289 h 1306058"/>
              <a:gd name="connsiteX639" fmla="*/ 120342 w 4079044"/>
              <a:gd name="connsiteY639" fmla="*/ 64834 h 1306058"/>
              <a:gd name="connsiteX640" fmla="*/ 120342 w 4079044"/>
              <a:gd name="connsiteY640" fmla="*/ 64834 h 1306058"/>
              <a:gd name="connsiteX641" fmla="*/ 124054 w 4079044"/>
              <a:gd name="connsiteY641" fmla="*/ 66977 h 1306058"/>
              <a:gd name="connsiteX642" fmla="*/ 125617 w 4079044"/>
              <a:gd name="connsiteY642" fmla="*/ 72068 h 1306058"/>
              <a:gd name="connsiteX643" fmla="*/ 125617 w 4079044"/>
              <a:gd name="connsiteY643" fmla="*/ 75283 h 1306058"/>
              <a:gd name="connsiteX644" fmla="*/ 126496 w 4079044"/>
              <a:gd name="connsiteY644" fmla="*/ 76354 h 1306058"/>
              <a:gd name="connsiteX645" fmla="*/ 127669 w 4079044"/>
              <a:gd name="connsiteY645" fmla="*/ 78899 h 1306058"/>
              <a:gd name="connsiteX646" fmla="*/ 132553 w 4079044"/>
              <a:gd name="connsiteY646" fmla="*/ 78899 h 1306058"/>
              <a:gd name="connsiteX647" fmla="*/ 136264 w 4079044"/>
              <a:gd name="connsiteY647" fmla="*/ 81043 h 1306058"/>
              <a:gd name="connsiteX648" fmla="*/ 137632 w 4079044"/>
              <a:gd name="connsiteY648" fmla="*/ 84525 h 1306058"/>
              <a:gd name="connsiteX649" fmla="*/ 138706 w 4079044"/>
              <a:gd name="connsiteY649" fmla="*/ 85597 h 1306058"/>
              <a:gd name="connsiteX650" fmla="*/ 139879 w 4079044"/>
              <a:gd name="connsiteY650" fmla="*/ 88142 h 1306058"/>
              <a:gd name="connsiteX651" fmla="*/ 142321 w 4079044"/>
              <a:gd name="connsiteY651" fmla="*/ 88142 h 1306058"/>
              <a:gd name="connsiteX652" fmla="*/ 146032 w 4079044"/>
              <a:gd name="connsiteY652" fmla="*/ 90285 h 1306058"/>
              <a:gd name="connsiteX653" fmla="*/ 147205 w 4079044"/>
              <a:gd name="connsiteY653" fmla="*/ 92831 h 1306058"/>
              <a:gd name="connsiteX654" fmla="*/ 154628 w 4079044"/>
              <a:gd name="connsiteY654" fmla="*/ 92831 h 1306058"/>
              <a:gd name="connsiteX655" fmla="*/ 158340 w 4079044"/>
              <a:gd name="connsiteY655" fmla="*/ 94974 h 1306058"/>
              <a:gd name="connsiteX656" fmla="*/ 159512 w 4079044"/>
              <a:gd name="connsiteY656" fmla="*/ 97519 h 1306058"/>
              <a:gd name="connsiteX657" fmla="*/ 161954 w 4079044"/>
              <a:gd name="connsiteY657" fmla="*/ 97519 h 1306058"/>
              <a:gd name="connsiteX658" fmla="*/ 165666 w 4079044"/>
              <a:gd name="connsiteY658" fmla="*/ 99662 h 1306058"/>
              <a:gd name="connsiteX659" fmla="*/ 167034 w 4079044"/>
              <a:gd name="connsiteY659" fmla="*/ 103279 h 1306058"/>
              <a:gd name="connsiteX660" fmla="*/ 168108 w 4079044"/>
              <a:gd name="connsiteY660" fmla="*/ 104351 h 1306058"/>
              <a:gd name="connsiteX661" fmla="*/ 169574 w 4079044"/>
              <a:gd name="connsiteY661" fmla="*/ 107967 h 1306058"/>
              <a:gd name="connsiteX662" fmla="*/ 170550 w 4079044"/>
              <a:gd name="connsiteY662" fmla="*/ 109039 h 1306058"/>
              <a:gd name="connsiteX663" fmla="*/ 171723 w 4079044"/>
              <a:gd name="connsiteY663" fmla="*/ 111584 h 1306058"/>
              <a:gd name="connsiteX664" fmla="*/ 174165 w 4079044"/>
              <a:gd name="connsiteY664" fmla="*/ 111584 h 1306058"/>
              <a:gd name="connsiteX665" fmla="*/ 177876 w 4079044"/>
              <a:gd name="connsiteY665" fmla="*/ 113728 h 1306058"/>
              <a:gd name="connsiteX666" fmla="*/ 179244 w 4079044"/>
              <a:gd name="connsiteY666" fmla="*/ 117210 h 1306058"/>
              <a:gd name="connsiteX667" fmla="*/ 180318 w 4079044"/>
              <a:gd name="connsiteY667" fmla="*/ 118282 h 1306058"/>
              <a:gd name="connsiteX668" fmla="*/ 181881 w 4079044"/>
              <a:gd name="connsiteY668" fmla="*/ 123372 h 1306058"/>
              <a:gd name="connsiteX669" fmla="*/ 181881 w 4079044"/>
              <a:gd name="connsiteY669" fmla="*/ 125382 h 1306058"/>
              <a:gd name="connsiteX670" fmla="*/ 184030 w 4079044"/>
              <a:gd name="connsiteY670" fmla="*/ 125382 h 1306058"/>
              <a:gd name="connsiteX671" fmla="*/ 187742 w 4079044"/>
              <a:gd name="connsiteY671" fmla="*/ 127525 h 1306058"/>
              <a:gd name="connsiteX672" fmla="*/ 189110 w 4079044"/>
              <a:gd name="connsiteY672" fmla="*/ 131008 h 1306058"/>
              <a:gd name="connsiteX673" fmla="*/ 190184 w 4079044"/>
              <a:gd name="connsiteY673" fmla="*/ 132079 h 1306058"/>
              <a:gd name="connsiteX674" fmla="*/ 191747 w 4079044"/>
              <a:gd name="connsiteY674" fmla="*/ 137170 h 1306058"/>
              <a:gd name="connsiteX675" fmla="*/ 191747 w 4079044"/>
              <a:gd name="connsiteY675" fmla="*/ 140384 h 1306058"/>
              <a:gd name="connsiteX676" fmla="*/ 192724 w 4079044"/>
              <a:gd name="connsiteY676" fmla="*/ 141456 h 1306058"/>
              <a:gd name="connsiteX677" fmla="*/ 194091 w 4079044"/>
              <a:gd name="connsiteY677" fmla="*/ 144939 h 1306058"/>
              <a:gd name="connsiteX678" fmla="*/ 195166 w 4079044"/>
              <a:gd name="connsiteY678" fmla="*/ 146011 h 1306058"/>
              <a:gd name="connsiteX679" fmla="*/ 196338 w 4079044"/>
              <a:gd name="connsiteY679" fmla="*/ 148556 h 1306058"/>
              <a:gd name="connsiteX680" fmla="*/ 196338 w 4079044"/>
              <a:gd name="connsiteY680" fmla="*/ 148556 h 1306058"/>
              <a:gd name="connsiteX681" fmla="*/ 200050 w 4079044"/>
              <a:gd name="connsiteY681" fmla="*/ 150699 h 1306058"/>
              <a:gd name="connsiteX682" fmla="*/ 201613 w 4079044"/>
              <a:gd name="connsiteY682" fmla="*/ 155789 h 1306058"/>
              <a:gd name="connsiteX683" fmla="*/ 201613 w 4079044"/>
              <a:gd name="connsiteY683" fmla="*/ 163693 h 1306058"/>
              <a:gd name="connsiteX684" fmla="*/ 202492 w 4079044"/>
              <a:gd name="connsiteY684" fmla="*/ 164764 h 1306058"/>
              <a:gd name="connsiteX685" fmla="*/ 203859 w 4079044"/>
              <a:gd name="connsiteY685" fmla="*/ 168247 h 1306058"/>
              <a:gd name="connsiteX686" fmla="*/ 204934 w 4079044"/>
              <a:gd name="connsiteY686" fmla="*/ 169319 h 1306058"/>
              <a:gd name="connsiteX687" fmla="*/ 206301 w 4079044"/>
              <a:gd name="connsiteY687" fmla="*/ 172802 h 1306058"/>
              <a:gd name="connsiteX688" fmla="*/ 207376 w 4079044"/>
              <a:gd name="connsiteY688" fmla="*/ 173873 h 1306058"/>
              <a:gd name="connsiteX689" fmla="*/ 208743 w 4079044"/>
              <a:gd name="connsiteY689" fmla="*/ 177356 h 1306058"/>
              <a:gd name="connsiteX690" fmla="*/ 209818 w 4079044"/>
              <a:gd name="connsiteY690" fmla="*/ 178428 h 1306058"/>
              <a:gd name="connsiteX691" fmla="*/ 211381 w 4079044"/>
              <a:gd name="connsiteY691" fmla="*/ 183518 h 1306058"/>
              <a:gd name="connsiteX692" fmla="*/ 211381 w 4079044"/>
              <a:gd name="connsiteY692" fmla="*/ 186733 h 1306058"/>
              <a:gd name="connsiteX693" fmla="*/ 212358 w 4079044"/>
              <a:gd name="connsiteY693" fmla="*/ 187804 h 1306058"/>
              <a:gd name="connsiteX694" fmla="*/ 213530 w 4079044"/>
              <a:gd name="connsiteY694" fmla="*/ 190350 h 1306058"/>
              <a:gd name="connsiteX695" fmla="*/ 218414 w 4079044"/>
              <a:gd name="connsiteY695" fmla="*/ 190350 h 1306058"/>
              <a:gd name="connsiteX696" fmla="*/ 222126 w 4079044"/>
              <a:gd name="connsiteY696" fmla="*/ 192493 h 1306058"/>
              <a:gd name="connsiteX697" fmla="*/ 223689 w 4079044"/>
              <a:gd name="connsiteY697" fmla="*/ 197583 h 1306058"/>
              <a:gd name="connsiteX698" fmla="*/ 223689 w 4079044"/>
              <a:gd name="connsiteY698" fmla="*/ 199726 h 1306058"/>
              <a:gd name="connsiteX699" fmla="*/ 233164 w 4079044"/>
              <a:gd name="connsiteY699" fmla="*/ 199726 h 1306058"/>
              <a:gd name="connsiteX700" fmla="*/ 236875 w 4079044"/>
              <a:gd name="connsiteY700" fmla="*/ 201870 h 1306058"/>
              <a:gd name="connsiteX701" fmla="*/ 238048 w 4079044"/>
              <a:gd name="connsiteY701" fmla="*/ 204415 h 1306058"/>
              <a:gd name="connsiteX702" fmla="*/ 238048 w 4079044"/>
              <a:gd name="connsiteY702" fmla="*/ 204415 h 1306058"/>
              <a:gd name="connsiteX703" fmla="*/ 241759 w 4079044"/>
              <a:gd name="connsiteY703" fmla="*/ 206558 h 1306058"/>
              <a:gd name="connsiteX704" fmla="*/ 243127 w 4079044"/>
              <a:gd name="connsiteY704" fmla="*/ 210041 h 1306058"/>
              <a:gd name="connsiteX705" fmla="*/ 244202 w 4079044"/>
              <a:gd name="connsiteY705" fmla="*/ 211113 h 1306058"/>
              <a:gd name="connsiteX706" fmla="*/ 245374 w 4079044"/>
              <a:gd name="connsiteY706" fmla="*/ 213658 h 1306058"/>
              <a:gd name="connsiteX707" fmla="*/ 249086 w 4079044"/>
              <a:gd name="connsiteY707" fmla="*/ 215801 h 1306058"/>
              <a:gd name="connsiteX708" fmla="*/ 250453 w 4079044"/>
              <a:gd name="connsiteY708" fmla="*/ 219284 h 1306058"/>
              <a:gd name="connsiteX709" fmla="*/ 251528 w 4079044"/>
              <a:gd name="connsiteY709" fmla="*/ 220355 h 1306058"/>
              <a:gd name="connsiteX710" fmla="*/ 252895 w 4079044"/>
              <a:gd name="connsiteY710" fmla="*/ 223838 h 1306058"/>
              <a:gd name="connsiteX711" fmla="*/ 253970 w 4079044"/>
              <a:gd name="connsiteY711" fmla="*/ 224910 h 1306058"/>
              <a:gd name="connsiteX712" fmla="*/ 255532 w 4079044"/>
              <a:gd name="connsiteY712" fmla="*/ 230000 h 1306058"/>
              <a:gd name="connsiteX713" fmla="*/ 255532 w 4079044"/>
              <a:gd name="connsiteY713" fmla="*/ 233215 h 1306058"/>
              <a:gd name="connsiteX714" fmla="*/ 256509 w 4079044"/>
              <a:gd name="connsiteY714" fmla="*/ 234287 h 1306058"/>
              <a:gd name="connsiteX715" fmla="*/ 258072 w 4079044"/>
              <a:gd name="connsiteY715" fmla="*/ 239377 h 1306058"/>
              <a:gd name="connsiteX716" fmla="*/ 258072 w 4079044"/>
              <a:gd name="connsiteY716" fmla="*/ 246209 h 1306058"/>
              <a:gd name="connsiteX717" fmla="*/ 261491 w 4079044"/>
              <a:gd name="connsiteY717" fmla="*/ 248352 h 1306058"/>
              <a:gd name="connsiteX718" fmla="*/ 262663 w 4079044"/>
              <a:gd name="connsiteY718" fmla="*/ 250897 h 1306058"/>
              <a:gd name="connsiteX719" fmla="*/ 262663 w 4079044"/>
              <a:gd name="connsiteY719" fmla="*/ 250897 h 1306058"/>
              <a:gd name="connsiteX720" fmla="*/ 266375 w 4079044"/>
              <a:gd name="connsiteY720" fmla="*/ 253040 h 1306058"/>
              <a:gd name="connsiteX721" fmla="*/ 267938 w 4079044"/>
              <a:gd name="connsiteY721" fmla="*/ 258131 h 1306058"/>
              <a:gd name="connsiteX722" fmla="*/ 267938 w 4079044"/>
              <a:gd name="connsiteY722" fmla="*/ 261346 h 1306058"/>
              <a:gd name="connsiteX723" fmla="*/ 268817 w 4079044"/>
              <a:gd name="connsiteY723" fmla="*/ 262283 h 1306058"/>
              <a:gd name="connsiteX724" fmla="*/ 270380 w 4079044"/>
              <a:gd name="connsiteY724" fmla="*/ 267374 h 1306058"/>
              <a:gd name="connsiteX725" fmla="*/ 270380 w 4079044"/>
              <a:gd name="connsiteY725" fmla="*/ 269517 h 1306058"/>
              <a:gd name="connsiteX726" fmla="*/ 273799 w 4079044"/>
              <a:gd name="connsiteY726" fmla="*/ 271660 h 1306058"/>
              <a:gd name="connsiteX727" fmla="*/ 275362 w 4079044"/>
              <a:gd name="connsiteY727" fmla="*/ 276750 h 1306058"/>
              <a:gd name="connsiteX728" fmla="*/ 275362 w 4079044"/>
              <a:gd name="connsiteY728" fmla="*/ 283582 h 1306058"/>
              <a:gd name="connsiteX729" fmla="*/ 279953 w 4079044"/>
              <a:gd name="connsiteY729" fmla="*/ 283582 h 1306058"/>
              <a:gd name="connsiteX730" fmla="*/ 283664 w 4079044"/>
              <a:gd name="connsiteY730" fmla="*/ 285725 h 1306058"/>
              <a:gd name="connsiteX731" fmla="*/ 284837 w 4079044"/>
              <a:gd name="connsiteY731" fmla="*/ 288270 h 1306058"/>
              <a:gd name="connsiteX732" fmla="*/ 289721 w 4079044"/>
              <a:gd name="connsiteY732" fmla="*/ 288270 h 1306058"/>
              <a:gd name="connsiteX733" fmla="*/ 293433 w 4079044"/>
              <a:gd name="connsiteY733" fmla="*/ 290414 h 1306058"/>
              <a:gd name="connsiteX734" fmla="*/ 294995 w 4079044"/>
              <a:gd name="connsiteY734" fmla="*/ 295504 h 1306058"/>
              <a:gd name="connsiteX735" fmla="*/ 294995 w 4079044"/>
              <a:gd name="connsiteY735" fmla="*/ 297647 h 1306058"/>
              <a:gd name="connsiteX736" fmla="*/ 298414 w 4079044"/>
              <a:gd name="connsiteY736" fmla="*/ 299791 h 1306058"/>
              <a:gd name="connsiteX737" fmla="*/ 299586 w 4079044"/>
              <a:gd name="connsiteY737" fmla="*/ 302336 h 1306058"/>
              <a:gd name="connsiteX738" fmla="*/ 304470 w 4079044"/>
              <a:gd name="connsiteY738" fmla="*/ 302336 h 1306058"/>
              <a:gd name="connsiteX739" fmla="*/ 308182 w 4079044"/>
              <a:gd name="connsiteY739" fmla="*/ 304479 h 1306058"/>
              <a:gd name="connsiteX740" fmla="*/ 309550 w 4079044"/>
              <a:gd name="connsiteY740" fmla="*/ 307962 h 1306058"/>
              <a:gd name="connsiteX741" fmla="*/ 310624 w 4079044"/>
              <a:gd name="connsiteY741" fmla="*/ 309033 h 1306058"/>
              <a:gd name="connsiteX742" fmla="*/ 312187 w 4079044"/>
              <a:gd name="connsiteY742" fmla="*/ 314124 h 1306058"/>
              <a:gd name="connsiteX743" fmla="*/ 312187 w 4079044"/>
              <a:gd name="connsiteY743" fmla="*/ 316267 h 1306058"/>
              <a:gd name="connsiteX744" fmla="*/ 316778 w 4079044"/>
              <a:gd name="connsiteY744" fmla="*/ 316267 h 1306058"/>
              <a:gd name="connsiteX745" fmla="*/ 320490 w 4079044"/>
              <a:gd name="connsiteY745" fmla="*/ 318410 h 1306058"/>
              <a:gd name="connsiteX746" fmla="*/ 321662 w 4079044"/>
              <a:gd name="connsiteY746" fmla="*/ 320955 h 1306058"/>
              <a:gd name="connsiteX747" fmla="*/ 329086 w 4079044"/>
              <a:gd name="connsiteY747" fmla="*/ 320955 h 1306058"/>
              <a:gd name="connsiteX748" fmla="*/ 332798 w 4079044"/>
              <a:gd name="connsiteY748" fmla="*/ 323099 h 1306058"/>
              <a:gd name="connsiteX749" fmla="*/ 333970 w 4079044"/>
              <a:gd name="connsiteY749" fmla="*/ 325644 h 1306058"/>
              <a:gd name="connsiteX750" fmla="*/ 338952 w 4079044"/>
              <a:gd name="connsiteY750" fmla="*/ 325644 h 1306058"/>
              <a:gd name="connsiteX751" fmla="*/ 342664 w 4079044"/>
              <a:gd name="connsiteY751" fmla="*/ 327787 h 1306058"/>
              <a:gd name="connsiteX752" fmla="*/ 344226 w 4079044"/>
              <a:gd name="connsiteY752" fmla="*/ 332877 h 1306058"/>
              <a:gd name="connsiteX753" fmla="*/ 344226 w 4079044"/>
              <a:gd name="connsiteY753" fmla="*/ 336092 h 1306058"/>
              <a:gd name="connsiteX754" fmla="*/ 345106 w 4079044"/>
              <a:gd name="connsiteY754" fmla="*/ 337164 h 1306058"/>
              <a:gd name="connsiteX755" fmla="*/ 346571 w 4079044"/>
              <a:gd name="connsiteY755" fmla="*/ 340781 h 1306058"/>
              <a:gd name="connsiteX756" fmla="*/ 347548 w 4079044"/>
              <a:gd name="connsiteY756" fmla="*/ 341852 h 1306058"/>
              <a:gd name="connsiteX757" fmla="*/ 349013 w 4079044"/>
              <a:gd name="connsiteY757" fmla="*/ 345469 h 1306058"/>
              <a:gd name="connsiteX758" fmla="*/ 350087 w 4079044"/>
              <a:gd name="connsiteY758" fmla="*/ 346541 h 1306058"/>
              <a:gd name="connsiteX759" fmla="*/ 351259 w 4079044"/>
              <a:gd name="connsiteY759" fmla="*/ 349086 h 1306058"/>
              <a:gd name="connsiteX760" fmla="*/ 356143 w 4079044"/>
              <a:gd name="connsiteY760" fmla="*/ 349086 h 1306058"/>
              <a:gd name="connsiteX761" fmla="*/ 359855 w 4079044"/>
              <a:gd name="connsiteY761" fmla="*/ 351229 h 1306058"/>
              <a:gd name="connsiteX762" fmla="*/ 361418 w 4079044"/>
              <a:gd name="connsiteY762" fmla="*/ 356319 h 1306058"/>
              <a:gd name="connsiteX763" fmla="*/ 361418 w 4079044"/>
              <a:gd name="connsiteY763" fmla="*/ 359534 h 1306058"/>
              <a:gd name="connsiteX764" fmla="*/ 362297 w 4079044"/>
              <a:gd name="connsiteY764" fmla="*/ 360472 h 1306058"/>
              <a:gd name="connsiteX765" fmla="*/ 363860 w 4079044"/>
              <a:gd name="connsiteY765" fmla="*/ 365562 h 1306058"/>
              <a:gd name="connsiteX766" fmla="*/ 363860 w 4079044"/>
              <a:gd name="connsiteY766" fmla="*/ 367706 h 1306058"/>
              <a:gd name="connsiteX767" fmla="*/ 367279 w 4079044"/>
              <a:gd name="connsiteY767" fmla="*/ 369849 h 1306058"/>
              <a:gd name="connsiteX768" fmla="*/ 368451 w 4079044"/>
              <a:gd name="connsiteY768" fmla="*/ 372394 h 1306058"/>
              <a:gd name="connsiteX769" fmla="*/ 368451 w 4079044"/>
              <a:gd name="connsiteY769" fmla="*/ 372394 h 1306058"/>
              <a:gd name="connsiteX770" fmla="*/ 372163 w 4079044"/>
              <a:gd name="connsiteY770" fmla="*/ 374537 h 1306058"/>
              <a:gd name="connsiteX771" fmla="*/ 373628 w 4079044"/>
              <a:gd name="connsiteY771" fmla="*/ 378154 h 1306058"/>
              <a:gd name="connsiteX772" fmla="*/ 374703 w 4079044"/>
              <a:gd name="connsiteY772" fmla="*/ 379226 h 1306058"/>
              <a:gd name="connsiteX773" fmla="*/ 376266 w 4079044"/>
              <a:gd name="connsiteY773" fmla="*/ 384316 h 1306058"/>
              <a:gd name="connsiteX774" fmla="*/ 376266 w 4079044"/>
              <a:gd name="connsiteY774" fmla="*/ 387531 h 1306058"/>
              <a:gd name="connsiteX775" fmla="*/ 377242 w 4079044"/>
              <a:gd name="connsiteY775" fmla="*/ 388603 h 1306058"/>
              <a:gd name="connsiteX776" fmla="*/ 378415 w 4079044"/>
              <a:gd name="connsiteY776" fmla="*/ 391148 h 1306058"/>
              <a:gd name="connsiteX777" fmla="*/ 383396 w 4079044"/>
              <a:gd name="connsiteY777" fmla="*/ 391148 h 1306058"/>
              <a:gd name="connsiteX778" fmla="*/ 387108 w 4079044"/>
              <a:gd name="connsiteY778" fmla="*/ 393291 h 1306058"/>
              <a:gd name="connsiteX779" fmla="*/ 388476 w 4079044"/>
              <a:gd name="connsiteY779" fmla="*/ 396774 h 1306058"/>
              <a:gd name="connsiteX780" fmla="*/ 389550 w 4079044"/>
              <a:gd name="connsiteY780" fmla="*/ 397845 h 1306058"/>
              <a:gd name="connsiteX781" fmla="*/ 390722 w 4079044"/>
              <a:gd name="connsiteY781" fmla="*/ 400391 h 1306058"/>
              <a:gd name="connsiteX782" fmla="*/ 390722 w 4079044"/>
              <a:gd name="connsiteY782" fmla="*/ 400391 h 1306058"/>
              <a:gd name="connsiteX783" fmla="*/ 394434 w 4079044"/>
              <a:gd name="connsiteY783" fmla="*/ 402534 h 1306058"/>
              <a:gd name="connsiteX784" fmla="*/ 395606 w 4079044"/>
              <a:gd name="connsiteY784" fmla="*/ 405079 h 1306058"/>
              <a:gd name="connsiteX785" fmla="*/ 395606 w 4079044"/>
              <a:gd name="connsiteY785" fmla="*/ 405079 h 1306058"/>
              <a:gd name="connsiteX786" fmla="*/ 399318 w 4079044"/>
              <a:gd name="connsiteY786" fmla="*/ 407222 h 1306058"/>
              <a:gd name="connsiteX787" fmla="*/ 400490 w 4079044"/>
              <a:gd name="connsiteY787" fmla="*/ 409767 h 1306058"/>
              <a:gd name="connsiteX788" fmla="*/ 402932 w 4079044"/>
              <a:gd name="connsiteY788" fmla="*/ 409767 h 1306058"/>
              <a:gd name="connsiteX789" fmla="*/ 406644 w 4079044"/>
              <a:gd name="connsiteY789" fmla="*/ 411911 h 1306058"/>
              <a:gd name="connsiteX790" fmla="*/ 408012 w 4079044"/>
              <a:gd name="connsiteY790" fmla="*/ 415393 h 1306058"/>
              <a:gd name="connsiteX791" fmla="*/ 409086 w 4079044"/>
              <a:gd name="connsiteY791" fmla="*/ 416465 h 1306058"/>
              <a:gd name="connsiteX792" fmla="*/ 410454 w 4079044"/>
              <a:gd name="connsiteY792" fmla="*/ 419948 h 1306058"/>
              <a:gd name="connsiteX793" fmla="*/ 411528 w 4079044"/>
              <a:gd name="connsiteY793" fmla="*/ 421020 h 1306058"/>
              <a:gd name="connsiteX794" fmla="*/ 412701 w 4079044"/>
              <a:gd name="connsiteY794" fmla="*/ 423565 h 1306058"/>
              <a:gd name="connsiteX795" fmla="*/ 417585 w 4079044"/>
              <a:gd name="connsiteY795" fmla="*/ 423565 h 1306058"/>
              <a:gd name="connsiteX796" fmla="*/ 421296 w 4079044"/>
              <a:gd name="connsiteY796" fmla="*/ 425708 h 1306058"/>
              <a:gd name="connsiteX797" fmla="*/ 422664 w 4079044"/>
              <a:gd name="connsiteY797" fmla="*/ 429191 h 1306058"/>
              <a:gd name="connsiteX798" fmla="*/ 423738 w 4079044"/>
              <a:gd name="connsiteY798" fmla="*/ 430262 h 1306058"/>
              <a:gd name="connsiteX799" fmla="*/ 425106 w 4079044"/>
              <a:gd name="connsiteY799" fmla="*/ 433745 h 1306058"/>
              <a:gd name="connsiteX800" fmla="*/ 426180 w 4079044"/>
              <a:gd name="connsiteY800" fmla="*/ 434817 h 1306058"/>
              <a:gd name="connsiteX801" fmla="*/ 427548 w 4079044"/>
              <a:gd name="connsiteY801" fmla="*/ 438300 h 1306058"/>
              <a:gd name="connsiteX802" fmla="*/ 428622 w 4079044"/>
              <a:gd name="connsiteY802" fmla="*/ 439371 h 1306058"/>
              <a:gd name="connsiteX803" fmla="*/ 429990 w 4079044"/>
              <a:gd name="connsiteY803" fmla="*/ 442988 h 1306058"/>
              <a:gd name="connsiteX804" fmla="*/ 431064 w 4079044"/>
              <a:gd name="connsiteY804" fmla="*/ 444060 h 1306058"/>
              <a:gd name="connsiteX805" fmla="*/ 432432 w 4079044"/>
              <a:gd name="connsiteY805" fmla="*/ 447676 h 1306058"/>
              <a:gd name="connsiteX806" fmla="*/ 433506 w 4079044"/>
              <a:gd name="connsiteY806" fmla="*/ 448748 h 1306058"/>
              <a:gd name="connsiteX807" fmla="*/ 434679 w 4079044"/>
              <a:gd name="connsiteY807" fmla="*/ 451427 h 1306058"/>
              <a:gd name="connsiteX808" fmla="*/ 439563 w 4079044"/>
              <a:gd name="connsiteY808" fmla="*/ 451427 h 1306058"/>
              <a:gd name="connsiteX809" fmla="*/ 443275 w 4079044"/>
              <a:gd name="connsiteY809" fmla="*/ 453571 h 1306058"/>
              <a:gd name="connsiteX810" fmla="*/ 444642 w 4079044"/>
              <a:gd name="connsiteY810" fmla="*/ 457187 h 1306058"/>
              <a:gd name="connsiteX811" fmla="*/ 445717 w 4079044"/>
              <a:gd name="connsiteY811" fmla="*/ 458259 h 1306058"/>
              <a:gd name="connsiteX812" fmla="*/ 447279 w 4079044"/>
              <a:gd name="connsiteY812" fmla="*/ 463349 h 1306058"/>
              <a:gd name="connsiteX813" fmla="*/ 447279 w 4079044"/>
              <a:gd name="connsiteY813" fmla="*/ 466564 h 1306058"/>
              <a:gd name="connsiteX814" fmla="*/ 448256 w 4079044"/>
              <a:gd name="connsiteY814" fmla="*/ 467636 h 1306058"/>
              <a:gd name="connsiteX815" fmla="*/ 449624 w 4079044"/>
              <a:gd name="connsiteY815" fmla="*/ 471119 h 1306058"/>
              <a:gd name="connsiteX816" fmla="*/ 450698 w 4079044"/>
              <a:gd name="connsiteY816" fmla="*/ 472190 h 1306058"/>
              <a:gd name="connsiteX817" fmla="*/ 452261 w 4079044"/>
              <a:gd name="connsiteY817" fmla="*/ 477281 h 1306058"/>
              <a:gd name="connsiteX818" fmla="*/ 452261 w 4079044"/>
              <a:gd name="connsiteY818" fmla="*/ 479424 h 1306058"/>
              <a:gd name="connsiteX819" fmla="*/ 461736 w 4079044"/>
              <a:gd name="connsiteY819" fmla="*/ 479424 h 1306058"/>
              <a:gd name="connsiteX820" fmla="*/ 465448 w 4079044"/>
              <a:gd name="connsiteY820" fmla="*/ 481567 h 1306058"/>
              <a:gd name="connsiteX821" fmla="*/ 466620 w 4079044"/>
              <a:gd name="connsiteY821" fmla="*/ 484112 h 1306058"/>
              <a:gd name="connsiteX822" fmla="*/ 478830 w 4079044"/>
              <a:gd name="connsiteY822" fmla="*/ 484112 h 1306058"/>
              <a:gd name="connsiteX823" fmla="*/ 482542 w 4079044"/>
              <a:gd name="connsiteY823" fmla="*/ 486255 h 1306058"/>
              <a:gd name="connsiteX824" fmla="*/ 483910 w 4079044"/>
              <a:gd name="connsiteY824" fmla="*/ 489872 h 1306058"/>
              <a:gd name="connsiteX825" fmla="*/ 484984 w 4079044"/>
              <a:gd name="connsiteY825" fmla="*/ 490944 h 1306058"/>
              <a:gd name="connsiteX826" fmla="*/ 486547 w 4079044"/>
              <a:gd name="connsiteY826" fmla="*/ 496034 h 1306058"/>
              <a:gd name="connsiteX827" fmla="*/ 486547 w 4079044"/>
              <a:gd name="connsiteY827" fmla="*/ 498177 h 1306058"/>
              <a:gd name="connsiteX828" fmla="*/ 489966 w 4079044"/>
              <a:gd name="connsiteY828" fmla="*/ 500321 h 1306058"/>
              <a:gd name="connsiteX829" fmla="*/ 491138 w 4079044"/>
              <a:gd name="connsiteY829" fmla="*/ 502866 h 1306058"/>
              <a:gd name="connsiteX830" fmla="*/ 503446 w 4079044"/>
              <a:gd name="connsiteY830" fmla="*/ 502866 h 1306058"/>
              <a:gd name="connsiteX831" fmla="*/ 507158 w 4079044"/>
              <a:gd name="connsiteY831" fmla="*/ 505009 h 1306058"/>
              <a:gd name="connsiteX832" fmla="*/ 508525 w 4079044"/>
              <a:gd name="connsiteY832" fmla="*/ 508626 h 1306058"/>
              <a:gd name="connsiteX833" fmla="*/ 509600 w 4079044"/>
              <a:gd name="connsiteY833" fmla="*/ 509698 h 1306058"/>
              <a:gd name="connsiteX834" fmla="*/ 511065 w 4079044"/>
              <a:gd name="connsiteY834" fmla="*/ 513180 h 1306058"/>
              <a:gd name="connsiteX835" fmla="*/ 512139 w 4079044"/>
              <a:gd name="connsiteY835" fmla="*/ 514252 h 1306058"/>
              <a:gd name="connsiteX836" fmla="*/ 513702 w 4079044"/>
              <a:gd name="connsiteY836" fmla="*/ 519342 h 1306058"/>
              <a:gd name="connsiteX837" fmla="*/ 513702 w 4079044"/>
              <a:gd name="connsiteY837" fmla="*/ 521486 h 1306058"/>
              <a:gd name="connsiteX838" fmla="*/ 515851 w 4079044"/>
              <a:gd name="connsiteY838" fmla="*/ 521486 h 1306058"/>
              <a:gd name="connsiteX839" fmla="*/ 519563 w 4079044"/>
              <a:gd name="connsiteY839" fmla="*/ 523629 h 1306058"/>
              <a:gd name="connsiteX840" fmla="*/ 521126 w 4079044"/>
              <a:gd name="connsiteY840" fmla="*/ 528719 h 1306058"/>
              <a:gd name="connsiteX841" fmla="*/ 521126 w 4079044"/>
              <a:gd name="connsiteY841" fmla="*/ 530862 h 1306058"/>
              <a:gd name="connsiteX842" fmla="*/ 525619 w 4079044"/>
              <a:gd name="connsiteY842" fmla="*/ 530862 h 1306058"/>
              <a:gd name="connsiteX843" fmla="*/ 529331 w 4079044"/>
              <a:gd name="connsiteY843" fmla="*/ 533006 h 1306058"/>
              <a:gd name="connsiteX844" fmla="*/ 530894 w 4079044"/>
              <a:gd name="connsiteY844" fmla="*/ 538096 h 1306058"/>
              <a:gd name="connsiteX845" fmla="*/ 530894 w 4079044"/>
              <a:gd name="connsiteY845" fmla="*/ 541311 h 1306058"/>
              <a:gd name="connsiteX846" fmla="*/ 531773 w 4079044"/>
              <a:gd name="connsiteY846" fmla="*/ 542382 h 1306058"/>
              <a:gd name="connsiteX847" fmla="*/ 532945 w 4079044"/>
              <a:gd name="connsiteY847" fmla="*/ 545062 h 1306058"/>
              <a:gd name="connsiteX848" fmla="*/ 542713 w 4079044"/>
              <a:gd name="connsiteY848" fmla="*/ 545062 h 1306058"/>
              <a:gd name="connsiteX849" fmla="*/ 546425 w 4079044"/>
              <a:gd name="connsiteY849" fmla="*/ 547205 h 1306058"/>
              <a:gd name="connsiteX850" fmla="*/ 547597 w 4079044"/>
              <a:gd name="connsiteY850" fmla="*/ 549750 h 1306058"/>
              <a:gd name="connsiteX851" fmla="*/ 547597 w 4079044"/>
              <a:gd name="connsiteY851" fmla="*/ 549750 h 1306058"/>
              <a:gd name="connsiteX852" fmla="*/ 551309 w 4079044"/>
              <a:gd name="connsiteY852" fmla="*/ 551893 h 1306058"/>
              <a:gd name="connsiteX853" fmla="*/ 552481 w 4079044"/>
              <a:gd name="connsiteY853" fmla="*/ 554572 h 1306058"/>
              <a:gd name="connsiteX854" fmla="*/ 554923 w 4079044"/>
              <a:gd name="connsiteY854" fmla="*/ 554572 h 1306058"/>
              <a:gd name="connsiteX855" fmla="*/ 558635 w 4079044"/>
              <a:gd name="connsiteY855" fmla="*/ 556716 h 1306058"/>
              <a:gd name="connsiteX856" fmla="*/ 560003 w 4079044"/>
              <a:gd name="connsiteY856" fmla="*/ 560198 h 1306058"/>
              <a:gd name="connsiteX857" fmla="*/ 561077 w 4079044"/>
              <a:gd name="connsiteY857" fmla="*/ 561270 h 1306058"/>
              <a:gd name="connsiteX858" fmla="*/ 562445 w 4079044"/>
              <a:gd name="connsiteY858" fmla="*/ 564753 h 1306058"/>
              <a:gd name="connsiteX859" fmla="*/ 563519 w 4079044"/>
              <a:gd name="connsiteY859" fmla="*/ 565825 h 1306058"/>
              <a:gd name="connsiteX860" fmla="*/ 564692 w 4079044"/>
              <a:gd name="connsiteY860" fmla="*/ 568504 h 1306058"/>
              <a:gd name="connsiteX861" fmla="*/ 569576 w 4079044"/>
              <a:gd name="connsiteY861" fmla="*/ 568504 h 1306058"/>
              <a:gd name="connsiteX862" fmla="*/ 573287 w 4079044"/>
              <a:gd name="connsiteY862" fmla="*/ 570647 h 1306058"/>
              <a:gd name="connsiteX863" fmla="*/ 574460 w 4079044"/>
              <a:gd name="connsiteY863" fmla="*/ 573192 h 1306058"/>
              <a:gd name="connsiteX864" fmla="*/ 589209 w 4079044"/>
              <a:gd name="connsiteY864" fmla="*/ 573192 h 1306058"/>
              <a:gd name="connsiteX865" fmla="*/ 592921 w 4079044"/>
              <a:gd name="connsiteY865" fmla="*/ 575335 h 1306058"/>
              <a:gd name="connsiteX866" fmla="*/ 594289 w 4079044"/>
              <a:gd name="connsiteY866" fmla="*/ 578952 h 1306058"/>
              <a:gd name="connsiteX867" fmla="*/ 595363 w 4079044"/>
              <a:gd name="connsiteY867" fmla="*/ 580024 h 1306058"/>
              <a:gd name="connsiteX868" fmla="*/ 596535 w 4079044"/>
              <a:gd name="connsiteY868" fmla="*/ 582569 h 1306058"/>
              <a:gd name="connsiteX869" fmla="*/ 598977 w 4079044"/>
              <a:gd name="connsiteY869" fmla="*/ 582569 h 1306058"/>
              <a:gd name="connsiteX870" fmla="*/ 602689 w 4079044"/>
              <a:gd name="connsiteY870" fmla="*/ 584712 h 1306058"/>
              <a:gd name="connsiteX871" fmla="*/ 603861 w 4079044"/>
              <a:gd name="connsiteY871" fmla="*/ 587391 h 1306058"/>
              <a:gd name="connsiteX872" fmla="*/ 611285 w 4079044"/>
              <a:gd name="connsiteY872" fmla="*/ 587391 h 1306058"/>
              <a:gd name="connsiteX873" fmla="*/ 614997 w 4079044"/>
              <a:gd name="connsiteY873" fmla="*/ 589534 h 1306058"/>
              <a:gd name="connsiteX874" fmla="*/ 616560 w 4079044"/>
              <a:gd name="connsiteY874" fmla="*/ 594625 h 1306058"/>
              <a:gd name="connsiteX875" fmla="*/ 616560 w 4079044"/>
              <a:gd name="connsiteY875" fmla="*/ 601457 h 1306058"/>
              <a:gd name="connsiteX876" fmla="*/ 619979 w 4079044"/>
              <a:gd name="connsiteY876" fmla="*/ 603600 h 1306058"/>
              <a:gd name="connsiteX877" fmla="*/ 621151 w 4079044"/>
              <a:gd name="connsiteY877" fmla="*/ 606145 h 1306058"/>
              <a:gd name="connsiteX878" fmla="*/ 623593 w 4079044"/>
              <a:gd name="connsiteY878" fmla="*/ 606145 h 1306058"/>
              <a:gd name="connsiteX879" fmla="*/ 627305 w 4079044"/>
              <a:gd name="connsiteY879" fmla="*/ 608288 h 1306058"/>
              <a:gd name="connsiteX880" fmla="*/ 628868 w 4079044"/>
              <a:gd name="connsiteY880" fmla="*/ 613378 h 1306058"/>
              <a:gd name="connsiteX881" fmla="*/ 628868 w 4079044"/>
              <a:gd name="connsiteY881" fmla="*/ 621416 h 1306058"/>
              <a:gd name="connsiteX882" fmla="*/ 629747 w 4079044"/>
              <a:gd name="connsiteY882" fmla="*/ 622353 h 1306058"/>
              <a:gd name="connsiteX883" fmla="*/ 630919 w 4079044"/>
              <a:gd name="connsiteY883" fmla="*/ 624899 h 1306058"/>
              <a:gd name="connsiteX884" fmla="*/ 633361 w 4079044"/>
              <a:gd name="connsiteY884" fmla="*/ 624899 h 1306058"/>
              <a:gd name="connsiteX885" fmla="*/ 637073 w 4079044"/>
              <a:gd name="connsiteY885" fmla="*/ 627042 h 1306058"/>
              <a:gd name="connsiteX886" fmla="*/ 638245 w 4079044"/>
              <a:gd name="connsiteY886" fmla="*/ 629721 h 1306058"/>
              <a:gd name="connsiteX887" fmla="*/ 650455 w 4079044"/>
              <a:gd name="connsiteY887" fmla="*/ 629721 h 1306058"/>
              <a:gd name="connsiteX888" fmla="*/ 654167 w 4079044"/>
              <a:gd name="connsiteY888" fmla="*/ 631864 h 1306058"/>
              <a:gd name="connsiteX889" fmla="*/ 655535 w 4079044"/>
              <a:gd name="connsiteY889" fmla="*/ 635347 h 1306058"/>
              <a:gd name="connsiteX890" fmla="*/ 656609 w 4079044"/>
              <a:gd name="connsiteY890" fmla="*/ 636419 h 1306058"/>
              <a:gd name="connsiteX891" fmla="*/ 657781 w 4079044"/>
              <a:gd name="connsiteY891" fmla="*/ 639098 h 1306058"/>
              <a:gd name="connsiteX892" fmla="*/ 661493 w 4079044"/>
              <a:gd name="connsiteY892" fmla="*/ 641241 h 1306058"/>
              <a:gd name="connsiteX893" fmla="*/ 662665 w 4079044"/>
              <a:gd name="connsiteY893" fmla="*/ 643786 h 1306058"/>
              <a:gd name="connsiteX894" fmla="*/ 662665 w 4079044"/>
              <a:gd name="connsiteY894" fmla="*/ 643786 h 1306058"/>
              <a:gd name="connsiteX895" fmla="*/ 666377 w 4079044"/>
              <a:gd name="connsiteY895" fmla="*/ 645929 h 1306058"/>
              <a:gd name="connsiteX896" fmla="*/ 667745 w 4079044"/>
              <a:gd name="connsiteY896" fmla="*/ 649412 h 1306058"/>
              <a:gd name="connsiteX897" fmla="*/ 668819 w 4079044"/>
              <a:gd name="connsiteY897" fmla="*/ 650484 h 1306058"/>
              <a:gd name="connsiteX898" fmla="*/ 670382 w 4079044"/>
              <a:gd name="connsiteY898" fmla="*/ 655574 h 1306058"/>
              <a:gd name="connsiteX899" fmla="*/ 670382 w 4079044"/>
              <a:gd name="connsiteY899" fmla="*/ 662540 h 1306058"/>
              <a:gd name="connsiteX900" fmla="*/ 672531 w 4079044"/>
              <a:gd name="connsiteY900" fmla="*/ 662540 h 1306058"/>
              <a:gd name="connsiteX901" fmla="*/ 676243 w 4079044"/>
              <a:gd name="connsiteY901" fmla="*/ 664683 h 1306058"/>
              <a:gd name="connsiteX902" fmla="*/ 677415 w 4079044"/>
              <a:gd name="connsiteY902" fmla="*/ 667228 h 1306058"/>
              <a:gd name="connsiteX903" fmla="*/ 684839 w 4079044"/>
              <a:gd name="connsiteY903" fmla="*/ 667228 h 1306058"/>
              <a:gd name="connsiteX904" fmla="*/ 688551 w 4079044"/>
              <a:gd name="connsiteY904" fmla="*/ 669372 h 1306058"/>
              <a:gd name="connsiteX905" fmla="*/ 689723 w 4079044"/>
              <a:gd name="connsiteY905" fmla="*/ 671917 h 1306058"/>
              <a:gd name="connsiteX906" fmla="*/ 699589 w 4079044"/>
              <a:gd name="connsiteY906" fmla="*/ 671917 h 1306058"/>
              <a:gd name="connsiteX907" fmla="*/ 703300 w 4079044"/>
              <a:gd name="connsiteY907" fmla="*/ 674060 h 1306058"/>
              <a:gd name="connsiteX908" fmla="*/ 704473 w 4079044"/>
              <a:gd name="connsiteY908" fmla="*/ 676605 h 1306058"/>
              <a:gd name="connsiteX909" fmla="*/ 704473 w 4079044"/>
              <a:gd name="connsiteY909" fmla="*/ 676605 h 1306058"/>
              <a:gd name="connsiteX910" fmla="*/ 708184 w 4079044"/>
              <a:gd name="connsiteY910" fmla="*/ 678748 h 1306058"/>
              <a:gd name="connsiteX911" fmla="*/ 709357 w 4079044"/>
              <a:gd name="connsiteY911" fmla="*/ 681427 h 1306058"/>
              <a:gd name="connsiteX912" fmla="*/ 716683 w 4079044"/>
              <a:gd name="connsiteY912" fmla="*/ 681427 h 1306058"/>
              <a:gd name="connsiteX913" fmla="*/ 720394 w 4079044"/>
              <a:gd name="connsiteY913" fmla="*/ 683571 h 1306058"/>
              <a:gd name="connsiteX914" fmla="*/ 721567 w 4079044"/>
              <a:gd name="connsiteY914" fmla="*/ 686250 h 1306058"/>
              <a:gd name="connsiteX915" fmla="*/ 728990 w 4079044"/>
              <a:gd name="connsiteY915" fmla="*/ 686250 h 1306058"/>
              <a:gd name="connsiteX916" fmla="*/ 732702 w 4079044"/>
              <a:gd name="connsiteY916" fmla="*/ 688393 h 1306058"/>
              <a:gd name="connsiteX917" fmla="*/ 734265 w 4079044"/>
              <a:gd name="connsiteY917" fmla="*/ 693483 h 1306058"/>
              <a:gd name="connsiteX918" fmla="*/ 734265 w 4079044"/>
              <a:gd name="connsiteY918" fmla="*/ 695627 h 1306058"/>
              <a:gd name="connsiteX919" fmla="*/ 738856 w 4079044"/>
              <a:gd name="connsiteY919" fmla="*/ 695627 h 1306058"/>
              <a:gd name="connsiteX920" fmla="*/ 742568 w 4079044"/>
              <a:gd name="connsiteY920" fmla="*/ 697770 h 1306058"/>
              <a:gd name="connsiteX921" fmla="*/ 743740 w 4079044"/>
              <a:gd name="connsiteY921" fmla="*/ 700449 h 1306058"/>
              <a:gd name="connsiteX922" fmla="*/ 747452 w 4079044"/>
              <a:gd name="connsiteY922" fmla="*/ 702592 h 1306058"/>
              <a:gd name="connsiteX923" fmla="*/ 748624 w 4079044"/>
              <a:gd name="connsiteY923" fmla="*/ 705271 h 1306058"/>
              <a:gd name="connsiteX924" fmla="*/ 752336 w 4079044"/>
              <a:gd name="connsiteY924" fmla="*/ 707415 h 1306058"/>
              <a:gd name="connsiteX925" fmla="*/ 753508 w 4079044"/>
              <a:gd name="connsiteY925" fmla="*/ 710094 h 1306058"/>
              <a:gd name="connsiteX926" fmla="*/ 755950 w 4079044"/>
              <a:gd name="connsiteY926" fmla="*/ 710094 h 1306058"/>
              <a:gd name="connsiteX927" fmla="*/ 759662 w 4079044"/>
              <a:gd name="connsiteY927" fmla="*/ 712237 h 1306058"/>
              <a:gd name="connsiteX928" fmla="*/ 760834 w 4079044"/>
              <a:gd name="connsiteY928" fmla="*/ 714916 h 1306058"/>
              <a:gd name="connsiteX929" fmla="*/ 763276 w 4079044"/>
              <a:gd name="connsiteY929" fmla="*/ 714916 h 1306058"/>
              <a:gd name="connsiteX930" fmla="*/ 766988 w 4079044"/>
              <a:gd name="connsiteY930" fmla="*/ 717059 h 1306058"/>
              <a:gd name="connsiteX931" fmla="*/ 768453 w 4079044"/>
              <a:gd name="connsiteY931" fmla="*/ 720810 h 1306058"/>
              <a:gd name="connsiteX932" fmla="*/ 769430 w 4079044"/>
              <a:gd name="connsiteY932" fmla="*/ 721882 h 1306058"/>
              <a:gd name="connsiteX933" fmla="*/ 770602 w 4079044"/>
              <a:gd name="connsiteY933" fmla="*/ 724561 h 1306058"/>
              <a:gd name="connsiteX934" fmla="*/ 773044 w 4079044"/>
              <a:gd name="connsiteY934" fmla="*/ 724561 h 1306058"/>
              <a:gd name="connsiteX935" fmla="*/ 776756 w 4079044"/>
              <a:gd name="connsiteY935" fmla="*/ 726704 h 1306058"/>
              <a:gd name="connsiteX936" fmla="*/ 778221 w 4079044"/>
              <a:gd name="connsiteY936" fmla="*/ 730321 h 1306058"/>
              <a:gd name="connsiteX937" fmla="*/ 779198 w 4079044"/>
              <a:gd name="connsiteY937" fmla="*/ 731392 h 1306058"/>
              <a:gd name="connsiteX938" fmla="*/ 780761 w 4079044"/>
              <a:gd name="connsiteY938" fmla="*/ 736483 h 1306058"/>
              <a:gd name="connsiteX939" fmla="*/ 780761 w 4079044"/>
              <a:gd name="connsiteY939" fmla="*/ 739832 h 1306058"/>
              <a:gd name="connsiteX940" fmla="*/ 781738 w 4079044"/>
              <a:gd name="connsiteY940" fmla="*/ 740903 h 1306058"/>
              <a:gd name="connsiteX941" fmla="*/ 783203 w 4079044"/>
              <a:gd name="connsiteY941" fmla="*/ 744520 h 1306058"/>
              <a:gd name="connsiteX942" fmla="*/ 784278 w 4079044"/>
              <a:gd name="connsiteY942" fmla="*/ 745592 h 1306058"/>
              <a:gd name="connsiteX943" fmla="*/ 785450 w 4079044"/>
              <a:gd name="connsiteY943" fmla="*/ 748137 h 1306058"/>
              <a:gd name="connsiteX944" fmla="*/ 789162 w 4079044"/>
              <a:gd name="connsiteY944" fmla="*/ 750280 h 1306058"/>
              <a:gd name="connsiteX945" fmla="*/ 790334 w 4079044"/>
              <a:gd name="connsiteY945" fmla="*/ 752959 h 1306058"/>
              <a:gd name="connsiteX946" fmla="*/ 802641 w 4079044"/>
              <a:gd name="connsiteY946" fmla="*/ 752959 h 1306058"/>
              <a:gd name="connsiteX947" fmla="*/ 806353 w 4079044"/>
              <a:gd name="connsiteY947" fmla="*/ 755102 h 1306058"/>
              <a:gd name="connsiteX948" fmla="*/ 807819 w 4079044"/>
              <a:gd name="connsiteY948" fmla="*/ 758719 h 1306058"/>
              <a:gd name="connsiteX949" fmla="*/ 808893 w 4079044"/>
              <a:gd name="connsiteY949" fmla="*/ 759791 h 1306058"/>
              <a:gd name="connsiteX950" fmla="*/ 810456 w 4079044"/>
              <a:gd name="connsiteY950" fmla="*/ 764881 h 1306058"/>
              <a:gd name="connsiteX951" fmla="*/ 810456 w 4079044"/>
              <a:gd name="connsiteY951" fmla="*/ 768364 h 1306058"/>
              <a:gd name="connsiteX952" fmla="*/ 811335 w 4079044"/>
              <a:gd name="connsiteY952" fmla="*/ 769302 h 1306058"/>
              <a:gd name="connsiteX953" fmla="*/ 812507 w 4079044"/>
              <a:gd name="connsiteY953" fmla="*/ 771981 h 1306058"/>
              <a:gd name="connsiteX954" fmla="*/ 822373 w 4079044"/>
              <a:gd name="connsiteY954" fmla="*/ 771981 h 1306058"/>
              <a:gd name="connsiteX955" fmla="*/ 826085 w 4079044"/>
              <a:gd name="connsiteY955" fmla="*/ 774124 h 1306058"/>
              <a:gd name="connsiteX956" fmla="*/ 827257 w 4079044"/>
              <a:gd name="connsiteY956" fmla="*/ 776669 h 1306058"/>
              <a:gd name="connsiteX957" fmla="*/ 834583 w 4079044"/>
              <a:gd name="connsiteY957" fmla="*/ 776669 h 1306058"/>
              <a:gd name="connsiteX958" fmla="*/ 838295 w 4079044"/>
              <a:gd name="connsiteY958" fmla="*/ 778812 h 1306058"/>
              <a:gd name="connsiteX959" fmla="*/ 839760 w 4079044"/>
              <a:gd name="connsiteY959" fmla="*/ 782429 h 1306058"/>
              <a:gd name="connsiteX960" fmla="*/ 840835 w 4079044"/>
              <a:gd name="connsiteY960" fmla="*/ 783501 h 1306058"/>
              <a:gd name="connsiteX961" fmla="*/ 842007 w 4079044"/>
              <a:gd name="connsiteY961" fmla="*/ 786046 h 1306058"/>
              <a:gd name="connsiteX962" fmla="*/ 854315 w 4079044"/>
              <a:gd name="connsiteY962" fmla="*/ 786046 h 1306058"/>
              <a:gd name="connsiteX963" fmla="*/ 858026 w 4079044"/>
              <a:gd name="connsiteY963" fmla="*/ 788189 h 1306058"/>
              <a:gd name="connsiteX964" fmla="*/ 859296 w 4079044"/>
              <a:gd name="connsiteY964" fmla="*/ 790868 h 1306058"/>
              <a:gd name="connsiteX965" fmla="*/ 864180 w 4079044"/>
              <a:gd name="connsiteY965" fmla="*/ 790868 h 1306058"/>
              <a:gd name="connsiteX966" fmla="*/ 867892 w 4079044"/>
              <a:gd name="connsiteY966" fmla="*/ 793012 h 1306058"/>
              <a:gd name="connsiteX967" fmla="*/ 869455 w 4079044"/>
              <a:gd name="connsiteY967" fmla="*/ 798102 h 1306058"/>
              <a:gd name="connsiteX968" fmla="*/ 869455 w 4079044"/>
              <a:gd name="connsiteY968" fmla="*/ 800379 h 1306058"/>
              <a:gd name="connsiteX969" fmla="*/ 872874 w 4079044"/>
              <a:gd name="connsiteY969" fmla="*/ 802522 h 1306058"/>
              <a:gd name="connsiteX970" fmla="*/ 874046 w 4079044"/>
              <a:gd name="connsiteY970" fmla="*/ 805202 h 1306058"/>
              <a:gd name="connsiteX971" fmla="*/ 888698 w 4079044"/>
              <a:gd name="connsiteY971" fmla="*/ 805202 h 1306058"/>
              <a:gd name="connsiteX972" fmla="*/ 892410 w 4079044"/>
              <a:gd name="connsiteY972" fmla="*/ 807345 h 1306058"/>
              <a:gd name="connsiteX973" fmla="*/ 893680 w 4079044"/>
              <a:gd name="connsiteY973" fmla="*/ 810024 h 1306058"/>
              <a:gd name="connsiteX974" fmla="*/ 896122 w 4079044"/>
              <a:gd name="connsiteY974" fmla="*/ 810024 h 1306058"/>
              <a:gd name="connsiteX975" fmla="*/ 899834 w 4079044"/>
              <a:gd name="connsiteY975" fmla="*/ 812167 h 1306058"/>
              <a:gd name="connsiteX976" fmla="*/ 901299 w 4079044"/>
              <a:gd name="connsiteY976" fmla="*/ 815784 h 1306058"/>
              <a:gd name="connsiteX977" fmla="*/ 902276 w 4079044"/>
              <a:gd name="connsiteY977" fmla="*/ 816856 h 1306058"/>
              <a:gd name="connsiteX978" fmla="*/ 903839 w 4079044"/>
              <a:gd name="connsiteY978" fmla="*/ 821946 h 1306058"/>
              <a:gd name="connsiteX979" fmla="*/ 903839 w 4079044"/>
              <a:gd name="connsiteY979" fmla="*/ 824357 h 1306058"/>
              <a:gd name="connsiteX980" fmla="*/ 905988 w 4079044"/>
              <a:gd name="connsiteY980" fmla="*/ 824357 h 1306058"/>
              <a:gd name="connsiteX981" fmla="*/ 909699 w 4079044"/>
              <a:gd name="connsiteY981" fmla="*/ 826500 h 1306058"/>
              <a:gd name="connsiteX982" fmla="*/ 910969 w 4079044"/>
              <a:gd name="connsiteY982" fmla="*/ 829179 h 1306058"/>
              <a:gd name="connsiteX983" fmla="*/ 928161 w 4079044"/>
              <a:gd name="connsiteY983" fmla="*/ 829179 h 1306058"/>
              <a:gd name="connsiteX984" fmla="*/ 931873 w 4079044"/>
              <a:gd name="connsiteY984" fmla="*/ 831323 h 1306058"/>
              <a:gd name="connsiteX985" fmla="*/ 933143 w 4079044"/>
              <a:gd name="connsiteY985" fmla="*/ 834136 h 1306058"/>
              <a:gd name="connsiteX986" fmla="*/ 962545 w 4079044"/>
              <a:gd name="connsiteY986" fmla="*/ 834136 h 1306058"/>
              <a:gd name="connsiteX987" fmla="*/ 966256 w 4079044"/>
              <a:gd name="connsiteY987" fmla="*/ 836279 h 1306058"/>
              <a:gd name="connsiteX988" fmla="*/ 967722 w 4079044"/>
              <a:gd name="connsiteY988" fmla="*/ 840030 h 1306058"/>
              <a:gd name="connsiteX989" fmla="*/ 968796 w 4079044"/>
              <a:gd name="connsiteY989" fmla="*/ 841101 h 1306058"/>
              <a:gd name="connsiteX990" fmla="*/ 970066 w 4079044"/>
              <a:gd name="connsiteY990" fmla="*/ 843780 h 1306058"/>
              <a:gd name="connsiteX991" fmla="*/ 972508 w 4079044"/>
              <a:gd name="connsiteY991" fmla="*/ 843780 h 1306058"/>
              <a:gd name="connsiteX992" fmla="*/ 976220 w 4079044"/>
              <a:gd name="connsiteY992" fmla="*/ 845924 h 1306058"/>
              <a:gd name="connsiteX993" fmla="*/ 977685 w 4079044"/>
              <a:gd name="connsiteY993" fmla="*/ 849674 h 1306058"/>
              <a:gd name="connsiteX994" fmla="*/ 978662 w 4079044"/>
              <a:gd name="connsiteY994" fmla="*/ 850746 h 1306058"/>
              <a:gd name="connsiteX995" fmla="*/ 979932 w 4079044"/>
              <a:gd name="connsiteY995" fmla="*/ 853425 h 1306058"/>
              <a:gd name="connsiteX996" fmla="*/ 992142 w 4079044"/>
              <a:gd name="connsiteY996" fmla="*/ 853425 h 1306058"/>
              <a:gd name="connsiteX997" fmla="*/ 995854 w 4079044"/>
              <a:gd name="connsiteY997" fmla="*/ 855569 h 1306058"/>
              <a:gd name="connsiteX998" fmla="*/ 997124 w 4079044"/>
              <a:gd name="connsiteY998" fmla="*/ 858248 h 1306058"/>
              <a:gd name="connsiteX999" fmla="*/ 1000835 w 4079044"/>
              <a:gd name="connsiteY999" fmla="*/ 860391 h 1306058"/>
              <a:gd name="connsiteX1000" fmla="*/ 1002105 w 4079044"/>
              <a:gd name="connsiteY1000" fmla="*/ 863204 h 1306058"/>
              <a:gd name="connsiteX1001" fmla="*/ 1004547 w 4079044"/>
              <a:gd name="connsiteY1001" fmla="*/ 863204 h 1306058"/>
              <a:gd name="connsiteX1002" fmla="*/ 1008259 w 4079044"/>
              <a:gd name="connsiteY1002" fmla="*/ 865347 h 1306058"/>
              <a:gd name="connsiteX1003" fmla="*/ 1009724 w 4079044"/>
              <a:gd name="connsiteY1003" fmla="*/ 869098 h 1306058"/>
              <a:gd name="connsiteX1004" fmla="*/ 1010701 w 4079044"/>
              <a:gd name="connsiteY1004" fmla="*/ 870170 h 1306058"/>
              <a:gd name="connsiteX1005" fmla="*/ 1012166 w 4079044"/>
              <a:gd name="connsiteY1005" fmla="*/ 874054 h 1306058"/>
              <a:gd name="connsiteX1006" fmla="*/ 1013143 w 4079044"/>
              <a:gd name="connsiteY1006" fmla="*/ 875126 h 1306058"/>
              <a:gd name="connsiteX1007" fmla="*/ 1014413 w 4079044"/>
              <a:gd name="connsiteY1007" fmla="*/ 877805 h 1306058"/>
              <a:gd name="connsiteX1008" fmla="*/ 1031605 w 4079044"/>
              <a:gd name="connsiteY1008" fmla="*/ 877805 h 1306058"/>
              <a:gd name="connsiteX1009" fmla="*/ 1035317 w 4079044"/>
              <a:gd name="connsiteY1009" fmla="*/ 879948 h 1306058"/>
              <a:gd name="connsiteX1010" fmla="*/ 1036782 w 4079044"/>
              <a:gd name="connsiteY1010" fmla="*/ 883699 h 1306058"/>
              <a:gd name="connsiteX1011" fmla="*/ 1037759 w 4079044"/>
              <a:gd name="connsiteY1011" fmla="*/ 884771 h 1306058"/>
              <a:gd name="connsiteX1012" fmla="*/ 1039029 w 4079044"/>
              <a:gd name="connsiteY1012" fmla="*/ 887584 h 1306058"/>
              <a:gd name="connsiteX1013" fmla="*/ 1053681 w 4079044"/>
              <a:gd name="connsiteY1013" fmla="*/ 887584 h 1306058"/>
              <a:gd name="connsiteX1014" fmla="*/ 1057393 w 4079044"/>
              <a:gd name="connsiteY1014" fmla="*/ 889727 h 1306058"/>
              <a:gd name="connsiteX1015" fmla="*/ 1058858 w 4079044"/>
              <a:gd name="connsiteY1015" fmla="*/ 893478 h 1306058"/>
              <a:gd name="connsiteX1016" fmla="*/ 1059835 w 4079044"/>
              <a:gd name="connsiteY1016" fmla="*/ 894549 h 1306058"/>
              <a:gd name="connsiteX1017" fmla="*/ 1061104 w 4079044"/>
              <a:gd name="connsiteY1017" fmla="*/ 897228 h 1306058"/>
              <a:gd name="connsiteX1018" fmla="*/ 1064816 w 4079044"/>
              <a:gd name="connsiteY1018" fmla="*/ 899372 h 1306058"/>
              <a:gd name="connsiteX1019" fmla="*/ 1066086 w 4079044"/>
              <a:gd name="connsiteY1019" fmla="*/ 902185 h 1306058"/>
              <a:gd name="connsiteX1020" fmla="*/ 1088162 w 4079044"/>
              <a:gd name="connsiteY1020" fmla="*/ 902185 h 1306058"/>
              <a:gd name="connsiteX1021" fmla="*/ 1091874 w 4079044"/>
              <a:gd name="connsiteY1021" fmla="*/ 904328 h 1306058"/>
              <a:gd name="connsiteX1022" fmla="*/ 1093144 w 4079044"/>
              <a:gd name="connsiteY1022" fmla="*/ 907141 h 1306058"/>
              <a:gd name="connsiteX1023" fmla="*/ 1120103 w 4079044"/>
              <a:gd name="connsiteY1023" fmla="*/ 907141 h 1306058"/>
              <a:gd name="connsiteX1024" fmla="*/ 1123815 w 4079044"/>
              <a:gd name="connsiteY1024" fmla="*/ 909284 h 1306058"/>
              <a:gd name="connsiteX1025" fmla="*/ 1125378 w 4079044"/>
              <a:gd name="connsiteY1025" fmla="*/ 914375 h 1306058"/>
              <a:gd name="connsiteX1026" fmla="*/ 1125378 w 4079044"/>
              <a:gd name="connsiteY1026" fmla="*/ 917054 h 1306058"/>
              <a:gd name="connsiteX1027" fmla="*/ 1134853 w 4079044"/>
              <a:gd name="connsiteY1027" fmla="*/ 917054 h 1306058"/>
              <a:gd name="connsiteX1028" fmla="*/ 1138565 w 4079044"/>
              <a:gd name="connsiteY1028" fmla="*/ 919197 h 1306058"/>
              <a:gd name="connsiteX1029" fmla="*/ 1139835 w 4079044"/>
              <a:gd name="connsiteY1029" fmla="*/ 922010 h 1306058"/>
              <a:gd name="connsiteX1030" fmla="*/ 1169237 w 4079044"/>
              <a:gd name="connsiteY1030" fmla="*/ 922010 h 1306058"/>
              <a:gd name="connsiteX1031" fmla="*/ 1172949 w 4079044"/>
              <a:gd name="connsiteY1031" fmla="*/ 924153 h 1306058"/>
              <a:gd name="connsiteX1032" fmla="*/ 1174414 w 4079044"/>
              <a:gd name="connsiteY1032" fmla="*/ 928038 h 1306058"/>
              <a:gd name="connsiteX1033" fmla="*/ 1175391 w 4079044"/>
              <a:gd name="connsiteY1033" fmla="*/ 929110 h 1306058"/>
              <a:gd name="connsiteX1034" fmla="*/ 1176661 w 4079044"/>
              <a:gd name="connsiteY1034" fmla="*/ 931923 h 1306058"/>
              <a:gd name="connsiteX1035" fmla="*/ 1180275 w 4079044"/>
              <a:gd name="connsiteY1035" fmla="*/ 934066 h 1306058"/>
              <a:gd name="connsiteX1036" fmla="*/ 1181545 w 4079044"/>
              <a:gd name="connsiteY1036" fmla="*/ 936879 h 1306058"/>
              <a:gd name="connsiteX1037" fmla="*/ 1188871 w 4079044"/>
              <a:gd name="connsiteY1037" fmla="*/ 936879 h 1306058"/>
              <a:gd name="connsiteX1038" fmla="*/ 1192582 w 4079044"/>
              <a:gd name="connsiteY1038" fmla="*/ 939022 h 1306058"/>
              <a:gd name="connsiteX1039" fmla="*/ 1194048 w 4079044"/>
              <a:gd name="connsiteY1039" fmla="*/ 942907 h 1306058"/>
              <a:gd name="connsiteX1040" fmla="*/ 1195024 w 4079044"/>
              <a:gd name="connsiteY1040" fmla="*/ 943979 h 1306058"/>
              <a:gd name="connsiteX1041" fmla="*/ 1196294 w 4079044"/>
              <a:gd name="connsiteY1041" fmla="*/ 946792 h 1306058"/>
              <a:gd name="connsiteX1042" fmla="*/ 1201178 w 4079044"/>
              <a:gd name="connsiteY1042" fmla="*/ 946792 h 1306058"/>
              <a:gd name="connsiteX1043" fmla="*/ 1204890 w 4079044"/>
              <a:gd name="connsiteY1043" fmla="*/ 948935 h 1306058"/>
              <a:gd name="connsiteX1044" fmla="*/ 1206160 w 4079044"/>
              <a:gd name="connsiteY1044" fmla="*/ 951748 h 1306058"/>
              <a:gd name="connsiteX1045" fmla="*/ 1220812 w 4079044"/>
              <a:gd name="connsiteY1045" fmla="*/ 951748 h 1306058"/>
              <a:gd name="connsiteX1046" fmla="*/ 1224524 w 4079044"/>
              <a:gd name="connsiteY1046" fmla="*/ 953891 h 1306058"/>
              <a:gd name="connsiteX1047" fmla="*/ 1225794 w 4079044"/>
              <a:gd name="connsiteY1047" fmla="*/ 956704 h 1306058"/>
              <a:gd name="connsiteX1048" fmla="*/ 1235562 w 4079044"/>
              <a:gd name="connsiteY1048" fmla="*/ 956704 h 1306058"/>
              <a:gd name="connsiteX1049" fmla="*/ 1239274 w 4079044"/>
              <a:gd name="connsiteY1049" fmla="*/ 958848 h 1306058"/>
              <a:gd name="connsiteX1050" fmla="*/ 1240544 w 4079044"/>
              <a:gd name="connsiteY1050" fmla="*/ 961661 h 1306058"/>
              <a:gd name="connsiteX1051" fmla="*/ 1244158 w 4079044"/>
              <a:gd name="connsiteY1051" fmla="*/ 963804 h 1306058"/>
              <a:gd name="connsiteX1052" fmla="*/ 1245721 w 4079044"/>
              <a:gd name="connsiteY1052" fmla="*/ 968894 h 1306058"/>
              <a:gd name="connsiteX1053" fmla="*/ 1245721 w 4079044"/>
              <a:gd name="connsiteY1053" fmla="*/ 971573 h 1306058"/>
              <a:gd name="connsiteX1054" fmla="*/ 1257638 w 4079044"/>
              <a:gd name="connsiteY1054" fmla="*/ 971573 h 1306058"/>
              <a:gd name="connsiteX1055" fmla="*/ 1261350 w 4079044"/>
              <a:gd name="connsiteY1055" fmla="*/ 973717 h 1306058"/>
              <a:gd name="connsiteX1056" fmla="*/ 1262620 w 4079044"/>
              <a:gd name="connsiteY1056" fmla="*/ 976530 h 1306058"/>
              <a:gd name="connsiteX1057" fmla="*/ 1314097 w 4079044"/>
              <a:gd name="connsiteY1057" fmla="*/ 976530 h 1306058"/>
              <a:gd name="connsiteX1058" fmla="*/ 1317809 w 4079044"/>
              <a:gd name="connsiteY1058" fmla="*/ 978673 h 1306058"/>
              <a:gd name="connsiteX1059" fmla="*/ 1319079 w 4079044"/>
              <a:gd name="connsiteY1059" fmla="*/ 981620 h 1306058"/>
              <a:gd name="connsiteX1060" fmla="*/ 1331289 w 4079044"/>
              <a:gd name="connsiteY1060" fmla="*/ 981620 h 1306058"/>
              <a:gd name="connsiteX1061" fmla="*/ 1335001 w 4079044"/>
              <a:gd name="connsiteY1061" fmla="*/ 983763 h 1306058"/>
              <a:gd name="connsiteX1062" fmla="*/ 1336271 w 4079044"/>
              <a:gd name="connsiteY1062" fmla="*/ 986576 h 1306058"/>
              <a:gd name="connsiteX1063" fmla="*/ 1338615 w 4079044"/>
              <a:gd name="connsiteY1063" fmla="*/ 986576 h 1306058"/>
              <a:gd name="connsiteX1064" fmla="*/ 1342327 w 4079044"/>
              <a:gd name="connsiteY1064" fmla="*/ 988719 h 1306058"/>
              <a:gd name="connsiteX1065" fmla="*/ 1343597 w 4079044"/>
              <a:gd name="connsiteY1065" fmla="*/ 991666 h 1306058"/>
              <a:gd name="connsiteX1066" fmla="*/ 1350923 w 4079044"/>
              <a:gd name="connsiteY1066" fmla="*/ 991666 h 1306058"/>
              <a:gd name="connsiteX1067" fmla="*/ 1354635 w 4079044"/>
              <a:gd name="connsiteY1067" fmla="*/ 993810 h 1306058"/>
              <a:gd name="connsiteX1068" fmla="*/ 1355905 w 4079044"/>
              <a:gd name="connsiteY1068" fmla="*/ 996757 h 1306058"/>
              <a:gd name="connsiteX1069" fmla="*/ 1370557 w 4079044"/>
              <a:gd name="connsiteY1069" fmla="*/ 996757 h 1306058"/>
              <a:gd name="connsiteX1070" fmla="*/ 1374268 w 4079044"/>
              <a:gd name="connsiteY1070" fmla="*/ 998900 h 1306058"/>
              <a:gd name="connsiteX1071" fmla="*/ 1375831 w 4079044"/>
              <a:gd name="connsiteY1071" fmla="*/ 1003990 h 1306058"/>
              <a:gd name="connsiteX1072" fmla="*/ 1375831 w 4079044"/>
              <a:gd name="connsiteY1072" fmla="*/ 1006803 h 1306058"/>
              <a:gd name="connsiteX1073" fmla="*/ 1385306 w 4079044"/>
              <a:gd name="connsiteY1073" fmla="*/ 1006803 h 1306058"/>
              <a:gd name="connsiteX1074" fmla="*/ 1389018 w 4079044"/>
              <a:gd name="connsiteY1074" fmla="*/ 1008947 h 1306058"/>
              <a:gd name="connsiteX1075" fmla="*/ 1390288 w 4079044"/>
              <a:gd name="connsiteY1075" fmla="*/ 1011894 h 1306058"/>
              <a:gd name="connsiteX1076" fmla="*/ 1431998 w 4079044"/>
              <a:gd name="connsiteY1076" fmla="*/ 1011894 h 1306058"/>
              <a:gd name="connsiteX1077" fmla="*/ 1435710 w 4079044"/>
              <a:gd name="connsiteY1077" fmla="*/ 1014037 h 1306058"/>
              <a:gd name="connsiteX1078" fmla="*/ 1436979 w 4079044"/>
              <a:gd name="connsiteY1078" fmla="*/ 1016850 h 1306058"/>
              <a:gd name="connsiteX1079" fmla="*/ 1440594 w 4079044"/>
              <a:gd name="connsiteY1079" fmla="*/ 1018993 h 1306058"/>
              <a:gd name="connsiteX1080" fmla="*/ 1441863 w 4079044"/>
              <a:gd name="connsiteY1080" fmla="*/ 1021940 h 1306058"/>
              <a:gd name="connsiteX1081" fmla="*/ 1446747 w 4079044"/>
              <a:gd name="connsiteY1081" fmla="*/ 1021940 h 1306058"/>
              <a:gd name="connsiteX1082" fmla="*/ 1450459 w 4079044"/>
              <a:gd name="connsiteY1082" fmla="*/ 1024083 h 1306058"/>
              <a:gd name="connsiteX1083" fmla="*/ 1451924 w 4079044"/>
              <a:gd name="connsiteY1083" fmla="*/ 1027968 h 1306058"/>
              <a:gd name="connsiteX1084" fmla="*/ 1452901 w 4079044"/>
              <a:gd name="connsiteY1084" fmla="*/ 1029040 h 1306058"/>
              <a:gd name="connsiteX1085" fmla="*/ 1454171 w 4079044"/>
              <a:gd name="connsiteY1085" fmla="*/ 1031853 h 1306058"/>
              <a:gd name="connsiteX1086" fmla="*/ 1456515 w 4079044"/>
              <a:gd name="connsiteY1086" fmla="*/ 1031853 h 1306058"/>
              <a:gd name="connsiteX1087" fmla="*/ 1460227 w 4079044"/>
              <a:gd name="connsiteY1087" fmla="*/ 1033996 h 1306058"/>
              <a:gd name="connsiteX1088" fmla="*/ 1461497 w 4079044"/>
              <a:gd name="connsiteY1088" fmla="*/ 1036943 h 1306058"/>
              <a:gd name="connsiteX1089" fmla="*/ 1471265 w 4079044"/>
              <a:gd name="connsiteY1089" fmla="*/ 1036943 h 1306058"/>
              <a:gd name="connsiteX1090" fmla="*/ 1474977 w 4079044"/>
              <a:gd name="connsiteY1090" fmla="*/ 1039086 h 1306058"/>
              <a:gd name="connsiteX1091" fmla="*/ 1476540 w 4079044"/>
              <a:gd name="connsiteY1091" fmla="*/ 1044177 h 1306058"/>
              <a:gd name="connsiteX1092" fmla="*/ 1476540 w 4079044"/>
              <a:gd name="connsiteY1092" fmla="*/ 1046990 h 1306058"/>
              <a:gd name="connsiteX1093" fmla="*/ 1537590 w 4079044"/>
              <a:gd name="connsiteY1093" fmla="*/ 1046990 h 1306058"/>
              <a:gd name="connsiteX1094" fmla="*/ 1541302 w 4079044"/>
              <a:gd name="connsiteY1094" fmla="*/ 1049133 h 1306058"/>
              <a:gd name="connsiteX1095" fmla="*/ 1542572 w 4079044"/>
              <a:gd name="connsiteY1095" fmla="*/ 1052080 h 1306058"/>
              <a:gd name="connsiteX1096" fmla="*/ 1557126 w 4079044"/>
              <a:gd name="connsiteY1096" fmla="*/ 1052080 h 1306058"/>
              <a:gd name="connsiteX1097" fmla="*/ 1560838 w 4079044"/>
              <a:gd name="connsiteY1097" fmla="*/ 1054223 h 1306058"/>
              <a:gd name="connsiteX1098" fmla="*/ 1562108 w 4079044"/>
              <a:gd name="connsiteY1098" fmla="*/ 1057170 h 1306058"/>
              <a:gd name="connsiteX1099" fmla="*/ 1574318 w 4079044"/>
              <a:gd name="connsiteY1099" fmla="*/ 1057170 h 1306058"/>
              <a:gd name="connsiteX1100" fmla="*/ 1578030 w 4079044"/>
              <a:gd name="connsiteY1100" fmla="*/ 1059314 h 1306058"/>
              <a:gd name="connsiteX1101" fmla="*/ 1579300 w 4079044"/>
              <a:gd name="connsiteY1101" fmla="*/ 1062394 h 1306058"/>
              <a:gd name="connsiteX1102" fmla="*/ 1603720 w 4079044"/>
              <a:gd name="connsiteY1102" fmla="*/ 1062394 h 1306058"/>
              <a:gd name="connsiteX1103" fmla="*/ 1607432 w 4079044"/>
              <a:gd name="connsiteY1103" fmla="*/ 1064538 h 1306058"/>
              <a:gd name="connsiteX1104" fmla="*/ 1608702 w 4079044"/>
              <a:gd name="connsiteY1104" fmla="*/ 1067619 h 1306058"/>
              <a:gd name="connsiteX1105" fmla="*/ 1657737 w 4079044"/>
              <a:gd name="connsiteY1105" fmla="*/ 1067619 h 1306058"/>
              <a:gd name="connsiteX1106" fmla="*/ 1661449 w 4079044"/>
              <a:gd name="connsiteY1106" fmla="*/ 1069762 h 1306058"/>
              <a:gd name="connsiteX1107" fmla="*/ 1662719 w 4079044"/>
              <a:gd name="connsiteY1107" fmla="*/ 1072709 h 1306058"/>
              <a:gd name="connsiteX1108" fmla="*/ 1709215 w 4079044"/>
              <a:gd name="connsiteY1108" fmla="*/ 1072709 h 1306058"/>
              <a:gd name="connsiteX1109" fmla="*/ 1712927 w 4079044"/>
              <a:gd name="connsiteY1109" fmla="*/ 1074852 h 1306058"/>
              <a:gd name="connsiteX1110" fmla="*/ 1714197 w 4079044"/>
              <a:gd name="connsiteY1110" fmla="*/ 1077933 h 1306058"/>
              <a:gd name="connsiteX1111" fmla="*/ 1717811 w 4079044"/>
              <a:gd name="connsiteY1111" fmla="*/ 1080077 h 1306058"/>
              <a:gd name="connsiteX1112" fmla="*/ 1719081 w 4079044"/>
              <a:gd name="connsiteY1112" fmla="*/ 1083024 h 1306058"/>
              <a:gd name="connsiteX1113" fmla="*/ 1790192 w 4079044"/>
              <a:gd name="connsiteY1113" fmla="*/ 1083024 h 1306058"/>
              <a:gd name="connsiteX1114" fmla="*/ 1793904 w 4079044"/>
              <a:gd name="connsiteY1114" fmla="*/ 1085167 h 1306058"/>
              <a:gd name="connsiteX1115" fmla="*/ 1795174 w 4079044"/>
              <a:gd name="connsiteY1115" fmla="*/ 1088248 h 1306058"/>
              <a:gd name="connsiteX1116" fmla="*/ 1799960 w 4079044"/>
              <a:gd name="connsiteY1116" fmla="*/ 1088248 h 1306058"/>
              <a:gd name="connsiteX1117" fmla="*/ 1803672 w 4079044"/>
              <a:gd name="connsiteY1117" fmla="*/ 1090391 h 1306058"/>
              <a:gd name="connsiteX1118" fmla="*/ 1804942 w 4079044"/>
              <a:gd name="connsiteY1118" fmla="*/ 1093472 h 1306058"/>
              <a:gd name="connsiteX1119" fmla="*/ 1826920 w 4079044"/>
              <a:gd name="connsiteY1119" fmla="*/ 1093472 h 1306058"/>
              <a:gd name="connsiteX1120" fmla="*/ 1830632 w 4079044"/>
              <a:gd name="connsiteY1120" fmla="*/ 1095615 h 1306058"/>
              <a:gd name="connsiteX1121" fmla="*/ 1832000 w 4079044"/>
              <a:gd name="connsiteY1121" fmla="*/ 1098696 h 1306058"/>
              <a:gd name="connsiteX1122" fmla="*/ 1844210 w 4079044"/>
              <a:gd name="connsiteY1122" fmla="*/ 1098696 h 1306058"/>
              <a:gd name="connsiteX1123" fmla="*/ 1847922 w 4079044"/>
              <a:gd name="connsiteY1123" fmla="*/ 1100840 h 1306058"/>
              <a:gd name="connsiteX1124" fmla="*/ 1849289 w 4079044"/>
              <a:gd name="connsiteY1124" fmla="*/ 1103787 h 1306058"/>
              <a:gd name="connsiteX1125" fmla="*/ 1854076 w 4079044"/>
              <a:gd name="connsiteY1125" fmla="*/ 1103787 h 1306058"/>
              <a:gd name="connsiteX1126" fmla="*/ 1857787 w 4079044"/>
              <a:gd name="connsiteY1126" fmla="*/ 1105930 h 1306058"/>
              <a:gd name="connsiteX1127" fmla="*/ 1859057 w 4079044"/>
              <a:gd name="connsiteY1127" fmla="*/ 1109011 h 1306058"/>
              <a:gd name="connsiteX1128" fmla="*/ 2006164 w 4079044"/>
              <a:gd name="connsiteY1128" fmla="*/ 1109011 h 1306058"/>
              <a:gd name="connsiteX1129" fmla="*/ 2009876 w 4079044"/>
              <a:gd name="connsiteY1129" fmla="*/ 1111154 h 1306058"/>
              <a:gd name="connsiteX1130" fmla="*/ 2011244 w 4079044"/>
              <a:gd name="connsiteY1130" fmla="*/ 1114235 h 1306058"/>
              <a:gd name="connsiteX1131" fmla="*/ 2111757 w 4079044"/>
              <a:gd name="connsiteY1131" fmla="*/ 1114235 h 1306058"/>
              <a:gd name="connsiteX1132" fmla="*/ 2115469 w 4079044"/>
              <a:gd name="connsiteY1132" fmla="*/ 1116378 h 1306058"/>
              <a:gd name="connsiteX1133" fmla="*/ 2116836 w 4079044"/>
              <a:gd name="connsiteY1133" fmla="*/ 1119593 h 1306058"/>
              <a:gd name="connsiteX1134" fmla="*/ 2148583 w 4079044"/>
              <a:gd name="connsiteY1134" fmla="*/ 1119593 h 1306058"/>
              <a:gd name="connsiteX1135" fmla="*/ 2152294 w 4079044"/>
              <a:gd name="connsiteY1135" fmla="*/ 1121736 h 1306058"/>
              <a:gd name="connsiteX1136" fmla="*/ 2153857 w 4079044"/>
              <a:gd name="connsiteY1136" fmla="*/ 1126827 h 1306058"/>
              <a:gd name="connsiteX1137" fmla="*/ 2153857 w 4079044"/>
              <a:gd name="connsiteY1137" fmla="*/ 1131381 h 1306058"/>
              <a:gd name="connsiteX1138" fmla="*/ 2154834 w 4079044"/>
              <a:gd name="connsiteY1138" fmla="*/ 1132453 h 1306058"/>
              <a:gd name="connsiteX1139" fmla="*/ 2156202 w 4079044"/>
              <a:gd name="connsiteY1139" fmla="*/ 1135668 h 1306058"/>
              <a:gd name="connsiteX1140" fmla="*/ 2249291 w 4079044"/>
              <a:gd name="connsiteY1140" fmla="*/ 1135668 h 1306058"/>
              <a:gd name="connsiteX1141" fmla="*/ 2253003 w 4079044"/>
              <a:gd name="connsiteY1141" fmla="*/ 1137811 h 1306058"/>
              <a:gd name="connsiteX1142" fmla="*/ 2254371 w 4079044"/>
              <a:gd name="connsiteY1142" fmla="*/ 1141160 h 1306058"/>
              <a:gd name="connsiteX1143" fmla="*/ 2264041 w 4079044"/>
              <a:gd name="connsiteY1143" fmla="*/ 1141160 h 1306058"/>
              <a:gd name="connsiteX1144" fmla="*/ 2267753 w 4079044"/>
              <a:gd name="connsiteY1144" fmla="*/ 1143303 h 1306058"/>
              <a:gd name="connsiteX1145" fmla="*/ 2269120 w 4079044"/>
              <a:gd name="connsiteY1145" fmla="*/ 1146652 h 1306058"/>
              <a:gd name="connsiteX1146" fmla="*/ 2286117 w 4079044"/>
              <a:gd name="connsiteY1146" fmla="*/ 1146652 h 1306058"/>
              <a:gd name="connsiteX1147" fmla="*/ 2289829 w 4079044"/>
              <a:gd name="connsiteY1147" fmla="*/ 1148795 h 1306058"/>
              <a:gd name="connsiteX1148" fmla="*/ 2291196 w 4079044"/>
              <a:gd name="connsiteY1148" fmla="*/ 1152010 h 1306058"/>
              <a:gd name="connsiteX1149" fmla="*/ 2337692 w 4079044"/>
              <a:gd name="connsiteY1149" fmla="*/ 1152010 h 1306058"/>
              <a:gd name="connsiteX1150" fmla="*/ 2341404 w 4079044"/>
              <a:gd name="connsiteY1150" fmla="*/ 1154154 h 1306058"/>
              <a:gd name="connsiteX1151" fmla="*/ 2342772 w 4079044"/>
              <a:gd name="connsiteY1151" fmla="*/ 1157502 h 1306058"/>
              <a:gd name="connsiteX1152" fmla="*/ 2435861 w 4079044"/>
              <a:gd name="connsiteY1152" fmla="*/ 1157502 h 1306058"/>
              <a:gd name="connsiteX1153" fmla="*/ 2439573 w 4079044"/>
              <a:gd name="connsiteY1153" fmla="*/ 1159646 h 1306058"/>
              <a:gd name="connsiteX1154" fmla="*/ 2440941 w 4079044"/>
              <a:gd name="connsiteY1154" fmla="*/ 1162994 h 1306058"/>
              <a:gd name="connsiteX1155" fmla="*/ 2524165 w 4079044"/>
              <a:gd name="connsiteY1155" fmla="*/ 1162994 h 1306058"/>
              <a:gd name="connsiteX1156" fmla="*/ 2527876 w 4079044"/>
              <a:gd name="connsiteY1156" fmla="*/ 1165138 h 1306058"/>
              <a:gd name="connsiteX1157" fmla="*/ 2529244 w 4079044"/>
              <a:gd name="connsiteY1157" fmla="*/ 1168621 h 1306058"/>
              <a:gd name="connsiteX1158" fmla="*/ 2541356 w 4079044"/>
              <a:gd name="connsiteY1158" fmla="*/ 1168621 h 1306058"/>
              <a:gd name="connsiteX1159" fmla="*/ 2545068 w 4079044"/>
              <a:gd name="connsiteY1159" fmla="*/ 1170764 h 1306058"/>
              <a:gd name="connsiteX1160" fmla="*/ 2546436 w 4079044"/>
              <a:gd name="connsiteY1160" fmla="*/ 1174247 h 1306058"/>
              <a:gd name="connsiteX1161" fmla="*/ 2580624 w 4079044"/>
              <a:gd name="connsiteY1161" fmla="*/ 1174247 h 1306058"/>
              <a:gd name="connsiteX1162" fmla="*/ 2584336 w 4079044"/>
              <a:gd name="connsiteY1162" fmla="*/ 1176390 h 1306058"/>
              <a:gd name="connsiteX1163" fmla="*/ 2585703 w 4079044"/>
              <a:gd name="connsiteY1163" fmla="*/ 1179873 h 1306058"/>
              <a:gd name="connsiteX1164" fmla="*/ 2727828 w 4079044"/>
              <a:gd name="connsiteY1164" fmla="*/ 1179873 h 1306058"/>
              <a:gd name="connsiteX1165" fmla="*/ 2731540 w 4079044"/>
              <a:gd name="connsiteY1165" fmla="*/ 1182016 h 1306058"/>
              <a:gd name="connsiteX1166" fmla="*/ 2733103 w 4079044"/>
              <a:gd name="connsiteY1166" fmla="*/ 1187106 h 1306058"/>
              <a:gd name="connsiteX1167" fmla="*/ 2733103 w 4079044"/>
              <a:gd name="connsiteY1167" fmla="*/ 1191259 h 1306058"/>
              <a:gd name="connsiteX1168" fmla="*/ 2862823 w 4079044"/>
              <a:gd name="connsiteY1168" fmla="*/ 1191259 h 1306058"/>
              <a:gd name="connsiteX1169" fmla="*/ 2862823 w 4079044"/>
              <a:gd name="connsiteY1169" fmla="*/ 1191527 h 1306058"/>
              <a:gd name="connsiteX1170" fmla="*/ 2913226 w 4079044"/>
              <a:gd name="connsiteY1170" fmla="*/ 1191527 h 1306058"/>
              <a:gd name="connsiteX1171" fmla="*/ 2915571 w 4079044"/>
              <a:gd name="connsiteY1171" fmla="*/ 1193402 h 1306058"/>
              <a:gd name="connsiteX1172" fmla="*/ 2917036 w 4079044"/>
              <a:gd name="connsiteY1172" fmla="*/ 1197019 h 1306058"/>
              <a:gd name="connsiteX1173" fmla="*/ 2965876 w 4079044"/>
              <a:gd name="connsiteY1173" fmla="*/ 1197019 h 1306058"/>
              <a:gd name="connsiteX1174" fmla="*/ 2969588 w 4079044"/>
              <a:gd name="connsiteY1174" fmla="*/ 1199162 h 1306058"/>
              <a:gd name="connsiteX1175" fmla="*/ 2971053 w 4079044"/>
              <a:gd name="connsiteY1175" fmla="*/ 1202913 h 1306058"/>
              <a:gd name="connsiteX1176" fmla="*/ 3054277 w 4079044"/>
              <a:gd name="connsiteY1176" fmla="*/ 1202913 h 1306058"/>
              <a:gd name="connsiteX1177" fmla="*/ 3057989 w 4079044"/>
              <a:gd name="connsiteY1177" fmla="*/ 1205056 h 1306058"/>
              <a:gd name="connsiteX1178" fmla="*/ 3059454 w 4079044"/>
              <a:gd name="connsiteY1178" fmla="*/ 1208941 h 1306058"/>
              <a:gd name="connsiteX1179" fmla="*/ 3066585 w 4079044"/>
              <a:gd name="connsiteY1179" fmla="*/ 1208941 h 1306058"/>
              <a:gd name="connsiteX1180" fmla="*/ 3070297 w 4079044"/>
              <a:gd name="connsiteY1180" fmla="*/ 1211084 h 1306058"/>
              <a:gd name="connsiteX1181" fmla="*/ 3071859 w 4079044"/>
              <a:gd name="connsiteY1181" fmla="*/ 1216041 h 1306058"/>
              <a:gd name="connsiteX1182" fmla="*/ 3072739 w 4079044"/>
              <a:gd name="connsiteY1182" fmla="*/ 1216978 h 1306058"/>
              <a:gd name="connsiteX1183" fmla="*/ 3074204 w 4079044"/>
              <a:gd name="connsiteY1183" fmla="*/ 1220863 h 1306058"/>
              <a:gd name="connsiteX1184" fmla="*/ 3120602 w 4079044"/>
              <a:gd name="connsiteY1184" fmla="*/ 1220863 h 1306058"/>
              <a:gd name="connsiteX1185" fmla="*/ 3124314 w 4079044"/>
              <a:gd name="connsiteY1185" fmla="*/ 1223006 h 1306058"/>
              <a:gd name="connsiteX1186" fmla="*/ 3125779 w 4079044"/>
              <a:gd name="connsiteY1186" fmla="*/ 1226891 h 1306058"/>
              <a:gd name="connsiteX1187" fmla="*/ 3280115 w 4079044"/>
              <a:gd name="connsiteY1187" fmla="*/ 1226891 h 1306058"/>
              <a:gd name="connsiteX1188" fmla="*/ 3283826 w 4079044"/>
              <a:gd name="connsiteY1188" fmla="*/ 1229034 h 1306058"/>
              <a:gd name="connsiteX1189" fmla="*/ 3285292 w 4079044"/>
              <a:gd name="connsiteY1189" fmla="*/ 1233321 h 1306058"/>
              <a:gd name="connsiteX1190" fmla="*/ 3351226 w 4079044"/>
              <a:gd name="connsiteY1190" fmla="*/ 1233321 h 1306058"/>
              <a:gd name="connsiteX1191" fmla="*/ 3354938 w 4079044"/>
              <a:gd name="connsiteY1191" fmla="*/ 1235464 h 1306058"/>
              <a:gd name="connsiteX1192" fmla="*/ 3356403 w 4079044"/>
              <a:gd name="connsiteY1192" fmla="*/ 1240018 h 1306058"/>
              <a:gd name="connsiteX1193" fmla="*/ 3368418 w 4079044"/>
              <a:gd name="connsiteY1193" fmla="*/ 1240018 h 1306058"/>
              <a:gd name="connsiteX1194" fmla="*/ 3372130 w 4079044"/>
              <a:gd name="connsiteY1194" fmla="*/ 1242162 h 1306058"/>
              <a:gd name="connsiteX1195" fmla="*/ 3373693 w 4079044"/>
              <a:gd name="connsiteY1195" fmla="*/ 1246984 h 1306058"/>
              <a:gd name="connsiteX1196" fmla="*/ 3407685 w 4079044"/>
              <a:gd name="connsiteY1196" fmla="*/ 1246984 h 1306058"/>
              <a:gd name="connsiteX1197" fmla="*/ 3407685 w 4079044"/>
              <a:gd name="connsiteY1197" fmla="*/ 1252878 h 1306058"/>
              <a:gd name="connsiteX1198" fmla="*/ 3476648 w 4079044"/>
              <a:gd name="connsiteY1198" fmla="*/ 1252878 h 1306058"/>
              <a:gd name="connsiteX1199" fmla="*/ 3476648 w 4079044"/>
              <a:gd name="connsiteY1199" fmla="*/ 1254218 h 1306058"/>
              <a:gd name="connsiteX1200" fmla="*/ 3476648 w 4079044"/>
              <a:gd name="connsiteY1200" fmla="*/ 1254486 h 1306058"/>
              <a:gd name="connsiteX1201" fmla="*/ 3483681 w 4079044"/>
              <a:gd name="connsiteY1201" fmla="*/ 1254486 h 1306058"/>
              <a:gd name="connsiteX1202" fmla="*/ 3487393 w 4079044"/>
              <a:gd name="connsiteY1202" fmla="*/ 1256629 h 1306058"/>
              <a:gd name="connsiteX1203" fmla="*/ 3488956 w 4079044"/>
              <a:gd name="connsiteY1203" fmla="*/ 1261719 h 1306058"/>
              <a:gd name="connsiteX1204" fmla="*/ 3488956 w 4079044"/>
              <a:gd name="connsiteY1204" fmla="*/ 1262255 h 1306058"/>
              <a:gd name="connsiteX1205" fmla="*/ 3864049 w 4079044"/>
              <a:gd name="connsiteY1205" fmla="*/ 1262255 h 1306058"/>
              <a:gd name="connsiteX1206" fmla="*/ 3867761 w 4079044"/>
              <a:gd name="connsiteY1206" fmla="*/ 1264398 h 1306058"/>
              <a:gd name="connsiteX1207" fmla="*/ 3869324 w 4079044"/>
              <a:gd name="connsiteY1207" fmla="*/ 1269488 h 1306058"/>
              <a:gd name="connsiteX1208" fmla="*/ 3869324 w 4079044"/>
              <a:gd name="connsiteY1208" fmla="*/ 1274847 h 1306058"/>
              <a:gd name="connsiteX1209" fmla="*/ 3979410 w 4079044"/>
              <a:gd name="connsiteY1209" fmla="*/ 1274847 h 1306058"/>
              <a:gd name="connsiteX1210" fmla="*/ 3983122 w 4079044"/>
              <a:gd name="connsiteY1210" fmla="*/ 1276990 h 1306058"/>
              <a:gd name="connsiteX1211" fmla="*/ 3984685 w 4079044"/>
              <a:gd name="connsiteY1211" fmla="*/ 1282080 h 1306058"/>
              <a:gd name="connsiteX1212" fmla="*/ 3984685 w 4079044"/>
              <a:gd name="connsiteY1212" fmla="*/ 1290787 h 1306058"/>
              <a:gd name="connsiteX1213" fmla="*/ 4079044 w 4079044"/>
              <a:gd name="connsiteY1213" fmla="*/ 1290787 h 1306058"/>
              <a:gd name="connsiteX1214" fmla="*/ 4079044 w 4079044"/>
              <a:gd name="connsiteY1214" fmla="*/ 1305120 h 13060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</a:cxnLst>
            <a:rect l="l" t="t" r="r" b="b"/>
            <a:pathLst>
              <a:path w="4079044" h="1306058">
                <a:moveTo>
                  <a:pt x="4077579" y="1306058"/>
                </a:moveTo>
                <a:lnTo>
                  <a:pt x="3977945" y="1306058"/>
                </a:lnTo>
                <a:cubicBezTo>
                  <a:pt x="3976577" y="1306058"/>
                  <a:pt x="3975210" y="1305254"/>
                  <a:pt x="3974233" y="1303915"/>
                </a:cubicBezTo>
                <a:cubicBezTo>
                  <a:pt x="3973256" y="1302575"/>
                  <a:pt x="3972670" y="1300700"/>
                  <a:pt x="3972670" y="1298824"/>
                </a:cubicBezTo>
                <a:lnTo>
                  <a:pt x="3972670" y="1290117"/>
                </a:lnTo>
                <a:lnTo>
                  <a:pt x="3862584" y="1290117"/>
                </a:lnTo>
                <a:cubicBezTo>
                  <a:pt x="3861216" y="1290117"/>
                  <a:pt x="3859849" y="1289314"/>
                  <a:pt x="3858872" y="1287974"/>
                </a:cubicBezTo>
                <a:cubicBezTo>
                  <a:pt x="3857895" y="1286635"/>
                  <a:pt x="3857309" y="1284759"/>
                  <a:pt x="3857309" y="1282884"/>
                </a:cubicBezTo>
                <a:lnTo>
                  <a:pt x="3857309" y="1277526"/>
                </a:lnTo>
                <a:lnTo>
                  <a:pt x="3482216" y="1277526"/>
                </a:lnTo>
                <a:cubicBezTo>
                  <a:pt x="3480848" y="1277526"/>
                  <a:pt x="3479481" y="1276722"/>
                  <a:pt x="3478504" y="1275382"/>
                </a:cubicBezTo>
                <a:cubicBezTo>
                  <a:pt x="3477527" y="1274043"/>
                  <a:pt x="3476941" y="1272168"/>
                  <a:pt x="3476941" y="1270292"/>
                </a:cubicBezTo>
                <a:lnTo>
                  <a:pt x="3476941" y="1269756"/>
                </a:lnTo>
                <a:lnTo>
                  <a:pt x="3469908" y="1269756"/>
                </a:lnTo>
                <a:cubicBezTo>
                  <a:pt x="3468541" y="1269756"/>
                  <a:pt x="3467173" y="1268953"/>
                  <a:pt x="3466196" y="1267613"/>
                </a:cubicBezTo>
                <a:cubicBezTo>
                  <a:pt x="3465219" y="1266274"/>
                  <a:pt x="3464633" y="1264398"/>
                  <a:pt x="3464633" y="1262523"/>
                </a:cubicBezTo>
                <a:lnTo>
                  <a:pt x="3464633" y="1262255"/>
                </a:lnTo>
                <a:lnTo>
                  <a:pt x="3366757" y="1262255"/>
                </a:lnTo>
                <a:cubicBezTo>
                  <a:pt x="3365390" y="1262255"/>
                  <a:pt x="3364022" y="1261451"/>
                  <a:pt x="3363045" y="1260112"/>
                </a:cubicBezTo>
                <a:cubicBezTo>
                  <a:pt x="3362166" y="1258906"/>
                  <a:pt x="3361580" y="1257165"/>
                  <a:pt x="3361483" y="1255289"/>
                </a:cubicBezTo>
                <a:lnTo>
                  <a:pt x="3349566" y="1255289"/>
                </a:lnTo>
                <a:cubicBezTo>
                  <a:pt x="3348198" y="1255289"/>
                  <a:pt x="3346831" y="1254486"/>
                  <a:pt x="3345854" y="1253146"/>
                </a:cubicBezTo>
                <a:cubicBezTo>
                  <a:pt x="3344975" y="1251940"/>
                  <a:pt x="3344486" y="1250333"/>
                  <a:pt x="3344389" y="1248591"/>
                </a:cubicBezTo>
                <a:lnTo>
                  <a:pt x="3278454" y="1248591"/>
                </a:lnTo>
                <a:cubicBezTo>
                  <a:pt x="3277086" y="1248591"/>
                  <a:pt x="3275719" y="1247788"/>
                  <a:pt x="3274742" y="1246448"/>
                </a:cubicBezTo>
                <a:cubicBezTo>
                  <a:pt x="3273863" y="1245243"/>
                  <a:pt x="3273375" y="1243769"/>
                  <a:pt x="3273277" y="1242162"/>
                </a:cubicBezTo>
                <a:lnTo>
                  <a:pt x="3118942" y="1242162"/>
                </a:lnTo>
                <a:cubicBezTo>
                  <a:pt x="3117574" y="1242162"/>
                  <a:pt x="3116207" y="1241358"/>
                  <a:pt x="3115230" y="1240018"/>
                </a:cubicBezTo>
                <a:cubicBezTo>
                  <a:pt x="3114448" y="1238947"/>
                  <a:pt x="3113960" y="1237607"/>
                  <a:pt x="3113765" y="1236134"/>
                </a:cubicBezTo>
                <a:lnTo>
                  <a:pt x="3067366" y="1236134"/>
                </a:lnTo>
                <a:cubicBezTo>
                  <a:pt x="3065999" y="1236134"/>
                  <a:pt x="3064631" y="1235330"/>
                  <a:pt x="3063654" y="1233990"/>
                </a:cubicBezTo>
                <a:cubicBezTo>
                  <a:pt x="3062677" y="1232651"/>
                  <a:pt x="3062091" y="1230776"/>
                  <a:pt x="3062091" y="1228900"/>
                </a:cubicBezTo>
                <a:cubicBezTo>
                  <a:pt x="3061798" y="1228632"/>
                  <a:pt x="3061505" y="1228364"/>
                  <a:pt x="3061212" y="1227962"/>
                </a:cubicBezTo>
                <a:cubicBezTo>
                  <a:pt x="3060431" y="1226891"/>
                  <a:pt x="3059942" y="1225551"/>
                  <a:pt x="3059747" y="1224212"/>
                </a:cubicBezTo>
                <a:lnTo>
                  <a:pt x="3052616" y="1224212"/>
                </a:lnTo>
                <a:cubicBezTo>
                  <a:pt x="3051249" y="1224212"/>
                  <a:pt x="3049881" y="1223408"/>
                  <a:pt x="3048905" y="1222069"/>
                </a:cubicBezTo>
                <a:cubicBezTo>
                  <a:pt x="3048123" y="1220997"/>
                  <a:pt x="3047635" y="1219657"/>
                  <a:pt x="3047439" y="1218184"/>
                </a:cubicBezTo>
                <a:lnTo>
                  <a:pt x="2964216" y="1218184"/>
                </a:lnTo>
                <a:cubicBezTo>
                  <a:pt x="2962848" y="1218184"/>
                  <a:pt x="2961481" y="1217380"/>
                  <a:pt x="2960504" y="1216041"/>
                </a:cubicBezTo>
                <a:cubicBezTo>
                  <a:pt x="2959722" y="1214969"/>
                  <a:pt x="2959234" y="1213763"/>
                  <a:pt x="2959038" y="1212290"/>
                </a:cubicBezTo>
                <a:lnTo>
                  <a:pt x="2910198" y="1212290"/>
                </a:lnTo>
                <a:cubicBezTo>
                  <a:pt x="2908831" y="1212290"/>
                  <a:pt x="2907463" y="1211486"/>
                  <a:pt x="2906486" y="1210146"/>
                </a:cubicBezTo>
                <a:cubicBezTo>
                  <a:pt x="2905705" y="1209075"/>
                  <a:pt x="2905216" y="1207869"/>
                  <a:pt x="2905021" y="1206396"/>
                </a:cubicBezTo>
                <a:lnTo>
                  <a:pt x="2726070" y="1206396"/>
                </a:lnTo>
                <a:cubicBezTo>
                  <a:pt x="2724703" y="1206396"/>
                  <a:pt x="2723335" y="1205592"/>
                  <a:pt x="2722358" y="1204253"/>
                </a:cubicBezTo>
                <a:cubicBezTo>
                  <a:pt x="2721382" y="1202913"/>
                  <a:pt x="2720795" y="1201038"/>
                  <a:pt x="2720795" y="1199162"/>
                </a:cubicBezTo>
                <a:lnTo>
                  <a:pt x="2720795" y="1195010"/>
                </a:lnTo>
                <a:lnTo>
                  <a:pt x="2578768" y="1195010"/>
                </a:lnTo>
                <a:cubicBezTo>
                  <a:pt x="2577400" y="1195010"/>
                  <a:pt x="2576033" y="1194206"/>
                  <a:pt x="2575056" y="1192866"/>
                </a:cubicBezTo>
                <a:cubicBezTo>
                  <a:pt x="2574372" y="1191929"/>
                  <a:pt x="2573884" y="1190723"/>
                  <a:pt x="2573688" y="1189384"/>
                </a:cubicBezTo>
                <a:lnTo>
                  <a:pt x="2539500" y="1189384"/>
                </a:lnTo>
                <a:cubicBezTo>
                  <a:pt x="2538133" y="1189384"/>
                  <a:pt x="2536765" y="1188580"/>
                  <a:pt x="2535789" y="1187240"/>
                </a:cubicBezTo>
                <a:cubicBezTo>
                  <a:pt x="2535105" y="1186303"/>
                  <a:pt x="2534616" y="1185097"/>
                  <a:pt x="2534421" y="1183757"/>
                </a:cubicBezTo>
                <a:lnTo>
                  <a:pt x="2522309" y="1183757"/>
                </a:lnTo>
                <a:cubicBezTo>
                  <a:pt x="2520941" y="1183757"/>
                  <a:pt x="2519574" y="1182954"/>
                  <a:pt x="2518597" y="1181614"/>
                </a:cubicBezTo>
                <a:cubicBezTo>
                  <a:pt x="2517913" y="1180676"/>
                  <a:pt x="2517425" y="1179471"/>
                  <a:pt x="2517229" y="1178131"/>
                </a:cubicBezTo>
                <a:lnTo>
                  <a:pt x="2434005" y="1178131"/>
                </a:lnTo>
                <a:cubicBezTo>
                  <a:pt x="2432638" y="1178131"/>
                  <a:pt x="2431270" y="1177328"/>
                  <a:pt x="2430293" y="1175988"/>
                </a:cubicBezTo>
                <a:cubicBezTo>
                  <a:pt x="2429610" y="1175050"/>
                  <a:pt x="2429121" y="1173845"/>
                  <a:pt x="2428926" y="1172639"/>
                </a:cubicBezTo>
                <a:lnTo>
                  <a:pt x="2335934" y="1172639"/>
                </a:lnTo>
                <a:cubicBezTo>
                  <a:pt x="2334566" y="1172639"/>
                  <a:pt x="2333199" y="1171836"/>
                  <a:pt x="2332222" y="1170496"/>
                </a:cubicBezTo>
                <a:cubicBezTo>
                  <a:pt x="2331538" y="1169558"/>
                  <a:pt x="2331050" y="1168353"/>
                  <a:pt x="2330855" y="1167147"/>
                </a:cubicBezTo>
                <a:lnTo>
                  <a:pt x="2284359" y="1167147"/>
                </a:lnTo>
                <a:cubicBezTo>
                  <a:pt x="2282991" y="1167147"/>
                  <a:pt x="2281623" y="1166343"/>
                  <a:pt x="2280647" y="1165004"/>
                </a:cubicBezTo>
                <a:cubicBezTo>
                  <a:pt x="2279963" y="1164066"/>
                  <a:pt x="2279572" y="1162994"/>
                  <a:pt x="2279279" y="1161789"/>
                </a:cubicBezTo>
                <a:lnTo>
                  <a:pt x="2262283" y="1161789"/>
                </a:lnTo>
                <a:cubicBezTo>
                  <a:pt x="2260915" y="1161789"/>
                  <a:pt x="2259548" y="1160985"/>
                  <a:pt x="2258571" y="1159646"/>
                </a:cubicBezTo>
                <a:cubicBezTo>
                  <a:pt x="2257887" y="1158708"/>
                  <a:pt x="2257399" y="1157502"/>
                  <a:pt x="2257203" y="1156297"/>
                </a:cubicBezTo>
                <a:lnTo>
                  <a:pt x="2247533" y="1156297"/>
                </a:lnTo>
                <a:cubicBezTo>
                  <a:pt x="2246166" y="1156297"/>
                  <a:pt x="2244798" y="1155493"/>
                  <a:pt x="2243821" y="1154154"/>
                </a:cubicBezTo>
                <a:cubicBezTo>
                  <a:pt x="2243137" y="1153216"/>
                  <a:pt x="2242649" y="1152144"/>
                  <a:pt x="2242454" y="1150805"/>
                </a:cubicBezTo>
                <a:lnTo>
                  <a:pt x="2149364" y="1150805"/>
                </a:lnTo>
                <a:cubicBezTo>
                  <a:pt x="2147997" y="1150805"/>
                  <a:pt x="2146629" y="1150001"/>
                  <a:pt x="2145652" y="1148661"/>
                </a:cubicBezTo>
                <a:cubicBezTo>
                  <a:pt x="2144773" y="1147456"/>
                  <a:pt x="2144285" y="1145982"/>
                  <a:pt x="2144187" y="1144375"/>
                </a:cubicBezTo>
                <a:cubicBezTo>
                  <a:pt x="2143796" y="1144107"/>
                  <a:pt x="2143503" y="1143705"/>
                  <a:pt x="2143210" y="1143303"/>
                </a:cubicBezTo>
                <a:cubicBezTo>
                  <a:pt x="2142233" y="1141964"/>
                  <a:pt x="2141647" y="1140088"/>
                  <a:pt x="2141647" y="1138213"/>
                </a:cubicBezTo>
                <a:lnTo>
                  <a:pt x="2141647" y="1134730"/>
                </a:lnTo>
                <a:lnTo>
                  <a:pt x="2109999" y="1134730"/>
                </a:lnTo>
                <a:cubicBezTo>
                  <a:pt x="2108631" y="1134730"/>
                  <a:pt x="2107264" y="1133926"/>
                  <a:pt x="2106287" y="1132587"/>
                </a:cubicBezTo>
                <a:cubicBezTo>
                  <a:pt x="2105603" y="1131649"/>
                  <a:pt x="2105212" y="1130577"/>
                  <a:pt x="2104919" y="1129372"/>
                </a:cubicBezTo>
                <a:lnTo>
                  <a:pt x="2004504" y="1129372"/>
                </a:lnTo>
                <a:cubicBezTo>
                  <a:pt x="2003136" y="1129372"/>
                  <a:pt x="2001769" y="1128568"/>
                  <a:pt x="2000792" y="1127229"/>
                </a:cubicBezTo>
                <a:cubicBezTo>
                  <a:pt x="2000206" y="1126425"/>
                  <a:pt x="1999717" y="1125353"/>
                  <a:pt x="1999424" y="1124148"/>
                </a:cubicBezTo>
                <a:lnTo>
                  <a:pt x="1852317" y="1124148"/>
                </a:lnTo>
                <a:cubicBezTo>
                  <a:pt x="1850950" y="1124148"/>
                  <a:pt x="1849582" y="1123344"/>
                  <a:pt x="1848605" y="1122004"/>
                </a:cubicBezTo>
                <a:cubicBezTo>
                  <a:pt x="1848019" y="1121201"/>
                  <a:pt x="1847531" y="1120129"/>
                  <a:pt x="1847336" y="1118923"/>
                </a:cubicBezTo>
                <a:lnTo>
                  <a:pt x="1842549" y="1118923"/>
                </a:lnTo>
                <a:cubicBezTo>
                  <a:pt x="1841182" y="1118923"/>
                  <a:pt x="1839814" y="1118120"/>
                  <a:pt x="1838837" y="1116780"/>
                </a:cubicBezTo>
                <a:cubicBezTo>
                  <a:pt x="1838251" y="1115976"/>
                  <a:pt x="1837763" y="1114905"/>
                  <a:pt x="1837568" y="1113699"/>
                </a:cubicBezTo>
                <a:lnTo>
                  <a:pt x="1825357" y="1113699"/>
                </a:lnTo>
                <a:cubicBezTo>
                  <a:pt x="1823990" y="1113699"/>
                  <a:pt x="1822622" y="1112895"/>
                  <a:pt x="1821646" y="1111556"/>
                </a:cubicBezTo>
                <a:cubicBezTo>
                  <a:pt x="1821059" y="1110752"/>
                  <a:pt x="1820571" y="1109680"/>
                  <a:pt x="1820278" y="1108475"/>
                </a:cubicBezTo>
                <a:lnTo>
                  <a:pt x="1798300" y="1108475"/>
                </a:lnTo>
                <a:cubicBezTo>
                  <a:pt x="1796932" y="1108475"/>
                  <a:pt x="1795565" y="1107671"/>
                  <a:pt x="1794588" y="1106332"/>
                </a:cubicBezTo>
                <a:cubicBezTo>
                  <a:pt x="1794002" y="1105528"/>
                  <a:pt x="1793513" y="1104456"/>
                  <a:pt x="1793318" y="1103251"/>
                </a:cubicBezTo>
                <a:lnTo>
                  <a:pt x="1788532" y="1103251"/>
                </a:lnTo>
                <a:cubicBezTo>
                  <a:pt x="1787164" y="1103251"/>
                  <a:pt x="1785797" y="1102447"/>
                  <a:pt x="1784820" y="1101107"/>
                </a:cubicBezTo>
                <a:cubicBezTo>
                  <a:pt x="1784234" y="1100304"/>
                  <a:pt x="1783745" y="1099232"/>
                  <a:pt x="1783452" y="1098026"/>
                </a:cubicBezTo>
                <a:lnTo>
                  <a:pt x="1712341" y="1098026"/>
                </a:lnTo>
                <a:cubicBezTo>
                  <a:pt x="1710973" y="1098026"/>
                  <a:pt x="1709606" y="1097223"/>
                  <a:pt x="1708629" y="1095883"/>
                </a:cubicBezTo>
                <a:cubicBezTo>
                  <a:pt x="1708043" y="1095079"/>
                  <a:pt x="1707555" y="1094008"/>
                  <a:pt x="1707359" y="1092802"/>
                </a:cubicBezTo>
                <a:cubicBezTo>
                  <a:pt x="1705992" y="1092802"/>
                  <a:pt x="1704722" y="1091998"/>
                  <a:pt x="1703745" y="1090659"/>
                </a:cubicBezTo>
                <a:cubicBezTo>
                  <a:pt x="1703159" y="1089855"/>
                  <a:pt x="1702671" y="1088784"/>
                  <a:pt x="1702475" y="1087712"/>
                </a:cubicBezTo>
                <a:lnTo>
                  <a:pt x="1655979" y="1087712"/>
                </a:lnTo>
                <a:cubicBezTo>
                  <a:pt x="1654612" y="1087712"/>
                  <a:pt x="1653244" y="1086908"/>
                  <a:pt x="1652267" y="1085569"/>
                </a:cubicBezTo>
                <a:cubicBezTo>
                  <a:pt x="1651681" y="1084765"/>
                  <a:pt x="1651193" y="1083693"/>
                  <a:pt x="1650998" y="1082622"/>
                </a:cubicBezTo>
                <a:lnTo>
                  <a:pt x="1601962" y="1082622"/>
                </a:lnTo>
                <a:cubicBezTo>
                  <a:pt x="1600594" y="1082622"/>
                  <a:pt x="1599227" y="1081818"/>
                  <a:pt x="1598250" y="1080478"/>
                </a:cubicBezTo>
                <a:cubicBezTo>
                  <a:pt x="1597664" y="1079675"/>
                  <a:pt x="1597176" y="1078603"/>
                  <a:pt x="1596980" y="1077397"/>
                </a:cubicBezTo>
                <a:lnTo>
                  <a:pt x="1572560" y="1077397"/>
                </a:lnTo>
                <a:cubicBezTo>
                  <a:pt x="1571192" y="1077397"/>
                  <a:pt x="1569825" y="1076594"/>
                  <a:pt x="1568848" y="1075254"/>
                </a:cubicBezTo>
                <a:cubicBezTo>
                  <a:pt x="1568262" y="1074450"/>
                  <a:pt x="1567774" y="1073379"/>
                  <a:pt x="1567578" y="1072173"/>
                </a:cubicBezTo>
                <a:lnTo>
                  <a:pt x="1555368" y="1072173"/>
                </a:lnTo>
                <a:cubicBezTo>
                  <a:pt x="1554001" y="1072173"/>
                  <a:pt x="1552633" y="1071370"/>
                  <a:pt x="1551656" y="1070030"/>
                </a:cubicBezTo>
                <a:cubicBezTo>
                  <a:pt x="1551070" y="1069226"/>
                  <a:pt x="1550582" y="1068155"/>
                  <a:pt x="1550386" y="1067083"/>
                </a:cubicBezTo>
                <a:lnTo>
                  <a:pt x="1535734" y="1067083"/>
                </a:lnTo>
                <a:cubicBezTo>
                  <a:pt x="1534367" y="1067083"/>
                  <a:pt x="1532999" y="1066279"/>
                  <a:pt x="1532023" y="1064940"/>
                </a:cubicBezTo>
                <a:cubicBezTo>
                  <a:pt x="1531437" y="1064136"/>
                  <a:pt x="1530948" y="1063064"/>
                  <a:pt x="1530753" y="1061993"/>
                </a:cubicBezTo>
                <a:lnTo>
                  <a:pt x="1469507" y="1061993"/>
                </a:lnTo>
                <a:cubicBezTo>
                  <a:pt x="1468139" y="1061993"/>
                  <a:pt x="1466772" y="1061189"/>
                  <a:pt x="1465795" y="1059849"/>
                </a:cubicBezTo>
                <a:cubicBezTo>
                  <a:pt x="1464818" y="1058510"/>
                  <a:pt x="1464232" y="1056634"/>
                  <a:pt x="1464232" y="1054759"/>
                </a:cubicBezTo>
                <a:lnTo>
                  <a:pt x="1464232" y="1051946"/>
                </a:lnTo>
                <a:lnTo>
                  <a:pt x="1454757" y="1051946"/>
                </a:lnTo>
                <a:cubicBezTo>
                  <a:pt x="1453390" y="1051946"/>
                  <a:pt x="1452022" y="1051142"/>
                  <a:pt x="1451045" y="1049803"/>
                </a:cubicBezTo>
                <a:cubicBezTo>
                  <a:pt x="1450459" y="1048999"/>
                  <a:pt x="1449971" y="1047927"/>
                  <a:pt x="1449776" y="1046856"/>
                </a:cubicBezTo>
                <a:lnTo>
                  <a:pt x="1447431" y="1046856"/>
                </a:lnTo>
                <a:cubicBezTo>
                  <a:pt x="1446064" y="1046856"/>
                  <a:pt x="1444696" y="1046052"/>
                  <a:pt x="1443719" y="1044712"/>
                </a:cubicBezTo>
                <a:cubicBezTo>
                  <a:pt x="1442938" y="1043641"/>
                  <a:pt x="1442450" y="1042301"/>
                  <a:pt x="1442254" y="1040828"/>
                </a:cubicBezTo>
                <a:cubicBezTo>
                  <a:pt x="1441863" y="1040560"/>
                  <a:pt x="1441570" y="1040158"/>
                  <a:pt x="1441277" y="1039756"/>
                </a:cubicBezTo>
                <a:cubicBezTo>
                  <a:pt x="1440691" y="1038952"/>
                  <a:pt x="1440203" y="1038015"/>
                  <a:pt x="1440008" y="1036943"/>
                </a:cubicBezTo>
                <a:lnTo>
                  <a:pt x="1435123" y="1036943"/>
                </a:lnTo>
                <a:cubicBezTo>
                  <a:pt x="1433756" y="1036943"/>
                  <a:pt x="1432388" y="1036139"/>
                  <a:pt x="1431412" y="1034800"/>
                </a:cubicBezTo>
                <a:cubicBezTo>
                  <a:pt x="1430826" y="1033996"/>
                  <a:pt x="1430337" y="1032924"/>
                  <a:pt x="1430142" y="1031853"/>
                </a:cubicBezTo>
                <a:cubicBezTo>
                  <a:pt x="1428774" y="1031853"/>
                  <a:pt x="1427504" y="1031049"/>
                  <a:pt x="1426528" y="1029710"/>
                </a:cubicBezTo>
                <a:cubicBezTo>
                  <a:pt x="1425941" y="1028906"/>
                  <a:pt x="1425551" y="1027968"/>
                  <a:pt x="1425258" y="1026897"/>
                </a:cubicBezTo>
                <a:lnTo>
                  <a:pt x="1383548" y="1026897"/>
                </a:lnTo>
                <a:cubicBezTo>
                  <a:pt x="1382180" y="1026897"/>
                  <a:pt x="1380813" y="1026093"/>
                  <a:pt x="1379836" y="1024753"/>
                </a:cubicBezTo>
                <a:cubicBezTo>
                  <a:pt x="1379250" y="1023950"/>
                  <a:pt x="1378762" y="1023012"/>
                  <a:pt x="1378566" y="1021806"/>
                </a:cubicBezTo>
                <a:lnTo>
                  <a:pt x="1368896" y="1021806"/>
                </a:lnTo>
                <a:cubicBezTo>
                  <a:pt x="1367528" y="1021806"/>
                  <a:pt x="1366161" y="1021003"/>
                  <a:pt x="1365184" y="1019663"/>
                </a:cubicBezTo>
                <a:cubicBezTo>
                  <a:pt x="1364207" y="1018323"/>
                  <a:pt x="1363621" y="1016448"/>
                  <a:pt x="1363621" y="1014573"/>
                </a:cubicBezTo>
                <a:lnTo>
                  <a:pt x="1363621" y="1011760"/>
                </a:lnTo>
                <a:lnTo>
                  <a:pt x="1349165" y="1011760"/>
                </a:lnTo>
                <a:cubicBezTo>
                  <a:pt x="1347797" y="1011760"/>
                  <a:pt x="1346429" y="1010956"/>
                  <a:pt x="1345453" y="1009616"/>
                </a:cubicBezTo>
                <a:cubicBezTo>
                  <a:pt x="1344867" y="1008813"/>
                  <a:pt x="1344476" y="1007741"/>
                  <a:pt x="1344183" y="1006669"/>
                </a:cubicBezTo>
                <a:lnTo>
                  <a:pt x="1336857" y="1006669"/>
                </a:lnTo>
                <a:cubicBezTo>
                  <a:pt x="1335489" y="1006669"/>
                  <a:pt x="1334122" y="1005866"/>
                  <a:pt x="1333145" y="1004526"/>
                </a:cubicBezTo>
                <a:cubicBezTo>
                  <a:pt x="1332559" y="1003722"/>
                  <a:pt x="1332168" y="1002651"/>
                  <a:pt x="1331875" y="1001579"/>
                </a:cubicBezTo>
                <a:lnTo>
                  <a:pt x="1329531" y="1001579"/>
                </a:lnTo>
                <a:cubicBezTo>
                  <a:pt x="1328163" y="1001579"/>
                  <a:pt x="1326796" y="1000775"/>
                  <a:pt x="1325819" y="999436"/>
                </a:cubicBezTo>
                <a:cubicBezTo>
                  <a:pt x="1325233" y="998632"/>
                  <a:pt x="1324842" y="997694"/>
                  <a:pt x="1324549" y="996489"/>
                </a:cubicBezTo>
                <a:lnTo>
                  <a:pt x="1312339" y="996489"/>
                </a:lnTo>
                <a:cubicBezTo>
                  <a:pt x="1310971" y="996489"/>
                  <a:pt x="1309604" y="995685"/>
                  <a:pt x="1308627" y="994346"/>
                </a:cubicBezTo>
                <a:cubicBezTo>
                  <a:pt x="1308041" y="993542"/>
                  <a:pt x="1307552" y="992470"/>
                  <a:pt x="1307357" y="991399"/>
                </a:cubicBezTo>
                <a:lnTo>
                  <a:pt x="1255880" y="991399"/>
                </a:lnTo>
                <a:cubicBezTo>
                  <a:pt x="1254512" y="991399"/>
                  <a:pt x="1253144" y="990595"/>
                  <a:pt x="1252168" y="989255"/>
                </a:cubicBezTo>
                <a:cubicBezTo>
                  <a:pt x="1251582" y="988452"/>
                  <a:pt x="1251191" y="987514"/>
                  <a:pt x="1250898" y="986308"/>
                </a:cubicBezTo>
                <a:lnTo>
                  <a:pt x="1238688" y="986308"/>
                </a:lnTo>
                <a:cubicBezTo>
                  <a:pt x="1237320" y="986308"/>
                  <a:pt x="1235953" y="985505"/>
                  <a:pt x="1234976" y="984165"/>
                </a:cubicBezTo>
                <a:cubicBezTo>
                  <a:pt x="1233999" y="982825"/>
                  <a:pt x="1233413" y="980950"/>
                  <a:pt x="1233413" y="979075"/>
                </a:cubicBezTo>
                <a:lnTo>
                  <a:pt x="1233413" y="976262"/>
                </a:lnTo>
                <a:cubicBezTo>
                  <a:pt x="1232143" y="976262"/>
                  <a:pt x="1230971" y="975458"/>
                  <a:pt x="1229994" y="974118"/>
                </a:cubicBezTo>
                <a:cubicBezTo>
                  <a:pt x="1229408" y="973315"/>
                  <a:pt x="1228920" y="972377"/>
                  <a:pt x="1228724" y="971305"/>
                </a:cubicBezTo>
                <a:lnTo>
                  <a:pt x="1218956" y="971305"/>
                </a:lnTo>
                <a:cubicBezTo>
                  <a:pt x="1217589" y="971305"/>
                  <a:pt x="1216221" y="970502"/>
                  <a:pt x="1215244" y="969162"/>
                </a:cubicBezTo>
                <a:cubicBezTo>
                  <a:pt x="1214658" y="968358"/>
                  <a:pt x="1214268" y="967421"/>
                  <a:pt x="1213975" y="966349"/>
                </a:cubicBezTo>
                <a:lnTo>
                  <a:pt x="1199322" y="966349"/>
                </a:lnTo>
                <a:cubicBezTo>
                  <a:pt x="1197955" y="966349"/>
                  <a:pt x="1196587" y="965545"/>
                  <a:pt x="1195611" y="964206"/>
                </a:cubicBezTo>
                <a:cubicBezTo>
                  <a:pt x="1195024" y="963402"/>
                  <a:pt x="1194634" y="962464"/>
                  <a:pt x="1194341" y="961393"/>
                </a:cubicBezTo>
                <a:lnTo>
                  <a:pt x="1189457" y="961393"/>
                </a:lnTo>
                <a:cubicBezTo>
                  <a:pt x="1188089" y="961393"/>
                  <a:pt x="1186722" y="960589"/>
                  <a:pt x="1185745" y="959249"/>
                </a:cubicBezTo>
                <a:cubicBezTo>
                  <a:pt x="1184963" y="958178"/>
                  <a:pt x="1184475" y="956838"/>
                  <a:pt x="1184280" y="955365"/>
                </a:cubicBezTo>
                <a:cubicBezTo>
                  <a:pt x="1183889" y="955097"/>
                  <a:pt x="1183596" y="954695"/>
                  <a:pt x="1183303" y="954293"/>
                </a:cubicBezTo>
                <a:cubicBezTo>
                  <a:pt x="1182717" y="953489"/>
                  <a:pt x="1182326" y="952552"/>
                  <a:pt x="1182033" y="951480"/>
                </a:cubicBezTo>
                <a:lnTo>
                  <a:pt x="1174707" y="951480"/>
                </a:lnTo>
                <a:cubicBezTo>
                  <a:pt x="1173339" y="951480"/>
                  <a:pt x="1171972" y="950676"/>
                  <a:pt x="1170995" y="949337"/>
                </a:cubicBezTo>
                <a:cubicBezTo>
                  <a:pt x="1170409" y="948533"/>
                  <a:pt x="1170018" y="947595"/>
                  <a:pt x="1169725" y="946524"/>
                </a:cubicBezTo>
                <a:cubicBezTo>
                  <a:pt x="1168358" y="946524"/>
                  <a:pt x="1167088" y="945720"/>
                  <a:pt x="1166111" y="944380"/>
                </a:cubicBezTo>
                <a:cubicBezTo>
                  <a:pt x="1165330" y="943309"/>
                  <a:pt x="1164841" y="941969"/>
                  <a:pt x="1164646" y="940496"/>
                </a:cubicBezTo>
                <a:cubicBezTo>
                  <a:pt x="1164255" y="940228"/>
                  <a:pt x="1163962" y="939826"/>
                  <a:pt x="1163669" y="939424"/>
                </a:cubicBezTo>
                <a:cubicBezTo>
                  <a:pt x="1163083" y="938620"/>
                  <a:pt x="1162692" y="937683"/>
                  <a:pt x="1162399" y="936611"/>
                </a:cubicBezTo>
                <a:lnTo>
                  <a:pt x="1132997" y="936611"/>
                </a:lnTo>
                <a:cubicBezTo>
                  <a:pt x="1131630" y="936611"/>
                  <a:pt x="1130262" y="935807"/>
                  <a:pt x="1129285" y="934468"/>
                </a:cubicBezTo>
                <a:cubicBezTo>
                  <a:pt x="1128699" y="933664"/>
                  <a:pt x="1128309" y="932726"/>
                  <a:pt x="1128016" y="931655"/>
                </a:cubicBezTo>
                <a:lnTo>
                  <a:pt x="1118248" y="931655"/>
                </a:lnTo>
                <a:cubicBezTo>
                  <a:pt x="1116880" y="931655"/>
                  <a:pt x="1115512" y="930851"/>
                  <a:pt x="1114536" y="929511"/>
                </a:cubicBezTo>
                <a:cubicBezTo>
                  <a:pt x="1113559" y="928172"/>
                  <a:pt x="1112973" y="926297"/>
                  <a:pt x="1112973" y="924421"/>
                </a:cubicBezTo>
                <a:lnTo>
                  <a:pt x="1112973" y="921742"/>
                </a:lnTo>
                <a:lnTo>
                  <a:pt x="1086306" y="921742"/>
                </a:lnTo>
                <a:cubicBezTo>
                  <a:pt x="1084938" y="921742"/>
                  <a:pt x="1083571" y="920938"/>
                  <a:pt x="1082594" y="919599"/>
                </a:cubicBezTo>
                <a:cubicBezTo>
                  <a:pt x="1082008" y="918795"/>
                  <a:pt x="1081617" y="917857"/>
                  <a:pt x="1081324" y="916786"/>
                </a:cubicBezTo>
                <a:lnTo>
                  <a:pt x="1059346" y="916786"/>
                </a:lnTo>
                <a:cubicBezTo>
                  <a:pt x="1057979" y="916786"/>
                  <a:pt x="1056611" y="915982"/>
                  <a:pt x="1055634" y="914642"/>
                </a:cubicBezTo>
                <a:cubicBezTo>
                  <a:pt x="1055048" y="913839"/>
                  <a:pt x="1054658" y="912901"/>
                  <a:pt x="1054364" y="911963"/>
                </a:cubicBezTo>
                <a:cubicBezTo>
                  <a:pt x="1052997" y="911963"/>
                  <a:pt x="1051629" y="911160"/>
                  <a:pt x="1050653" y="909820"/>
                </a:cubicBezTo>
                <a:cubicBezTo>
                  <a:pt x="1049871" y="908748"/>
                  <a:pt x="1049383" y="907409"/>
                  <a:pt x="1049187" y="906069"/>
                </a:cubicBezTo>
                <a:cubicBezTo>
                  <a:pt x="1048797" y="905802"/>
                  <a:pt x="1048504" y="905400"/>
                  <a:pt x="1048211" y="904998"/>
                </a:cubicBezTo>
                <a:cubicBezTo>
                  <a:pt x="1047624" y="904194"/>
                  <a:pt x="1047234" y="903256"/>
                  <a:pt x="1046941" y="902319"/>
                </a:cubicBezTo>
                <a:lnTo>
                  <a:pt x="1032289" y="902319"/>
                </a:lnTo>
                <a:cubicBezTo>
                  <a:pt x="1030921" y="902319"/>
                  <a:pt x="1029554" y="901515"/>
                  <a:pt x="1028577" y="900175"/>
                </a:cubicBezTo>
                <a:cubicBezTo>
                  <a:pt x="1027795" y="899104"/>
                  <a:pt x="1027307" y="897764"/>
                  <a:pt x="1027112" y="896291"/>
                </a:cubicBezTo>
                <a:cubicBezTo>
                  <a:pt x="1026721" y="896023"/>
                  <a:pt x="1026428" y="895621"/>
                  <a:pt x="1026135" y="895219"/>
                </a:cubicBezTo>
                <a:cubicBezTo>
                  <a:pt x="1025549" y="894415"/>
                  <a:pt x="1025158" y="893478"/>
                  <a:pt x="1024865" y="892406"/>
                </a:cubicBezTo>
                <a:lnTo>
                  <a:pt x="1007673" y="892406"/>
                </a:lnTo>
                <a:cubicBezTo>
                  <a:pt x="1006306" y="892406"/>
                  <a:pt x="1004938" y="891602"/>
                  <a:pt x="1003961" y="890263"/>
                </a:cubicBezTo>
                <a:cubicBezTo>
                  <a:pt x="1003180" y="889191"/>
                  <a:pt x="1002691" y="887986"/>
                  <a:pt x="1002496" y="886512"/>
                </a:cubicBezTo>
                <a:cubicBezTo>
                  <a:pt x="1002105" y="886244"/>
                  <a:pt x="1001812" y="885842"/>
                  <a:pt x="1001519" y="885440"/>
                </a:cubicBezTo>
                <a:cubicBezTo>
                  <a:pt x="1000738" y="884369"/>
                  <a:pt x="1000249" y="883029"/>
                  <a:pt x="1000054" y="881690"/>
                </a:cubicBezTo>
                <a:cubicBezTo>
                  <a:pt x="999663" y="881422"/>
                  <a:pt x="999370" y="881020"/>
                  <a:pt x="999077" y="880618"/>
                </a:cubicBezTo>
                <a:cubicBezTo>
                  <a:pt x="998491" y="879814"/>
                  <a:pt x="998100" y="878877"/>
                  <a:pt x="997807" y="877805"/>
                </a:cubicBezTo>
                <a:lnTo>
                  <a:pt x="995365" y="877805"/>
                </a:lnTo>
                <a:cubicBezTo>
                  <a:pt x="993998" y="877805"/>
                  <a:pt x="992630" y="877001"/>
                  <a:pt x="991653" y="875662"/>
                </a:cubicBezTo>
                <a:cubicBezTo>
                  <a:pt x="991067" y="874858"/>
                  <a:pt x="990677" y="873920"/>
                  <a:pt x="990384" y="872849"/>
                </a:cubicBezTo>
                <a:cubicBezTo>
                  <a:pt x="989016" y="872849"/>
                  <a:pt x="987649" y="872045"/>
                  <a:pt x="986672" y="870705"/>
                </a:cubicBezTo>
                <a:cubicBezTo>
                  <a:pt x="986086" y="869902"/>
                  <a:pt x="985695" y="868964"/>
                  <a:pt x="985402" y="868026"/>
                </a:cubicBezTo>
                <a:lnTo>
                  <a:pt x="973192" y="868026"/>
                </a:lnTo>
                <a:cubicBezTo>
                  <a:pt x="971824" y="868026"/>
                  <a:pt x="970457" y="867223"/>
                  <a:pt x="969480" y="865883"/>
                </a:cubicBezTo>
                <a:cubicBezTo>
                  <a:pt x="968796" y="864811"/>
                  <a:pt x="968210" y="863606"/>
                  <a:pt x="968015" y="862132"/>
                </a:cubicBezTo>
                <a:cubicBezTo>
                  <a:pt x="967624" y="861864"/>
                  <a:pt x="967331" y="861462"/>
                  <a:pt x="967038" y="861061"/>
                </a:cubicBezTo>
                <a:cubicBezTo>
                  <a:pt x="966452" y="860257"/>
                  <a:pt x="966061" y="859319"/>
                  <a:pt x="965768" y="858382"/>
                </a:cubicBezTo>
                <a:lnTo>
                  <a:pt x="963326" y="858382"/>
                </a:lnTo>
                <a:cubicBezTo>
                  <a:pt x="961959" y="858382"/>
                  <a:pt x="960591" y="857578"/>
                  <a:pt x="959614" y="856238"/>
                </a:cubicBezTo>
                <a:cubicBezTo>
                  <a:pt x="958833" y="855301"/>
                  <a:pt x="958344" y="853961"/>
                  <a:pt x="958149" y="852488"/>
                </a:cubicBezTo>
                <a:cubicBezTo>
                  <a:pt x="957758" y="852220"/>
                  <a:pt x="957465" y="851818"/>
                  <a:pt x="957172" y="851416"/>
                </a:cubicBezTo>
                <a:cubicBezTo>
                  <a:pt x="956586" y="850612"/>
                  <a:pt x="956195" y="849674"/>
                  <a:pt x="955902" y="848737"/>
                </a:cubicBezTo>
                <a:lnTo>
                  <a:pt x="926500" y="848737"/>
                </a:lnTo>
                <a:cubicBezTo>
                  <a:pt x="925133" y="848737"/>
                  <a:pt x="923765" y="847933"/>
                  <a:pt x="922789" y="846594"/>
                </a:cubicBezTo>
                <a:cubicBezTo>
                  <a:pt x="922203" y="845790"/>
                  <a:pt x="921812" y="844852"/>
                  <a:pt x="921519" y="843780"/>
                </a:cubicBezTo>
                <a:lnTo>
                  <a:pt x="904327" y="843780"/>
                </a:lnTo>
                <a:cubicBezTo>
                  <a:pt x="902960" y="843780"/>
                  <a:pt x="901592" y="842977"/>
                  <a:pt x="900615" y="841637"/>
                </a:cubicBezTo>
                <a:cubicBezTo>
                  <a:pt x="900029" y="840833"/>
                  <a:pt x="899638" y="840030"/>
                  <a:pt x="899345" y="838958"/>
                </a:cubicBezTo>
                <a:lnTo>
                  <a:pt x="896903" y="838958"/>
                </a:lnTo>
                <a:cubicBezTo>
                  <a:pt x="895536" y="838958"/>
                  <a:pt x="894168" y="838154"/>
                  <a:pt x="893191" y="836815"/>
                </a:cubicBezTo>
                <a:cubicBezTo>
                  <a:pt x="892215" y="835475"/>
                  <a:pt x="891629" y="833600"/>
                  <a:pt x="891629" y="831725"/>
                </a:cubicBezTo>
                <a:lnTo>
                  <a:pt x="891629" y="828242"/>
                </a:lnTo>
                <a:cubicBezTo>
                  <a:pt x="891629" y="828242"/>
                  <a:pt x="890945" y="827572"/>
                  <a:pt x="890749" y="827304"/>
                </a:cubicBezTo>
                <a:cubicBezTo>
                  <a:pt x="890163" y="826500"/>
                  <a:pt x="889773" y="825697"/>
                  <a:pt x="889577" y="824625"/>
                </a:cubicBezTo>
                <a:lnTo>
                  <a:pt x="887135" y="824625"/>
                </a:lnTo>
                <a:cubicBezTo>
                  <a:pt x="885768" y="824625"/>
                  <a:pt x="884400" y="823821"/>
                  <a:pt x="883423" y="822482"/>
                </a:cubicBezTo>
                <a:cubicBezTo>
                  <a:pt x="882837" y="821678"/>
                  <a:pt x="882447" y="820740"/>
                  <a:pt x="882153" y="819803"/>
                </a:cubicBezTo>
                <a:lnTo>
                  <a:pt x="867501" y="819803"/>
                </a:lnTo>
                <a:cubicBezTo>
                  <a:pt x="866134" y="819803"/>
                  <a:pt x="864766" y="818999"/>
                  <a:pt x="863790" y="817659"/>
                </a:cubicBezTo>
                <a:cubicBezTo>
                  <a:pt x="863204" y="816856"/>
                  <a:pt x="862813" y="816052"/>
                  <a:pt x="862617" y="814980"/>
                </a:cubicBezTo>
                <a:cubicBezTo>
                  <a:pt x="861250" y="814980"/>
                  <a:pt x="859882" y="814176"/>
                  <a:pt x="858906" y="812837"/>
                </a:cubicBezTo>
                <a:cubicBezTo>
                  <a:pt x="857929" y="811497"/>
                  <a:pt x="857343" y="809622"/>
                  <a:pt x="857343" y="807747"/>
                </a:cubicBezTo>
                <a:lnTo>
                  <a:pt x="857343" y="805469"/>
                </a:lnTo>
                <a:lnTo>
                  <a:pt x="852752" y="805469"/>
                </a:lnTo>
                <a:cubicBezTo>
                  <a:pt x="851384" y="805469"/>
                  <a:pt x="850017" y="804666"/>
                  <a:pt x="849040" y="803326"/>
                </a:cubicBezTo>
                <a:cubicBezTo>
                  <a:pt x="848454" y="802522"/>
                  <a:pt x="848063" y="801585"/>
                  <a:pt x="847770" y="800647"/>
                </a:cubicBezTo>
                <a:lnTo>
                  <a:pt x="835462" y="800647"/>
                </a:lnTo>
                <a:cubicBezTo>
                  <a:pt x="834095" y="800647"/>
                  <a:pt x="832727" y="799843"/>
                  <a:pt x="831750" y="798504"/>
                </a:cubicBezTo>
                <a:cubicBezTo>
                  <a:pt x="831067" y="797566"/>
                  <a:pt x="830578" y="796227"/>
                  <a:pt x="830383" y="794887"/>
                </a:cubicBezTo>
                <a:cubicBezTo>
                  <a:pt x="829992" y="794619"/>
                  <a:pt x="829699" y="794217"/>
                  <a:pt x="829308" y="793815"/>
                </a:cubicBezTo>
                <a:cubicBezTo>
                  <a:pt x="828722" y="793146"/>
                  <a:pt x="828331" y="792208"/>
                  <a:pt x="828136" y="791136"/>
                </a:cubicBezTo>
                <a:lnTo>
                  <a:pt x="820810" y="791136"/>
                </a:lnTo>
                <a:cubicBezTo>
                  <a:pt x="819443" y="791136"/>
                  <a:pt x="818075" y="790333"/>
                  <a:pt x="817098" y="788993"/>
                </a:cubicBezTo>
                <a:cubicBezTo>
                  <a:pt x="816610" y="788189"/>
                  <a:pt x="816121" y="787386"/>
                  <a:pt x="815926" y="786314"/>
                </a:cubicBezTo>
                <a:lnTo>
                  <a:pt x="806060" y="786314"/>
                </a:lnTo>
                <a:cubicBezTo>
                  <a:pt x="804693" y="786314"/>
                  <a:pt x="803325" y="785510"/>
                  <a:pt x="802348" y="784171"/>
                </a:cubicBezTo>
                <a:cubicBezTo>
                  <a:pt x="801665" y="783233"/>
                  <a:pt x="801176" y="781893"/>
                  <a:pt x="800883" y="780554"/>
                </a:cubicBezTo>
                <a:cubicBezTo>
                  <a:pt x="800493" y="780286"/>
                  <a:pt x="800199" y="779884"/>
                  <a:pt x="799809" y="779482"/>
                </a:cubicBezTo>
                <a:cubicBezTo>
                  <a:pt x="798832" y="778143"/>
                  <a:pt x="798246" y="776267"/>
                  <a:pt x="798246" y="774392"/>
                </a:cubicBezTo>
                <a:lnTo>
                  <a:pt x="798246" y="770909"/>
                </a:lnTo>
                <a:cubicBezTo>
                  <a:pt x="798246" y="770909"/>
                  <a:pt x="797562" y="770239"/>
                  <a:pt x="797269" y="769838"/>
                </a:cubicBezTo>
                <a:cubicBezTo>
                  <a:pt x="796683" y="769034"/>
                  <a:pt x="796292" y="768230"/>
                  <a:pt x="796097" y="767158"/>
                </a:cubicBezTo>
                <a:lnTo>
                  <a:pt x="783789" y="767158"/>
                </a:lnTo>
                <a:cubicBezTo>
                  <a:pt x="782422" y="767158"/>
                  <a:pt x="781054" y="766355"/>
                  <a:pt x="780077" y="765015"/>
                </a:cubicBezTo>
                <a:cubicBezTo>
                  <a:pt x="779589" y="764345"/>
                  <a:pt x="779101" y="763408"/>
                  <a:pt x="778905" y="762336"/>
                </a:cubicBezTo>
                <a:cubicBezTo>
                  <a:pt x="777538" y="762336"/>
                  <a:pt x="776170" y="761532"/>
                  <a:pt x="775193" y="760193"/>
                </a:cubicBezTo>
                <a:cubicBezTo>
                  <a:pt x="774510" y="759255"/>
                  <a:pt x="774021" y="757916"/>
                  <a:pt x="773826" y="756576"/>
                </a:cubicBezTo>
                <a:cubicBezTo>
                  <a:pt x="773435" y="756308"/>
                  <a:pt x="773142" y="755906"/>
                  <a:pt x="772751" y="755504"/>
                </a:cubicBezTo>
                <a:cubicBezTo>
                  <a:pt x="772067" y="754567"/>
                  <a:pt x="771579" y="753227"/>
                  <a:pt x="771286" y="751888"/>
                </a:cubicBezTo>
                <a:cubicBezTo>
                  <a:pt x="770895" y="751620"/>
                  <a:pt x="770602" y="751218"/>
                  <a:pt x="770212" y="750816"/>
                </a:cubicBezTo>
                <a:cubicBezTo>
                  <a:pt x="769235" y="749476"/>
                  <a:pt x="768649" y="747601"/>
                  <a:pt x="768649" y="745726"/>
                </a:cubicBezTo>
                <a:lnTo>
                  <a:pt x="768649" y="742377"/>
                </a:lnTo>
                <a:cubicBezTo>
                  <a:pt x="768649" y="742377"/>
                  <a:pt x="767965" y="741707"/>
                  <a:pt x="767770" y="741305"/>
                </a:cubicBezTo>
                <a:cubicBezTo>
                  <a:pt x="767183" y="740635"/>
                  <a:pt x="766793" y="739698"/>
                  <a:pt x="766597" y="738760"/>
                </a:cubicBezTo>
                <a:lnTo>
                  <a:pt x="764155" y="738760"/>
                </a:lnTo>
                <a:cubicBezTo>
                  <a:pt x="762788" y="738760"/>
                  <a:pt x="761420" y="737956"/>
                  <a:pt x="760443" y="736617"/>
                </a:cubicBezTo>
                <a:cubicBezTo>
                  <a:pt x="759760" y="735545"/>
                  <a:pt x="759174" y="734340"/>
                  <a:pt x="758978" y="732866"/>
                </a:cubicBezTo>
                <a:cubicBezTo>
                  <a:pt x="758588" y="732598"/>
                  <a:pt x="758294" y="732196"/>
                  <a:pt x="758001" y="731794"/>
                </a:cubicBezTo>
                <a:cubicBezTo>
                  <a:pt x="757513" y="731125"/>
                  <a:pt x="757025" y="730187"/>
                  <a:pt x="756829" y="729115"/>
                </a:cubicBezTo>
                <a:lnTo>
                  <a:pt x="754387" y="729115"/>
                </a:lnTo>
                <a:cubicBezTo>
                  <a:pt x="753020" y="729115"/>
                  <a:pt x="751652" y="728312"/>
                  <a:pt x="750675" y="726972"/>
                </a:cubicBezTo>
                <a:cubicBezTo>
                  <a:pt x="750089" y="726168"/>
                  <a:pt x="749699" y="725365"/>
                  <a:pt x="749406" y="724293"/>
                </a:cubicBezTo>
                <a:lnTo>
                  <a:pt x="746964" y="724293"/>
                </a:lnTo>
                <a:cubicBezTo>
                  <a:pt x="745596" y="724293"/>
                  <a:pt x="744229" y="723489"/>
                  <a:pt x="743252" y="722150"/>
                </a:cubicBezTo>
                <a:cubicBezTo>
                  <a:pt x="742666" y="721480"/>
                  <a:pt x="742275" y="720542"/>
                  <a:pt x="742080" y="719471"/>
                </a:cubicBezTo>
                <a:cubicBezTo>
                  <a:pt x="740712" y="719471"/>
                  <a:pt x="739345" y="718667"/>
                  <a:pt x="738368" y="717327"/>
                </a:cubicBezTo>
                <a:cubicBezTo>
                  <a:pt x="737879" y="716657"/>
                  <a:pt x="737391" y="715720"/>
                  <a:pt x="737196" y="714648"/>
                </a:cubicBezTo>
                <a:cubicBezTo>
                  <a:pt x="735828" y="714648"/>
                  <a:pt x="734460" y="713844"/>
                  <a:pt x="733484" y="712505"/>
                </a:cubicBezTo>
                <a:cubicBezTo>
                  <a:pt x="732995" y="711701"/>
                  <a:pt x="732507" y="710897"/>
                  <a:pt x="732311" y="709960"/>
                </a:cubicBezTo>
                <a:lnTo>
                  <a:pt x="727427" y="709960"/>
                </a:lnTo>
                <a:cubicBezTo>
                  <a:pt x="726060" y="709960"/>
                  <a:pt x="724692" y="709156"/>
                  <a:pt x="723716" y="707816"/>
                </a:cubicBezTo>
                <a:cubicBezTo>
                  <a:pt x="722739" y="706477"/>
                  <a:pt x="722153" y="704602"/>
                  <a:pt x="722153" y="702726"/>
                </a:cubicBezTo>
                <a:lnTo>
                  <a:pt x="722153" y="700583"/>
                </a:lnTo>
                <a:lnTo>
                  <a:pt x="715120" y="700583"/>
                </a:lnTo>
                <a:cubicBezTo>
                  <a:pt x="713752" y="700583"/>
                  <a:pt x="712385" y="699779"/>
                  <a:pt x="711408" y="698440"/>
                </a:cubicBezTo>
                <a:cubicBezTo>
                  <a:pt x="710822" y="697770"/>
                  <a:pt x="710431" y="696832"/>
                  <a:pt x="710236" y="695895"/>
                </a:cubicBezTo>
                <a:lnTo>
                  <a:pt x="702910" y="695895"/>
                </a:lnTo>
                <a:cubicBezTo>
                  <a:pt x="701542" y="695895"/>
                  <a:pt x="700175" y="695091"/>
                  <a:pt x="699198" y="693751"/>
                </a:cubicBezTo>
                <a:cubicBezTo>
                  <a:pt x="698709" y="693081"/>
                  <a:pt x="698221" y="692144"/>
                  <a:pt x="698026" y="691206"/>
                </a:cubicBezTo>
                <a:cubicBezTo>
                  <a:pt x="696658" y="691206"/>
                  <a:pt x="695291" y="690402"/>
                  <a:pt x="694314" y="689063"/>
                </a:cubicBezTo>
                <a:cubicBezTo>
                  <a:pt x="693825" y="688393"/>
                  <a:pt x="693337" y="687455"/>
                  <a:pt x="693142" y="686518"/>
                </a:cubicBezTo>
                <a:lnTo>
                  <a:pt x="683276" y="686518"/>
                </a:lnTo>
                <a:cubicBezTo>
                  <a:pt x="681908" y="686518"/>
                  <a:pt x="680541" y="685714"/>
                  <a:pt x="679564" y="684374"/>
                </a:cubicBezTo>
                <a:cubicBezTo>
                  <a:pt x="678978" y="683705"/>
                  <a:pt x="678587" y="682767"/>
                  <a:pt x="678392" y="681695"/>
                </a:cubicBezTo>
                <a:lnTo>
                  <a:pt x="670968" y="681695"/>
                </a:lnTo>
                <a:cubicBezTo>
                  <a:pt x="669600" y="681695"/>
                  <a:pt x="668233" y="680892"/>
                  <a:pt x="667256" y="679552"/>
                </a:cubicBezTo>
                <a:cubicBezTo>
                  <a:pt x="666768" y="678882"/>
                  <a:pt x="666279" y="677945"/>
                  <a:pt x="666084" y="677007"/>
                </a:cubicBezTo>
                <a:lnTo>
                  <a:pt x="663642" y="677007"/>
                </a:lnTo>
                <a:cubicBezTo>
                  <a:pt x="662274" y="677007"/>
                  <a:pt x="660907" y="676203"/>
                  <a:pt x="659930" y="674864"/>
                </a:cubicBezTo>
                <a:cubicBezTo>
                  <a:pt x="658953" y="673524"/>
                  <a:pt x="658367" y="671649"/>
                  <a:pt x="658367" y="669773"/>
                </a:cubicBezTo>
                <a:lnTo>
                  <a:pt x="658367" y="661736"/>
                </a:lnTo>
                <a:cubicBezTo>
                  <a:pt x="658367" y="661736"/>
                  <a:pt x="657684" y="661066"/>
                  <a:pt x="657390" y="660664"/>
                </a:cubicBezTo>
                <a:cubicBezTo>
                  <a:pt x="656902" y="659995"/>
                  <a:pt x="656414" y="659057"/>
                  <a:pt x="656218" y="658119"/>
                </a:cubicBezTo>
                <a:lnTo>
                  <a:pt x="656218" y="658119"/>
                </a:lnTo>
                <a:cubicBezTo>
                  <a:pt x="654851" y="658119"/>
                  <a:pt x="653483" y="657316"/>
                  <a:pt x="652506" y="655976"/>
                </a:cubicBezTo>
                <a:cubicBezTo>
                  <a:pt x="652018" y="655306"/>
                  <a:pt x="651530" y="654369"/>
                  <a:pt x="651334" y="653431"/>
                </a:cubicBezTo>
                <a:lnTo>
                  <a:pt x="651334" y="653431"/>
                </a:lnTo>
                <a:cubicBezTo>
                  <a:pt x="649967" y="653431"/>
                  <a:pt x="648599" y="652627"/>
                  <a:pt x="647622" y="651288"/>
                </a:cubicBezTo>
                <a:cubicBezTo>
                  <a:pt x="646939" y="650350"/>
                  <a:pt x="646450" y="649010"/>
                  <a:pt x="646157" y="647671"/>
                </a:cubicBezTo>
                <a:cubicBezTo>
                  <a:pt x="645766" y="647403"/>
                  <a:pt x="645473" y="647001"/>
                  <a:pt x="645180" y="646599"/>
                </a:cubicBezTo>
                <a:cubicBezTo>
                  <a:pt x="644692" y="645929"/>
                  <a:pt x="644204" y="644992"/>
                  <a:pt x="644008" y="644054"/>
                </a:cubicBezTo>
                <a:lnTo>
                  <a:pt x="631798" y="644054"/>
                </a:lnTo>
                <a:cubicBezTo>
                  <a:pt x="630431" y="644054"/>
                  <a:pt x="629063" y="643250"/>
                  <a:pt x="628086" y="641911"/>
                </a:cubicBezTo>
                <a:cubicBezTo>
                  <a:pt x="627598" y="641241"/>
                  <a:pt x="627109" y="640303"/>
                  <a:pt x="626914" y="639232"/>
                </a:cubicBezTo>
                <a:lnTo>
                  <a:pt x="624472" y="639232"/>
                </a:lnTo>
                <a:cubicBezTo>
                  <a:pt x="623105" y="639232"/>
                  <a:pt x="621737" y="638428"/>
                  <a:pt x="620760" y="637088"/>
                </a:cubicBezTo>
                <a:cubicBezTo>
                  <a:pt x="620076" y="636151"/>
                  <a:pt x="619588" y="634811"/>
                  <a:pt x="619393" y="633472"/>
                </a:cubicBezTo>
                <a:cubicBezTo>
                  <a:pt x="619002" y="633204"/>
                  <a:pt x="618611" y="632802"/>
                  <a:pt x="618318" y="632400"/>
                </a:cubicBezTo>
                <a:cubicBezTo>
                  <a:pt x="617341" y="631060"/>
                  <a:pt x="616755" y="629185"/>
                  <a:pt x="616755" y="627310"/>
                </a:cubicBezTo>
                <a:lnTo>
                  <a:pt x="616755" y="620344"/>
                </a:lnTo>
                <a:lnTo>
                  <a:pt x="614606" y="620344"/>
                </a:lnTo>
                <a:cubicBezTo>
                  <a:pt x="613239" y="620344"/>
                  <a:pt x="611871" y="619540"/>
                  <a:pt x="610895" y="618201"/>
                </a:cubicBezTo>
                <a:cubicBezTo>
                  <a:pt x="610406" y="617531"/>
                  <a:pt x="609918" y="616593"/>
                  <a:pt x="609722" y="615656"/>
                </a:cubicBezTo>
                <a:lnTo>
                  <a:pt x="609722" y="615656"/>
                </a:lnTo>
                <a:cubicBezTo>
                  <a:pt x="608355" y="615656"/>
                  <a:pt x="606987" y="614852"/>
                  <a:pt x="606010" y="613512"/>
                </a:cubicBezTo>
                <a:cubicBezTo>
                  <a:pt x="605034" y="612173"/>
                  <a:pt x="604448" y="610298"/>
                  <a:pt x="604448" y="608422"/>
                </a:cubicBezTo>
                <a:lnTo>
                  <a:pt x="604448" y="601590"/>
                </a:lnTo>
                <a:lnTo>
                  <a:pt x="597415" y="601590"/>
                </a:lnTo>
                <a:cubicBezTo>
                  <a:pt x="596047" y="601590"/>
                  <a:pt x="594679" y="600787"/>
                  <a:pt x="593703" y="599447"/>
                </a:cubicBezTo>
                <a:cubicBezTo>
                  <a:pt x="593117" y="598643"/>
                  <a:pt x="592726" y="597840"/>
                  <a:pt x="592531" y="596768"/>
                </a:cubicBezTo>
                <a:lnTo>
                  <a:pt x="590089" y="596768"/>
                </a:lnTo>
                <a:cubicBezTo>
                  <a:pt x="588721" y="596768"/>
                  <a:pt x="587353" y="595964"/>
                  <a:pt x="586377" y="594625"/>
                </a:cubicBezTo>
                <a:cubicBezTo>
                  <a:pt x="585693" y="593687"/>
                  <a:pt x="585205" y="592482"/>
                  <a:pt x="585009" y="591142"/>
                </a:cubicBezTo>
                <a:cubicBezTo>
                  <a:pt x="584618" y="590874"/>
                  <a:pt x="584325" y="590472"/>
                  <a:pt x="583935" y="590070"/>
                </a:cubicBezTo>
                <a:cubicBezTo>
                  <a:pt x="583446" y="589401"/>
                  <a:pt x="582958" y="588463"/>
                  <a:pt x="582762" y="587391"/>
                </a:cubicBezTo>
                <a:lnTo>
                  <a:pt x="568110" y="587391"/>
                </a:lnTo>
                <a:cubicBezTo>
                  <a:pt x="566743" y="587391"/>
                  <a:pt x="565375" y="586588"/>
                  <a:pt x="564399" y="585248"/>
                </a:cubicBezTo>
                <a:cubicBezTo>
                  <a:pt x="563910" y="584578"/>
                  <a:pt x="563422" y="583641"/>
                  <a:pt x="563226" y="582703"/>
                </a:cubicBezTo>
                <a:lnTo>
                  <a:pt x="558342" y="582703"/>
                </a:lnTo>
                <a:cubicBezTo>
                  <a:pt x="556975" y="582703"/>
                  <a:pt x="555607" y="581899"/>
                  <a:pt x="554630" y="580560"/>
                </a:cubicBezTo>
                <a:cubicBezTo>
                  <a:pt x="553947" y="579622"/>
                  <a:pt x="553458" y="578282"/>
                  <a:pt x="553165" y="576943"/>
                </a:cubicBezTo>
                <a:cubicBezTo>
                  <a:pt x="552775" y="576675"/>
                  <a:pt x="552481" y="576273"/>
                  <a:pt x="552091" y="575871"/>
                </a:cubicBezTo>
                <a:cubicBezTo>
                  <a:pt x="551407" y="574933"/>
                  <a:pt x="550919" y="573728"/>
                  <a:pt x="550626" y="572254"/>
                </a:cubicBezTo>
                <a:cubicBezTo>
                  <a:pt x="550235" y="571986"/>
                  <a:pt x="549942" y="571585"/>
                  <a:pt x="549551" y="571183"/>
                </a:cubicBezTo>
                <a:cubicBezTo>
                  <a:pt x="549063" y="570513"/>
                  <a:pt x="548574" y="569575"/>
                  <a:pt x="548379" y="568638"/>
                </a:cubicBezTo>
                <a:lnTo>
                  <a:pt x="545937" y="568638"/>
                </a:lnTo>
                <a:cubicBezTo>
                  <a:pt x="544569" y="568638"/>
                  <a:pt x="543202" y="567834"/>
                  <a:pt x="542225" y="566494"/>
                </a:cubicBezTo>
                <a:cubicBezTo>
                  <a:pt x="541639" y="565691"/>
                  <a:pt x="541248" y="564887"/>
                  <a:pt x="541053" y="563815"/>
                </a:cubicBezTo>
                <a:cubicBezTo>
                  <a:pt x="539685" y="563815"/>
                  <a:pt x="538318" y="563011"/>
                  <a:pt x="537341" y="561672"/>
                </a:cubicBezTo>
                <a:cubicBezTo>
                  <a:pt x="536853" y="561002"/>
                  <a:pt x="536364" y="560065"/>
                  <a:pt x="536169" y="559127"/>
                </a:cubicBezTo>
                <a:lnTo>
                  <a:pt x="526303" y="559127"/>
                </a:lnTo>
                <a:cubicBezTo>
                  <a:pt x="524936" y="559127"/>
                  <a:pt x="523568" y="558323"/>
                  <a:pt x="522591" y="556984"/>
                </a:cubicBezTo>
                <a:cubicBezTo>
                  <a:pt x="521907" y="556046"/>
                  <a:pt x="521419" y="554706"/>
                  <a:pt x="521126" y="553367"/>
                </a:cubicBezTo>
                <a:cubicBezTo>
                  <a:pt x="520735" y="553099"/>
                  <a:pt x="520442" y="552697"/>
                  <a:pt x="520052" y="552295"/>
                </a:cubicBezTo>
                <a:cubicBezTo>
                  <a:pt x="519075" y="550956"/>
                  <a:pt x="518489" y="549080"/>
                  <a:pt x="518489" y="547205"/>
                </a:cubicBezTo>
                <a:lnTo>
                  <a:pt x="518489" y="545062"/>
                </a:lnTo>
                <a:lnTo>
                  <a:pt x="513995" y="545062"/>
                </a:lnTo>
                <a:cubicBezTo>
                  <a:pt x="512628" y="545062"/>
                  <a:pt x="511260" y="544258"/>
                  <a:pt x="510283" y="542918"/>
                </a:cubicBezTo>
                <a:cubicBezTo>
                  <a:pt x="509307" y="541579"/>
                  <a:pt x="508721" y="539703"/>
                  <a:pt x="508721" y="537828"/>
                </a:cubicBezTo>
                <a:lnTo>
                  <a:pt x="508721" y="535685"/>
                </a:lnTo>
                <a:lnTo>
                  <a:pt x="506572" y="535685"/>
                </a:lnTo>
                <a:cubicBezTo>
                  <a:pt x="505204" y="535685"/>
                  <a:pt x="503837" y="534881"/>
                  <a:pt x="502860" y="533541"/>
                </a:cubicBezTo>
                <a:cubicBezTo>
                  <a:pt x="501883" y="532202"/>
                  <a:pt x="501297" y="530327"/>
                  <a:pt x="501297" y="528451"/>
                </a:cubicBezTo>
                <a:lnTo>
                  <a:pt x="501297" y="525236"/>
                </a:lnTo>
                <a:cubicBezTo>
                  <a:pt x="501297" y="525236"/>
                  <a:pt x="500613" y="524567"/>
                  <a:pt x="500418" y="524165"/>
                </a:cubicBezTo>
                <a:cubicBezTo>
                  <a:pt x="499734" y="523227"/>
                  <a:pt x="499246" y="522021"/>
                  <a:pt x="499050" y="520682"/>
                </a:cubicBezTo>
                <a:cubicBezTo>
                  <a:pt x="498659" y="520414"/>
                  <a:pt x="498269" y="520012"/>
                  <a:pt x="497976" y="519610"/>
                </a:cubicBezTo>
                <a:cubicBezTo>
                  <a:pt x="497487" y="518940"/>
                  <a:pt x="496999" y="518003"/>
                  <a:pt x="496804" y="517065"/>
                </a:cubicBezTo>
                <a:lnTo>
                  <a:pt x="484496" y="517065"/>
                </a:lnTo>
                <a:cubicBezTo>
                  <a:pt x="483128" y="517065"/>
                  <a:pt x="481761" y="516261"/>
                  <a:pt x="480784" y="514922"/>
                </a:cubicBezTo>
                <a:cubicBezTo>
                  <a:pt x="480296" y="514252"/>
                  <a:pt x="479807" y="513314"/>
                  <a:pt x="479612" y="512377"/>
                </a:cubicBezTo>
                <a:lnTo>
                  <a:pt x="479612" y="512377"/>
                </a:lnTo>
                <a:cubicBezTo>
                  <a:pt x="478244" y="512377"/>
                  <a:pt x="476877" y="511573"/>
                  <a:pt x="475900" y="510233"/>
                </a:cubicBezTo>
                <a:cubicBezTo>
                  <a:pt x="474923" y="508894"/>
                  <a:pt x="474337" y="507018"/>
                  <a:pt x="474337" y="505143"/>
                </a:cubicBezTo>
                <a:lnTo>
                  <a:pt x="474337" y="501928"/>
                </a:lnTo>
                <a:cubicBezTo>
                  <a:pt x="474337" y="501928"/>
                  <a:pt x="473653" y="501258"/>
                  <a:pt x="473458" y="500990"/>
                </a:cubicBezTo>
                <a:cubicBezTo>
                  <a:pt x="472969" y="500321"/>
                  <a:pt x="472579" y="499383"/>
                  <a:pt x="472286" y="498445"/>
                </a:cubicBezTo>
                <a:lnTo>
                  <a:pt x="459978" y="498445"/>
                </a:lnTo>
                <a:cubicBezTo>
                  <a:pt x="458610" y="498445"/>
                  <a:pt x="457243" y="497642"/>
                  <a:pt x="456266" y="496302"/>
                </a:cubicBezTo>
                <a:cubicBezTo>
                  <a:pt x="455778" y="495632"/>
                  <a:pt x="455289" y="494695"/>
                  <a:pt x="455094" y="493757"/>
                </a:cubicBezTo>
                <a:lnTo>
                  <a:pt x="445228" y="493757"/>
                </a:lnTo>
                <a:cubicBezTo>
                  <a:pt x="443861" y="493757"/>
                  <a:pt x="442493" y="492953"/>
                  <a:pt x="441516" y="491614"/>
                </a:cubicBezTo>
                <a:cubicBezTo>
                  <a:pt x="440540" y="490274"/>
                  <a:pt x="439953" y="488399"/>
                  <a:pt x="439953" y="486523"/>
                </a:cubicBezTo>
                <a:lnTo>
                  <a:pt x="439953" y="483308"/>
                </a:lnTo>
                <a:cubicBezTo>
                  <a:pt x="439953" y="483308"/>
                  <a:pt x="439270" y="482639"/>
                  <a:pt x="439074" y="482371"/>
                </a:cubicBezTo>
                <a:cubicBezTo>
                  <a:pt x="438391" y="481433"/>
                  <a:pt x="437902" y="480094"/>
                  <a:pt x="437707" y="478888"/>
                </a:cubicBezTo>
                <a:cubicBezTo>
                  <a:pt x="437316" y="478620"/>
                  <a:pt x="436925" y="478218"/>
                  <a:pt x="436632" y="477816"/>
                </a:cubicBezTo>
                <a:cubicBezTo>
                  <a:pt x="435655" y="476477"/>
                  <a:pt x="435069" y="474601"/>
                  <a:pt x="435069" y="472726"/>
                </a:cubicBezTo>
                <a:lnTo>
                  <a:pt x="435069" y="469511"/>
                </a:lnTo>
                <a:cubicBezTo>
                  <a:pt x="435069" y="469511"/>
                  <a:pt x="434386" y="468841"/>
                  <a:pt x="434190" y="468573"/>
                </a:cubicBezTo>
                <a:cubicBezTo>
                  <a:pt x="433702" y="467904"/>
                  <a:pt x="433213" y="466966"/>
                  <a:pt x="433018" y="466028"/>
                </a:cubicBezTo>
                <a:lnTo>
                  <a:pt x="428134" y="466028"/>
                </a:lnTo>
                <a:cubicBezTo>
                  <a:pt x="426767" y="466028"/>
                  <a:pt x="425399" y="465225"/>
                  <a:pt x="424422" y="463885"/>
                </a:cubicBezTo>
                <a:cubicBezTo>
                  <a:pt x="423738" y="462947"/>
                  <a:pt x="423250" y="461608"/>
                  <a:pt x="422957" y="460268"/>
                </a:cubicBezTo>
                <a:cubicBezTo>
                  <a:pt x="422566" y="460000"/>
                  <a:pt x="422273" y="459598"/>
                  <a:pt x="421883" y="459197"/>
                </a:cubicBezTo>
                <a:cubicBezTo>
                  <a:pt x="421199" y="458259"/>
                  <a:pt x="420710" y="457053"/>
                  <a:pt x="420515" y="455580"/>
                </a:cubicBezTo>
                <a:cubicBezTo>
                  <a:pt x="420124" y="455312"/>
                  <a:pt x="419831" y="454910"/>
                  <a:pt x="419440" y="454508"/>
                </a:cubicBezTo>
                <a:cubicBezTo>
                  <a:pt x="418757" y="453571"/>
                  <a:pt x="418268" y="452231"/>
                  <a:pt x="417975" y="450891"/>
                </a:cubicBezTo>
                <a:cubicBezTo>
                  <a:pt x="417585" y="450624"/>
                  <a:pt x="417292" y="450222"/>
                  <a:pt x="416901" y="449820"/>
                </a:cubicBezTo>
                <a:cubicBezTo>
                  <a:pt x="416217" y="448882"/>
                  <a:pt x="415729" y="447676"/>
                  <a:pt x="415533" y="446337"/>
                </a:cubicBezTo>
                <a:cubicBezTo>
                  <a:pt x="415143" y="446069"/>
                  <a:pt x="414752" y="445667"/>
                  <a:pt x="414459" y="445265"/>
                </a:cubicBezTo>
                <a:cubicBezTo>
                  <a:pt x="413775" y="444328"/>
                  <a:pt x="413287" y="443122"/>
                  <a:pt x="413091" y="441783"/>
                </a:cubicBezTo>
                <a:cubicBezTo>
                  <a:pt x="412701" y="441515"/>
                  <a:pt x="412407" y="441113"/>
                  <a:pt x="412017" y="440711"/>
                </a:cubicBezTo>
                <a:cubicBezTo>
                  <a:pt x="411528" y="440041"/>
                  <a:pt x="411040" y="439103"/>
                  <a:pt x="410845" y="438166"/>
                </a:cubicBezTo>
                <a:lnTo>
                  <a:pt x="405961" y="438166"/>
                </a:lnTo>
                <a:cubicBezTo>
                  <a:pt x="404593" y="438166"/>
                  <a:pt x="403226" y="437362"/>
                  <a:pt x="402249" y="436022"/>
                </a:cubicBezTo>
                <a:cubicBezTo>
                  <a:pt x="401565" y="435085"/>
                  <a:pt x="401077" y="433745"/>
                  <a:pt x="400784" y="432406"/>
                </a:cubicBezTo>
                <a:cubicBezTo>
                  <a:pt x="400393" y="432138"/>
                  <a:pt x="400100" y="431736"/>
                  <a:pt x="399709" y="431334"/>
                </a:cubicBezTo>
                <a:cubicBezTo>
                  <a:pt x="399025" y="430396"/>
                  <a:pt x="398537" y="429191"/>
                  <a:pt x="398244" y="427851"/>
                </a:cubicBezTo>
                <a:cubicBezTo>
                  <a:pt x="397853" y="427583"/>
                  <a:pt x="397560" y="427181"/>
                  <a:pt x="397169" y="426780"/>
                </a:cubicBezTo>
                <a:cubicBezTo>
                  <a:pt x="396681" y="426110"/>
                  <a:pt x="396193" y="425172"/>
                  <a:pt x="395997" y="424234"/>
                </a:cubicBezTo>
                <a:lnTo>
                  <a:pt x="393555" y="424234"/>
                </a:lnTo>
                <a:cubicBezTo>
                  <a:pt x="392188" y="424234"/>
                  <a:pt x="390820" y="423431"/>
                  <a:pt x="389843" y="422091"/>
                </a:cubicBezTo>
                <a:cubicBezTo>
                  <a:pt x="389355" y="421421"/>
                  <a:pt x="388866" y="420484"/>
                  <a:pt x="388671" y="419546"/>
                </a:cubicBezTo>
                <a:lnTo>
                  <a:pt x="388671" y="419546"/>
                </a:lnTo>
                <a:cubicBezTo>
                  <a:pt x="387304" y="419546"/>
                  <a:pt x="385936" y="418742"/>
                  <a:pt x="384959" y="417403"/>
                </a:cubicBezTo>
                <a:cubicBezTo>
                  <a:pt x="384471" y="416733"/>
                  <a:pt x="383982" y="415795"/>
                  <a:pt x="383787" y="414858"/>
                </a:cubicBezTo>
                <a:lnTo>
                  <a:pt x="383787" y="414858"/>
                </a:lnTo>
                <a:cubicBezTo>
                  <a:pt x="382420" y="414858"/>
                  <a:pt x="381052" y="414054"/>
                  <a:pt x="380075" y="412714"/>
                </a:cubicBezTo>
                <a:cubicBezTo>
                  <a:pt x="379391" y="411777"/>
                  <a:pt x="378903" y="410437"/>
                  <a:pt x="378708" y="409098"/>
                </a:cubicBezTo>
                <a:cubicBezTo>
                  <a:pt x="378317" y="408830"/>
                  <a:pt x="378024" y="408428"/>
                  <a:pt x="377633" y="408026"/>
                </a:cubicBezTo>
                <a:cubicBezTo>
                  <a:pt x="377145" y="407356"/>
                  <a:pt x="376656" y="406418"/>
                  <a:pt x="376461" y="405481"/>
                </a:cubicBezTo>
                <a:lnTo>
                  <a:pt x="371479" y="405481"/>
                </a:lnTo>
                <a:cubicBezTo>
                  <a:pt x="370112" y="405481"/>
                  <a:pt x="368744" y="404677"/>
                  <a:pt x="367767" y="403338"/>
                </a:cubicBezTo>
                <a:cubicBezTo>
                  <a:pt x="367084" y="402400"/>
                  <a:pt x="366595" y="401194"/>
                  <a:pt x="366302" y="399721"/>
                </a:cubicBezTo>
                <a:cubicBezTo>
                  <a:pt x="365912" y="399453"/>
                  <a:pt x="365619" y="399051"/>
                  <a:pt x="365228" y="398649"/>
                </a:cubicBezTo>
                <a:cubicBezTo>
                  <a:pt x="364251" y="397310"/>
                  <a:pt x="363665" y="395434"/>
                  <a:pt x="363665" y="393559"/>
                </a:cubicBezTo>
                <a:lnTo>
                  <a:pt x="363665" y="390344"/>
                </a:lnTo>
                <a:cubicBezTo>
                  <a:pt x="363665" y="390344"/>
                  <a:pt x="363079" y="389674"/>
                  <a:pt x="362786" y="389272"/>
                </a:cubicBezTo>
                <a:cubicBezTo>
                  <a:pt x="362297" y="388603"/>
                  <a:pt x="361809" y="387665"/>
                  <a:pt x="361614" y="386727"/>
                </a:cubicBezTo>
                <a:lnTo>
                  <a:pt x="361614" y="386727"/>
                </a:lnTo>
                <a:cubicBezTo>
                  <a:pt x="360246" y="386727"/>
                  <a:pt x="358879" y="385923"/>
                  <a:pt x="357902" y="384584"/>
                </a:cubicBezTo>
                <a:cubicBezTo>
                  <a:pt x="357413" y="383914"/>
                  <a:pt x="356925" y="382976"/>
                  <a:pt x="356730" y="382039"/>
                </a:cubicBezTo>
                <a:lnTo>
                  <a:pt x="356730" y="382039"/>
                </a:lnTo>
                <a:cubicBezTo>
                  <a:pt x="355362" y="382039"/>
                  <a:pt x="353994" y="381235"/>
                  <a:pt x="353018" y="379895"/>
                </a:cubicBezTo>
                <a:cubicBezTo>
                  <a:pt x="352041" y="378556"/>
                  <a:pt x="351455" y="376681"/>
                  <a:pt x="351455" y="374805"/>
                </a:cubicBezTo>
                <a:lnTo>
                  <a:pt x="351455" y="371590"/>
                </a:lnTo>
                <a:cubicBezTo>
                  <a:pt x="351455" y="371590"/>
                  <a:pt x="350771" y="370920"/>
                  <a:pt x="350576" y="370653"/>
                </a:cubicBezTo>
                <a:cubicBezTo>
                  <a:pt x="349599" y="369313"/>
                  <a:pt x="349013" y="367438"/>
                  <a:pt x="349013" y="365562"/>
                </a:cubicBezTo>
                <a:lnTo>
                  <a:pt x="349013" y="363419"/>
                </a:lnTo>
                <a:lnTo>
                  <a:pt x="344422" y="363419"/>
                </a:lnTo>
                <a:cubicBezTo>
                  <a:pt x="343054" y="363419"/>
                  <a:pt x="341687" y="362615"/>
                  <a:pt x="340710" y="361276"/>
                </a:cubicBezTo>
                <a:cubicBezTo>
                  <a:pt x="340026" y="360338"/>
                  <a:pt x="339538" y="358999"/>
                  <a:pt x="339245" y="357659"/>
                </a:cubicBezTo>
                <a:cubicBezTo>
                  <a:pt x="338854" y="357391"/>
                  <a:pt x="338561" y="356989"/>
                  <a:pt x="338170" y="356587"/>
                </a:cubicBezTo>
                <a:cubicBezTo>
                  <a:pt x="337486" y="355650"/>
                  <a:pt x="336998" y="354310"/>
                  <a:pt x="336705" y="352971"/>
                </a:cubicBezTo>
                <a:cubicBezTo>
                  <a:pt x="336314" y="352703"/>
                  <a:pt x="336021" y="352301"/>
                  <a:pt x="335728" y="351899"/>
                </a:cubicBezTo>
                <a:cubicBezTo>
                  <a:pt x="335044" y="350961"/>
                  <a:pt x="334556" y="349756"/>
                  <a:pt x="334361" y="348416"/>
                </a:cubicBezTo>
                <a:cubicBezTo>
                  <a:pt x="333970" y="348148"/>
                  <a:pt x="333677" y="347746"/>
                  <a:pt x="333286" y="347344"/>
                </a:cubicBezTo>
                <a:cubicBezTo>
                  <a:pt x="332309" y="346005"/>
                  <a:pt x="331723" y="344130"/>
                  <a:pt x="331723" y="342254"/>
                </a:cubicBezTo>
                <a:lnTo>
                  <a:pt x="331723" y="340111"/>
                </a:lnTo>
                <a:lnTo>
                  <a:pt x="327132" y="340111"/>
                </a:lnTo>
                <a:cubicBezTo>
                  <a:pt x="325765" y="340111"/>
                  <a:pt x="324397" y="339307"/>
                  <a:pt x="323420" y="337968"/>
                </a:cubicBezTo>
                <a:cubicBezTo>
                  <a:pt x="322932" y="337298"/>
                  <a:pt x="322444" y="336360"/>
                  <a:pt x="322248" y="335423"/>
                </a:cubicBezTo>
                <a:lnTo>
                  <a:pt x="314825" y="335423"/>
                </a:lnTo>
                <a:cubicBezTo>
                  <a:pt x="313457" y="335423"/>
                  <a:pt x="312090" y="334619"/>
                  <a:pt x="311113" y="333279"/>
                </a:cubicBezTo>
                <a:cubicBezTo>
                  <a:pt x="310624" y="332609"/>
                  <a:pt x="310136" y="331672"/>
                  <a:pt x="309941" y="330734"/>
                </a:cubicBezTo>
                <a:lnTo>
                  <a:pt x="305057" y="330734"/>
                </a:lnTo>
                <a:cubicBezTo>
                  <a:pt x="303689" y="330734"/>
                  <a:pt x="302321" y="329930"/>
                  <a:pt x="301345" y="328591"/>
                </a:cubicBezTo>
                <a:cubicBezTo>
                  <a:pt x="300368" y="327251"/>
                  <a:pt x="299782" y="325376"/>
                  <a:pt x="299782" y="323501"/>
                </a:cubicBezTo>
                <a:lnTo>
                  <a:pt x="299782" y="320286"/>
                </a:lnTo>
                <a:cubicBezTo>
                  <a:pt x="299782" y="320286"/>
                  <a:pt x="299098" y="319616"/>
                  <a:pt x="298903" y="319214"/>
                </a:cubicBezTo>
                <a:cubicBezTo>
                  <a:pt x="298414" y="318544"/>
                  <a:pt x="297926" y="317607"/>
                  <a:pt x="297730" y="316669"/>
                </a:cubicBezTo>
                <a:lnTo>
                  <a:pt x="292749" y="316669"/>
                </a:lnTo>
                <a:cubicBezTo>
                  <a:pt x="291381" y="316669"/>
                  <a:pt x="290014" y="315865"/>
                  <a:pt x="289037" y="314526"/>
                </a:cubicBezTo>
                <a:cubicBezTo>
                  <a:pt x="288451" y="313856"/>
                  <a:pt x="288060" y="312918"/>
                  <a:pt x="287865" y="311980"/>
                </a:cubicBezTo>
                <a:lnTo>
                  <a:pt x="287865" y="311980"/>
                </a:lnTo>
                <a:cubicBezTo>
                  <a:pt x="286497" y="311980"/>
                  <a:pt x="285130" y="311177"/>
                  <a:pt x="284153" y="309837"/>
                </a:cubicBezTo>
                <a:cubicBezTo>
                  <a:pt x="283176" y="308498"/>
                  <a:pt x="282590" y="306622"/>
                  <a:pt x="282590" y="304747"/>
                </a:cubicBezTo>
                <a:lnTo>
                  <a:pt x="282590" y="302738"/>
                </a:lnTo>
                <a:lnTo>
                  <a:pt x="278097" y="302738"/>
                </a:lnTo>
                <a:cubicBezTo>
                  <a:pt x="276729" y="302738"/>
                  <a:pt x="275362" y="301934"/>
                  <a:pt x="274385" y="300594"/>
                </a:cubicBezTo>
                <a:cubicBezTo>
                  <a:pt x="273896" y="299925"/>
                  <a:pt x="273408" y="298987"/>
                  <a:pt x="273213" y="298049"/>
                </a:cubicBezTo>
                <a:lnTo>
                  <a:pt x="268231" y="298049"/>
                </a:lnTo>
                <a:cubicBezTo>
                  <a:pt x="266863" y="298049"/>
                  <a:pt x="265496" y="297245"/>
                  <a:pt x="264519" y="295906"/>
                </a:cubicBezTo>
                <a:cubicBezTo>
                  <a:pt x="263542" y="294566"/>
                  <a:pt x="262956" y="292691"/>
                  <a:pt x="262956" y="290816"/>
                </a:cubicBezTo>
                <a:lnTo>
                  <a:pt x="262956" y="283984"/>
                </a:lnTo>
                <a:cubicBezTo>
                  <a:pt x="261686" y="283984"/>
                  <a:pt x="260416" y="283180"/>
                  <a:pt x="259537" y="281841"/>
                </a:cubicBezTo>
                <a:cubicBezTo>
                  <a:pt x="258561" y="280501"/>
                  <a:pt x="257974" y="278626"/>
                  <a:pt x="257974" y="276750"/>
                </a:cubicBezTo>
                <a:lnTo>
                  <a:pt x="257974" y="273535"/>
                </a:lnTo>
                <a:cubicBezTo>
                  <a:pt x="257974" y="273535"/>
                  <a:pt x="257291" y="272866"/>
                  <a:pt x="257095" y="272464"/>
                </a:cubicBezTo>
                <a:cubicBezTo>
                  <a:pt x="256119" y="271124"/>
                  <a:pt x="255532" y="269249"/>
                  <a:pt x="255532" y="267374"/>
                </a:cubicBezTo>
                <a:lnTo>
                  <a:pt x="255532" y="265230"/>
                </a:lnTo>
                <a:cubicBezTo>
                  <a:pt x="254263" y="265230"/>
                  <a:pt x="253090" y="264427"/>
                  <a:pt x="252114" y="263087"/>
                </a:cubicBezTo>
                <a:cubicBezTo>
                  <a:pt x="251625" y="262417"/>
                  <a:pt x="251235" y="261480"/>
                  <a:pt x="250941" y="260542"/>
                </a:cubicBezTo>
                <a:lnTo>
                  <a:pt x="250941" y="260542"/>
                </a:lnTo>
                <a:cubicBezTo>
                  <a:pt x="249574" y="260542"/>
                  <a:pt x="248206" y="259738"/>
                  <a:pt x="247230" y="258399"/>
                </a:cubicBezTo>
                <a:cubicBezTo>
                  <a:pt x="246253" y="257059"/>
                  <a:pt x="245667" y="255184"/>
                  <a:pt x="245667" y="253308"/>
                </a:cubicBezTo>
                <a:lnTo>
                  <a:pt x="245667" y="245405"/>
                </a:lnTo>
                <a:cubicBezTo>
                  <a:pt x="245667" y="245405"/>
                  <a:pt x="244983" y="244735"/>
                  <a:pt x="244788" y="244467"/>
                </a:cubicBezTo>
                <a:cubicBezTo>
                  <a:pt x="243811" y="243128"/>
                  <a:pt x="243225" y="241252"/>
                  <a:pt x="243225" y="239377"/>
                </a:cubicBezTo>
                <a:lnTo>
                  <a:pt x="243225" y="236162"/>
                </a:lnTo>
                <a:cubicBezTo>
                  <a:pt x="243225" y="236162"/>
                  <a:pt x="242541" y="235492"/>
                  <a:pt x="242248" y="235090"/>
                </a:cubicBezTo>
                <a:cubicBezTo>
                  <a:pt x="241564" y="234153"/>
                  <a:pt x="241076" y="232947"/>
                  <a:pt x="240880" y="231608"/>
                </a:cubicBezTo>
                <a:cubicBezTo>
                  <a:pt x="240490" y="231340"/>
                  <a:pt x="240197" y="230938"/>
                  <a:pt x="239806" y="230536"/>
                </a:cubicBezTo>
                <a:cubicBezTo>
                  <a:pt x="239317" y="229866"/>
                  <a:pt x="238829" y="228929"/>
                  <a:pt x="238634" y="227991"/>
                </a:cubicBezTo>
                <a:lnTo>
                  <a:pt x="238634" y="227991"/>
                </a:lnTo>
                <a:cubicBezTo>
                  <a:pt x="237266" y="227991"/>
                  <a:pt x="235899" y="227187"/>
                  <a:pt x="234922" y="225848"/>
                </a:cubicBezTo>
                <a:cubicBezTo>
                  <a:pt x="234238" y="224910"/>
                  <a:pt x="233750" y="223570"/>
                  <a:pt x="233554" y="222231"/>
                </a:cubicBezTo>
                <a:cubicBezTo>
                  <a:pt x="233164" y="221963"/>
                  <a:pt x="232773" y="221561"/>
                  <a:pt x="232480" y="221159"/>
                </a:cubicBezTo>
                <a:cubicBezTo>
                  <a:pt x="231991" y="220489"/>
                  <a:pt x="231601" y="219686"/>
                  <a:pt x="231308" y="218748"/>
                </a:cubicBezTo>
                <a:lnTo>
                  <a:pt x="231308" y="218748"/>
                </a:lnTo>
                <a:cubicBezTo>
                  <a:pt x="229940" y="218748"/>
                  <a:pt x="228573" y="217944"/>
                  <a:pt x="227596" y="216605"/>
                </a:cubicBezTo>
                <a:cubicBezTo>
                  <a:pt x="227107" y="215935"/>
                  <a:pt x="226619" y="214997"/>
                  <a:pt x="226424" y="214060"/>
                </a:cubicBezTo>
                <a:lnTo>
                  <a:pt x="216656" y="214060"/>
                </a:lnTo>
                <a:cubicBezTo>
                  <a:pt x="215288" y="214060"/>
                  <a:pt x="213921" y="213256"/>
                  <a:pt x="212944" y="211916"/>
                </a:cubicBezTo>
                <a:cubicBezTo>
                  <a:pt x="211967" y="210577"/>
                  <a:pt x="211381" y="208701"/>
                  <a:pt x="211381" y="206826"/>
                </a:cubicBezTo>
                <a:lnTo>
                  <a:pt x="211381" y="204683"/>
                </a:lnTo>
                <a:lnTo>
                  <a:pt x="206790" y="204683"/>
                </a:lnTo>
                <a:cubicBezTo>
                  <a:pt x="205422" y="204683"/>
                  <a:pt x="204055" y="203879"/>
                  <a:pt x="203078" y="202539"/>
                </a:cubicBezTo>
                <a:cubicBezTo>
                  <a:pt x="202394" y="201602"/>
                  <a:pt x="201906" y="200396"/>
                  <a:pt x="201710" y="198923"/>
                </a:cubicBezTo>
                <a:cubicBezTo>
                  <a:pt x="201320" y="198655"/>
                  <a:pt x="200929" y="198253"/>
                  <a:pt x="200636" y="197851"/>
                </a:cubicBezTo>
                <a:cubicBezTo>
                  <a:pt x="199659" y="196512"/>
                  <a:pt x="199073" y="194636"/>
                  <a:pt x="199073" y="192761"/>
                </a:cubicBezTo>
                <a:lnTo>
                  <a:pt x="199073" y="189546"/>
                </a:lnTo>
                <a:cubicBezTo>
                  <a:pt x="199073" y="189546"/>
                  <a:pt x="198389" y="188876"/>
                  <a:pt x="198096" y="188474"/>
                </a:cubicBezTo>
                <a:cubicBezTo>
                  <a:pt x="197412" y="187537"/>
                  <a:pt x="196924" y="186331"/>
                  <a:pt x="196729" y="184991"/>
                </a:cubicBezTo>
                <a:cubicBezTo>
                  <a:pt x="196338" y="184723"/>
                  <a:pt x="196045" y="184322"/>
                  <a:pt x="195654" y="183920"/>
                </a:cubicBezTo>
                <a:cubicBezTo>
                  <a:pt x="194970" y="182982"/>
                  <a:pt x="194482" y="181643"/>
                  <a:pt x="194287" y="180437"/>
                </a:cubicBezTo>
                <a:cubicBezTo>
                  <a:pt x="193896" y="180169"/>
                  <a:pt x="193603" y="179767"/>
                  <a:pt x="193212" y="179365"/>
                </a:cubicBezTo>
                <a:cubicBezTo>
                  <a:pt x="192528" y="178428"/>
                  <a:pt x="192040" y="177222"/>
                  <a:pt x="191845" y="175882"/>
                </a:cubicBezTo>
                <a:cubicBezTo>
                  <a:pt x="191454" y="175615"/>
                  <a:pt x="191063" y="175213"/>
                  <a:pt x="190770" y="174811"/>
                </a:cubicBezTo>
                <a:cubicBezTo>
                  <a:pt x="189793" y="173471"/>
                  <a:pt x="189207" y="171596"/>
                  <a:pt x="189207" y="169721"/>
                </a:cubicBezTo>
                <a:lnTo>
                  <a:pt x="189207" y="162889"/>
                </a:lnTo>
                <a:cubicBezTo>
                  <a:pt x="187937" y="162889"/>
                  <a:pt x="186765" y="162085"/>
                  <a:pt x="185788" y="160746"/>
                </a:cubicBezTo>
                <a:cubicBezTo>
                  <a:pt x="185105" y="159808"/>
                  <a:pt x="184616" y="158602"/>
                  <a:pt x="184421" y="157263"/>
                </a:cubicBezTo>
                <a:cubicBezTo>
                  <a:pt x="184030" y="156995"/>
                  <a:pt x="183737" y="156593"/>
                  <a:pt x="183346" y="156191"/>
                </a:cubicBezTo>
                <a:cubicBezTo>
                  <a:pt x="182663" y="155253"/>
                  <a:pt x="182174" y="154048"/>
                  <a:pt x="181979" y="152708"/>
                </a:cubicBezTo>
                <a:cubicBezTo>
                  <a:pt x="181588" y="152440"/>
                  <a:pt x="181198" y="152039"/>
                  <a:pt x="180904" y="151637"/>
                </a:cubicBezTo>
                <a:cubicBezTo>
                  <a:pt x="179928" y="150297"/>
                  <a:pt x="179342" y="148422"/>
                  <a:pt x="179342" y="146546"/>
                </a:cubicBezTo>
                <a:lnTo>
                  <a:pt x="179342" y="143331"/>
                </a:lnTo>
                <a:cubicBezTo>
                  <a:pt x="179342" y="143331"/>
                  <a:pt x="178658" y="142662"/>
                  <a:pt x="178462" y="142260"/>
                </a:cubicBezTo>
                <a:cubicBezTo>
                  <a:pt x="177974" y="141590"/>
                  <a:pt x="177486" y="140652"/>
                  <a:pt x="177290" y="139715"/>
                </a:cubicBezTo>
                <a:lnTo>
                  <a:pt x="174848" y="139715"/>
                </a:lnTo>
                <a:cubicBezTo>
                  <a:pt x="173481" y="139715"/>
                  <a:pt x="172113" y="138911"/>
                  <a:pt x="171136" y="137571"/>
                </a:cubicBezTo>
                <a:cubicBezTo>
                  <a:pt x="170160" y="136232"/>
                  <a:pt x="169574" y="134357"/>
                  <a:pt x="169574" y="132481"/>
                </a:cubicBezTo>
                <a:lnTo>
                  <a:pt x="169574" y="129266"/>
                </a:lnTo>
                <a:cubicBezTo>
                  <a:pt x="169574" y="129266"/>
                  <a:pt x="168890" y="128596"/>
                  <a:pt x="168694" y="128195"/>
                </a:cubicBezTo>
                <a:cubicBezTo>
                  <a:pt x="168206" y="127525"/>
                  <a:pt x="167718" y="126587"/>
                  <a:pt x="167522" y="125649"/>
                </a:cubicBezTo>
                <a:lnTo>
                  <a:pt x="165080" y="125649"/>
                </a:lnTo>
                <a:cubicBezTo>
                  <a:pt x="163713" y="125649"/>
                  <a:pt x="162345" y="124846"/>
                  <a:pt x="161368" y="123506"/>
                </a:cubicBezTo>
                <a:cubicBezTo>
                  <a:pt x="160685" y="122569"/>
                  <a:pt x="160196" y="121363"/>
                  <a:pt x="160001" y="120023"/>
                </a:cubicBezTo>
                <a:cubicBezTo>
                  <a:pt x="159610" y="119755"/>
                  <a:pt x="159317" y="119354"/>
                  <a:pt x="158926" y="118952"/>
                </a:cubicBezTo>
                <a:cubicBezTo>
                  <a:pt x="158243" y="118014"/>
                  <a:pt x="157754" y="116675"/>
                  <a:pt x="157559" y="115335"/>
                </a:cubicBezTo>
                <a:cubicBezTo>
                  <a:pt x="157168" y="115067"/>
                  <a:pt x="156777" y="114665"/>
                  <a:pt x="156484" y="114263"/>
                </a:cubicBezTo>
                <a:cubicBezTo>
                  <a:pt x="155996" y="113594"/>
                  <a:pt x="155605" y="112656"/>
                  <a:pt x="155312" y="111718"/>
                </a:cubicBezTo>
                <a:lnTo>
                  <a:pt x="152870" y="111718"/>
                </a:lnTo>
                <a:cubicBezTo>
                  <a:pt x="151503" y="111718"/>
                  <a:pt x="150135" y="110914"/>
                  <a:pt x="149158" y="109575"/>
                </a:cubicBezTo>
                <a:cubicBezTo>
                  <a:pt x="148670" y="108905"/>
                  <a:pt x="148279" y="107967"/>
                  <a:pt x="147986" y="107030"/>
                </a:cubicBezTo>
                <a:lnTo>
                  <a:pt x="140562" y="107030"/>
                </a:lnTo>
                <a:cubicBezTo>
                  <a:pt x="139195" y="107030"/>
                  <a:pt x="137827" y="106226"/>
                  <a:pt x="136851" y="104887"/>
                </a:cubicBezTo>
                <a:cubicBezTo>
                  <a:pt x="136264" y="104217"/>
                  <a:pt x="135874" y="103279"/>
                  <a:pt x="135678" y="102341"/>
                </a:cubicBezTo>
                <a:lnTo>
                  <a:pt x="133236" y="102341"/>
                </a:lnTo>
                <a:cubicBezTo>
                  <a:pt x="131869" y="102341"/>
                  <a:pt x="130501" y="101538"/>
                  <a:pt x="129524" y="100198"/>
                </a:cubicBezTo>
                <a:cubicBezTo>
                  <a:pt x="128841" y="99260"/>
                  <a:pt x="128352" y="97921"/>
                  <a:pt x="128059" y="96715"/>
                </a:cubicBezTo>
                <a:cubicBezTo>
                  <a:pt x="127669" y="96447"/>
                  <a:pt x="127376" y="96046"/>
                  <a:pt x="126985" y="95644"/>
                </a:cubicBezTo>
                <a:cubicBezTo>
                  <a:pt x="126496" y="94974"/>
                  <a:pt x="126106" y="94036"/>
                  <a:pt x="125813" y="93232"/>
                </a:cubicBezTo>
                <a:lnTo>
                  <a:pt x="120831" y="93232"/>
                </a:lnTo>
                <a:cubicBezTo>
                  <a:pt x="119463" y="93232"/>
                  <a:pt x="118096" y="92429"/>
                  <a:pt x="117119" y="91089"/>
                </a:cubicBezTo>
                <a:cubicBezTo>
                  <a:pt x="116435" y="90151"/>
                  <a:pt x="115947" y="88946"/>
                  <a:pt x="115752" y="87606"/>
                </a:cubicBezTo>
                <a:cubicBezTo>
                  <a:pt x="115361" y="87338"/>
                  <a:pt x="115068" y="86937"/>
                  <a:pt x="114677" y="86535"/>
                </a:cubicBezTo>
                <a:cubicBezTo>
                  <a:pt x="113700" y="85195"/>
                  <a:pt x="113114" y="83320"/>
                  <a:pt x="113114" y="81444"/>
                </a:cubicBezTo>
                <a:lnTo>
                  <a:pt x="113114" y="79301"/>
                </a:lnTo>
                <a:cubicBezTo>
                  <a:pt x="111844" y="79301"/>
                  <a:pt x="110574" y="78497"/>
                  <a:pt x="109695" y="77158"/>
                </a:cubicBezTo>
                <a:cubicBezTo>
                  <a:pt x="109207" y="76488"/>
                  <a:pt x="108719" y="75550"/>
                  <a:pt x="108523" y="74613"/>
                </a:cubicBezTo>
                <a:lnTo>
                  <a:pt x="96313" y="74613"/>
                </a:lnTo>
                <a:cubicBezTo>
                  <a:pt x="94946" y="74613"/>
                  <a:pt x="93578" y="73809"/>
                  <a:pt x="92601" y="72469"/>
                </a:cubicBezTo>
                <a:cubicBezTo>
                  <a:pt x="91624" y="71130"/>
                  <a:pt x="91038" y="69255"/>
                  <a:pt x="91038" y="67379"/>
                </a:cubicBezTo>
                <a:lnTo>
                  <a:pt x="91038" y="64164"/>
                </a:lnTo>
                <a:cubicBezTo>
                  <a:pt x="91038" y="64164"/>
                  <a:pt x="90355" y="63495"/>
                  <a:pt x="90159" y="63093"/>
                </a:cubicBezTo>
                <a:cubicBezTo>
                  <a:pt x="89573" y="62423"/>
                  <a:pt x="89182" y="61485"/>
                  <a:pt x="88987" y="60548"/>
                </a:cubicBezTo>
                <a:lnTo>
                  <a:pt x="81661" y="60548"/>
                </a:lnTo>
                <a:cubicBezTo>
                  <a:pt x="80293" y="60548"/>
                  <a:pt x="78926" y="59744"/>
                  <a:pt x="77949" y="58404"/>
                </a:cubicBezTo>
                <a:cubicBezTo>
                  <a:pt x="77265" y="57467"/>
                  <a:pt x="76777" y="56261"/>
                  <a:pt x="76582" y="54921"/>
                </a:cubicBezTo>
                <a:cubicBezTo>
                  <a:pt x="76191" y="54654"/>
                  <a:pt x="75800" y="54252"/>
                  <a:pt x="75507" y="53850"/>
                </a:cubicBezTo>
                <a:cubicBezTo>
                  <a:pt x="74823" y="52912"/>
                  <a:pt x="74335" y="51707"/>
                  <a:pt x="74140" y="50367"/>
                </a:cubicBezTo>
                <a:cubicBezTo>
                  <a:pt x="73749" y="50099"/>
                  <a:pt x="73358" y="49697"/>
                  <a:pt x="73065" y="49295"/>
                </a:cubicBezTo>
                <a:cubicBezTo>
                  <a:pt x="72577" y="48626"/>
                  <a:pt x="72088" y="47688"/>
                  <a:pt x="71893" y="46750"/>
                </a:cubicBezTo>
                <a:lnTo>
                  <a:pt x="69451" y="46750"/>
                </a:lnTo>
                <a:cubicBezTo>
                  <a:pt x="68083" y="46750"/>
                  <a:pt x="66716" y="45946"/>
                  <a:pt x="65739" y="44607"/>
                </a:cubicBezTo>
                <a:cubicBezTo>
                  <a:pt x="65251" y="43937"/>
                  <a:pt x="64762" y="42999"/>
                  <a:pt x="64567" y="42062"/>
                </a:cubicBezTo>
                <a:lnTo>
                  <a:pt x="57143" y="42062"/>
                </a:lnTo>
                <a:cubicBezTo>
                  <a:pt x="55776" y="42062"/>
                  <a:pt x="54408" y="41258"/>
                  <a:pt x="53431" y="39918"/>
                </a:cubicBezTo>
                <a:cubicBezTo>
                  <a:pt x="52454" y="38579"/>
                  <a:pt x="51868" y="36704"/>
                  <a:pt x="51868" y="34828"/>
                </a:cubicBezTo>
                <a:lnTo>
                  <a:pt x="51868" y="32685"/>
                </a:lnTo>
                <a:lnTo>
                  <a:pt x="49719" y="32685"/>
                </a:lnTo>
                <a:cubicBezTo>
                  <a:pt x="48352" y="32685"/>
                  <a:pt x="46984" y="31881"/>
                  <a:pt x="46008" y="30542"/>
                </a:cubicBezTo>
                <a:cubicBezTo>
                  <a:pt x="45519" y="29872"/>
                  <a:pt x="45128" y="28934"/>
                  <a:pt x="44835" y="27997"/>
                </a:cubicBezTo>
                <a:lnTo>
                  <a:pt x="44835" y="27997"/>
                </a:lnTo>
                <a:cubicBezTo>
                  <a:pt x="43468" y="27997"/>
                  <a:pt x="42100" y="27193"/>
                  <a:pt x="41124" y="25853"/>
                </a:cubicBezTo>
                <a:cubicBezTo>
                  <a:pt x="40147" y="24514"/>
                  <a:pt x="39561" y="22638"/>
                  <a:pt x="39561" y="20763"/>
                </a:cubicBezTo>
                <a:lnTo>
                  <a:pt x="39561" y="18620"/>
                </a:lnTo>
                <a:lnTo>
                  <a:pt x="27644" y="18620"/>
                </a:lnTo>
                <a:lnTo>
                  <a:pt x="27644" y="6564"/>
                </a:lnTo>
                <a:lnTo>
                  <a:pt x="22369" y="6564"/>
                </a:lnTo>
                <a:lnTo>
                  <a:pt x="22369" y="4688"/>
                </a:lnTo>
                <a:lnTo>
                  <a:pt x="0" y="4688"/>
                </a:lnTo>
                <a:lnTo>
                  <a:pt x="0" y="0"/>
                </a:lnTo>
                <a:lnTo>
                  <a:pt x="34677" y="0"/>
                </a:lnTo>
                <a:lnTo>
                  <a:pt x="34677" y="4153"/>
                </a:lnTo>
                <a:lnTo>
                  <a:pt x="46594" y="4153"/>
                </a:lnTo>
                <a:cubicBezTo>
                  <a:pt x="47961" y="4153"/>
                  <a:pt x="49329" y="4956"/>
                  <a:pt x="50306" y="6296"/>
                </a:cubicBezTo>
                <a:cubicBezTo>
                  <a:pt x="51282" y="7635"/>
                  <a:pt x="51868" y="9511"/>
                  <a:pt x="51868" y="11386"/>
                </a:cubicBezTo>
                <a:lnTo>
                  <a:pt x="51868" y="13529"/>
                </a:lnTo>
                <a:cubicBezTo>
                  <a:pt x="53138" y="13529"/>
                  <a:pt x="54310" y="14333"/>
                  <a:pt x="55287" y="15673"/>
                </a:cubicBezTo>
                <a:cubicBezTo>
                  <a:pt x="55776" y="16342"/>
                  <a:pt x="56264" y="17280"/>
                  <a:pt x="56459" y="18218"/>
                </a:cubicBezTo>
                <a:lnTo>
                  <a:pt x="58901" y="18218"/>
                </a:lnTo>
                <a:cubicBezTo>
                  <a:pt x="60269" y="18218"/>
                  <a:pt x="61636" y="19022"/>
                  <a:pt x="62613" y="20361"/>
                </a:cubicBezTo>
                <a:cubicBezTo>
                  <a:pt x="63590" y="21701"/>
                  <a:pt x="64176" y="23576"/>
                  <a:pt x="64176" y="25451"/>
                </a:cubicBezTo>
                <a:lnTo>
                  <a:pt x="64176" y="27595"/>
                </a:lnTo>
                <a:lnTo>
                  <a:pt x="71209" y="27595"/>
                </a:lnTo>
                <a:cubicBezTo>
                  <a:pt x="72577" y="27595"/>
                  <a:pt x="73944" y="28398"/>
                  <a:pt x="74921" y="29738"/>
                </a:cubicBezTo>
                <a:cubicBezTo>
                  <a:pt x="75409" y="30408"/>
                  <a:pt x="75898" y="31345"/>
                  <a:pt x="76093" y="32283"/>
                </a:cubicBezTo>
                <a:lnTo>
                  <a:pt x="78535" y="32283"/>
                </a:lnTo>
                <a:cubicBezTo>
                  <a:pt x="79903" y="32283"/>
                  <a:pt x="81270" y="33087"/>
                  <a:pt x="82247" y="34426"/>
                </a:cubicBezTo>
                <a:cubicBezTo>
                  <a:pt x="82931" y="35364"/>
                  <a:pt x="83419" y="36570"/>
                  <a:pt x="83615" y="37909"/>
                </a:cubicBezTo>
                <a:cubicBezTo>
                  <a:pt x="84005" y="38177"/>
                  <a:pt x="84396" y="38579"/>
                  <a:pt x="84689" y="38981"/>
                </a:cubicBezTo>
                <a:cubicBezTo>
                  <a:pt x="85373" y="39918"/>
                  <a:pt x="85861" y="41124"/>
                  <a:pt x="86057" y="42464"/>
                </a:cubicBezTo>
                <a:cubicBezTo>
                  <a:pt x="86447" y="42732"/>
                  <a:pt x="86838" y="43133"/>
                  <a:pt x="87131" y="43535"/>
                </a:cubicBezTo>
                <a:cubicBezTo>
                  <a:pt x="87620" y="44205"/>
                  <a:pt x="88010" y="45143"/>
                  <a:pt x="88303" y="46080"/>
                </a:cubicBezTo>
                <a:lnTo>
                  <a:pt x="95727" y="46080"/>
                </a:lnTo>
                <a:cubicBezTo>
                  <a:pt x="97095" y="46080"/>
                  <a:pt x="98462" y="46884"/>
                  <a:pt x="99439" y="48224"/>
                </a:cubicBezTo>
                <a:cubicBezTo>
                  <a:pt x="100123" y="49161"/>
                  <a:pt x="100611" y="50501"/>
                  <a:pt x="100904" y="51840"/>
                </a:cubicBezTo>
                <a:cubicBezTo>
                  <a:pt x="101295" y="52108"/>
                  <a:pt x="101588" y="52510"/>
                  <a:pt x="101979" y="52912"/>
                </a:cubicBezTo>
                <a:cubicBezTo>
                  <a:pt x="102955" y="54252"/>
                  <a:pt x="103541" y="56127"/>
                  <a:pt x="103541" y="58002"/>
                </a:cubicBezTo>
                <a:lnTo>
                  <a:pt x="103541" y="60146"/>
                </a:lnTo>
                <a:lnTo>
                  <a:pt x="115458" y="60146"/>
                </a:lnTo>
                <a:cubicBezTo>
                  <a:pt x="116826" y="60146"/>
                  <a:pt x="118194" y="60949"/>
                  <a:pt x="119170" y="62289"/>
                </a:cubicBezTo>
                <a:cubicBezTo>
                  <a:pt x="119659" y="62959"/>
                  <a:pt x="120147" y="63896"/>
                  <a:pt x="120342" y="64834"/>
                </a:cubicBezTo>
                <a:lnTo>
                  <a:pt x="120342" y="64834"/>
                </a:lnTo>
                <a:cubicBezTo>
                  <a:pt x="121710" y="64834"/>
                  <a:pt x="123078" y="65638"/>
                  <a:pt x="124054" y="66977"/>
                </a:cubicBezTo>
                <a:cubicBezTo>
                  <a:pt x="125031" y="68317"/>
                  <a:pt x="125617" y="70192"/>
                  <a:pt x="125617" y="72068"/>
                </a:cubicBezTo>
                <a:lnTo>
                  <a:pt x="125617" y="75283"/>
                </a:lnTo>
                <a:cubicBezTo>
                  <a:pt x="125617" y="75283"/>
                  <a:pt x="126301" y="75952"/>
                  <a:pt x="126496" y="76354"/>
                </a:cubicBezTo>
                <a:cubicBezTo>
                  <a:pt x="126985" y="77024"/>
                  <a:pt x="127473" y="77962"/>
                  <a:pt x="127669" y="78899"/>
                </a:cubicBezTo>
                <a:lnTo>
                  <a:pt x="132553" y="78899"/>
                </a:lnTo>
                <a:cubicBezTo>
                  <a:pt x="133920" y="78899"/>
                  <a:pt x="135288" y="79703"/>
                  <a:pt x="136264" y="81043"/>
                </a:cubicBezTo>
                <a:cubicBezTo>
                  <a:pt x="136948" y="81980"/>
                  <a:pt x="137437" y="83186"/>
                  <a:pt x="137632" y="84525"/>
                </a:cubicBezTo>
                <a:cubicBezTo>
                  <a:pt x="138023" y="84793"/>
                  <a:pt x="138413" y="85195"/>
                  <a:pt x="138706" y="85597"/>
                </a:cubicBezTo>
                <a:cubicBezTo>
                  <a:pt x="139195" y="86267"/>
                  <a:pt x="139683" y="87204"/>
                  <a:pt x="139879" y="88142"/>
                </a:cubicBezTo>
                <a:lnTo>
                  <a:pt x="142321" y="88142"/>
                </a:lnTo>
                <a:cubicBezTo>
                  <a:pt x="143688" y="88142"/>
                  <a:pt x="145056" y="88946"/>
                  <a:pt x="146032" y="90285"/>
                </a:cubicBezTo>
                <a:cubicBezTo>
                  <a:pt x="146521" y="90955"/>
                  <a:pt x="147009" y="91893"/>
                  <a:pt x="147205" y="92831"/>
                </a:cubicBezTo>
                <a:lnTo>
                  <a:pt x="154628" y="92831"/>
                </a:lnTo>
                <a:cubicBezTo>
                  <a:pt x="155996" y="92831"/>
                  <a:pt x="157363" y="93634"/>
                  <a:pt x="158340" y="94974"/>
                </a:cubicBezTo>
                <a:cubicBezTo>
                  <a:pt x="158829" y="95644"/>
                  <a:pt x="159219" y="96581"/>
                  <a:pt x="159512" y="97519"/>
                </a:cubicBezTo>
                <a:lnTo>
                  <a:pt x="161954" y="97519"/>
                </a:lnTo>
                <a:cubicBezTo>
                  <a:pt x="163322" y="97519"/>
                  <a:pt x="164689" y="98323"/>
                  <a:pt x="165666" y="99662"/>
                </a:cubicBezTo>
                <a:cubicBezTo>
                  <a:pt x="166350" y="100600"/>
                  <a:pt x="166838" y="101806"/>
                  <a:pt x="167034" y="103279"/>
                </a:cubicBezTo>
                <a:cubicBezTo>
                  <a:pt x="167425" y="103547"/>
                  <a:pt x="167815" y="103949"/>
                  <a:pt x="168108" y="104351"/>
                </a:cubicBezTo>
                <a:cubicBezTo>
                  <a:pt x="168792" y="105288"/>
                  <a:pt x="169280" y="106628"/>
                  <a:pt x="169574" y="107967"/>
                </a:cubicBezTo>
                <a:cubicBezTo>
                  <a:pt x="169964" y="108235"/>
                  <a:pt x="170257" y="108637"/>
                  <a:pt x="170550" y="109039"/>
                </a:cubicBezTo>
                <a:cubicBezTo>
                  <a:pt x="171039" y="109709"/>
                  <a:pt x="171527" y="110647"/>
                  <a:pt x="171723" y="111584"/>
                </a:cubicBezTo>
                <a:lnTo>
                  <a:pt x="174165" y="111584"/>
                </a:lnTo>
                <a:cubicBezTo>
                  <a:pt x="175532" y="111584"/>
                  <a:pt x="176900" y="112388"/>
                  <a:pt x="177876" y="113728"/>
                </a:cubicBezTo>
                <a:cubicBezTo>
                  <a:pt x="178560" y="114665"/>
                  <a:pt x="179049" y="115871"/>
                  <a:pt x="179244" y="117210"/>
                </a:cubicBezTo>
                <a:cubicBezTo>
                  <a:pt x="179635" y="117478"/>
                  <a:pt x="179928" y="117880"/>
                  <a:pt x="180318" y="118282"/>
                </a:cubicBezTo>
                <a:cubicBezTo>
                  <a:pt x="181295" y="119622"/>
                  <a:pt x="181881" y="121497"/>
                  <a:pt x="181881" y="123372"/>
                </a:cubicBezTo>
                <a:lnTo>
                  <a:pt x="181881" y="125382"/>
                </a:lnTo>
                <a:lnTo>
                  <a:pt x="184030" y="125382"/>
                </a:lnTo>
                <a:cubicBezTo>
                  <a:pt x="185398" y="125382"/>
                  <a:pt x="186765" y="126185"/>
                  <a:pt x="187742" y="127525"/>
                </a:cubicBezTo>
                <a:cubicBezTo>
                  <a:pt x="188426" y="128463"/>
                  <a:pt x="188914" y="129668"/>
                  <a:pt x="189110" y="131008"/>
                </a:cubicBezTo>
                <a:cubicBezTo>
                  <a:pt x="189500" y="131276"/>
                  <a:pt x="189891" y="131677"/>
                  <a:pt x="190184" y="132079"/>
                </a:cubicBezTo>
                <a:cubicBezTo>
                  <a:pt x="191161" y="133419"/>
                  <a:pt x="191747" y="135294"/>
                  <a:pt x="191747" y="137170"/>
                </a:cubicBezTo>
                <a:lnTo>
                  <a:pt x="191747" y="140384"/>
                </a:lnTo>
                <a:cubicBezTo>
                  <a:pt x="191747" y="140384"/>
                  <a:pt x="192431" y="141054"/>
                  <a:pt x="192724" y="141456"/>
                </a:cubicBezTo>
                <a:cubicBezTo>
                  <a:pt x="193408" y="142394"/>
                  <a:pt x="193896" y="143599"/>
                  <a:pt x="194091" y="144939"/>
                </a:cubicBezTo>
                <a:cubicBezTo>
                  <a:pt x="194482" y="145207"/>
                  <a:pt x="194873" y="145609"/>
                  <a:pt x="195166" y="146011"/>
                </a:cubicBezTo>
                <a:cubicBezTo>
                  <a:pt x="195654" y="146680"/>
                  <a:pt x="196143" y="147618"/>
                  <a:pt x="196338" y="148556"/>
                </a:cubicBezTo>
                <a:lnTo>
                  <a:pt x="196338" y="148556"/>
                </a:lnTo>
                <a:cubicBezTo>
                  <a:pt x="197706" y="148556"/>
                  <a:pt x="199073" y="149359"/>
                  <a:pt x="200050" y="150699"/>
                </a:cubicBezTo>
                <a:cubicBezTo>
                  <a:pt x="201027" y="152039"/>
                  <a:pt x="201613" y="153914"/>
                  <a:pt x="201613" y="155789"/>
                </a:cubicBezTo>
                <a:lnTo>
                  <a:pt x="201613" y="163693"/>
                </a:lnTo>
                <a:cubicBezTo>
                  <a:pt x="201613" y="163693"/>
                  <a:pt x="202297" y="164362"/>
                  <a:pt x="202492" y="164764"/>
                </a:cubicBezTo>
                <a:cubicBezTo>
                  <a:pt x="203176" y="165702"/>
                  <a:pt x="203664" y="166908"/>
                  <a:pt x="203859" y="168247"/>
                </a:cubicBezTo>
                <a:cubicBezTo>
                  <a:pt x="204250" y="168515"/>
                  <a:pt x="204641" y="168917"/>
                  <a:pt x="204934" y="169319"/>
                </a:cubicBezTo>
                <a:cubicBezTo>
                  <a:pt x="205618" y="170256"/>
                  <a:pt x="206106" y="171462"/>
                  <a:pt x="206301" y="172802"/>
                </a:cubicBezTo>
                <a:cubicBezTo>
                  <a:pt x="206692" y="173069"/>
                  <a:pt x="206985" y="173471"/>
                  <a:pt x="207376" y="173873"/>
                </a:cubicBezTo>
                <a:cubicBezTo>
                  <a:pt x="208060" y="174811"/>
                  <a:pt x="208548" y="176016"/>
                  <a:pt x="208743" y="177356"/>
                </a:cubicBezTo>
                <a:cubicBezTo>
                  <a:pt x="209134" y="177624"/>
                  <a:pt x="209525" y="178026"/>
                  <a:pt x="209818" y="178428"/>
                </a:cubicBezTo>
                <a:cubicBezTo>
                  <a:pt x="210795" y="179767"/>
                  <a:pt x="211381" y="181643"/>
                  <a:pt x="211381" y="183518"/>
                </a:cubicBezTo>
                <a:lnTo>
                  <a:pt x="211381" y="186733"/>
                </a:lnTo>
                <a:cubicBezTo>
                  <a:pt x="211381" y="186733"/>
                  <a:pt x="212065" y="187403"/>
                  <a:pt x="212358" y="187804"/>
                </a:cubicBezTo>
                <a:cubicBezTo>
                  <a:pt x="212846" y="188474"/>
                  <a:pt x="213334" y="189412"/>
                  <a:pt x="213530" y="190350"/>
                </a:cubicBezTo>
                <a:lnTo>
                  <a:pt x="218414" y="190350"/>
                </a:lnTo>
                <a:cubicBezTo>
                  <a:pt x="219781" y="190350"/>
                  <a:pt x="221149" y="191153"/>
                  <a:pt x="222126" y="192493"/>
                </a:cubicBezTo>
                <a:cubicBezTo>
                  <a:pt x="223102" y="193832"/>
                  <a:pt x="223689" y="195708"/>
                  <a:pt x="223689" y="197583"/>
                </a:cubicBezTo>
                <a:lnTo>
                  <a:pt x="223689" y="199726"/>
                </a:lnTo>
                <a:lnTo>
                  <a:pt x="233164" y="199726"/>
                </a:lnTo>
                <a:cubicBezTo>
                  <a:pt x="234531" y="199726"/>
                  <a:pt x="235899" y="200530"/>
                  <a:pt x="236875" y="201870"/>
                </a:cubicBezTo>
                <a:cubicBezTo>
                  <a:pt x="237364" y="202539"/>
                  <a:pt x="237852" y="203477"/>
                  <a:pt x="238048" y="204415"/>
                </a:cubicBezTo>
                <a:lnTo>
                  <a:pt x="238048" y="204415"/>
                </a:lnTo>
                <a:cubicBezTo>
                  <a:pt x="239415" y="204415"/>
                  <a:pt x="240783" y="205219"/>
                  <a:pt x="241759" y="206558"/>
                </a:cubicBezTo>
                <a:cubicBezTo>
                  <a:pt x="242443" y="207496"/>
                  <a:pt x="242932" y="208701"/>
                  <a:pt x="243127" y="210041"/>
                </a:cubicBezTo>
                <a:cubicBezTo>
                  <a:pt x="243518" y="210309"/>
                  <a:pt x="243908" y="210711"/>
                  <a:pt x="244202" y="211113"/>
                </a:cubicBezTo>
                <a:cubicBezTo>
                  <a:pt x="244788" y="211782"/>
                  <a:pt x="245178" y="212720"/>
                  <a:pt x="245374" y="213658"/>
                </a:cubicBezTo>
                <a:cubicBezTo>
                  <a:pt x="246741" y="213658"/>
                  <a:pt x="248109" y="214461"/>
                  <a:pt x="249086" y="215801"/>
                </a:cubicBezTo>
                <a:cubicBezTo>
                  <a:pt x="249769" y="216739"/>
                  <a:pt x="250258" y="217944"/>
                  <a:pt x="250453" y="219284"/>
                </a:cubicBezTo>
                <a:cubicBezTo>
                  <a:pt x="250844" y="219552"/>
                  <a:pt x="251137" y="219954"/>
                  <a:pt x="251528" y="220355"/>
                </a:cubicBezTo>
                <a:cubicBezTo>
                  <a:pt x="252211" y="221293"/>
                  <a:pt x="252700" y="222499"/>
                  <a:pt x="252895" y="223838"/>
                </a:cubicBezTo>
                <a:cubicBezTo>
                  <a:pt x="253286" y="224106"/>
                  <a:pt x="253677" y="224508"/>
                  <a:pt x="253970" y="224910"/>
                </a:cubicBezTo>
                <a:cubicBezTo>
                  <a:pt x="254946" y="226249"/>
                  <a:pt x="255532" y="228125"/>
                  <a:pt x="255532" y="230000"/>
                </a:cubicBezTo>
                <a:lnTo>
                  <a:pt x="255532" y="233215"/>
                </a:lnTo>
                <a:cubicBezTo>
                  <a:pt x="255532" y="233215"/>
                  <a:pt x="256216" y="233885"/>
                  <a:pt x="256509" y="234287"/>
                </a:cubicBezTo>
                <a:cubicBezTo>
                  <a:pt x="257486" y="235626"/>
                  <a:pt x="258072" y="237502"/>
                  <a:pt x="258072" y="239377"/>
                </a:cubicBezTo>
                <a:lnTo>
                  <a:pt x="258072" y="246209"/>
                </a:lnTo>
                <a:cubicBezTo>
                  <a:pt x="259342" y="246209"/>
                  <a:pt x="260514" y="247012"/>
                  <a:pt x="261491" y="248352"/>
                </a:cubicBezTo>
                <a:cubicBezTo>
                  <a:pt x="261979" y="249022"/>
                  <a:pt x="262370" y="249959"/>
                  <a:pt x="262663" y="250897"/>
                </a:cubicBezTo>
                <a:lnTo>
                  <a:pt x="262663" y="250897"/>
                </a:lnTo>
                <a:cubicBezTo>
                  <a:pt x="264031" y="250897"/>
                  <a:pt x="265398" y="251701"/>
                  <a:pt x="266375" y="253040"/>
                </a:cubicBezTo>
                <a:cubicBezTo>
                  <a:pt x="267352" y="254380"/>
                  <a:pt x="267938" y="256255"/>
                  <a:pt x="267938" y="258131"/>
                </a:cubicBezTo>
                <a:lnTo>
                  <a:pt x="267938" y="261346"/>
                </a:lnTo>
                <a:cubicBezTo>
                  <a:pt x="267938" y="261346"/>
                  <a:pt x="268622" y="262015"/>
                  <a:pt x="268817" y="262283"/>
                </a:cubicBezTo>
                <a:cubicBezTo>
                  <a:pt x="269794" y="263623"/>
                  <a:pt x="270380" y="265498"/>
                  <a:pt x="270380" y="267374"/>
                </a:cubicBezTo>
                <a:lnTo>
                  <a:pt x="270380" y="269517"/>
                </a:lnTo>
                <a:cubicBezTo>
                  <a:pt x="271650" y="269517"/>
                  <a:pt x="272822" y="270321"/>
                  <a:pt x="273799" y="271660"/>
                </a:cubicBezTo>
                <a:cubicBezTo>
                  <a:pt x="274776" y="273000"/>
                  <a:pt x="275362" y="274875"/>
                  <a:pt x="275362" y="276750"/>
                </a:cubicBezTo>
                <a:lnTo>
                  <a:pt x="275362" y="283582"/>
                </a:lnTo>
                <a:lnTo>
                  <a:pt x="279953" y="283582"/>
                </a:lnTo>
                <a:cubicBezTo>
                  <a:pt x="281320" y="283582"/>
                  <a:pt x="282688" y="284386"/>
                  <a:pt x="283664" y="285725"/>
                </a:cubicBezTo>
                <a:cubicBezTo>
                  <a:pt x="284153" y="286395"/>
                  <a:pt x="284641" y="287333"/>
                  <a:pt x="284837" y="288270"/>
                </a:cubicBezTo>
                <a:lnTo>
                  <a:pt x="289721" y="288270"/>
                </a:lnTo>
                <a:cubicBezTo>
                  <a:pt x="291088" y="288270"/>
                  <a:pt x="292456" y="289074"/>
                  <a:pt x="293433" y="290414"/>
                </a:cubicBezTo>
                <a:cubicBezTo>
                  <a:pt x="294409" y="291753"/>
                  <a:pt x="294995" y="293629"/>
                  <a:pt x="294995" y="295504"/>
                </a:cubicBezTo>
                <a:lnTo>
                  <a:pt x="294995" y="297647"/>
                </a:lnTo>
                <a:cubicBezTo>
                  <a:pt x="296265" y="297647"/>
                  <a:pt x="297437" y="298451"/>
                  <a:pt x="298414" y="299791"/>
                </a:cubicBezTo>
                <a:cubicBezTo>
                  <a:pt x="298903" y="300460"/>
                  <a:pt x="299391" y="301398"/>
                  <a:pt x="299586" y="302336"/>
                </a:cubicBezTo>
                <a:lnTo>
                  <a:pt x="304470" y="302336"/>
                </a:lnTo>
                <a:cubicBezTo>
                  <a:pt x="305838" y="302336"/>
                  <a:pt x="307205" y="303139"/>
                  <a:pt x="308182" y="304479"/>
                </a:cubicBezTo>
                <a:cubicBezTo>
                  <a:pt x="308866" y="305417"/>
                  <a:pt x="309354" y="306622"/>
                  <a:pt x="309550" y="307962"/>
                </a:cubicBezTo>
                <a:cubicBezTo>
                  <a:pt x="309941" y="308230"/>
                  <a:pt x="310234" y="308632"/>
                  <a:pt x="310624" y="309033"/>
                </a:cubicBezTo>
                <a:cubicBezTo>
                  <a:pt x="311601" y="310373"/>
                  <a:pt x="312187" y="312248"/>
                  <a:pt x="312187" y="314124"/>
                </a:cubicBezTo>
                <a:lnTo>
                  <a:pt x="312187" y="316267"/>
                </a:lnTo>
                <a:lnTo>
                  <a:pt x="316778" y="316267"/>
                </a:lnTo>
                <a:cubicBezTo>
                  <a:pt x="318146" y="316267"/>
                  <a:pt x="319513" y="317071"/>
                  <a:pt x="320490" y="318410"/>
                </a:cubicBezTo>
                <a:cubicBezTo>
                  <a:pt x="320978" y="319080"/>
                  <a:pt x="321467" y="320018"/>
                  <a:pt x="321662" y="320955"/>
                </a:cubicBezTo>
                <a:lnTo>
                  <a:pt x="329086" y="320955"/>
                </a:lnTo>
                <a:cubicBezTo>
                  <a:pt x="330453" y="320955"/>
                  <a:pt x="331821" y="321759"/>
                  <a:pt x="332798" y="323099"/>
                </a:cubicBezTo>
                <a:cubicBezTo>
                  <a:pt x="333286" y="323768"/>
                  <a:pt x="333775" y="324706"/>
                  <a:pt x="333970" y="325644"/>
                </a:cubicBezTo>
                <a:lnTo>
                  <a:pt x="338952" y="325644"/>
                </a:lnTo>
                <a:cubicBezTo>
                  <a:pt x="340319" y="325644"/>
                  <a:pt x="341687" y="326448"/>
                  <a:pt x="342664" y="327787"/>
                </a:cubicBezTo>
                <a:cubicBezTo>
                  <a:pt x="343640" y="329127"/>
                  <a:pt x="344226" y="331002"/>
                  <a:pt x="344226" y="332877"/>
                </a:cubicBezTo>
                <a:lnTo>
                  <a:pt x="344226" y="336092"/>
                </a:lnTo>
                <a:cubicBezTo>
                  <a:pt x="344226" y="336092"/>
                  <a:pt x="344910" y="336762"/>
                  <a:pt x="345106" y="337164"/>
                </a:cubicBezTo>
                <a:cubicBezTo>
                  <a:pt x="345789" y="338102"/>
                  <a:pt x="346278" y="339441"/>
                  <a:pt x="346571" y="340781"/>
                </a:cubicBezTo>
                <a:cubicBezTo>
                  <a:pt x="346962" y="341049"/>
                  <a:pt x="347255" y="341450"/>
                  <a:pt x="347548" y="341852"/>
                </a:cubicBezTo>
                <a:cubicBezTo>
                  <a:pt x="348231" y="342790"/>
                  <a:pt x="348720" y="343996"/>
                  <a:pt x="349013" y="345469"/>
                </a:cubicBezTo>
                <a:cubicBezTo>
                  <a:pt x="349404" y="345737"/>
                  <a:pt x="349697" y="346139"/>
                  <a:pt x="350087" y="346541"/>
                </a:cubicBezTo>
                <a:cubicBezTo>
                  <a:pt x="350576" y="347211"/>
                  <a:pt x="351064" y="348148"/>
                  <a:pt x="351259" y="349086"/>
                </a:cubicBezTo>
                <a:lnTo>
                  <a:pt x="356143" y="349086"/>
                </a:lnTo>
                <a:cubicBezTo>
                  <a:pt x="357511" y="349086"/>
                  <a:pt x="358879" y="349890"/>
                  <a:pt x="359855" y="351229"/>
                </a:cubicBezTo>
                <a:cubicBezTo>
                  <a:pt x="360832" y="352569"/>
                  <a:pt x="361418" y="354444"/>
                  <a:pt x="361418" y="356319"/>
                </a:cubicBezTo>
                <a:lnTo>
                  <a:pt x="361418" y="359534"/>
                </a:lnTo>
                <a:cubicBezTo>
                  <a:pt x="361418" y="359534"/>
                  <a:pt x="362102" y="360204"/>
                  <a:pt x="362297" y="360472"/>
                </a:cubicBezTo>
                <a:cubicBezTo>
                  <a:pt x="363274" y="361812"/>
                  <a:pt x="363860" y="363687"/>
                  <a:pt x="363860" y="365562"/>
                </a:cubicBezTo>
                <a:lnTo>
                  <a:pt x="363860" y="367706"/>
                </a:lnTo>
                <a:cubicBezTo>
                  <a:pt x="365130" y="367706"/>
                  <a:pt x="366302" y="368509"/>
                  <a:pt x="367279" y="369849"/>
                </a:cubicBezTo>
                <a:cubicBezTo>
                  <a:pt x="367767" y="370519"/>
                  <a:pt x="368256" y="371456"/>
                  <a:pt x="368451" y="372394"/>
                </a:cubicBezTo>
                <a:lnTo>
                  <a:pt x="368451" y="372394"/>
                </a:lnTo>
                <a:cubicBezTo>
                  <a:pt x="369819" y="372394"/>
                  <a:pt x="371186" y="373198"/>
                  <a:pt x="372163" y="374537"/>
                </a:cubicBezTo>
                <a:cubicBezTo>
                  <a:pt x="372847" y="375475"/>
                  <a:pt x="373335" y="376814"/>
                  <a:pt x="373628" y="378154"/>
                </a:cubicBezTo>
                <a:cubicBezTo>
                  <a:pt x="374019" y="378422"/>
                  <a:pt x="374312" y="378824"/>
                  <a:pt x="374703" y="379226"/>
                </a:cubicBezTo>
                <a:cubicBezTo>
                  <a:pt x="375680" y="380565"/>
                  <a:pt x="376266" y="382441"/>
                  <a:pt x="376266" y="384316"/>
                </a:cubicBezTo>
                <a:lnTo>
                  <a:pt x="376266" y="387531"/>
                </a:lnTo>
                <a:cubicBezTo>
                  <a:pt x="376266" y="387531"/>
                  <a:pt x="376949" y="388201"/>
                  <a:pt x="377242" y="388603"/>
                </a:cubicBezTo>
                <a:cubicBezTo>
                  <a:pt x="377731" y="389272"/>
                  <a:pt x="378219" y="390210"/>
                  <a:pt x="378415" y="391148"/>
                </a:cubicBezTo>
                <a:lnTo>
                  <a:pt x="383396" y="391148"/>
                </a:lnTo>
                <a:cubicBezTo>
                  <a:pt x="384764" y="391148"/>
                  <a:pt x="386131" y="391951"/>
                  <a:pt x="387108" y="393291"/>
                </a:cubicBezTo>
                <a:cubicBezTo>
                  <a:pt x="387792" y="394229"/>
                  <a:pt x="388280" y="395568"/>
                  <a:pt x="388476" y="396774"/>
                </a:cubicBezTo>
                <a:cubicBezTo>
                  <a:pt x="388866" y="397042"/>
                  <a:pt x="389257" y="397444"/>
                  <a:pt x="389550" y="397845"/>
                </a:cubicBezTo>
                <a:cubicBezTo>
                  <a:pt x="390039" y="398515"/>
                  <a:pt x="390527" y="399453"/>
                  <a:pt x="390722" y="400391"/>
                </a:cubicBezTo>
                <a:lnTo>
                  <a:pt x="390722" y="400391"/>
                </a:lnTo>
                <a:cubicBezTo>
                  <a:pt x="392090" y="400391"/>
                  <a:pt x="393457" y="401194"/>
                  <a:pt x="394434" y="402534"/>
                </a:cubicBezTo>
                <a:cubicBezTo>
                  <a:pt x="394923" y="403204"/>
                  <a:pt x="395411" y="404141"/>
                  <a:pt x="395606" y="405079"/>
                </a:cubicBezTo>
                <a:lnTo>
                  <a:pt x="395606" y="405079"/>
                </a:lnTo>
                <a:cubicBezTo>
                  <a:pt x="396974" y="405079"/>
                  <a:pt x="398341" y="405883"/>
                  <a:pt x="399318" y="407222"/>
                </a:cubicBezTo>
                <a:cubicBezTo>
                  <a:pt x="399807" y="407892"/>
                  <a:pt x="400295" y="408830"/>
                  <a:pt x="400490" y="409767"/>
                </a:cubicBezTo>
                <a:lnTo>
                  <a:pt x="402932" y="409767"/>
                </a:lnTo>
                <a:cubicBezTo>
                  <a:pt x="404300" y="409767"/>
                  <a:pt x="405668" y="410571"/>
                  <a:pt x="406644" y="411911"/>
                </a:cubicBezTo>
                <a:cubicBezTo>
                  <a:pt x="407328" y="412848"/>
                  <a:pt x="407817" y="414054"/>
                  <a:pt x="408012" y="415393"/>
                </a:cubicBezTo>
                <a:cubicBezTo>
                  <a:pt x="408403" y="415661"/>
                  <a:pt x="408696" y="416063"/>
                  <a:pt x="409086" y="416465"/>
                </a:cubicBezTo>
                <a:cubicBezTo>
                  <a:pt x="409770" y="417403"/>
                  <a:pt x="410259" y="418742"/>
                  <a:pt x="410454" y="419948"/>
                </a:cubicBezTo>
                <a:cubicBezTo>
                  <a:pt x="410845" y="420216"/>
                  <a:pt x="411138" y="420618"/>
                  <a:pt x="411528" y="421020"/>
                </a:cubicBezTo>
                <a:cubicBezTo>
                  <a:pt x="412017" y="421689"/>
                  <a:pt x="412505" y="422627"/>
                  <a:pt x="412701" y="423565"/>
                </a:cubicBezTo>
                <a:lnTo>
                  <a:pt x="417585" y="423565"/>
                </a:lnTo>
                <a:cubicBezTo>
                  <a:pt x="418952" y="423565"/>
                  <a:pt x="420320" y="424368"/>
                  <a:pt x="421296" y="425708"/>
                </a:cubicBezTo>
                <a:cubicBezTo>
                  <a:pt x="421980" y="426646"/>
                  <a:pt x="422469" y="427851"/>
                  <a:pt x="422664" y="429191"/>
                </a:cubicBezTo>
                <a:cubicBezTo>
                  <a:pt x="423055" y="429459"/>
                  <a:pt x="423348" y="429861"/>
                  <a:pt x="423738" y="430262"/>
                </a:cubicBezTo>
                <a:cubicBezTo>
                  <a:pt x="424422" y="431200"/>
                  <a:pt x="424911" y="432406"/>
                  <a:pt x="425106" y="433745"/>
                </a:cubicBezTo>
                <a:cubicBezTo>
                  <a:pt x="425497" y="434013"/>
                  <a:pt x="425887" y="434415"/>
                  <a:pt x="426180" y="434817"/>
                </a:cubicBezTo>
                <a:cubicBezTo>
                  <a:pt x="426864" y="435755"/>
                  <a:pt x="427353" y="436960"/>
                  <a:pt x="427548" y="438300"/>
                </a:cubicBezTo>
                <a:cubicBezTo>
                  <a:pt x="427939" y="438568"/>
                  <a:pt x="428329" y="438969"/>
                  <a:pt x="428622" y="439371"/>
                </a:cubicBezTo>
                <a:cubicBezTo>
                  <a:pt x="429306" y="440309"/>
                  <a:pt x="429795" y="441649"/>
                  <a:pt x="429990" y="442988"/>
                </a:cubicBezTo>
                <a:cubicBezTo>
                  <a:pt x="430381" y="443256"/>
                  <a:pt x="430771" y="443658"/>
                  <a:pt x="431064" y="444060"/>
                </a:cubicBezTo>
                <a:cubicBezTo>
                  <a:pt x="431748" y="444997"/>
                  <a:pt x="432237" y="446337"/>
                  <a:pt x="432432" y="447676"/>
                </a:cubicBezTo>
                <a:cubicBezTo>
                  <a:pt x="432823" y="447944"/>
                  <a:pt x="433213" y="448346"/>
                  <a:pt x="433506" y="448748"/>
                </a:cubicBezTo>
                <a:cubicBezTo>
                  <a:pt x="433995" y="449418"/>
                  <a:pt x="434483" y="450356"/>
                  <a:pt x="434679" y="451427"/>
                </a:cubicBezTo>
                <a:lnTo>
                  <a:pt x="439563" y="451427"/>
                </a:lnTo>
                <a:cubicBezTo>
                  <a:pt x="440930" y="451427"/>
                  <a:pt x="442298" y="452231"/>
                  <a:pt x="443275" y="453571"/>
                </a:cubicBezTo>
                <a:cubicBezTo>
                  <a:pt x="443958" y="454508"/>
                  <a:pt x="444447" y="455848"/>
                  <a:pt x="444642" y="457187"/>
                </a:cubicBezTo>
                <a:cubicBezTo>
                  <a:pt x="445033" y="457455"/>
                  <a:pt x="445326" y="457857"/>
                  <a:pt x="445717" y="458259"/>
                </a:cubicBezTo>
                <a:cubicBezTo>
                  <a:pt x="446693" y="459598"/>
                  <a:pt x="447279" y="461474"/>
                  <a:pt x="447279" y="463349"/>
                </a:cubicBezTo>
                <a:lnTo>
                  <a:pt x="447279" y="466564"/>
                </a:lnTo>
                <a:cubicBezTo>
                  <a:pt x="447279" y="466564"/>
                  <a:pt x="447963" y="467234"/>
                  <a:pt x="448256" y="467636"/>
                </a:cubicBezTo>
                <a:cubicBezTo>
                  <a:pt x="448940" y="468573"/>
                  <a:pt x="449428" y="469779"/>
                  <a:pt x="449624" y="471119"/>
                </a:cubicBezTo>
                <a:cubicBezTo>
                  <a:pt x="450015" y="471386"/>
                  <a:pt x="450405" y="471788"/>
                  <a:pt x="450698" y="472190"/>
                </a:cubicBezTo>
                <a:cubicBezTo>
                  <a:pt x="451675" y="473530"/>
                  <a:pt x="452261" y="475405"/>
                  <a:pt x="452261" y="477281"/>
                </a:cubicBezTo>
                <a:lnTo>
                  <a:pt x="452261" y="479424"/>
                </a:lnTo>
                <a:lnTo>
                  <a:pt x="461736" y="479424"/>
                </a:lnTo>
                <a:cubicBezTo>
                  <a:pt x="463104" y="479424"/>
                  <a:pt x="464471" y="480227"/>
                  <a:pt x="465448" y="481567"/>
                </a:cubicBezTo>
                <a:cubicBezTo>
                  <a:pt x="465936" y="482237"/>
                  <a:pt x="466425" y="483174"/>
                  <a:pt x="466620" y="484112"/>
                </a:cubicBezTo>
                <a:lnTo>
                  <a:pt x="478830" y="484112"/>
                </a:lnTo>
                <a:cubicBezTo>
                  <a:pt x="480198" y="484112"/>
                  <a:pt x="481565" y="484916"/>
                  <a:pt x="482542" y="486255"/>
                </a:cubicBezTo>
                <a:cubicBezTo>
                  <a:pt x="483226" y="487193"/>
                  <a:pt x="483714" y="488533"/>
                  <a:pt x="483910" y="489872"/>
                </a:cubicBezTo>
                <a:cubicBezTo>
                  <a:pt x="484300" y="490140"/>
                  <a:pt x="484593" y="490542"/>
                  <a:pt x="484984" y="490944"/>
                </a:cubicBezTo>
                <a:cubicBezTo>
                  <a:pt x="485961" y="492283"/>
                  <a:pt x="486547" y="494159"/>
                  <a:pt x="486547" y="496034"/>
                </a:cubicBezTo>
                <a:lnTo>
                  <a:pt x="486547" y="498177"/>
                </a:lnTo>
                <a:cubicBezTo>
                  <a:pt x="487817" y="498177"/>
                  <a:pt x="488989" y="498981"/>
                  <a:pt x="489966" y="500321"/>
                </a:cubicBezTo>
                <a:cubicBezTo>
                  <a:pt x="490454" y="500990"/>
                  <a:pt x="490943" y="501928"/>
                  <a:pt x="491138" y="502866"/>
                </a:cubicBezTo>
                <a:lnTo>
                  <a:pt x="503446" y="502866"/>
                </a:lnTo>
                <a:cubicBezTo>
                  <a:pt x="504813" y="502866"/>
                  <a:pt x="506181" y="503670"/>
                  <a:pt x="507158" y="505009"/>
                </a:cubicBezTo>
                <a:cubicBezTo>
                  <a:pt x="507841" y="505947"/>
                  <a:pt x="508330" y="507286"/>
                  <a:pt x="508525" y="508626"/>
                </a:cubicBezTo>
                <a:cubicBezTo>
                  <a:pt x="508916" y="508894"/>
                  <a:pt x="509307" y="509296"/>
                  <a:pt x="509600" y="509698"/>
                </a:cubicBezTo>
                <a:cubicBezTo>
                  <a:pt x="510283" y="510635"/>
                  <a:pt x="510772" y="511841"/>
                  <a:pt x="511065" y="513180"/>
                </a:cubicBezTo>
                <a:cubicBezTo>
                  <a:pt x="511456" y="513448"/>
                  <a:pt x="511749" y="513850"/>
                  <a:pt x="512139" y="514252"/>
                </a:cubicBezTo>
                <a:cubicBezTo>
                  <a:pt x="513116" y="515592"/>
                  <a:pt x="513702" y="517467"/>
                  <a:pt x="513702" y="519342"/>
                </a:cubicBezTo>
                <a:lnTo>
                  <a:pt x="513702" y="521486"/>
                </a:lnTo>
                <a:lnTo>
                  <a:pt x="515851" y="521486"/>
                </a:lnTo>
                <a:cubicBezTo>
                  <a:pt x="517219" y="521486"/>
                  <a:pt x="518586" y="522289"/>
                  <a:pt x="519563" y="523629"/>
                </a:cubicBezTo>
                <a:cubicBezTo>
                  <a:pt x="520540" y="524968"/>
                  <a:pt x="521126" y="526844"/>
                  <a:pt x="521126" y="528719"/>
                </a:cubicBezTo>
                <a:lnTo>
                  <a:pt x="521126" y="530862"/>
                </a:lnTo>
                <a:lnTo>
                  <a:pt x="525619" y="530862"/>
                </a:lnTo>
                <a:cubicBezTo>
                  <a:pt x="526987" y="530862"/>
                  <a:pt x="528354" y="531666"/>
                  <a:pt x="529331" y="533006"/>
                </a:cubicBezTo>
                <a:cubicBezTo>
                  <a:pt x="530308" y="534345"/>
                  <a:pt x="530894" y="536221"/>
                  <a:pt x="530894" y="538096"/>
                </a:cubicBezTo>
                <a:lnTo>
                  <a:pt x="530894" y="541311"/>
                </a:lnTo>
                <a:cubicBezTo>
                  <a:pt x="530894" y="541311"/>
                  <a:pt x="531578" y="541981"/>
                  <a:pt x="531773" y="542382"/>
                </a:cubicBezTo>
                <a:cubicBezTo>
                  <a:pt x="532359" y="543186"/>
                  <a:pt x="532750" y="543990"/>
                  <a:pt x="532945" y="545062"/>
                </a:cubicBezTo>
                <a:lnTo>
                  <a:pt x="542713" y="545062"/>
                </a:lnTo>
                <a:cubicBezTo>
                  <a:pt x="544081" y="545062"/>
                  <a:pt x="545449" y="545865"/>
                  <a:pt x="546425" y="547205"/>
                </a:cubicBezTo>
                <a:cubicBezTo>
                  <a:pt x="546914" y="547875"/>
                  <a:pt x="547402" y="548812"/>
                  <a:pt x="547597" y="549750"/>
                </a:cubicBezTo>
                <a:lnTo>
                  <a:pt x="547597" y="549750"/>
                </a:lnTo>
                <a:cubicBezTo>
                  <a:pt x="548965" y="549750"/>
                  <a:pt x="550333" y="550554"/>
                  <a:pt x="551309" y="551893"/>
                </a:cubicBezTo>
                <a:cubicBezTo>
                  <a:pt x="551798" y="552697"/>
                  <a:pt x="552286" y="553501"/>
                  <a:pt x="552481" y="554572"/>
                </a:cubicBezTo>
                <a:lnTo>
                  <a:pt x="554923" y="554572"/>
                </a:lnTo>
                <a:cubicBezTo>
                  <a:pt x="556291" y="554572"/>
                  <a:pt x="557659" y="555376"/>
                  <a:pt x="558635" y="556716"/>
                </a:cubicBezTo>
                <a:cubicBezTo>
                  <a:pt x="559319" y="557653"/>
                  <a:pt x="559808" y="558859"/>
                  <a:pt x="560003" y="560198"/>
                </a:cubicBezTo>
                <a:cubicBezTo>
                  <a:pt x="560394" y="560466"/>
                  <a:pt x="560784" y="560868"/>
                  <a:pt x="561077" y="561270"/>
                </a:cubicBezTo>
                <a:cubicBezTo>
                  <a:pt x="561761" y="562208"/>
                  <a:pt x="562250" y="563413"/>
                  <a:pt x="562445" y="564753"/>
                </a:cubicBezTo>
                <a:cubicBezTo>
                  <a:pt x="562836" y="565021"/>
                  <a:pt x="563226" y="565423"/>
                  <a:pt x="563519" y="565825"/>
                </a:cubicBezTo>
                <a:cubicBezTo>
                  <a:pt x="564105" y="566628"/>
                  <a:pt x="564496" y="567432"/>
                  <a:pt x="564692" y="568504"/>
                </a:cubicBezTo>
                <a:lnTo>
                  <a:pt x="569576" y="568504"/>
                </a:lnTo>
                <a:cubicBezTo>
                  <a:pt x="570943" y="568504"/>
                  <a:pt x="572311" y="569307"/>
                  <a:pt x="573287" y="570647"/>
                </a:cubicBezTo>
                <a:cubicBezTo>
                  <a:pt x="573776" y="571317"/>
                  <a:pt x="574264" y="572254"/>
                  <a:pt x="574460" y="573192"/>
                </a:cubicBezTo>
                <a:lnTo>
                  <a:pt x="589209" y="573192"/>
                </a:lnTo>
                <a:cubicBezTo>
                  <a:pt x="590577" y="573192"/>
                  <a:pt x="591944" y="573996"/>
                  <a:pt x="592921" y="575335"/>
                </a:cubicBezTo>
                <a:cubicBezTo>
                  <a:pt x="593605" y="576273"/>
                  <a:pt x="594093" y="577613"/>
                  <a:pt x="594289" y="578952"/>
                </a:cubicBezTo>
                <a:cubicBezTo>
                  <a:pt x="594679" y="579220"/>
                  <a:pt x="594973" y="579622"/>
                  <a:pt x="595363" y="580024"/>
                </a:cubicBezTo>
                <a:cubicBezTo>
                  <a:pt x="595852" y="580693"/>
                  <a:pt x="596340" y="581631"/>
                  <a:pt x="596535" y="582569"/>
                </a:cubicBezTo>
                <a:lnTo>
                  <a:pt x="598977" y="582569"/>
                </a:lnTo>
                <a:cubicBezTo>
                  <a:pt x="600345" y="582569"/>
                  <a:pt x="601713" y="583373"/>
                  <a:pt x="602689" y="584712"/>
                </a:cubicBezTo>
                <a:cubicBezTo>
                  <a:pt x="603275" y="585382"/>
                  <a:pt x="603666" y="586320"/>
                  <a:pt x="603861" y="587391"/>
                </a:cubicBezTo>
                <a:lnTo>
                  <a:pt x="611285" y="587391"/>
                </a:lnTo>
                <a:cubicBezTo>
                  <a:pt x="612653" y="587391"/>
                  <a:pt x="614020" y="588195"/>
                  <a:pt x="614997" y="589534"/>
                </a:cubicBezTo>
                <a:cubicBezTo>
                  <a:pt x="615974" y="590874"/>
                  <a:pt x="616560" y="592749"/>
                  <a:pt x="616560" y="594625"/>
                </a:cubicBezTo>
                <a:lnTo>
                  <a:pt x="616560" y="601457"/>
                </a:lnTo>
                <a:cubicBezTo>
                  <a:pt x="617830" y="601457"/>
                  <a:pt x="619002" y="602260"/>
                  <a:pt x="619979" y="603600"/>
                </a:cubicBezTo>
                <a:cubicBezTo>
                  <a:pt x="620467" y="604270"/>
                  <a:pt x="620956" y="605207"/>
                  <a:pt x="621151" y="606145"/>
                </a:cubicBezTo>
                <a:lnTo>
                  <a:pt x="623593" y="606145"/>
                </a:lnTo>
                <a:cubicBezTo>
                  <a:pt x="624960" y="606145"/>
                  <a:pt x="626328" y="606949"/>
                  <a:pt x="627305" y="608288"/>
                </a:cubicBezTo>
                <a:cubicBezTo>
                  <a:pt x="628282" y="609628"/>
                  <a:pt x="628868" y="611503"/>
                  <a:pt x="628868" y="613378"/>
                </a:cubicBezTo>
                <a:lnTo>
                  <a:pt x="628868" y="621416"/>
                </a:lnTo>
                <a:cubicBezTo>
                  <a:pt x="628868" y="621416"/>
                  <a:pt x="629454" y="622085"/>
                  <a:pt x="629747" y="622353"/>
                </a:cubicBezTo>
                <a:cubicBezTo>
                  <a:pt x="630235" y="623023"/>
                  <a:pt x="630724" y="623961"/>
                  <a:pt x="630919" y="624899"/>
                </a:cubicBezTo>
                <a:lnTo>
                  <a:pt x="633361" y="624899"/>
                </a:lnTo>
                <a:cubicBezTo>
                  <a:pt x="634729" y="624899"/>
                  <a:pt x="636096" y="625702"/>
                  <a:pt x="637073" y="627042"/>
                </a:cubicBezTo>
                <a:cubicBezTo>
                  <a:pt x="637659" y="627712"/>
                  <a:pt x="638050" y="628649"/>
                  <a:pt x="638245" y="629721"/>
                </a:cubicBezTo>
                <a:lnTo>
                  <a:pt x="650455" y="629721"/>
                </a:lnTo>
                <a:cubicBezTo>
                  <a:pt x="651823" y="629721"/>
                  <a:pt x="653190" y="630525"/>
                  <a:pt x="654167" y="631864"/>
                </a:cubicBezTo>
                <a:cubicBezTo>
                  <a:pt x="654851" y="632802"/>
                  <a:pt x="655339" y="634007"/>
                  <a:pt x="655535" y="635347"/>
                </a:cubicBezTo>
                <a:cubicBezTo>
                  <a:pt x="655925" y="635615"/>
                  <a:pt x="656218" y="636017"/>
                  <a:pt x="656609" y="636419"/>
                </a:cubicBezTo>
                <a:cubicBezTo>
                  <a:pt x="657195" y="637088"/>
                  <a:pt x="657586" y="638026"/>
                  <a:pt x="657781" y="639098"/>
                </a:cubicBezTo>
                <a:cubicBezTo>
                  <a:pt x="659149" y="639098"/>
                  <a:pt x="660516" y="639901"/>
                  <a:pt x="661493" y="641241"/>
                </a:cubicBezTo>
                <a:cubicBezTo>
                  <a:pt x="661981" y="641911"/>
                  <a:pt x="662470" y="642848"/>
                  <a:pt x="662665" y="643786"/>
                </a:cubicBezTo>
                <a:lnTo>
                  <a:pt x="662665" y="643786"/>
                </a:lnTo>
                <a:cubicBezTo>
                  <a:pt x="664033" y="643786"/>
                  <a:pt x="665400" y="644590"/>
                  <a:pt x="666377" y="645929"/>
                </a:cubicBezTo>
                <a:cubicBezTo>
                  <a:pt x="667061" y="646867"/>
                  <a:pt x="667549" y="648207"/>
                  <a:pt x="667745" y="649412"/>
                </a:cubicBezTo>
                <a:cubicBezTo>
                  <a:pt x="668135" y="649680"/>
                  <a:pt x="668428" y="650082"/>
                  <a:pt x="668819" y="650484"/>
                </a:cubicBezTo>
                <a:cubicBezTo>
                  <a:pt x="669796" y="651823"/>
                  <a:pt x="670382" y="653699"/>
                  <a:pt x="670382" y="655574"/>
                </a:cubicBezTo>
                <a:lnTo>
                  <a:pt x="670382" y="662540"/>
                </a:lnTo>
                <a:lnTo>
                  <a:pt x="672531" y="662540"/>
                </a:lnTo>
                <a:cubicBezTo>
                  <a:pt x="673898" y="662540"/>
                  <a:pt x="675266" y="663344"/>
                  <a:pt x="676243" y="664683"/>
                </a:cubicBezTo>
                <a:cubicBezTo>
                  <a:pt x="676731" y="665353"/>
                  <a:pt x="677220" y="666291"/>
                  <a:pt x="677415" y="667228"/>
                </a:cubicBezTo>
                <a:lnTo>
                  <a:pt x="684839" y="667228"/>
                </a:lnTo>
                <a:cubicBezTo>
                  <a:pt x="686206" y="667228"/>
                  <a:pt x="687574" y="668032"/>
                  <a:pt x="688551" y="669372"/>
                </a:cubicBezTo>
                <a:cubicBezTo>
                  <a:pt x="689137" y="670041"/>
                  <a:pt x="689527" y="670979"/>
                  <a:pt x="689723" y="671917"/>
                </a:cubicBezTo>
                <a:lnTo>
                  <a:pt x="699589" y="671917"/>
                </a:lnTo>
                <a:cubicBezTo>
                  <a:pt x="700956" y="671917"/>
                  <a:pt x="702324" y="672720"/>
                  <a:pt x="703300" y="674060"/>
                </a:cubicBezTo>
                <a:cubicBezTo>
                  <a:pt x="703886" y="674730"/>
                  <a:pt x="704277" y="675667"/>
                  <a:pt x="704473" y="676605"/>
                </a:cubicBezTo>
                <a:lnTo>
                  <a:pt x="704473" y="676605"/>
                </a:lnTo>
                <a:cubicBezTo>
                  <a:pt x="705840" y="676605"/>
                  <a:pt x="707208" y="677409"/>
                  <a:pt x="708184" y="678748"/>
                </a:cubicBezTo>
                <a:cubicBezTo>
                  <a:pt x="708673" y="679552"/>
                  <a:pt x="709161" y="680356"/>
                  <a:pt x="709357" y="681427"/>
                </a:cubicBezTo>
                <a:lnTo>
                  <a:pt x="716683" y="681427"/>
                </a:lnTo>
                <a:cubicBezTo>
                  <a:pt x="718050" y="681427"/>
                  <a:pt x="719418" y="682231"/>
                  <a:pt x="720394" y="683571"/>
                </a:cubicBezTo>
                <a:cubicBezTo>
                  <a:pt x="720981" y="684374"/>
                  <a:pt x="721371" y="685178"/>
                  <a:pt x="721567" y="686250"/>
                </a:cubicBezTo>
                <a:lnTo>
                  <a:pt x="728990" y="686250"/>
                </a:lnTo>
                <a:cubicBezTo>
                  <a:pt x="730358" y="686250"/>
                  <a:pt x="731725" y="687054"/>
                  <a:pt x="732702" y="688393"/>
                </a:cubicBezTo>
                <a:cubicBezTo>
                  <a:pt x="733679" y="689733"/>
                  <a:pt x="734265" y="691608"/>
                  <a:pt x="734265" y="693483"/>
                </a:cubicBezTo>
                <a:lnTo>
                  <a:pt x="734265" y="695627"/>
                </a:lnTo>
                <a:lnTo>
                  <a:pt x="738856" y="695627"/>
                </a:lnTo>
                <a:cubicBezTo>
                  <a:pt x="740224" y="695627"/>
                  <a:pt x="741591" y="696430"/>
                  <a:pt x="742568" y="697770"/>
                </a:cubicBezTo>
                <a:cubicBezTo>
                  <a:pt x="743056" y="698440"/>
                  <a:pt x="743545" y="699377"/>
                  <a:pt x="743740" y="700449"/>
                </a:cubicBezTo>
                <a:cubicBezTo>
                  <a:pt x="745108" y="700449"/>
                  <a:pt x="746475" y="701253"/>
                  <a:pt x="747452" y="702592"/>
                </a:cubicBezTo>
                <a:cubicBezTo>
                  <a:pt x="747940" y="703262"/>
                  <a:pt x="748429" y="704200"/>
                  <a:pt x="748624" y="705271"/>
                </a:cubicBezTo>
                <a:cubicBezTo>
                  <a:pt x="749992" y="705271"/>
                  <a:pt x="751359" y="706075"/>
                  <a:pt x="752336" y="707415"/>
                </a:cubicBezTo>
                <a:cubicBezTo>
                  <a:pt x="752922" y="708218"/>
                  <a:pt x="753313" y="709022"/>
                  <a:pt x="753508" y="710094"/>
                </a:cubicBezTo>
                <a:lnTo>
                  <a:pt x="755950" y="710094"/>
                </a:lnTo>
                <a:cubicBezTo>
                  <a:pt x="757318" y="710094"/>
                  <a:pt x="758685" y="710897"/>
                  <a:pt x="759662" y="712237"/>
                </a:cubicBezTo>
                <a:cubicBezTo>
                  <a:pt x="760248" y="713041"/>
                  <a:pt x="760639" y="713844"/>
                  <a:pt x="760834" y="714916"/>
                </a:cubicBezTo>
                <a:lnTo>
                  <a:pt x="763276" y="714916"/>
                </a:lnTo>
                <a:cubicBezTo>
                  <a:pt x="764644" y="714916"/>
                  <a:pt x="766011" y="715720"/>
                  <a:pt x="766988" y="717059"/>
                </a:cubicBezTo>
                <a:cubicBezTo>
                  <a:pt x="767672" y="718131"/>
                  <a:pt x="768258" y="719337"/>
                  <a:pt x="768453" y="720810"/>
                </a:cubicBezTo>
                <a:cubicBezTo>
                  <a:pt x="768844" y="721078"/>
                  <a:pt x="769137" y="721480"/>
                  <a:pt x="769430" y="721882"/>
                </a:cubicBezTo>
                <a:cubicBezTo>
                  <a:pt x="769919" y="722685"/>
                  <a:pt x="770407" y="723489"/>
                  <a:pt x="770602" y="724561"/>
                </a:cubicBezTo>
                <a:lnTo>
                  <a:pt x="773044" y="724561"/>
                </a:lnTo>
                <a:cubicBezTo>
                  <a:pt x="774412" y="724561"/>
                  <a:pt x="775779" y="725365"/>
                  <a:pt x="776756" y="726704"/>
                </a:cubicBezTo>
                <a:cubicBezTo>
                  <a:pt x="777440" y="727642"/>
                  <a:pt x="777928" y="728981"/>
                  <a:pt x="778221" y="730321"/>
                </a:cubicBezTo>
                <a:cubicBezTo>
                  <a:pt x="778612" y="730589"/>
                  <a:pt x="778905" y="730991"/>
                  <a:pt x="779198" y="731392"/>
                </a:cubicBezTo>
                <a:cubicBezTo>
                  <a:pt x="780175" y="732732"/>
                  <a:pt x="780761" y="734607"/>
                  <a:pt x="780761" y="736483"/>
                </a:cubicBezTo>
                <a:lnTo>
                  <a:pt x="780761" y="739832"/>
                </a:lnTo>
                <a:cubicBezTo>
                  <a:pt x="780761" y="739832"/>
                  <a:pt x="781445" y="740501"/>
                  <a:pt x="781738" y="740903"/>
                </a:cubicBezTo>
                <a:cubicBezTo>
                  <a:pt x="782422" y="741841"/>
                  <a:pt x="782910" y="743181"/>
                  <a:pt x="783203" y="744520"/>
                </a:cubicBezTo>
                <a:cubicBezTo>
                  <a:pt x="783594" y="744788"/>
                  <a:pt x="783887" y="745190"/>
                  <a:pt x="784278" y="745592"/>
                </a:cubicBezTo>
                <a:cubicBezTo>
                  <a:pt x="784766" y="746261"/>
                  <a:pt x="785254" y="747199"/>
                  <a:pt x="785450" y="748137"/>
                </a:cubicBezTo>
                <a:cubicBezTo>
                  <a:pt x="786817" y="748137"/>
                  <a:pt x="788185" y="748941"/>
                  <a:pt x="789162" y="750280"/>
                </a:cubicBezTo>
                <a:cubicBezTo>
                  <a:pt x="789748" y="751084"/>
                  <a:pt x="790138" y="751888"/>
                  <a:pt x="790334" y="752959"/>
                </a:cubicBezTo>
                <a:lnTo>
                  <a:pt x="802641" y="752959"/>
                </a:lnTo>
                <a:cubicBezTo>
                  <a:pt x="804009" y="752959"/>
                  <a:pt x="805377" y="753763"/>
                  <a:pt x="806353" y="755102"/>
                </a:cubicBezTo>
                <a:cubicBezTo>
                  <a:pt x="807037" y="756040"/>
                  <a:pt x="807526" y="757380"/>
                  <a:pt x="807819" y="758719"/>
                </a:cubicBezTo>
                <a:cubicBezTo>
                  <a:pt x="808209" y="758987"/>
                  <a:pt x="808502" y="759389"/>
                  <a:pt x="808893" y="759791"/>
                </a:cubicBezTo>
                <a:cubicBezTo>
                  <a:pt x="809870" y="761130"/>
                  <a:pt x="810456" y="763006"/>
                  <a:pt x="810456" y="764881"/>
                </a:cubicBezTo>
                <a:lnTo>
                  <a:pt x="810456" y="768364"/>
                </a:lnTo>
                <a:cubicBezTo>
                  <a:pt x="810456" y="768364"/>
                  <a:pt x="811140" y="769034"/>
                  <a:pt x="811335" y="769302"/>
                </a:cubicBezTo>
                <a:cubicBezTo>
                  <a:pt x="811823" y="770105"/>
                  <a:pt x="812312" y="770909"/>
                  <a:pt x="812507" y="771981"/>
                </a:cubicBezTo>
                <a:lnTo>
                  <a:pt x="822373" y="771981"/>
                </a:lnTo>
                <a:cubicBezTo>
                  <a:pt x="823741" y="771981"/>
                  <a:pt x="825108" y="772784"/>
                  <a:pt x="826085" y="774124"/>
                </a:cubicBezTo>
                <a:cubicBezTo>
                  <a:pt x="826573" y="774794"/>
                  <a:pt x="827062" y="775732"/>
                  <a:pt x="827257" y="776669"/>
                </a:cubicBezTo>
                <a:lnTo>
                  <a:pt x="834583" y="776669"/>
                </a:lnTo>
                <a:cubicBezTo>
                  <a:pt x="835951" y="776669"/>
                  <a:pt x="837318" y="777473"/>
                  <a:pt x="838295" y="778812"/>
                </a:cubicBezTo>
                <a:cubicBezTo>
                  <a:pt x="838979" y="779750"/>
                  <a:pt x="839467" y="781090"/>
                  <a:pt x="839760" y="782429"/>
                </a:cubicBezTo>
                <a:cubicBezTo>
                  <a:pt x="840151" y="782697"/>
                  <a:pt x="840444" y="783099"/>
                  <a:pt x="840835" y="783501"/>
                </a:cubicBezTo>
                <a:cubicBezTo>
                  <a:pt x="841323" y="784171"/>
                  <a:pt x="841811" y="785108"/>
                  <a:pt x="842007" y="786046"/>
                </a:cubicBezTo>
                <a:lnTo>
                  <a:pt x="854315" y="786046"/>
                </a:lnTo>
                <a:cubicBezTo>
                  <a:pt x="855682" y="786046"/>
                  <a:pt x="857050" y="786850"/>
                  <a:pt x="858026" y="788189"/>
                </a:cubicBezTo>
                <a:cubicBezTo>
                  <a:pt x="858613" y="788993"/>
                  <a:pt x="859003" y="789931"/>
                  <a:pt x="859296" y="790868"/>
                </a:cubicBezTo>
                <a:lnTo>
                  <a:pt x="864180" y="790868"/>
                </a:lnTo>
                <a:cubicBezTo>
                  <a:pt x="865548" y="790868"/>
                  <a:pt x="866915" y="791672"/>
                  <a:pt x="867892" y="793012"/>
                </a:cubicBezTo>
                <a:cubicBezTo>
                  <a:pt x="868869" y="794351"/>
                  <a:pt x="869455" y="796227"/>
                  <a:pt x="869455" y="798102"/>
                </a:cubicBezTo>
                <a:lnTo>
                  <a:pt x="869455" y="800379"/>
                </a:lnTo>
                <a:cubicBezTo>
                  <a:pt x="870725" y="800379"/>
                  <a:pt x="871897" y="801183"/>
                  <a:pt x="872874" y="802522"/>
                </a:cubicBezTo>
                <a:cubicBezTo>
                  <a:pt x="873460" y="803326"/>
                  <a:pt x="873851" y="804130"/>
                  <a:pt x="874046" y="805202"/>
                </a:cubicBezTo>
                <a:lnTo>
                  <a:pt x="888698" y="805202"/>
                </a:lnTo>
                <a:cubicBezTo>
                  <a:pt x="890066" y="805202"/>
                  <a:pt x="891433" y="806005"/>
                  <a:pt x="892410" y="807345"/>
                </a:cubicBezTo>
                <a:cubicBezTo>
                  <a:pt x="892996" y="808149"/>
                  <a:pt x="893387" y="808952"/>
                  <a:pt x="893680" y="810024"/>
                </a:cubicBezTo>
                <a:lnTo>
                  <a:pt x="896122" y="810024"/>
                </a:lnTo>
                <a:cubicBezTo>
                  <a:pt x="897489" y="810024"/>
                  <a:pt x="898857" y="810828"/>
                  <a:pt x="899834" y="812167"/>
                </a:cubicBezTo>
                <a:cubicBezTo>
                  <a:pt x="900517" y="813239"/>
                  <a:pt x="901104" y="814444"/>
                  <a:pt x="901299" y="815784"/>
                </a:cubicBezTo>
                <a:cubicBezTo>
                  <a:pt x="901690" y="816052"/>
                  <a:pt x="901983" y="816454"/>
                  <a:pt x="902276" y="816856"/>
                </a:cubicBezTo>
                <a:cubicBezTo>
                  <a:pt x="903253" y="818195"/>
                  <a:pt x="903839" y="820071"/>
                  <a:pt x="903839" y="821946"/>
                </a:cubicBezTo>
                <a:lnTo>
                  <a:pt x="903839" y="824357"/>
                </a:lnTo>
                <a:lnTo>
                  <a:pt x="905988" y="824357"/>
                </a:lnTo>
                <a:cubicBezTo>
                  <a:pt x="907355" y="824357"/>
                  <a:pt x="908723" y="825161"/>
                  <a:pt x="909699" y="826500"/>
                </a:cubicBezTo>
                <a:cubicBezTo>
                  <a:pt x="910286" y="827304"/>
                  <a:pt x="910676" y="828108"/>
                  <a:pt x="910969" y="829179"/>
                </a:cubicBezTo>
                <a:lnTo>
                  <a:pt x="928161" y="829179"/>
                </a:lnTo>
                <a:cubicBezTo>
                  <a:pt x="929529" y="829179"/>
                  <a:pt x="930896" y="829983"/>
                  <a:pt x="931873" y="831323"/>
                </a:cubicBezTo>
                <a:cubicBezTo>
                  <a:pt x="932459" y="832126"/>
                  <a:pt x="932850" y="833064"/>
                  <a:pt x="933143" y="834136"/>
                </a:cubicBezTo>
                <a:lnTo>
                  <a:pt x="962545" y="834136"/>
                </a:lnTo>
                <a:cubicBezTo>
                  <a:pt x="963912" y="834136"/>
                  <a:pt x="965280" y="834939"/>
                  <a:pt x="966256" y="836279"/>
                </a:cubicBezTo>
                <a:cubicBezTo>
                  <a:pt x="967038" y="837351"/>
                  <a:pt x="967526" y="838556"/>
                  <a:pt x="967722" y="840030"/>
                </a:cubicBezTo>
                <a:cubicBezTo>
                  <a:pt x="968112" y="840298"/>
                  <a:pt x="968405" y="840699"/>
                  <a:pt x="968796" y="841101"/>
                </a:cubicBezTo>
                <a:cubicBezTo>
                  <a:pt x="969382" y="841905"/>
                  <a:pt x="969773" y="842843"/>
                  <a:pt x="970066" y="843780"/>
                </a:cubicBezTo>
                <a:lnTo>
                  <a:pt x="972508" y="843780"/>
                </a:lnTo>
                <a:cubicBezTo>
                  <a:pt x="973876" y="843780"/>
                  <a:pt x="975243" y="844584"/>
                  <a:pt x="976220" y="845924"/>
                </a:cubicBezTo>
                <a:cubicBezTo>
                  <a:pt x="977001" y="846995"/>
                  <a:pt x="977490" y="848201"/>
                  <a:pt x="977685" y="849674"/>
                </a:cubicBezTo>
                <a:cubicBezTo>
                  <a:pt x="978076" y="849942"/>
                  <a:pt x="978369" y="850344"/>
                  <a:pt x="978662" y="850746"/>
                </a:cubicBezTo>
                <a:cubicBezTo>
                  <a:pt x="979248" y="851550"/>
                  <a:pt x="979639" y="852488"/>
                  <a:pt x="979932" y="853425"/>
                </a:cubicBezTo>
                <a:lnTo>
                  <a:pt x="992142" y="853425"/>
                </a:lnTo>
                <a:cubicBezTo>
                  <a:pt x="993509" y="853425"/>
                  <a:pt x="994877" y="854229"/>
                  <a:pt x="995854" y="855569"/>
                </a:cubicBezTo>
                <a:cubicBezTo>
                  <a:pt x="996440" y="856372"/>
                  <a:pt x="996830" y="857310"/>
                  <a:pt x="997124" y="858248"/>
                </a:cubicBezTo>
                <a:cubicBezTo>
                  <a:pt x="998491" y="858248"/>
                  <a:pt x="999859" y="859051"/>
                  <a:pt x="1000835" y="860391"/>
                </a:cubicBezTo>
                <a:cubicBezTo>
                  <a:pt x="1001421" y="861195"/>
                  <a:pt x="1001812" y="862132"/>
                  <a:pt x="1002105" y="863204"/>
                </a:cubicBezTo>
                <a:lnTo>
                  <a:pt x="1004547" y="863204"/>
                </a:lnTo>
                <a:cubicBezTo>
                  <a:pt x="1005915" y="863204"/>
                  <a:pt x="1007282" y="864008"/>
                  <a:pt x="1008259" y="865347"/>
                </a:cubicBezTo>
                <a:cubicBezTo>
                  <a:pt x="1009041" y="866419"/>
                  <a:pt x="1009529" y="867758"/>
                  <a:pt x="1009724" y="869098"/>
                </a:cubicBezTo>
                <a:cubicBezTo>
                  <a:pt x="1010115" y="869366"/>
                  <a:pt x="1010408" y="869768"/>
                  <a:pt x="1010701" y="870170"/>
                </a:cubicBezTo>
                <a:cubicBezTo>
                  <a:pt x="1011483" y="871241"/>
                  <a:pt x="1011971" y="872581"/>
                  <a:pt x="1012166" y="874054"/>
                </a:cubicBezTo>
                <a:cubicBezTo>
                  <a:pt x="1012557" y="874322"/>
                  <a:pt x="1012850" y="874724"/>
                  <a:pt x="1013143" y="875126"/>
                </a:cubicBezTo>
                <a:cubicBezTo>
                  <a:pt x="1013729" y="875930"/>
                  <a:pt x="1014120" y="876733"/>
                  <a:pt x="1014413" y="877805"/>
                </a:cubicBezTo>
                <a:lnTo>
                  <a:pt x="1031605" y="877805"/>
                </a:lnTo>
                <a:cubicBezTo>
                  <a:pt x="1032972" y="877805"/>
                  <a:pt x="1034340" y="878609"/>
                  <a:pt x="1035317" y="879948"/>
                </a:cubicBezTo>
                <a:cubicBezTo>
                  <a:pt x="1036098" y="881020"/>
                  <a:pt x="1036587" y="882359"/>
                  <a:pt x="1036782" y="883699"/>
                </a:cubicBezTo>
                <a:cubicBezTo>
                  <a:pt x="1037173" y="883967"/>
                  <a:pt x="1037466" y="884369"/>
                  <a:pt x="1037759" y="884771"/>
                </a:cubicBezTo>
                <a:cubicBezTo>
                  <a:pt x="1038345" y="885574"/>
                  <a:pt x="1038735" y="886512"/>
                  <a:pt x="1039029" y="887584"/>
                </a:cubicBezTo>
                <a:lnTo>
                  <a:pt x="1053681" y="887584"/>
                </a:lnTo>
                <a:cubicBezTo>
                  <a:pt x="1055048" y="887584"/>
                  <a:pt x="1056416" y="888387"/>
                  <a:pt x="1057393" y="889727"/>
                </a:cubicBezTo>
                <a:cubicBezTo>
                  <a:pt x="1058174" y="890799"/>
                  <a:pt x="1058662" y="892138"/>
                  <a:pt x="1058858" y="893478"/>
                </a:cubicBezTo>
                <a:cubicBezTo>
                  <a:pt x="1059249" y="893746"/>
                  <a:pt x="1059542" y="894147"/>
                  <a:pt x="1059835" y="894549"/>
                </a:cubicBezTo>
                <a:cubicBezTo>
                  <a:pt x="1060421" y="895353"/>
                  <a:pt x="1060811" y="896291"/>
                  <a:pt x="1061104" y="897228"/>
                </a:cubicBezTo>
                <a:cubicBezTo>
                  <a:pt x="1062472" y="897228"/>
                  <a:pt x="1063839" y="898032"/>
                  <a:pt x="1064816" y="899372"/>
                </a:cubicBezTo>
                <a:cubicBezTo>
                  <a:pt x="1065402" y="900175"/>
                  <a:pt x="1065793" y="901113"/>
                  <a:pt x="1066086" y="902185"/>
                </a:cubicBezTo>
                <a:lnTo>
                  <a:pt x="1088162" y="902185"/>
                </a:lnTo>
                <a:cubicBezTo>
                  <a:pt x="1089529" y="902185"/>
                  <a:pt x="1090897" y="902988"/>
                  <a:pt x="1091874" y="904328"/>
                </a:cubicBezTo>
                <a:cubicBezTo>
                  <a:pt x="1092460" y="905132"/>
                  <a:pt x="1092851" y="906069"/>
                  <a:pt x="1093144" y="907141"/>
                </a:cubicBezTo>
                <a:lnTo>
                  <a:pt x="1120103" y="907141"/>
                </a:lnTo>
                <a:cubicBezTo>
                  <a:pt x="1121471" y="907141"/>
                  <a:pt x="1122839" y="907945"/>
                  <a:pt x="1123815" y="909284"/>
                </a:cubicBezTo>
                <a:cubicBezTo>
                  <a:pt x="1124792" y="910624"/>
                  <a:pt x="1125378" y="912499"/>
                  <a:pt x="1125378" y="914375"/>
                </a:cubicBezTo>
                <a:lnTo>
                  <a:pt x="1125378" y="917054"/>
                </a:lnTo>
                <a:lnTo>
                  <a:pt x="1134853" y="917054"/>
                </a:lnTo>
                <a:cubicBezTo>
                  <a:pt x="1136221" y="917054"/>
                  <a:pt x="1137588" y="917857"/>
                  <a:pt x="1138565" y="919197"/>
                </a:cubicBezTo>
                <a:cubicBezTo>
                  <a:pt x="1139151" y="920001"/>
                  <a:pt x="1139542" y="920938"/>
                  <a:pt x="1139835" y="922010"/>
                </a:cubicBezTo>
                <a:lnTo>
                  <a:pt x="1169237" y="922010"/>
                </a:lnTo>
                <a:cubicBezTo>
                  <a:pt x="1170604" y="922010"/>
                  <a:pt x="1171972" y="922814"/>
                  <a:pt x="1172949" y="924153"/>
                </a:cubicBezTo>
                <a:cubicBezTo>
                  <a:pt x="1173730" y="925225"/>
                  <a:pt x="1174219" y="926564"/>
                  <a:pt x="1174414" y="928038"/>
                </a:cubicBezTo>
                <a:cubicBezTo>
                  <a:pt x="1174805" y="928306"/>
                  <a:pt x="1175098" y="928708"/>
                  <a:pt x="1175391" y="929110"/>
                </a:cubicBezTo>
                <a:cubicBezTo>
                  <a:pt x="1175977" y="929913"/>
                  <a:pt x="1176368" y="930851"/>
                  <a:pt x="1176661" y="931923"/>
                </a:cubicBezTo>
                <a:cubicBezTo>
                  <a:pt x="1178028" y="931923"/>
                  <a:pt x="1179298" y="932726"/>
                  <a:pt x="1180275" y="934066"/>
                </a:cubicBezTo>
                <a:cubicBezTo>
                  <a:pt x="1180861" y="934870"/>
                  <a:pt x="1181252" y="935807"/>
                  <a:pt x="1181545" y="936879"/>
                </a:cubicBezTo>
                <a:lnTo>
                  <a:pt x="1188871" y="936879"/>
                </a:lnTo>
                <a:cubicBezTo>
                  <a:pt x="1190238" y="936879"/>
                  <a:pt x="1191606" y="937683"/>
                  <a:pt x="1192582" y="939022"/>
                </a:cubicBezTo>
                <a:cubicBezTo>
                  <a:pt x="1193364" y="940094"/>
                  <a:pt x="1193852" y="941433"/>
                  <a:pt x="1194048" y="942907"/>
                </a:cubicBezTo>
                <a:cubicBezTo>
                  <a:pt x="1194438" y="943175"/>
                  <a:pt x="1194731" y="943577"/>
                  <a:pt x="1195024" y="943979"/>
                </a:cubicBezTo>
                <a:cubicBezTo>
                  <a:pt x="1195611" y="944782"/>
                  <a:pt x="1196001" y="945720"/>
                  <a:pt x="1196294" y="946792"/>
                </a:cubicBezTo>
                <a:lnTo>
                  <a:pt x="1201178" y="946792"/>
                </a:lnTo>
                <a:cubicBezTo>
                  <a:pt x="1202546" y="946792"/>
                  <a:pt x="1203913" y="947595"/>
                  <a:pt x="1204890" y="948935"/>
                </a:cubicBezTo>
                <a:cubicBezTo>
                  <a:pt x="1205476" y="949739"/>
                  <a:pt x="1205867" y="950676"/>
                  <a:pt x="1206160" y="951748"/>
                </a:cubicBezTo>
                <a:lnTo>
                  <a:pt x="1220812" y="951748"/>
                </a:lnTo>
                <a:cubicBezTo>
                  <a:pt x="1222180" y="951748"/>
                  <a:pt x="1223547" y="952552"/>
                  <a:pt x="1224524" y="953891"/>
                </a:cubicBezTo>
                <a:cubicBezTo>
                  <a:pt x="1225110" y="954695"/>
                  <a:pt x="1225501" y="955633"/>
                  <a:pt x="1225794" y="956704"/>
                </a:cubicBezTo>
                <a:lnTo>
                  <a:pt x="1235562" y="956704"/>
                </a:lnTo>
                <a:cubicBezTo>
                  <a:pt x="1236929" y="956704"/>
                  <a:pt x="1238297" y="957508"/>
                  <a:pt x="1239274" y="958848"/>
                </a:cubicBezTo>
                <a:cubicBezTo>
                  <a:pt x="1239860" y="959651"/>
                  <a:pt x="1240251" y="960589"/>
                  <a:pt x="1240544" y="961661"/>
                </a:cubicBezTo>
                <a:cubicBezTo>
                  <a:pt x="1241911" y="961661"/>
                  <a:pt x="1243181" y="962464"/>
                  <a:pt x="1244158" y="963804"/>
                </a:cubicBezTo>
                <a:cubicBezTo>
                  <a:pt x="1245135" y="965143"/>
                  <a:pt x="1245721" y="967019"/>
                  <a:pt x="1245721" y="968894"/>
                </a:cubicBezTo>
                <a:lnTo>
                  <a:pt x="1245721" y="971573"/>
                </a:lnTo>
                <a:lnTo>
                  <a:pt x="1257638" y="971573"/>
                </a:lnTo>
                <a:cubicBezTo>
                  <a:pt x="1259005" y="971573"/>
                  <a:pt x="1260373" y="972377"/>
                  <a:pt x="1261350" y="973717"/>
                </a:cubicBezTo>
                <a:cubicBezTo>
                  <a:pt x="1261936" y="974520"/>
                  <a:pt x="1262326" y="975458"/>
                  <a:pt x="1262620" y="976530"/>
                </a:cubicBezTo>
                <a:lnTo>
                  <a:pt x="1314097" y="976530"/>
                </a:lnTo>
                <a:cubicBezTo>
                  <a:pt x="1315465" y="976530"/>
                  <a:pt x="1316832" y="977333"/>
                  <a:pt x="1317809" y="978673"/>
                </a:cubicBezTo>
                <a:cubicBezTo>
                  <a:pt x="1318395" y="979477"/>
                  <a:pt x="1318786" y="980548"/>
                  <a:pt x="1319079" y="981620"/>
                </a:cubicBezTo>
                <a:lnTo>
                  <a:pt x="1331289" y="981620"/>
                </a:lnTo>
                <a:cubicBezTo>
                  <a:pt x="1332656" y="981620"/>
                  <a:pt x="1334024" y="982424"/>
                  <a:pt x="1335001" y="983763"/>
                </a:cubicBezTo>
                <a:cubicBezTo>
                  <a:pt x="1335587" y="984567"/>
                  <a:pt x="1335978" y="985505"/>
                  <a:pt x="1336271" y="986576"/>
                </a:cubicBezTo>
                <a:lnTo>
                  <a:pt x="1338615" y="986576"/>
                </a:lnTo>
                <a:cubicBezTo>
                  <a:pt x="1339983" y="986576"/>
                  <a:pt x="1341350" y="987380"/>
                  <a:pt x="1342327" y="988719"/>
                </a:cubicBezTo>
                <a:cubicBezTo>
                  <a:pt x="1342913" y="989523"/>
                  <a:pt x="1343401" y="990461"/>
                  <a:pt x="1343597" y="991666"/>
                </a:cubicBezTo>
                <a:lnTo>
                  <a:pt x="1350923" y="991666"/>
                </a:lnTo>
                <a:cubicBezTo>
                  <a:pt x="1352290" y="991666"/>
                  <a:pt x="1353658" y="992470"/>
                  <a:pt x="1354635" y="993810"/>
                </a:cubicBezTo>
                <a:cubicBezTo>
                  <a:pt x="1355221" y="994613"/>
                  <a:pt x="1355709" y="995685"/>
                  <a:pt x="1355905" y="996757"/>
                </a:cubicBezTo>
                <a:lnTo>
                  <a:pt x="1370557" y="996757"/>
                </a:lnTo>
                <a:cubicBezTo>
                  <a:pt x="1371924" y="996757"/>
                  <a:pt x="1373292" y="997560"/>
                  <a:pt x="1374268" y="998900"/>
                </a:cubicBezTo>
                <a:cubicBezTo>
                  <a:pt x="1375245" y="1000240"/>
                  <a:pt x="1375831" y="1002115"/>
                  <a:pt x="1375831" y="1003990"/>
                </a:cubicBezTo>
                <a:lnTo>
                  <a:pt x="1375831" y="1006803"/>
                </a:lnTo>
                <a:lnTo>
                  <a:pt x="1385306" y="1006803"/>
                </a:lnTo>
                <a:cubicBezTo>
                  <a:pt x="1386674" y="1006803"/>
                  <a:pt x="1388041" y="1007607"/>
                  <a:pt x="1389018" y="1008947"/>
                </a:cubicBezTo>
                <a:cubicBezTo>
                  <a:pt x="1389604" y="1009750"/>
                  <a:pt x="1389995" y="1010822"/>
                  <a:pt x="1390288" y="1011894"/>
                </a:cubicBezTo>
                <a:lnTo>
                  <a:pt x="1431998" y="1011894"/>
                </a:lnTo>
                <a:cubicBezTo>
                  <a:pt x="1433365" y="1011894"/>
                  <a:pt x="1434733" y="1012697"/>
                  <a:pt x="1435710" y="1014037"/>
                </a:cubicBezTo>
                <a:cubicBezTo>
                  <a:pt x="1436296" y="1014841"/>
                  <a:pt x="1436686" y="1015778"/>
                  <a:pt x="1436979" y="1016850"/>
                </a:cubicBezTo>
                <a:cubicBezTo>
                  <a:pt x="1438347" y="1016850"/>
                  <a:pt x="1439617" y="1017654"/>
                  <a:pt x="1440594" y="1018993"/>
                </a:cubicBezTo>
                <a:cubicBezTo>
                  <a:pt x="1441180" y="1019797"/>
                  <a:pt x="1441668" y="1020869"/>
                  <a:pt x="1441863" y="1021940"/>
                </a:cubicBezTo>
                <a:lnTo>
                  <a:pt x="1446747" y="1021940"/>
                </a:lnTo>
                <a:cubicBezTo>
                  <a:pt x="1448115" y="1021940"/>
                  <a:pt x="1449482" y="1022744"/>
                  <a:pt x="1450459" y="1024083"/>
                </a:cubicBezTo>
                <a:cubicBezTo>
                  <a:pt x="1451241" y="1025155"/>
                  <a:pt x="1451729" y="1026495"/>
                  <a:pt x="1451924" y="1027968"/>
                </a:cubicBezTo>
                <a:cubicBezTo>
                  <a:pt x="1452315" y="1028236"/>
                  <a:pt x="1452608" y="1028638"/>
                  <a:pt x="1452901" y="1029040"/>
                </a:cubicBezTo>
                <a:cubicBezTo>
                  <a:pt x="1453487" y="1029843"/>
                  <a:pt x="1453878" y="1030781"/>
                  <a:pt x="1454171" y="1031853"/>
                </a:cubicBezTo>
                <a:lnTo>
                  <a:pt x="1456515" y="1031853"/>
                </a:lnTo>
                <a:cubicBezTo>
                  <a:pt x="1457883" y="1031853"/>
                  <a:pt x="1459250" y="1032657"/>
                  <a:pt x="1460227" y="1033996"/>
                </a:cubicBezTo>
                <a:cubicBezTo>
                  <a:pt x="1460813" y="1034800"/>
                  <a:pt x="1461302" y="1035871"/>
                  <a:pt x="1461497" y="1036943"/>
                </a:cubicBezTo>
                <a:lnTo>
                  <a:pt x="1471265" y="1036943"/>
                </a:lnTo>
                <a:cubicBezTo>
                  <a:pt x="1472633" y="1036943"/>
                  <a:pt x="1474000" y="1037747"/>
                  <a:pt x="1474977" y="1039086"/>
                </a:cubicBezTo>
                <a:cubicBezTo>
                  <a:pt x="1475954" y="1040426"/>
                  <a:pt x="1476540" y="1042301"/>
                  <a:pt x="1476540" y="1044177"/>
                </a:cubicBezTo>
                <a:lnTo>
                  <a:pt x="1476540" y="1046990"/>
                </a:lnTo>
                <a:lnTo>
                  <a:pt x="1537590" y="1046990"/>
                </a:lnTo>
                <a:cubicBezTo>
                  <a:pt x="1538958" y="1046990"/>
                  <a:pt x="1540325" y="1047793"/>
                  <a:pt x="1541302" y="1049133"/>
                </a:cubicBezTo>
                <a:cubicBezTo>
                  <a:pt x="1541888" y="1049937"/>
                  <a:pt x="1542377" y="1051008"/>
                  <a:pt x="1542572" y="1052080"/>
                </a:cubicBezTo>
                <a:lnTo>
                  <a:pt x="1557126" y="1052080"/>
                </a:lnTo>
                <a:cubicBezTo>
                  <a:pt x="1558494" y="1052080"/>
                  <a:pt x="1559861" y="1052884"/>
                  <a:pt x="1560838" y="1054223"/>
                </a:cubicBezTo>
                <a:cubicBezTo>
                  <a:pt x="1561424" y="1055027"/>
                  <a:pt x="1561913" y="1056099"/>
                  <a:pt x="1562108" y="1057170"/>
                </a:cubicBezTo>
                <a:lnTo>
                  <a:pt x="1574318" y="1057170"/>
                </a:lnTo>
                <a:cubicBezTo>
                  <a:pt x="1575686" y="1057170"/>
                  <a:pt x="1577053" y="1057974"/>
                  <a:pt x="1578030" y="1059314"/>
                </a:cubicBezTo>
                <a:cubicBezTo>
                  <a:pt x="1578616" y="1060117"/>
                  <a:pt x="1579105" y="1061189"/>
                  <a:pt x="1579300" y="1062394"/>
                </a:cubicBezTo>
                <a:lnTo>
                  <a:pt x="1603720" y="1062394"/>
                </a:lnTo>
                <a:cubicBezTo>
                  <a:pt x="1605088" y="1062394"/>
                  <a:pt x="1606455" y="1063198"/>
                  <a:pt x="1607432" y="1064538"/>
                </a:cubicBezTo>
                <a:cubicBezTo>
                  <a:pt x="1608018" y="1065342"/>
                  <a:pt x="1608507" y="1066413"/>
                  <a:pt x="1608702" y="1067619"/>
                </a:cubicBezTo>
                <a:lnTo>
                  <a:pt x="1657737" y="1067619"/>
                </a:lnTo>
                <a:cubicBezTo>
                  <a:pt x="1659105" y="1067619"/>
                  <a:pt x="1660473" y="1068423"/>
                  <a:pt x="1661449" y="1069762"/>
                </a:cubicBezTo>
                <a:cubicBezTo>
                  <a:pt x="1662035" y="1070566"/>
                  <a:pt x="1662524" y="1071637"/>
                  <a:pt x="1662719" y="1072709"/>
                </a:cubicBezTo>
                <a:lnTo>
                  <a:pt x="1709215" y="1072709"/>
                </a:lnTo>
                <a:cubicBezTo>
                  <a:pt x="1710583" y="1072709"/>
                  <a:pt x="1711950" y="1073513"/>
                  <a:pt x="1712927" y="1074852"/>
                </a:cubicBezTo>
                <a:cubicBezTo>
                  <a:pt x="1713513" y="1075656"/>
                  <a:pt x="1714001" y="1076728"/>
                  <a:pt x="1714197" y="1077933"/>
                </a:cubicBezTo>
                <a:cubicBezTo>
                  <a:pt x="1715564" y="1077933"/>
                  <a:pt x="1716834" y="1078737"/>
                  <a:pt x="1717811" y="1080077"/>
                </a:cubicBezTo>
                <a:cubicBezTo>
                  <a:pt x="1718397" y="1080880"/>
                  <a:pt x="1718885" y="1081952"/>
                  <a:pt x="1719081" y="1083024"/>
                </a:cubicBezTo>
                <a:lnTo>
                  <a:pt x="1790192" y="1083024"/>
                </a:lnTo>
                <a:cubicBezTo>
                  <a:pt x="1791560" y="1083024"/>
                  <a:pt x="1792927" y="1083827"/>
                  <a:pt x="1793904" y="1085167"/>
                </a:cubicBezTo>
                <a:cubicBezTo>
                  <a:pt x="1794490" y="1085971"/>
                  <a:pt x="1794979" y="1087042"/>
                  <a:pt x="1795174" y="1088248"/>
                </a:cubicBezTo>
                <a:lnTo>
                  <a:pt x="1799960" y="1088248"/>
                </a:lnTo>
                <a:cubicBezTo>
                  <a:pt x="1801328" y="1088248"/>
                  <a:pt x="1802695" y="1089052"/>
                  <a:pt x="1803672" y="1090391"/>
                </a:cubicBezTo>
                <a:cubicBezTo>
                  <a:pt x="1804258" y="1091195"/>
                  <a:pt x="1804747" y="1092266"/>
                  <a:pt x="1804942" y="1093472"/>
                </a:cubicBezTo>
                <a:lnTo>
                  <a:pt x="1826920" y="1093472"/>
                </a:lnTo>
                <a:cubicBezTo>
                  <a:pt x="1828288" y="1093472"/>
                  <a:pt x="1829655" y="1094276"/>
                  <a:pt x="1830632" y="1095615"/>
                </a:cubicBezTo>
                <a:cubicBezTo>
                  <a:pt x="1831218" y="1096419"/>
                  <a:pt x="1831707" y="1097491"/>
                  <a:pt x="1832000" y="1098696"/>
                </a:cubicBezTo>
                <a:lnTo>
                  <a:pt x="1844210" y="1098696"/>
                </a:lnTo>
                <a:cubicBezTo>
                  <a:pt x="1845577" y="1098696"/>
                  <a:pt x="1846945" y="1099500"/>
                  <a:pt x="1847922" y="1100840"/>
                </a:cubicBezTo>
                <a:cubicBezTo>
                  <a:pt x="1848508" y="1101643"/>
                  <a:pt x="1848996" y="1102715"/>
                  <a:pt x="1849289" y="1103787"/>
                </a:cubicBezTo>
                <a:lnTo>
                  <a:pt x="1854076" y="1103787"/>
                </a:lnTo>
                <a:cubicBezTo>
                  <a:pt x="1855443" y="1103787"/>
                  <a:pt x="1856811" y="1104590"/>
                  <a:pt x="1857787" y="1105930"/>
                </a:cubicBezTo>
                <a:cubicBezTo>
                  <a:pt x="1858373" y="1106734"/>
                  <a:pt x="1858862" y="1107805"/>
                  <a:pt x="1859057" y="1109011"/>
                </a:cubicBezTo>
                <a:lnTo>
                  <a:pt x="2006164" y="1109011"/>
                </a:lnTo>
                <a:cubicBezTo>
                  <a:pt x="2007532" y="1109011"/>
                  <a:pt x="2008899" y="1109814"/>
                  <a:pt x="2009876" y="1111154"/>
                </a:cubicBezTo>
                <a:cubicBezTo>
                  <a:pt x="2010462" y="1111958"/>
                  <a:pt x="2010951" y="1113029"/>
                  <a:pt x="2011244" y="1114235"/>
                </a:cubicBezTo>
                <a:lnTo>
                  <a:pt x="2111757" y="1114235"/>
                </a:lnTo>
                <a:cubicBezTo>
                  <a:pt x="2113124" y="1114235"/>
                  <a:pt x="2114492" y="1115039"/>
                  <a:pt x="2115469" y="1116378"/>
                </a:cubicBezTo>
                <a:cubicBezTo>
                  <a:pt x="2116153" y="1117316"/>
                  <a:pt x="2116543" y="1118388"/>
                  <a:pt x="2116836" y="1119593"/>
                </a:cubicBezTo>
                <a:lnTo>
                  <a:pt x="2148583" y="1119593"/>
                </a:lnTo>
                <a:cubicBezTo>
                  <a:pt x="2149950" y="1119593"/>
                  <a:pt x="2151318" y="1120397"/>
                  <a:pt x="2152294" y="1121736"/>
                </a:cubicBezTo>
                <a:cubicBezTo>
                  <a:pt x="2153271" y="1123076"/>
                  <a:pt x="2153857" y="1124951"/>
                  <a:pt x="2153857" y="1126827"/>
                </a:cubicBezTo>
                <a:lnTo>
                  <a:pt x="2153857" y="1131381"/>
                </a:lnTo>
                <a:cubicBezTo>
                  <a:pt x="2153857" y="1131381"/>
                  <a:pt x="2154541" y="1132051"/>
                  <a:pt x="2154834" y="1132453"/>
                </a:cubicBezTo>
                <a:cubicBezTo>
                  <a:pt x="2155518" y="1133391"/>
                  <a:pt x="2155909" y="1134462"/>
                  <a:pt x="2156202" y="1135668"/>
                </a:cubicBezTo>
                <a:lnTo>
                  <a:pt x="2249291" y="1135668"/>
                </a:lnTo>
                <a:cubicBezTo>
                  <a:pt x="2250659" y="1135668"/>
                  <a:pt x="2252026" y="1136471"/>
                  <a:pt x="2253003" y="1137811"/>
                </a:cubicBezTo>
                <a:cubicBezTo>
                  <a:pt x="2253687" y="1138749"/>
                  <a:pt x="2254175" y="1139820"/>
                  <a:pt x="2254371" y="1141160"/>
                </a:cubicBezTo>
                <a:lnTo>
                  <a:pt x="2264041" y="1141160"/>
                </a:lnTo>
                <a:cubicBezTo>
                  <a:pt x="2265409" y="1141160"/>
                  <a:pt x="2266776" y="1141964"/>
                  <a:pt x="2267753" y="1143303"/>
                </a:cubicBezTo>
                <a:cubicBezTo>
                  <a:pt x="2268437" y="1144241"/>
                  <a:pt x="2268925" y="1145446"/>
                  <a:pt x="2269120" y="1146652"/>
                </a:cubicBezTo>
                <a:lnTo>
                  <a:pt x="2286117" y="1146652"/>
                </a:lnTo>
                <a:cubicBezTo>
                  <a:pt x="2287484" y="1146652"/>
                  <a:pt x="2288852" y="1147456"/>
                  <a:pt x="2289829" y="1148795"/>
                </a:cubicBezTo>
                <a:cubicBezTo>
                  <a:pt x="2290512" y="1149733"/>
                  <a:pt x="2291001" y="1150805"/>
                  <a:pt x="2291196" y="1152010"/>
                </a:cubicBezTo>
                <a:lnTo>
                  <a:pt x="2337692" y="1152010"/>
                </a:lnTo>
                <a:cubicBezTo>
                  <a:pt x="2339060" y="1152010"/>
                  <a:pt x="2340427" y="1152814"/>
                  <a:pt x="2341404" y="1154154"/>
                </a:cubicBezTo>
                <a:cubicBezTo>
                  <a:pt x="2342088" y="1155091"/>
                  <a:pt x="2342576" y="1156297"/>
                  <a:pt x="2342772" y="1157502"/>
                </a:cubicBezTo>
                <a:lnTo>
                  <a:pt x="2435861" y="1157502"/>
                </a:lnTo>
                <a:cubicBezTo>
                  <a:pt x="2437229" y="1157502"/>
                  <a:pt x="2438596" y="1158306"/>
                  <a:pt x="2439573" y="1159646"/>
                </a:cubicBezTo>
                <a:cubicBezTo>
                  <a:pt x="2440257" y="1160583"/>
                  <a:pt x="2440745" y="1161789"/>
                  <a:pt x="2440941" y="1162994"/>
                </a:cubicBezTo>
                <a:lnTo>
                  <a:pt x="2524165" y="1162994"/>
                </a:lnTo>
                <a:cubicBezTo>
                  <a:pt x="2525532" y="1162994"/>
                  <a:pt x="2526900" y="1163798"/>
                  <a:pt x="2527876" y="1165138"/>
                </a:cubicBezTo>
                <a:cubicBezTo>
                  <a:pt x="2528560" y="1166075"/>
                  <a:pt x="2529049" y="1167281"/>
                  <a:pt x="2529244" y="1168621"/>
                </a:cubicBezTo>
                <a:lnTo>
                  <a:pt x="2541356" y="1168621"/>
                </a:lnTo>
                <a:cubicBezTo>
                  <a:pt x="2542724" y="1168621"/>
                  <a:pt x="2544091" y="1169424"/>
                  <a:pt x="2545068" y="1170764"/>
                </a:cubicBezTo>
                <a:cubicBezTo>
                  <a:pt x="2545752" y="1171702"/>
                  <a:pt x="2546240" y="1172907"/>
                  <a:pt x="2546436" y="1174247"/>
                </a:cubicBezTo>
                <a:lnTo>
                  <a:pt x="2580624" y="1174247"/>
                </a:lnTo>
                <a:cubicBezTo>
                  <a:pt x="2581991" y="1174247"/>
                  <a:pt x="2583359" y="1175050"/>
                  <a:pt x="2584336" y="1176390"/>
                </a:cubicBezTo>
                <a:cubicBezTo>
                  <a:pt x="2585019" y="1177328"/>
                  <a:pt x="2585508" y="1178533"/>
                  <a:pt x="2585703" y="1179873"/>
                </a:cubicBezTo>
                <a:lnTo>
                  <a:pt x="2727828" y="1179873"/>
                </a:lnTo>
                <a:cubicBezTo>
                  <a:pt x="2729196" y="1179873"/>
                  <a:pt x="2730563" y="1180676"/>
                  <a:pt x="2731540" y="1182016"/>
                </a:cubicBezTo>
                <a:cubicBezTo>
                  <a:pt x="2732517" y="1183356"/>
                  <a:pt x="2733103" y="1185231"/>
                  <a:pt x="2733103" y="1187106"/>
                </a:cubicBezTo>
                <a:lnTo>
                  <a:pt x="2733103" y="1191259"/>
                </a:lnTo>
                <a:lnTo>
                  <a:pt x="2862823" y="1191259"/>
                </a:lnTo>
                <a:lnTo>
                  <a:pt x="2862823" y="1191527"/>
                </a:lnTo>
                <a:lnTo>
                  <a:pt x="2913226" y="1191527"/>
                </a:lnTo>
                <a:cubicBezTo>
                  <a:pt x="2914105" y="1191795"/>
                  <a:pt x="2914887" y="1192464"/>
                  <a:pt x="2915571" y="1193402"/>
                </a:cubicBezTo>
                <a:cubicBezTo>
                  <a:pt x="2916352" y="1194474"/>
                  <a:pt x="2916840" y="1195679"/>
                  <a:pt x="2917036" y="1197019"/>
                </a:cubicBezTo>
                <a:lnTo>
                  <a:pt x="2965876" y="1197019"/>
                </a:lnTo>
                <a:cubicBezTo>
                  <a:pt x="2967244" y="1197019"/>
                  <a:pt x="2968611" y="1197823"/>
                  <a:pt x="2969588" y="1199162"/>
                </a:cubicBezTo>
                <a:cubicBezTo>
                  <a:pt x="2970369" y="1200234"/>
                  <a:pt x="2970858" y="1201440"/>
                  <a:pt x="2971053" y="1202913"/>
                </a:cubicBezTo>
                <a:lnTo>
                  <a:pt x="3054277" y="1202913"/>
                </a:lnTo>
                <a:cubicBezTo>
                  <a:pt x="3055644" y="1202913"/>
                  <a:pt x="3057012" y="1203717"/>
                  <a:pt x="3057989" y="1205056"/>
                </a:cubicBezTo>
                <a:cubicBezTo>
                  <a:pt x="3058770" y="1206128"/>
                  <a:pt x="3059259" y="1207467"/>
                  <a:pt x="3059454" y="1208941"/>
                </a:cubicBezTo>
                <a:lnTo>
                  <a:pt x="3066585" y="1208941"/>
                </a:lnTo>
                <a:cubicBezTo>
                  <a:pt x="3067952" y="1208941"/>
                  <a:pt x="3069320" y="1209745"/>
                  <a:pt x="3070297" y="1211084"/>
                </a:cubicBezTo>
                <a:cubicBezTo>
                  <a:pt x="3071273" y="1212424"/>
                  <a:pt x="3071762" y="1214165"/>
                  <a:pt x="3071859" y="1216041"/>
                </a:cubicBezTo>
                <a:cubicBezTo>
                  <a:pt x="3072152" y="1216308"/>
                  <a:pt x="3072446" y="1216576"/>
                  <a:pt x="3072739" y="1216978"/>
                </a:cubicBezTo>
                <a:cubicBezTo>
                  <a:pt x="3073520" y="1218050"/>
                  <a:pt x="3074008" y="1219389"/>
                  <a:pt x="3074204" y="1220863"/>
                </a:cubicBezTo>
                <a:lnTo>
                  <a:pt x="3120602" y="1220863"/>
                </a:lnTo>
                <a:cubicBezTo>
                  <a:pt x="3121970" y="1220863"/>
                  <a:pt x="3123337" y="1221667"/>
                  <a:pt x="3124314" y="1223006"/>
                </a:cubicBezTo>
                <a:cubicBezTo>
                  <a:pt x="3125096" y="1224078"/>
                  <a:pt x="3125584" y="1225417"/>
                  <a:pt x="3125779" y="1226891"/>
                </a:cubicBezTo>
                <a:lnTo>
                  <a:pt x="3280115" y="1226891"/>
                </a:lnTo>
                <a:cubicBezTo>
                  <a:pt x="3281482" y="1226891"/>
                  <a:pt x="3282850" y="1227695"/>
                  <a:pt x="3283826" y="1229034"/>
                </a:cubicBezTo>
                <a:cubicBezTo>
                  <a:pt x="3284706" y="1230240"/>
                  <a:pt x="3285194" y="1231713"/>
                  <a:pt x="3285292" y="1233321"/>
                </a:cubicBezTo>
                <a:lnTo>
                  <a:pt x="3351226" y="1233321"/>
                </a:lnTo>
                <a:cubicBezTo>
                  <a:pt x="3352594" y="1233321"/>
                  <a:pt x="3353961" y="1234124"/>
                  <a:pt x="3354938" y="1235464"/>
                </a:cubicBezTo>
                <a:cubicBezTo>
                  <a:pt x="3355817" y="1236670"/>
                  <a:pt x="3356306" y="1238277"/>
                  <a:pt x="3356403" y="1240018"/>
                </a:cubicBezTo>
                <a:lnTo>
                  <a:pt x="3368418" y="1240018"/>
                </a:lnTo>
                <a:cubicBezTo>
                  <a:pt x="3369785" y="1240018"/>
                  <a:pt x="3371153" y="1240822"/>
                  <a:pt x="3372130" y="1242162"/>
                </a:cubicBezTo>
                <a:cubicBezTo>
                  <a:pt x="3373106" y="1243367"/>
                  <a:pt x="3373595" y="1245109"/>
                  <a:pt x="3373693" y="1246984"/>
                </a:cubicBezTo>
                <a:lnTo>
                  <a:pt x="3407685" y="1246984"/>
                </a:lnTo>
                <a:lnTo>
                  <a:pt x="3407685" y="1252878"/>
                </a:lnTo>
                <a:lnTo>
                  <a:pt x="3476648" y="1252878"/>
                </a:lnTo>
                <a:cubicBezTo>
                  <a:pt x="3476648" y="1252878"/>
                  <a:pt x="3476648" y="1253682"/>
                  <a:pt x="3476648" y="1254218"/>
                </a:cubicBezTo>
                <a:lnTo>
                  <a:pt x="3476648" y="1254486"/>
                </a:lnTo>
                <a:lnTo>
                  <a:pt x="3483681" y="1254486"/>
                </a:lnTo>
                <a:cubicBezTo>
                  <a:pt x="3485049" y="1254486"/>
                  <a:pt x="3486416" y="1255289"/>
                  <a:pt x="3487393" y="1256629"/>
                </a:cubicBezTo>
                <a:cubicBezTo>
                  <a:pt x="3488370" y="1257968"/>
                  <a:pt x="3488956" y="1259844"/>
                  <a:pt x="3488956" y="1261719"/>
                </a:cubicBezTo>
                <a:lnTo>
                  <a:pt x="3488956" y="1262255"/>
                </a:lnTo>
                <a:lnTo>
                  <a:pt x="3864049" y="1262255"/>
                </a:lnTo>
                <a:cubicBezTo>
                  <a:pt x="3865417" y="1262255"/>
                  <a:pt x="3866784" y="1263059"/>
                  <a:pt x="3867761" y="1264398"/>
                </a:cubicBezTo>
                <a:cubicBezTo>
                  <a:pt x="3868738" y="1265738"/>
                  <a:pt x="3869324" y="1267613"/>
                  <a:pt x="3869324" y="1269488"/>
                </a:cubicBezTo>
                <a:lnTo>
                  <a:pt x="3869324" y="1274847"/>
                </a:lnTo>
                <a:lnTo>
                  <a:pt x="3979410" y="1274847"/>
                </a:lnTo>
                <a:cubicBezTo>
                  <a:pt x="3980778" y="1274847"/>
                  <a:pt x="3982145" y="1275650"/>
                  <a:pt x="3983122" y="1276990"/>
                </a:cubicBezTo>
                <a:cubicBezTo>
                  <a:pt x="3984099" y="1278329"/>
                  <a:pt x="3984685" y="1280205"/>
                  <a:pt x="3984685" y="1282080"/>
                </a:cubicBezTo>
                <a:lnTo>
                  <a:pt x="3984685" y="1290787"/>
                </a:lnTo>
                <a:lnTo>
                  <a:pt x="4079044" y="1290787"/>
                </a:lnTo>
                <a:lnTo>
                  <a:pt x="4079044" y="1305120"/>
                </a:lnTo>
              </a:path>
            </a:pathLst>
          </a:custGeom>
          <a:solidFill>
            <a:schemeClr val="accent2"/>
          </a:solidFill>
          <a:ln w="9753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734" name="Grafik 539">
            <a:extLst>
              <a:ext uri="{FF2B5EF4-FFF2-40B4-BE49-F238E27FC236}">
                <a16:creationId xmlns:a16="http://schemas.microsoft.com/office/drawing/2014/main" id="{45BA3592-A846-59B8-06B8-EA3DD8E309B0}"/>
              </a:ext>
            </a:extLst>
          </p:cNvPr>
          <p:cNvGrpSpPr/>
          <p:nvPr/>
        </p:nvGrpSpPr>
        <p:grpSpPr>
          <a:xfrm>
            <a:off x="1498472" y="1372394"/>
            <a:ext cx="4085588" cy="1407729"/>
            <a:chOff x="1568743" y="1572375"/>
            <a:chExt cx="4085588" cy="1407729"/>
          </a:xfrm>
          <a:solidFill>
            <a:schemeClr val="accent2">
              <a:alpha val="30000"/>
            </a:schemeClr>
          </a:solidFill>
        </p:grpSpPr>
        <p:sp>
          <p:nvSpPr>
            <p:cNvPr id="735" name="Freihandform: Form 734">
              <a:extLst>
                <a:ext uri="{FF2B5EF4-FFF2-40B4-BE49-F238E27FC236}">
                  <a16:creationId xmlns:a16="http://schemas.microsoft.com/office/drawing/2014/main" id="{9E5075B9-C3B9-7D2B-27E0-452892E7C82F}"/>
                </a:ext>
              </a:extLst>
            </p:cNvPr>
            <p:cNvSpPr/>
            <p:nvPr/>
          </p:nvSpPr>
          <p:spPr>
            <a:xfrm>
              <a:off x="1573724" y="1573447"/>
              <a:ext cx="4080607" cy="1406657"/>
            </a:xfrm>
            <a:custGeom>
              <a:avLst/>
              <a:gdLst>
                <a:gd name="connsiteX0" fmla="*/ 24225 w 4080607"/>
                <a:gd name="connsiteY0" fmla="*/ 12726 h 1406657"/>
                <a:gd name="connsiteX1" fmla="*/ 0 w 4080607"/>
                <a:gd name="connsiteY1" fmla="*/ 12726 h 1406657"/>
                <a:gd name="connsiteX2" fmla="*/ 0 w 4080607"/>
                <a:gd name="connsiteY2" fmla="*/ 10850 h 1406657"/>
                <a:gd name="connsiteX3" fmla="*/ 24225 w 4080607"/>
                <a:gd name="connsiteY3" fmla="*/ 10850 h 1406657"/>
                <a:gd name="connsiteX4" fmla="*/ 24225 w 4080607"/>
                <a:gd name="connsiteY4" fmla="*/ 12726 h 1406657"/>
                <a:gd name="connsiteX5" fmla="*/ 2861456 w 4080607"/>
                <a:gd name="connsiteY5" fmla="*/ 1191259 h 1406657"/>
                <a:gd name="connsiteX6" fmla="*/ 2731736 w 4080607"/>
                <a:gd name="connsiteY6" fmla="*/ 1191259 h 1406657"/>
                <a:gd name="connsiteX7" fmla="*/ 2731736 w 4080607"/>
                <a:gd name="connsiteY7" fmla="*/ 1187106 h 1406657"/>
                <a:gd name="connsiteX8" fmla="*/ 2730173 w 4080607"/>
                <a:gd name="connsiteY8" fmla="*/ 1182016 h 1406657"/>
                <a:gd name="connsiteX9" fmla="*/ 2726461 w 4080607"/>
                <a:gd name="connsiteY9" fmla="*/ 1179873 h 1406657"/>
                <a:gd name="connsiteX10" fmla="*/ 2584336 w 4080607"/>
                <a:gd name="connsiteY10" fmla="*/ 1179873 h 1406657"/>
                <a:gd name="connsiteX11" fmla="*/ 2582968 w 4080607"/>
                <a:gd name="connsiteY11" fmla="*/ 1176390 h 1406657"/>
                <a:gd name="connsiteX12" fmla="*/ 2579256 w 4080607"/>
                <a:gd name="connsiteY12" fmla="*/ 1174247 h 1406657"/>
                <a:gd name="connsiteX13" fmla="*/ 2545068 w 4080607"/>
                <a:gd name="connsiteY13" fmla="*/ 1174247 h 1406657"/>
                <a:gd name="connsiteX14" fmla="*/ 2543701 w 4080607"/>
                <a:gd name="connsiteY14" fmla="*/ 1170764 h 1406657"/>
                <a:gd name="connsiteX15" fmla="*/ 2539989 w 4080607"/>
                <a:gd name="connsiteY15" fmla="*/ 1168621 h 1406657"/>
                <a:gd name="connsiteX16" fmla="*/ 2527876 w 4080607"/>
                <a:gd name="connsiteY16" fmla="*/ 1168621 h 1406657"/>
                <a:gd name="connsiteX17" fmla="*/ 2526509 w 4080607"/>
                <a:gd name="connsiteY17" fmla="*/ 1165138 h 1406657"/>
                <a:gd name="connsiteX18" fmla="*/ 2522797 w 4080607"/>
                <a:gd name="connsiteY18" fmla="*/ 1162994 h 1406657"/>
                <a:gd name="connsiteX19" fmla="*/ 2439573 w 4080607"/>
                <a:gd name="connsiteY19" fmla="*/ 1162994 h 1406657"/>
                <a:gd name="connsiteX20" fmla="*/ 2438205 w 4080607"/>
                <a:gd name="connsiteY20" fmla="*/ 1159646 h 1406657"/>
                <a:gd name="connsiteX21" fmla="*/ 2434494 w 4080607"/>
                <a:gd name="connsiteY21" fmla="*/ 1157502 h 1406657"/>
                <a:gd name="connsiteX22" fmla="*/ 2341404 w 4080607"/>
                <a:gd name="connsiteY22" fmla="*/ 1157502 h 1406657"/>
                <a:gd name="connsiteX23" fmla="*/ 2340037 w 4080607"/>
                <a:gd name="connsiteY23" fmla="*/ 1154153 h 1406657"/>
                <a:gd name="connsiteX24" fmla="*/ 2336325 w 4080607"/>
                <a:gd name="connsiteY24" fmla="*/ 1152010 h 1406657"/>
                <a:gd name="connsiteX25" fmla="*/ 2289829 w 4080607"/>
                <a:gd name="connsiteY25" fmla="*/ 1152010 h 1406657"/>
                <a:gd name="connsiteX26" fmla="*/ 2288461 w 4080607"/>
                <a:gd name="connsiteY26" fmla="*/ 1148795 h 1406657"/>
                <a:gd name="connsiteX27" fmla="*/ 2284749 w 4080607"/>
                <a:gd name="connsiteY27" fmla="*/ 1146652 h 1406657"/>
                <a:gd name="connsiteX28" fmla="*/ 2267753 w 4080607"/>
                <a:gd name="connsiteY28" fmla="*/ 1146652 h 1406657"/>
                <a:gd name="connsiteX29" fmla="*/ 2266385 w 4080607"/>
                <a:gd name="connsiteY29" fmla="*/ 1143303 h 1406657"/>
                <a:gd name="connsiteX30" fmla="*/ 2262673 w 4080607"/>
                <a:gd name="connsiteY30" fmla="*/ 1141160 h 1406657"/>
                <a:gd name="connsiteX31" fmla="*/ 2253003 w 4080607"/>
                <a:gd name="connsiteY31" fmla="*/ 1141160 h 1406657"/>
                <a:gd name="connsiteX32" fmla="*/ 2251636 w 4080607"/>
                <a:gd name="connsiteY32" fmla="*/ 1137811 h 1406657"/>
                <a:gd name="connsiteX33" fmla="*/ 2247924 w 4080607"/>
                <a:gd name="connsiteY33" fmla="*/ 1135668 h 1406657"/>
                <a:gd name="connsiteX34" fmla="*/ 2154834 w 4080607"/>
                <a:gd name="connsiteY34" fmla="*/ 1135668 h 1406657"/>
                <a:gd name="connsiteX35" fmla="*/ 2153467 w 4080607"/>
                <a:gd name="connsiteY35" fmla="*/ 1132453 h 1406657"/>
                <a:gd name="connsiteX36" fmla="*/ 2152490 w 4080607"/>
                <a:gd name="connsiteY36" fmla="*/ 1131381 h 1406657"/>
                <a:gd name="connsiteX37" fmla="*/ 2152490 w 4080607"/>
                <a:gd name="connsiteY37" fmla="*/ 1126827 h 1406657"/>
                <a:gd name="connsiteX38" fmla="*/ 2150927 w 4080607"/>
                <a:gd name="connsiteY38" fmla="*/ 1121736 h 1406657"/>
                <a:gd name="connsiteX39" fmla="*/ 2147215 w 4080607"/>
                <a:gd name="connsiteY39" fmla="*/ 1119593 h 1406657"/>
                <a:gd name="connsiteX40" fmla="*/ 2115469 w 4080607"/>
                <a:gd name="connsiteY40" fmla="*/ 1119593 h 1406657"/>
                <a:gd name="connsiteX41" fmla="*/ 2114101 w 4080607"/>
                <a:gd name="connsiteY41" fmla="*/ 1116378 h 1406657"/>
                <a:gd name="connsiteX42" fmla="*/ 2110389 w 4080607"/>
                <a:gd name="connsiteY42" fmla="*/ 1114235 h 1406657"/>
                <a:gd name="connsiteX43" fmla="*/ 2009876 w 4080607"/>
                <a:gd name="connsiteY43" fmla="*/ 1114235 h 1406657"/>
                <a:gd name="connsiteX44" fmla="*/ 2008509 w 4080607"/>
                <a:gd name="connsiteY44" fmla="*/ 1111154 h 1406657"/>
                <a:gd name="connsiteX45" fmla="*/ 2004797 w 4080607"/>
                <a:gd name="connsiteY45" fmla="*/ 1109011 h 1406657"/>
                <a:gd name="connsiteX46" fmla="*/ 1857690 w 4080607"/>
                <a:gd name="connsiteY46" fmla="*/ 1109011 h 1406657"/>
                <a:gd name="connsiteX47" fmla="*/ 1856420 w 4080607"/>
                <a:gd name="connsiteY47" fmla="*/ 1105930 h 1406657"/>
                <a:gd name="connsiteX48" fmla="*/ 1852708 w 4080607"/>
                <a:gd name="connsiteY48" fmla="*/ 1103787 h 1406657"/>
                <a:gd name="connsiteX49" fmla="*/ 1847922 w 4080607"/>
                <a:gd name="connsiteY49" fmla="*/ 1103787 h 1406657"/>
                <a:gd name="connsiteX50" fmla="*/ 1846554 w 4080607"/>
                <a:gd name="connsiteY50" fmla="*/ 1100840 h 1406657"/>
                <a:gd name="connsiteX51" fmla="*/ 1842842 w 4080607"/>
                <a:gd name="connsiteY51" fmla="*/ 1098696 h 1406657"/>
                <a:gd name="connsiteX52" fmla="*/ 1830632 w 4080607"/>
                <a:gd name="connsiteY52" fmla="*/ 1098696 h 1406657"/>
                <a:gd name="connsiteX53" fmla="*/ 1829265 w 4080607"/>
                <a:gd name="connsiteY53" fmla="*/ 1095615 h 1406657"/>
                <a:gd name="connsiteX54" fmla="*/ 1825553 w 4080607"/>
                <a:gd name="connsiteY54" fmla="*/ 1093472 h 1406657"/>
                <a:gd name="connsiteX55" fmla="*/ 1803575 w 4080607"/>
                <a:gd name="connsiteY55" fmla="*/ 1093472 h 1406657"/>
                <a:gd name="connsiteX56" fmla="*/ 1802305 w 4080607"/>
                <a:gd name="connsiteY56" fmla="*/ 1090391 h 1406657"/>
                <a:gd name="connsiteX57" fmla="*/ 1798593 w 4080607"/>
                <a:gd name="connsiteY57" fmla="*/ 1088248 h 1406657"/>
                <a:gd name="connsiteX58" fmla="*/ 1793806 w 4080607"/>
                <a:gd name="connsiteY58" fmla="*/ 1088248 h 1406657"/>
                <a:gd name="connsiteX59" fmla="*/ 1792537 w 4080607"/>
                <a:gd name="connsiteY59" fmla="*/ 1085167 h 1406657"/>
                <a:gd name="connsiteX60" fmla="*/ 1788825 w 4080607"/>
                <a:gd name="connsiteY60" fmla="*/ 1083024 h 1406657"/>
                <a:gd name="connsiteX61" fmla="*/ 1717713 w 4080607"/>
                <a:gd name="connsiteY61" fmla="*/ 1083024 h 1406657"/>
                <a:gd name="connsiteX62" fmla="*/ 1716443 w 4080607"/>
                <a:gd name="connsiteY62" fmla="*/ 1080077 h 1406657"/>
                <a:gd name="connsiteX63" fmla="*/ 1712829 w 4080607"/>
                <a:gd name="connsiteY63" fmla="*/ 1077933 h 1406657"/>
                <a:gd name="connsiteX64" fmla="*/ 1711559 w 4080607"/>
                <a:gd name="connsiteY64" fmla="*/ 1074852 h 1406657"/>
                <a:gd name="connsiteX65" fmla="*/ 1707848 w 4080607"/>
                <a:gd name="connsiteY65" fmla="*/ 1072709 h 1406657"/>
                <a:gd name="connsiteX66" fmla="*/ 1661352 w 4080607"/>
                <a:gd name="connsiteY66" fmla="*/ 1072709 h 1406657"/>
                <a:gd name="connsiteX67" fmla="*/ 1660082 w 4080607"/>
                <a:gd name="connsiteY67" fmla="*/ 1069762 h 1406657"/>
                <a:gd name="connsiteX68" fmla="*/ 1656370 w 4080607"/>
                <a:gd name="connsiteY68" fmla="*/ 1067619 h 1406657"/>
                <a:gd name="connsiteX69" fmla="*/ 1607334 w 4080607"/>
                <a:gd name="connsiteY69" fmla="*/ 1067619 h 1406657"/>
                <a:gd name="connsiteX70" fmla="*/ 1606065 w 4080607"/>
                <a:gd name="connsiteY70" fmla="*/ 1064538 h 1406657"/>
                <a:gd name="connsiteX71" fmla="*/ 1602353 w 4080607"/>
                <a:gd name="connsiteY71" fmla="*/ 1062394 h 1406657"/>
                <a:gd name="connsiteX72" fmla="*/ 1577932 w 4080607"/>
                <a:gd name="connsiteY72" fmla="*/ 1062394 h 1406657"/>
                <a:gd name="connsiteX73" fmla="*/ 1576663 w 4080607"/>
                <a:gd name="connsiteY73" fmla="*/ 1059314 h 1406657"/>
                <a:gd name="connsiteX74" fmla="*/ 1572951 w 4080607"/>
                <a:gd name="connsiteY74" fmla="*/ 1057170 h 1406657"/>
                <a:gd name="connsiteX75" fmla="*/ 1560741 w 4080607"/>
                <a:gd name="connsiteY75" fmla="*/ 1057170 h 1406657"/>
                <a:gd name="connsiteX76" fmla="*/ 1559471 w 4080607"/>
                <a:gd name="connsiteY76" fmla="*/ 1054223 h 1406657"/>
                <a:gd name="connsiteX77" fmla="*/ 1555759 w 4080607"/>
                <a:gd name="connsiteY77" fmla="*/ 1052080 h 1406657"/>
                <a:gd name="connsiteX78" fmla="*/ 1541205 w 4080607"/>
                <a:gd name="connsiteY78" fmla="*/ 1052080 h 1406657"/>
                <a:gd name="connsiteX79" fmla="*/ 1539935 w 4080607"/>
                <a:gd name="connsiteY79" fmla="*/ 1049133 h 1406657"/>
                <a:gd name="connsiteX80" fmla="*/ 1536223 w 4080607"/>
                <a:gd name="connsiteY80" fmla="*/ 1046990 h 1406657"/>
                <a:gd name="connsiteX81" fmla="*/ 1475172 w 4080607"/>
                <a:gd name="connsiteY81" fmla="*/ 1046990 h 1406657"/>
                <a:gd name="connsiteX82" fmla="*/ 1475172 w 4080607"/>
                <a:gd name="connsiteY82" fmla="*/ 1044177 h 1406657"/>
                <a:gd name="connsiteX83" fmla="*/ 1473610 w 4080607"/>
                <a:gd name="connsiteY83" fmla="*/ 1039086 h 1406657"/>
                <a:gd name="connsiteX84" fmla="*/ 1469898 w 4080607"/>
                <a:gd name="connsiteY84" fmla="*/ 1036943 h 1406657"/>
                <a:gd name="connsiteX85" fmla="*/ 1460130 w 4080607"/>
                <a:gd name="connsiteY85" fmla="*/ 1036943 h 1406657"/>
                <a:gd name="connsiteX86" fmla="*/ 1458860 w 4080607"/>
                <a:gd name="connsiteY86" fmla="*/ 1033996 h 1406657"/>
                <a:gd name="connsiteX87" fmla="*/ 1455148 w 4080607"/>
                <a:gd name="connsiteY87" fmla="*/ 1031853 h 1406657"/>
                <a:gd name="connsiteX88" fmla="*/ 1452804 w 4080607"/>
                <a:gd name="connsiteY88" fmla="*/ 1031853 h 1406657"/>
                <a:gd name="connsiteX89" fmla="*/ 1451534 w 4080607"/>
                <a:gd name="connsiteY89" fmla="*/ 1029040 h 1406657"/>
                <a:gd name="connsiteX90" fmla="*/ 1450557 w 4080607"/>
                <a:gd name="connsiteY90" fmla="*/ 1027968 h 1406657"/>
                <a:gd name="connsiteX91" fmla="*/ 1449092 w 4080607"/>
                <a:gd name="connsiteY91" fmla="*/ 1024083 h 1406657"/>
                <a:gd name="connsiteX92" fmla="*/ 1445380 w 4080607"/>
                <a:gd name="connsiteY92" fmla="*/ 1021940 h 1406657"/>
                <a:gd name="connsiteX93" fmla="*/ 1440496 w 4080607"/>
                <a:gd name="connsiteY93" fmla="*/ 1021940 h 1406657"/>
                <a:gd name="connsiteX94" fmla="*/ 1439226 w 4080607"/>
                <a:gd name="connsiteY94" fmla="*/ 1018993 h 1406657"/>
                <a:gd name="connsiteX95" fmla="*/ 1435612 w 4080607"/>
                <a:gd name="connsiteY95" fmla="*/ 1016850 h 1406657"/>
                <a:gd name="connsiteX96" fmla="*/ 1434342 w 4080607"/>
                <a:gd name="connsiteY96" fmla="*/ 1014037 h 1406657"/>
                <a:gd name="connsiteX97" fmla="*/ 1430630 w 4080607"/>
                <a:gd name="connsiteY97" fmla="*/ 1011894 h 1406657"/>
                <a:gd name="connsiteX98" fmla="*/ 1388920 w 4080607"/>
                <a:gd name="connsiteY98" fmla="*/ 1011894 h 1406657"/>
                <a:gd name="connsiteX99" fmla="*/ 1387651 w 4080607"/>
                <a:gd name="connsiteY99" fmla="*/ 1008947 h 1406657"/>
                <a:gd name="connsiteX100" fmla="*/ 1383939 w 4080607"/>
                <a:gd name="connsiteY100" fmla="*/ 1006803 h 1406657"/>
                <a:gd name="connsiteX101" fmla="*/ 1374464 w 4080607"/>
                <a:gd name="connsiteY101" fmla="*/ 1006803 h 1406657"/>
                <a:gd name="connsiteX102" fmla="*/ 1374464 w 4080607"/>
                <a:gd name="connsiteY102" fmla="*/ 1003990 h 1406657"/>
                <a:gd name="connsiteX103" fmla="*/ 1372901 w 4080607"/>
                <a:gd name="connsiteY103" fmla="*/ 998900 h 1406657"/>
                <a:gd name="connsiteX104" fmla="*/ 1369189 w 4080607"/>
                <a:gd name="connsiteY104" fmla="*/ 996757 h 1406657"/>
                <a:gd name="connsiteX105" fmla="*/ 1354537 w 4080607"/>
                <a:gd name="connsiteY105" fmla="*/ 996757 h 1406657"/>
                <a:gd name="connsiteX106" fmla="*/ 1353267 w 4080607"/>
                <a:gd name="connsiteY106" fmla="*/ 993810 h 1406657"/>
                <a:gd name="connsiteX107" fmla="*/ 1349555 w 4080607"/>
                <a:gd name="connsiteY107" fmla="*/ 991666 h 1406657"/>
                <a:gd name="connsiteX108" fmla="*/ 1342229 w 4080607"/>
                <a:gd name="connsiteY108" fmla="*/ 991666 h 1406657"/>
                <a:gd name="connsiteX109" fmla="*/ 1340959 w 4080607"/>
                <a:gd name="connsiteY109" fmla="*/ 988719 h 1406657"/>
                <a:gd name="connsiteX110" fmla="*/ 1337247 w 4080607"/>
                <a:gd name="connsiteY110" fmla="*/ 986576 h 1406657"/>
                <a:gd name="connsiteX111" fmla="*/ 1334903 w 4080607"/>
                <a:gd name="connsiteY111" fmla="*/ 986576 h 1406657"/>
                <a:gd name="connsiteX112" fmla="*/ 1333633 w 4080607"/>
                <a:gd name="connsiteY112" fmla="*/ 983763 h 1406657"/>
                <a:gd name="connsiteX113" fmla="*/ 1329921 w 4080607"/>
                <a:gd name="connsiteY113" fmla="*/ 981620 h 1406657"/>
                <a:gd name="connsiteX114" fmla="*/ 1317711 w 4080607"/>
                <a:gd name="connsiteY114" fmla="*/ 981620 h 1406657"/>
                <a:gd name="connsiteX115" fmla="*/ 1316441 w 4080607"/>
                <a:gd name="connsiteY115" fmla="*/ 978673 h 1406657"/>
                <a:gd name="connsiteX116" fmla="*/ 1312730 w 4080607"/>
                <a:gd name="connsiteY116" fmla="*/ 976530 h 1406657"/>
                <a:gd name="connsiteX117" fmla="*/ 1261252 w 4080607"/>
                <a:gd name="connsiteY117" fmla="*/ 976530 h 1406657"/>
                <a:gd name="connsiteX118" fmla="*/ 1259982 w 4080607"/>
                <a:gd name="connsiteY118" fmla="*/ 973717 h 1406657"/>
                <a:gd name="connsiteX119" fmla="*/ 1256270 w 4080607"/>
                <a:gd name="connsiteY119" fmla="*/ 971573 h 1406657"/>
                <a:gd name="connsiteX120" fmla="*/ 1244353 w 4080607"/>
                <a:gd name="connsiteY120" fmla="*/ 971573 h 1406657"/>
                <a:gd name="connsiteX121" fmla="*/ 1244353 w 4080607"/>
                <a:gd name="connsiteY121" fmla="*/ 968894 h 1406657"/>
                <a:gd name="connsiteX122" fmla="*/ 1242790 w 4080607"/>
                <a:gd name="connsiteY122" fmla="*/ 963804 h 1406657"/>
                <a:gd name="connsiteX123" fmla="*/ 1239176 w 4080607"/>
                <a:gd name="connsiteY123" fmla="*/ 961661 h 1406657"/>
                <a:gd name="connsiteX124" fmla="*/ 1237906 w 4080607"/>
                <a:gd name="connsiteY124" fmla="*/ 958848 h 1406657"/>
                <a:gd name="connsiteX125" fmla="*/ 1234194 w 4080607"/>
                <a:gd name="connsiteY125" fmla="*/ 956704 h 1406657"/>
                <a:gd name="connsiteX126" fmla="*/ 1224426 w 4080607"/>
                <a:gd name="connsiteY126" fmla="*/ 956704 h 1406657"/>
                <a:gd name="connsiteX127" fmla="*/ 1223157 w 4080607"/>
                <a:gd name="connsiteY127" fmla="*/ 953891 h 1406657"/>
                <a:gd name="connsiteX128" fmla="*/ 1219445 w 4080607"/>
                <a:gd name="connsiteY128" fmla="*/ 951748 h 1406657"/>
                <a:gd name="connsiteX129" fmla="*/ 1204793 w 4080607"/>
                <a:gd name="connsiteY129" fmla="*/ 951748 h 1406657"/>
                <a:gd name="connsiteX130" fmla="*/ 1203523 w 4080607"/>
                <a:gd name="connsiteY130" fmla="*/ 948935 h 1406657"/>
                <a:gd name="connsiteX131" fmla="*/ 1199811 w 4080607"/>
                <a:gd name="connsiteY131" fmla="*/ 946792 h 1406657"/>
                <a:gd name="connsiteX132" fmla="*/ 1194927 w 4080607"/>
                <a:gd name="connsiteY132" fmla="*/ 946792 h 1406657"/>
                <a:gd name="connsiteX133" fmla="*/ 1193657 w 4080607"/>
                <a:gd name="connsiteY133" fmla="*/ 943979 h 1406657"/>
                <a:gd name="connsiteX134" fmla="*/ 1192680 w 4080607"/>
                <a:gd name="connsiteY134" fmla="*/ 942907 h 1406657"/>
                <a:gd name="connsiteX135" fmla="*/ 1191215 w 4080607"/>
                <a:gd name="connsiteY135" fmla="*/ 939022 h 1406657"/>
                <a:gd name="connsiteX136" fmla="*/ 1187503 w 4080607"/>
                <a:gd name="connsiteY136" fmla="*/ 936879 h 1406657"/>
                <a:gd name="connsiteX137" fmla="*/ 1180177 w 4080607"/>
                <a:gd name="connsiteY137" fmla="*/ 936879 h 1406657"/>
                <a:gd name="connsiteX138" fmla="*/ 1178907 w 4080607"/>
                <a:gd name="connsiteY138" fmla="*/ 934066 h 1406657"/>
                <a:gd name="connsiteX139" fmla="*/ 1175293 w 4080607"/>
                <a:gd name="connsiteY139" fmla="*/ 931923 h 1406657"/>
                <a:gd name="connsiteX140" fmla="*/ 1174023 w 4080607"/>
                <a:gd name="connsiteY140" fmla="*/ 929110 h 1406657"/>
                <a:gd name="connsiteX141" fmla="*/ 1173046 w 4080607"/>
                <a:gd name="connsiteY141" fmla="*/ 928038 h 1406657"/>
                <a:gd name="connsiteX142" fmla="*/ 1171581 w 4080607"/>
                <a:gd name="connsiteY142" fmla="*/ 924153 h 1406657"/>
                <a:gd name="connsiteX143" fmla="*/ 1167869 w 4080607"/>
                <a:gd name="connsiteY143" fmla="*/ 922010 h 1406657"/>
                <a:gd name="connsiteX144" fmla="*/ 1138467 w 4080607"/>
                <a:gd name="connsiteY144" fmla="*/ 922010 h 1406657"/>
                <a:gd name="connsiteX145" fmla="*/ 1137198 w 4080607"/>
                <a:gd name="connsiteY145" fmla="*/ 919197 h 1406657"/>
                <a:gd name="connsiteX146" fmla="*/ 1133486 w 4080607"/>
                <a:gd name="connsiteY146" fmla="*/ 917054 h 1406657"/>
                <a:gd name="connsiteX147" fmla="*/ 1124011 w 4080607"/>
                <a:gd name="connsiteY147" fmla="*/ 917054 h 1406657"/>
                <a:gd name="connsiteX148" fmla="*/ 1124011 w 4080607"/>
                <a:gd name="connsiteY148" fmla="*/ 914375 h 1406657"/>
                <a:gd name="connsiteX149" fmla="*/ 1122448 w 4080607"/>
                <a:gd name="connsiteY149" fmla="*/ 909284 h 1406657"/>
                <a:gd name="connsiteX150" fmla="*/ 1118736 w 4080607"/>
                <a:gd name="connsiteY150" fmla="*/ 907141 h 1406657"/>
                <a:gd name="connsiteX151" fmla="*/ 1091776 w 4080607"/>
                <a:gd name="connsiteY151" fmla="*/ 907141 h 1406657"/>
                <a:gd name="connsiteX152" fmla="*/ 1090506 w 4080607"/>
                <a:gd name="connsiteY152" fmla="*/ 904328 h 1406657"/>
                <a:gd name="connsiteX153" fmla="*/ 1086794 w 4080607"/>
                <a:gd name="connsiteY153" fmla="*/ 902185 h 1406657"/>
                <a:gd name="connsiteX154" fmla="*/ 1064719 w 4080607"/>
                <a:gd name="connsiteY154" fmla="*/ 902185 h 1406657"/>
                <a:gd name="connsiteX155" fmla="*/ 1063449 w 4080607"/>
                <a:gd name="connsiteY155" fmla="*/ 899372 h 1406657"/>
                <a:gd name="connsiteX156" fmla="*/ 1059737 w 4080607"/>
                <a:gd name="connsiteY156" fmla="*/ 897228 h 1406657"/>
                <a:gd name="connsiteX157" fmla="*/ 1058467 w 4080607"/>
                <a:gd name="connsiteY157" fmla="*/ 894549 h 1406657"/>
                <a:gd name="connsiteX158" fmla="*/ 1057490 w 4080607"/>
                <a:gd name="connsiteY158" fmla="*/ 893478 h 1406657"/>
                <a:gd name="connsiteX159" fmla="*/ 1056025 w 4080607"/>
                <a:gd name="connsiteY159" fmla="*/ 889727 h 1406657"/>
                <a:gd name="connsiteX160" fmla="*/ 1052313 w 4080607"/>
                <a:gd name="connsiteY160" fmla="*/ 887584 h 1406657"/>
                <a:gd name="connsiteX161" fmla="*/ 1037661 w 4080607"/>
                <a:gd name="connsiteY161" fmla="*/ 887584 h 1406657"/>
                <a:gd name="connsiteX162" fmla="*/ 1036391 w 4080607"/>
                <a:gd name="connsiteY162" fmla="*/ 884771 h 1406657"/>
                <a:gd name="connsiteX163" fmla="*/ 1035414 w 4080607"/>
                <a:gd name="connsiteY163" fmla="*/ 883699 h 1406657"/>
                <a:gd name="connsiteX164" fmla="*/ 1033949 w 4080607"/>
                <a:gd name="connsiteY164" fmla="*/ 879948 h 1406657"/>
                <a:gd name="connsiteX165" fmla="*/ 1030237 w 4080607"/>
                <a:gd name="connsiteY165" fmla="*/ 877805 h 1406657"/>
                <a:gd name="connsiteX166" fmla="*/ 1013046 w 4080607"/>
                <a:gd name="connsiteY166" fmla="*/ 877805 h 1406657"/>
                <a:gd name="connsiteX167" fmla="*/ 1011776 w 4080607"/>
                <a:gd name="connsiteY167" fmla="*/ 875126 h 1406657"/>
                <a:gd name="connsiteX168" fmla="*/ 1010799 w 4080607"/>
                <a:gd name="connsiteY168" fmla="*/ 874054 h 1406657"/>
                <a:gd name="connsiteX169" fmla="*/ 1009334 w 4080607"/>
                <a:gd name="connsiteY169" fmla="*/ 870170 h 1406657"/>
                <a:gd name="connsiteX170" fmla="*/ 1008357 w 4080607"/>
                <a:gd name="connsiteY170" fmla="*/ 869098 h 1406657"/>
                <a:gd name="connsiteX171" fmla="*/ 1006892 w 4080607"/>
                <a:gd name="connsiteY171" fmla="*/ 865347 h 1406657"/>
                <a:gd name="connsiteX172" fmla="*/ 1003180 w 4080607"/>
                <a:gd name="connsiteY172" fmla="*/ 863204 h 1406657"/>
                <a:gd name="connsiteX173" fmla="*/ 1000738 w 4080607"/>
                <a:gd name="connsiteY173" fmla="*/ 863204 h 1406657"/>
                <a:gd name="connsiteX174" fmla="*/ 999468 w 4080607"/>
                <a:gd name="connsiteY174" fmla="*/ 860391 h 1406657"/>
                <a:gd name="connsiteX175" fmla="*/ 995756 w 4080607"/>
                <a:gd name="connsiteY175" fmla="*/ 858248 h 1406657"/>
                <a:gd name="connsiteX176" fmla="*/ 994486 w 4080607"/>
                <a:gd name="connsiteY176" fmla="*/ 855569 h 1406657"/>
                <a:gd name="connsiteX177" fmla="*/ 990774 w 4080607"/>
                <a:gd name="connsiteY177" fmla="*/ 853425 h 1406657"/>
                <a:gd name="connsiteX178" fmla="*/ 978564 w 4080607"/>
                <a:gd name="connsiteY178" fmla="*/ 853425 h 1406657"/>
                <a:gd name="connsiteX179" fmla="*/ 977294 w 4080607"/>
                <a:gd name="connsiteY179" fmla="*/ 850746 h 1406657"/>
                <a:gd name="connsiteX180" fmla="*/ 976318 w 4080607"/>
                <a:gd name="connsiteY180" fmla="*/ 849674 h 1406657"/>
                <a:gd name="connsiteX181" fmla="*/ 974852 w 4080607"/>
                <a:gd name="connsiteY181" fmla="*/ 845924 h 1406657"/>
                <a:gd name="connsiteX182" fmla="*/ 971141 w 4080607"/>
                <a:gd name="connsiteY182" fmla="*/ 843780 h 1406657"/>
                <a:gd name="connsiteX183" fmla="*/ 968699 w 4080607"/>
                <a:gd name="connsiteY183" fmla="*/ 843780 h 1406657"/>
                <a:gd name="connsiteX184" fmla="*/ 967429 w 4080607"/>
                <a:gd name="connsiteY184" fmla="*/ 841101 h 1406657"/>
                <a:gd name="connsiteX185" fmla="*/ 966354 w 4080607"/>
                <a:gd name="connsiteY185" fmla="*/ 840030 h 1406657"/>
                <a:gd name="connsiteX186" fmla="*/ 964889 w 4080607"/>
                <a:gd name="connsiteY186" fmla="*/ 836279 h 1406657"/>
                <a:gd name="connsiteX187" fmla="*/ 961177 w 4080607"/>
                <a:gd name="connsiteY187" fmla="*/ 834136 h 1406657"/>
                <a:gd name="connsiteX188" fmla="*/ 931775 w 4080607"/>
                <a:gd name="connsiteY188" fmla="*/ 834136 h 1406657"/>
                <a:gd name="connsiteX189" fmla="*/ 930505 w 4080607"/>
                <a:gd name="connsiteY189" fmla="*/ 831323 h 1406657"/>
                <a:gd name="connsiteX190" fmla="*/ 926794 w 4080607"/>
                <a:gd name="connsiteY190" fmla="*/ 829179 h 1406657"/>
                <a:gd name="connsiteX191" fmla="*/ 909602 w 4080607"/>
                <a:gd name="connsiteY191" fmla="*/ 829179 h 1406657"/>
                <a:gd name="connsiteX192" fmla="*/ 908332 w 4080607"/>
                <a:gd name="connsiteY192" fmla="*/ 826500 h 1406657"/>
                <a:gd name="connsiteX193" fmla="*/ 904620 w 4080607"/>
                <a:gd name="connsiteY193" fmla="*/ 824357 h 1406657"/>
                <a:gd name="connsiteX194" fmla="*/ 902471 w 4080607"/>
                <a:gd name="connsiteY194" fmla="*/ 824357 h 1406657"/>
                <a:gd name="connsiteX195" fmla="*/ 902471 w 4080607"/>
                <a:gd name="connsiteY195" fmla="*/ 821946 h 1406657"/>
                <a:gd name="connsiteX196" fmla="*/ 900908 w 4080607"/>
                <a:gd name="connsiteY196" fmla="*/ 816856 h 1406657"/>
                <a:gd name="connsiteX197" fmla="*/ 899931 w 4080607"/>
                <a:gd name="connsiteY197" fmla="*/ 815784 h 1406657"/>
                <a:gd name="connsiteX198" fmla="*/ 898466 w 4080607"/>
                <a:gd name="connsiteY198" fmla="*/ 812167 h 1406657"/>
                <a:gd name="connsiteX199" fmla="*/ 894754 w 4080607"/>
                <a:gd name="connsiteY199" fmla="*/ 810024 h 1406657"/>
                <a:gd name="connsiteX200" fmla="*/ 892312 w 4080607"/>
                <a:gd name="connsiteY200" fmla="*/ 810024 h 1406657"/>
                <a:gd name="connsiteX201" fmla="*/ 891042 w 4080607"/>
                <a:gd name="connsiteY201" fmla="*/ 807345 h 1406657"/>
                <a:gd name="connsiteX202" fmla="*/ 887331 w 4080607"/>
                <a:gd name="connsiteY202" fmla="*/ 805202 h 1406657"/>
                <a:gd name="connsiteX203" fmla="*/ 872678 w 4080607"/>
                <a:gd name="connsiteY203" fmla="*/ 805202 h 1406657"/>
                <a:gd name="connsiteX204" fmla="*/ 871506 w 4080607"/>
                <a:gd name="connsiteY204" fmla="*/ 802522 h 1406657"/>
                <a:gd name="connsiteX205" fmla="*/ 868088 w 4080607"/>
                <a:gd name="connsiteY205" fmla="*/ 800379 h 1406657"/>
                <a:gd name="connsiteX206" fmla="*/ 868088 w 4080607"/>
                <a:gd name="connsiteY206" fmla="*/ 798102 h 1406657"/>
                <a:gd name="connsiteX207" fmla="*/ 866525 w 4080607"/>
                <a:gd name="connsiteY207" fmla="*/ 793012 h 1406657"/>
                <a:gd name="connsiteX208" fmla="*/ 862813 w 4080607"/>
                <a:gd name="connsiteY208" fmla="*/ 790868 h 1406657"/>
                <a:gd name="connsiteX209" fmla="*/ 857929 w 4080607"/>
                <a:gd name="connsiteY209" fmla="*/ 790868 h 1406657"/>
                <a:gd name="connsiteX210" fmla="*/ 856659 w 4080607"/>
                <a:gd name="connsiteY210" fmla="*/ 788189 h 1406657"/>
                <a:gd name="connsiteX211" fmla="*/ 852947 w 4080607"/>
                <a:gd name="connsiteY211" fmla="*/ 786046 h 1406657"/>
                <a:gd name="connsiteX212" fmla="*/ 840639 w 4080607"/>
                <a:gd name="connsiteY212" fmla="*/ 786046 h 1406657"/>
                <a:gd name="connsiteX213" fmla="*/ 839467 w 4080607"/>
                <a:gd name="connsiteY213" fmla="*/ 783501 h 1406657"/>
                <a:gd name="connsiteX214" fmla="*/ 838393 w 4080607"/>
                <a:gd name="connsiteY214" fmla="*/ 782429 h 1406657"/>
                <a:gd name="connsiteX215" fmla="*/ 836927 w 4080607"/>
                <a:gd name="connsiteY215" fmla="*/ 778812 h 1406657"/>
                <a:gd name="connsiteX216" fmla="*/ 833215 w 4080607"/>
                <a:gd name="connsiteY216" fmla="*/ 776669 h 1406657"/>
                <a:gd name="connsiteX217" fmla="*/ 825889 w 4080607"/>
                <a:gd name="connsiteY217" fmla="*/ 776669 h 1406657"/>
                <a:gd name="connsiteX218" fmla="*/ 824717 w 4080607"/>
                <a:gd name="connsiteY218" fmla="*/ 774124 h 1406657"/>
                <a:gd name="connsiteX219" fmla="*/ 821005 w 4080607"/>
                <a:gd name="connsiteY219" fmla="*/ 771981 h 1406657"/>
                <a:gd name="connsiteX220" fmla="*/ 811140 w 4080607"/>
                <a:gd name="connsiteY220" fmla="*/ 771981 h 1406657"/>
                <a:gd name="connsiteX221" fmla="*/ 809968 w 4080607"/>
                <a:gd name="connsiteY221" fmla="*/ 769302 h 1406657"/>
                <a:gd name="connsiteX222" fmla="*/ 809088 w 4080607"/>
                <a:gd name="connsiteY222" fmla="*/ 768364 h 1406657"/>
                <a:gd name="connsiteX223" fmla="*/ 809088 w 4080607"/>
                <a:gd name="connsiteY223" fmla="*/ 764881 h 1406657"/>
                <a:gd name="connsiteX224" fmla="*/ 807526 w 4080607"/>
                <a:gd name="connsiteY224" fmla="*/ 759791 h 1406657"/>
                <a:gd name="connsiteX225" fmla="*/ 806451 w 4080607"/>
                <a:gd name="connsiteY225" fmla="*/ 758719 h 1406657"/>
                <a:gd name="connsiteX226" fmla="*/ 804986 w 4080607"/>
                <a:gd name="connsiteY226" fmla="*/ 755102 h 1406657"/>
                <a:gd name="connsiteX227" fmla="*/ 801274 w 4080607"/>
                <a:gd name="connsiteY227" fmla="*/ 752959 h 1406657"/>
                <a:gd name="connsiteX228" fmla="*/ 788966 w 4080607"/>
                <a:gd name="connsiteY228" fmla="*/ 752959 h 1406657"/>
                <a:gd name="connsiteX229" fmla="*/ 787794 w 4080607"/>
                <a:gd name="connsiteY229" fmla="*/ 750280 h 1406657"/>
                <a:gd name="connsiteX230" fmla="*/ 784082 w 4080607"/>
                <a:gd name="connsiteY230" fmla="*/ 748137 h 1406657"/>
                <a:gd name="connsiteX231" fmla="*/ 782910 w 4080607"/>
                <a:gd name="connsiteY231" fmla="*/ 745592 h 1406657"/>
                <a:gd name="connsiteX232" fmla="*/ 781836 w 4080607"/>
                <a:gd name="connsiteY232" fmla="*/ 744520 h 1406657"/>
                <a:gd name="connsiteX233" fmla="*/ 780370 w 4080607"/>
                <a:gd name="connsiteY233" fmla="*/ 740903 h 1406657"/>
                <a:gd name="connsiteX234" fmla="*/ 779394 w 4080607"/>
                <a:gd name="connsiteY234" fmla="*/ 739832 h 1406657"/>
                <a:gd name="connsiteX235" fmla="*/ 779394 w 4080607"/>
                <a:gd name="connsiteY235" fmla="*/ 736483 h 1406657"/>
                <a:gd name="connsiteX236" fmla="*/ 777831 w 4080607"/>
                <a:gd name="connsiteY236" fmla="*/ 731392 h 1406657"/>
                <a:gd name="connsiteX237" fmla="*/ 776854 w 4080607"/>
                <a:gd name="connsiteY237" fmla="*/ 730321 h 1406657"/>
                <a:gd name="connsiteX238" fmla="*/ 775389 w 4080607"/>
                <a:gd name="connsiteY238" fmla="*/ 726704 h 1406657"/>
                <a:gd name="connsiteX239" fmla="*/ 771677 w 4080607"/>
                <a:gd name="connsiteY239" fmla="*/ 724561 h 1406657"/>
                <a:gd name="connsiteX240" fmla="*/ 769235 w 4080607"/>
                <a:gd name="connsiteY240" fmla="*/ 724561 h 1406657"/>
                <a:gd name="connsiteX241" fmla="*/ 768063 w 4080607"/>
                <a:gd name="connsiteY241" fmla="*/ 721882 h 1406657"/>
                <a:gd name="connsiteX242" fmla="*/ 767086 w 4080607"/>
                <a:gd name="connsiteY242" fmla="*/ 720810 h 1406657"/>
                <a:gd name="connsiteX243" fmla="*/ 765621 w 4080607"/>
                <a:gd name="connsiteY243" fmla="*/ 717059 h 1406657"/>
                <a:gd name="connsiteX244" fmla="*/ 761909 w 4080607"/>
                <a:gd name="connsiteY244" fmla="*/ 714916 h 1406657"/>
                <a:gd name="connsiteX245" fmla="*/ 759467 w 4080607"/>
                <a:gd name="connsiteY245" fmla="*/ 714916 h 1406657"/>
                <a:gd name="connsiteX246" fmla="*/ 758294 w 4080607"/>
                <a:gd name="connsiteY246" fmla="*/ 712237 h 1406657"/>
                <a:gd name="connsiteX247" fmla="*/ 754583 w 4080607"/>
                <a:gd name="connsiteY247" fmla="*/ 710094 h 1406657"/>
                <a:gd name="connsiteX248" fmla="*/ 752141 w 4080607"/>
                <a:gd name="connsiteY248" fmla="*/ 710094 h 1406657"/>
                <a:gd name="connsiteX249" fmla="*/ 750968 w 4080607"/>
                <a:gd name="connsiteY249" fmla="*/ 707415 h 1406657"/>
                <a:gd name="connsiteX250" fmla="*/ 747257 w 4080607"/>
                <a:gd name="connsiteY250" fmla="*/ 705271 h 1406657"/>
                <a:gd name="connsiteX251" fmla="*/ 746084 w 4080607"/>
                <a:gd name="connsiteY251" fmla="*/ 702592 h 1406657"/>
                <a:gd name="connsiteX252" fmla="*/ 742373 w 4080607"/>
                <a:gd name="connsiteY252" fmla="*/ 700449 h 1406657"/>
                <a:gd name="connsiteX253" fmla="*/ 741200 w 4080607"/>
                <a:gd name="connsiteY253" fmla="*/ 697770 h 1406657"/>
                <a:gd name="connsiteX254" fmla="*/ 737489 w 4080607"/>
                <a:gd name="connsiteY254" fmla="*/ 695627 h 1406657"/>
                <a:gd name="connsiteX255" fmla="*/ 732898 w 4080607"/>
                <a:gd name="connsiteY255" fmla="*/ 695627 h 1406657"/>
                <a:gd name="connsiteX256" fmla="*/ 732898 w 4080607"/>
                <a:gd name="connsiteY256" fmla="*/ 693483 h 1406657"/>
                <a:gd name="connsiteX257" fmla="*/ 731335 w 4080607"/>
                <a:gd name="connsiteY257" fmla="*/ 688393 h 1406657"/>
                <a:gd name="connsiteX258" fmla="*/ 727623 w 4080607"/>
                <a:gd name="connsiteY258" fmla="*/ 686250 h 1406657"/>
                <a:gd name="connsiteX259" fmla="*/ 720199 w 4080607"/>
                <a:gd name="connsiteY259" fmla="*/ 686250 h 1406657"/>
                <a:gd name="connsiteX260" fmla="*/ 719027 w 4080607"/>
                <a:gd name="connsiteY260" fmla="*/ 683571 h 1406657"/>
                <a:gd name="connsiteX261" fmla="*/ 715315 w 4080607"/>
                <a:gd name="connsiteY261" fmla="*/ 681427 h 1406657"/>
                <a:gd name="connsiteX262" fmla="*/ 707989 w 4080607"/>
                <a:gd name="connsiteY262" fmla="*/ 681427 h 1406657"/>
                <a:gd name="connsiteX263" fmla="*/ 706817 w 4080607"/>
                <a:gd name="connsiteY263" fmla="*/ 678748 h 1406657"/>
                <a:gd name="connsiteX264" fmla="*/ 703105 w 4080607"/>
                <a:gd name="connsiteY264" fmla="*/ 676605 h 1406657"/>
                <a:gd name="connsiteX265" fmla="*/ 703105 w 4080607"/>
                <a:gd name="connsiteY265" fmla="*/ 676605 h 1406657"/>
                <a:gd name="connsiteX266" fmla="*/ 701933 w 4080607"/>
                <a:gd name="connsiteY266" fmla="*/ 674060 h 1406657"/>
                <a:gd name="connsiteX267" fmla="*/ 698221 w 4080607"/>
                <a:gd name="connsiteY267" fmla="*/ 671917 h 1406657"/>
                <a:gd name="connsiteX268" fmla="*/ 688355 w 4080607"/>
                <a:gd name="connsiteY268" fmla="*/ 671917 h 1406657"/>
                <a:gd name="connsiteX269" fmla="*/ 687183 w 4080607"/>
                <a:gd name="connsiteY269" fmla="*/ 669372 h 1406657"/>
                <a:gd name="connsiteX270" fmla="*/ 683471 w 4080607"/>
                <a:gd name="connsiteY270" fmla="*/ 667228 h 1406657"/>
                <a:gd name="connsiteX271" fmla="*/ 676047 w 4080607"/>
                <a:gd name="connsiteY271" fmla="*/ 667228 h 1406657"/>
                <a:gd name="connsiteX272" fmla="*/ 674875 w 4080607"/>
                <a:gd name="connsiteY272" fmla="*/ 664683 h 1406657"/>
                <a:gd name="connsiteX273" fmla="*/ 671163 w 4080607"/>
                <a:gd name="connsiteY273" fmla="*/ 662540 h 1406657"/>
                <a:gd name="connsiteX274" fmla="*/ 669014 w 4080607"/>
                <a:gd name="connsiteY274" fmla="*/ 662540 h 1406657"/>
                <a:gd name="connsiteX275" fmla="*/ 669014 w 4080607"/>
                <a:gd name="connsiteY275" fmla="*/ 655574 h 1406657"/>
                <a:gd name="connsiteX276" fmla="*/ 667452 w 4080607"/>
                <a:gd name="connsiteY276" fmla="*/ 650484 h 1406657"/>
                <a:gd name="connsiteX277" fmla="*/ 666377 w 4080607"/>
                <a:gd name="connsiteY277" fmla="*/ 649412 h 1406657"/>
                <a:gd name="connsiteX278" fmla="*/ 665010 w 4080607"/>
                <a:gd name="connsiteY278" fmla="*/ 645929 h 1406657"/>
                <a:gd name="connsiteX279" fmla="*/ 661298 w 4080607"/>
                <a:gd name="connsiteY279" fmla="*/ 643786 h 1406657"/>
                <a:gd name="connsiteX280" fmla="*/ 661298 w 4080607"/>
                <a:gd name="connsiteY280" fmla="*/ 643786 h 1406657"/>
                <a:gd name="connsiteX281" fmla="*/ 660126 w 4080607"/>
                <a:gd name="connsiteY281" fmla="*/ 641241 h 1406657"/>
                <a:gd name="connsiteX282" fmla="*/ 656414 w 4080607"/>
                <a:gd name="connsiteY282" fmla="*/ 639098 h 1406657"/>
                <a:gd name="connsiteX283" fmla="*/ 655242 w 4080607"/>
                <a:gd name="connsiteY283" fmla="*/ 636419 h 1406657"/>
                <a:gd name="connsiteX284" fmla="*/ 654167 w 4080607"/>
                <a:gd name="connsiteY284" fmla="*/ 635347 h 1406657"/>
                <a:gd name="connsiteX285" fmla="*/ 652799 w 4080607"/>
                <a:gd name="connsiteY285" fmla="*/ 631864 h 1406657"/>
                <a:gd name="connsiteX286" fmla="*/ 649088 w 4080607"/>
                <a:gd name="connsiteY286" fmla="*/ 629721 h 1406657"/>
                <a:gd name="connsiteX287" fmla="*/ 636878 w 4080607"/>
                <a:gd name="connsiteY287" fmla="*/ 629721 h 1406657"/>
                <a:gd name="connsiteX288" fmla="*/ 635705 w 4080607"/>
                <a:gd name="connsiteY288" fmla="*/ 627042 h 1406657"/>
                <a:gd name="connsiteX289" fmla="*/ 631993 w 4080607"/>
                <a:gd name="connsiteY289" fmla="*/ 624899 h 1406657"/>
                <a:gd name="connsiteX290" fmla="*/ 629551 w 4080607"/>
                <a:gd name="connsiteY290" fmla="*/ 624899 h 1406657"/>
                <a:gd name="connsiteX291" fmla="*/ 628379 w 4080607"/>
                <a:gd name="connsiteY291" fmla="*/ 622353 h 1406657"/>
                <a:gd name="connsiteX292" fmla="*/ 627500 w 4080607"/>
                <a:gd name="connsiteY292" fmla="*/ 621416 h 1406657"/>
                <a:gd name="connsiteX293" fmla="*/ 627500 w 4080607"/>
                <a:gd name="connsiteY293" fmla="*/ 613378 h 1406657"/>
                <a:gd name="connsiteX294" fmla="*/ 625937 w 4080607"/>
                <a:gd name="connsiteY294" fmla="*/ 608288 h 1406657"/>
                <a:gd name="connsiteX295" fmla="*/ 622225 w 4080607"/>
                <a:gd name="connsiteY295" fmla="*/ 606145 h 1406657"/>
                <a:gd name="connsiteX296" fmla="*/ 619783 w 4080607"/>
                <a:gd name="connsiteY296" fmla="*/ 606145 h 1406657"/>
                <a:gd name="connsiteX297" fmla="*/ 618611 w 4080607"/>
                <a:gd name="connsiteY297" fmla="*/ 603600 h 1406657"/>
                <a:gd name="connsiteX298" fmla="*/ 615192 w 4080607"/>
                <a:gd name="connsiteY298" fmla="*/ 601456 h 1406657"/>
                <a:gd name="connsiteX299" fmla="*/ 615192 w 4080607"/>
                <a:gd name="connsiteY299" fmla="*/ 594625 h 1406657"/>
                <a:gd name="connsiteX300" fmla="*/ 613630 w 4080607"/>
                <a:gd name="connsiteY300" fmla="*/ 589535 h 1406657"/>
                <a:gd name="connsiteX301" fmla="*/ 609918 w 4080607"/>
                <a:gd name="connsiteY301" fmla="*/ 587391 h 1406657"/>
                <a:gd name="connsiteX302" fmla="*/ 602494 w 4080607"/>
                <a:gd name="connsiteY302" fmla="*/ 587391 h 1406657"/>
                <a:gd name="connsiteX303" fmla="*/ 601322 w 4080607"/>
                <a:gd name="connsiteY303" fmla="*/ 584712 h 1406657"/>
                <a:gd name="connsiteX304" fmla="*/ 597610 w 4080607"/>
                <a:gd name="connsiteY304" fmla="*/ 582569 h 1406657"/>
                <a:gd name="connsiteX305" fmla="*/ 595168 w 4080607"/>
                <a:gd name="connsiteY305" fmla="*/ 582569 h 1406657"/>
                <a:gd name="connsiteX306" fmla="*/ 593996 w 4080607"/>
                <a:gd name="connsiteY306" fmla="*/ 580024 h 1406657"/>
                <a:gd name="connsiteX307" fmla="*/ 592921 w 4080607"/>
                <a:gd name="connsiteY307" fmla="*/ 578952 h 1406657"/>
                <a:gd name="connsiteX308" fmla="*/ 591554 w 4080607"/>
                <a:gd name="connsiteY308" fmla="*/ 575335 h 1406657"/>
                <a:gd name="connsiteX309" fmla="*/ 587842 w 4080607"/>
                <a:gd name="connsiteY309" fmla="*/ 573192 h 1406657"/>
                <a:gd name="connsiteX310" fmla="*/ 573092 w 4080607"/>
                <a:gd name="connsiteY310" fmla="*/ 573192 h 1406657"/>
                <a:gd name="connsiteX311" fmla="*/ 571920 w 4080607"/>
                <a:gd name="connsiteY311" fmla="*/ 570647 h 1406657"/>
                <a:gd name="connsiteX312" fmla="*/ 568208 w 4080607"/>
                <a:gd name="connsiteY312" fmla="*/ 568504 h 1406657"/>
                <a:gd name="connsiteX313" fmla="*/ 563324 w 4080607"/>
                <a:gd name="connsiteY313" fmla="*/ 568504 h 1406657"/>
                <a:gd name="connsiteX314" fmla="*/ 562152 w 4080607"/>
                <a:gd name="connsiteY314" fmla="*/ 565825 h 1406657"/>
                <a:gd name="connsiteX315" fmla="*/ 561077 w 4080607"/>
                <a:gd name="connsiteY315" fmla="*/ 564753 h 1406657"/>
                <a:gd name="connsiteX316" fmla="*/ 559710 w 4080607"/>
                <a:gd name="connsiteY316" fmla="*/ 561270 h 1406657"/>
                <a:gd name="connsiteX317" fmla="*/ 558635 w 4080607"/>
                <a:gd name="connsiteY317" fmla="*/ 560198 h 1406657"/>
                <a:gd name="connsiteX318" fmla="*/ 557268 w 4080607"/>
                <a:gd name="connsiteY318" fmla="*/ 556716 h 1406657"/>
                <a:gd name="connsiteX319" fmla="*/ 553556 w 4080607"/>
                <a:gd name="connsiteY319" fmla="*/ 554572 h 1406657"/>
                <a:gd name="connsiteX320" fmla="*/ 551114 w 4080607"/>
                <a:gd name="connsiteY320" fmla="*/ 554572 h 1406657"/>
                <a:gd name="connsiteX321" fmla="*/ 549942 w 4080607"/>
                <a:gd name="connsiteY321" fmla="*/ 551893 h 1406657"/>
                <a:gd name="connsiteX322" fmla="*/ 546230 w 4080607"/>
                <a:gd name="connsiteY322" fmla="*/ 549750 h 1406657"/>
                <a:gd name="connsiteX323" fmla="*/ 546230 w 4080607"/>
                <a:gd name="connsiteY323" fmla="*/ 549750 h 1406657"/>
                <a:gd name="connsiteX324" fmla="*/ 545058 w 4080607"/>
                <a:gd name="connsiteY324" fmla="*/ 547205 h 1406657"/>
                <a:gd name="connsiteX325" fmla="*/ 541346 w 4080607"/>
                <a:gd name="connsiteY325" fmla="*/ 545062 h 1406657"/>
                <a:gd name="connsiteX326" fmla="*/ 531578 w 4080607"/>
                <a:gd name="connsiteY326" fmla="*/ 545062 h 1406657"/>
                <a:gd name="connsiteX327" fmla="*/ 530406 w 4080607"/>
                <a:gd name="connsiteY327" fmla="*/ 542382 h 1406657"/>
                <a:gd name="connsiteX328" fmla="*/ 529527 w 4080607"/>
                <a:gd name="connsiteY328" fmla="*/ 541311 h 1406657"/>
                <a:gd name="connsiteX329" fmla="*/ 529527 w 4080607"/>
                <a:gd name="connsiteY329" fmla="*/ 538096 h 1406657"/>
                <a:gd name="connsiteX330" fmla="*/ 527964 w 4080607"/>
                <a:gd name="connsiteY330" fmla="*/ 533006 h 1406657"/>
                <a:gd name="connsiteX331" fmla="*/ 524252 w 4080607"/>
                <a:gd name="connsiteY331" fmla="*/ 530862 h 1406657"/>
                <a:gd name="connsiteX332" fmla="*/ 519758 w 4080607"/>
                <a:gd name="connsiteY332" fmla="*/ 530862 h 1406657"/>
                <a:gd name="connsiteX333" fmla="*/ 519758 w 4080607"/>
                <a:gd name="connsiteY333" fmla="*/ 528719 h 1406657"/>
                <a:gd name="connsiteX334" fmla="*/ 518196 w 4080607"/>
                <a:gd name="connsiteY334" fmla="*/ 523629 h 1406657"/>
                <a:gd name="connsiteX335" fmla="*/ 514484 w 4080607"/>
                <a:gd name="connsiteY335" fmla="*/ 521486 h 1406657"/>
                <a:gd name="connsiteX336" fmla="*/ 512335 w 4080607"/>
                <a:gd name="connsiteY336" fmla="*/ 521486 h 1406657"/>
                <a:gd name="connsiteX337" fmla="*/ 512335 w 4080607"/>
                <a:gd name="connsiteY337" fmla="*/ 519342 h 1406657"/>
                <a:gd name="connsiteX338" fmla="*/ 510772 w 4080607"/>
                <a:gd name="connsiteY338" fmla="*/ 514252 h 1406657"/>
                <a:gd name="connsiteX339" fmla="*/ 509697 w 4080607"/>
                <a:gd name="connsiteY339" fmla="*/ 513180 h 1406657"/>
                <a:gd name="connsiteX340" fmla="*/ 508232 w 4080607"/>
                <a:gd name="connsiteY340" fmla="*/ 509698 h 1406657"/>
                <a:gd name="connsiteX341" fmla="*/ 507158 w 4080607"/>
                <a:gd name="connsiteY341" fmla="*/ 508626 h 1406657"/>
                <a:gd name="connsiteX342" fmla="*/ 505790 w 4080607"/>
                <a:gd name="connsiteY342" fmla="*/ 505009 h 1406657"/>
                <a:gd name="connsiteX343" fmla="*/ 502078 w 4080607"/>
                <a:gd name="connsiteY343" fmla="*/ 502866 h 1406657"/>
                <a:gd name="connsiteX344" fmla="*/ 489771 w 4080607"/>
                <a:gd name="connsiteY344" fmla="*/ 502866 h 1406657"/>
                <a:gd name="connsiteX345" fmla="*/ 488598 w 4080607"/>
                <a:gd name="connsiteY345" fmla="*/ 500321 h 1406657"/>
                <a:gd name="connsiteX346" fmla="*/ 485180 w 4080607"/>
                <a:gd name="connsiteY346" fmla="*/ 498177 h 1406657"/>
                <a:gd name="connsiteX347" fmla="*/ 485180 w 4080607"/>
                <a:gd name="connsiteY347" fmla="*/ 496034 h 1406657"/>
                <a:gd name="connsiteX348" fmla="*/ 483617 w 4080607"/>
                <a:gd name="connsiteY348" fmla="*/ 490944 h 1406657"/>
                <a:gd name="connsiteX349" fmla="*/ 482542 w 4080607"/>
                <a:gd name="connsiteY349" fmla="*/ 489872 h 1406657"/>
                <a:gd name="connsiteX350" fmla="*/ 481175 w 4080607"/>
                <a:gd name="connsiteY350" fmla="*/ 486255 h 1406657"/>
                <a:gd name="connsiteX351" fmla="*/ 477463 w 4080607"/>
                <a:gd name="connsiteY351" fmla="*/ 484112 h 1406657"/>
                <a:gd name="connsiteX352" fmla="*/ 465253 w 4080607"/>
                <a:gd name="connsiteY352" fmla="*/ 484112 h 1406657"/>
                <a:gd name="connsiteX353" fmla="*/ 464081 w 4080607"/>
                <a:gd name="connsiteY353" fmla="*/ 481567 h 1406657"/>
                <a:gd name="connsiteX354" fmla="*/ 460369 w 4080607"/>
                <a:gd name="connsiteY354" fmla="*/ 479424 h 1406657"/>
                <a:gd name="connsiteX355" fmla="*/ 450894 w 4080607"/>
                <a:gd name="connsiteY355" fmla="*/ 479424 h 1406657"/>
                <a:gd name="connsiteX356" fmla="*/ 450894 w 4080607"/>
                <a:gd name="connsiteY356" fmla="*/ 477281 h 1406657"/>
                <a:gd name="connsiteX357" fmla="*/ 449331 w 4080607"/>
                <a:gd name="connsiteY357" fmla="*/ 472190 h 1406657"/>
                <a:gd name="connsiteX358" fmla="*/ 448256 w 4080607"/>
                <a:gd name="connsiteY358" fmla="*/ 471119 h 1406657"/>
                <a:gd name="connsiteX359" fmla="*/ 446889 w 4080607"/>
                <a:gd name="connsiteY359" fmla="*/ 467636 h 1406657"/>
                <a:gd name="connsiteX360" fmla="*/ 445912 w 4080607"/>
                <a:gd name="connsiteY360" fmla="*/ 466564 h 1406657"/>
                <a:gd name="connsiteX361" fmla="*/ 445912 w 4080607"/>
                <a:gd name="connsiteY361" fmla="*/ 463349 h 1406657"/>
                <a:gd name="connsiteX362" fmla="*/ 444349 w 4080607"/>
                <a:gd name="connsiteY362" fmla="*/ 458259 h 1406657"/>
                <a:gd name="connsiteX363" fmla="*/ 443275 w 4080607"/>
                <a:gd name="connsiteY363" fmla="*/ 457187 h 1406657"/>
                <a:gd name="connsiteX364" fmla="*/ 441907 w 4080607"/>
                <a:gd name="connsiteY364" fmla="*/ 453571 h 1406657"/>
                <a:gd name="connsiteX365" fmla="*/ 438195 w 4080607"/>
                <a:gd name="connsiteY365" fmla="*/ 451427 h 1406657"/>
                <a:gd name="connsiteX366" fmla="*/ 433311 w 4080607"/>
                <a:gd name="connsiteY366" fmla="*/ 451427 h 1406657"/>
                <a:gd name="connsiteX367" fmla="*/ 432139 w 4080607"/>
                <a:gd name="connsiteY367" fmla="*/ 448748 h 1406657"/>
                <a:gd name="connsiteX368" fmla="*/ 431064 w 4080607"/>
                <a:gd name="connsiteY368" fmla="*/ 447676 h 1406657"/>
                <a:gd name="connsiteX369" fmla="*/ 429697 w 4080607"/>
                <a:gd name="connsiteY369" fmla="*/ 444060 h 1406657"/>
                <a:gd name="connsiteX370" fmla="*/ 428622 w 4080607"/>
                <a:gd name="connsiteY370" fmla="*/ 442988 h 1406657"/>
                <a:gd name="connsiteX371" fmla="*/ 427255 w 4080607"/>
                <a:gd name="connsiteY371" fmla="*/ 439371 h 1406657"/>
                <a:gd name="connsiteX372" fmla="*/ 426180 w 4080607"/>
                <a:gd name="connsiteY372" fmla="*/ 438300 h 1406657"/>
                <a:gd name="connsiteX373" fmla="*/ 424813 w 4080607"/>
                <a:gd name="connsiteY373" fmla="*/ 434817 h 1406657"/>
                <a:gd name="connsiteX374" fmla="*/ 423738 w 4080607"/>
                <a:gd name="connsiteY374" fmla="*/ 433745 h 1406657"/>
                <a:gd name="connsiteX375" fmla="*/ 422371 w 4080607"/>
                <a:gd name="connsiteY375" fmla="*/ 430262 h 1406657"/>
                <a:gd name="connsiteX376" fmla="*/ 421296 w 4080607"/>
                <a:gd name="connsiteY376" fmla="*/ 429191 h 1406657"/>
                <a:gd name="connsiteX377" fmla="*/ 419929 w 4080607"/>
                <a:gd name="connsiteY377" fmla="*/ 425708 h 1406657"/>
                <a:gd name="connsiteX378" fmla="*/ 416217 w 4080607"/>
                <a:gd name="connsiteY378" fmla="*/ 423565 h 1406657"/>
                <a:gd name="connsiteX379" fmla="*/ 411333 w 4080607"/>
                <a:gd name="connsiteY379" fmla="*/ 423565 h 1406657"/>
                <a:gd name="connsiteX380" fmla="*/ 410161 w 4080607"/>
                <a:gd name="connsiteY380" fmla="*/ 421020 h 1406657"/>
                <a:gd name="connsiteX381" fmla="*/ 409086 w 4080607"/>
                <a:gd name="connsiteY381" fmla="*/ 419948 h 1406657"/>
                <a:gd name="connsiteX382" fmla="*/ 407719 w 4080607"/>
                <a:gd name="connsiteY382" fmla="*/ 416465 h 1406657"/>
                <a:gd name="connsiteX383" fmla="*/ 406644 w 4080607"/>
                <a:gd name="connsiteY383" fmla="*/ 415393 h 1406657"/>
                <a:gd name="connsiteX384" fmla="*/ 405277 w 4080607"/>
                <a:gd name="connsiteY384" fmla="*/ 411911 h 1406657"/>
                <a:gd name="connsiteX385" fmla="*/ 401565 w 4080607"/>
                <a:gd name="connsiteY385" fmla="*/ 409767 h 1406657"/>
                <a:gd name="connsiteX386" fmla="*/ 399123 w 4080607"/>
                <a:gd name="connsiteY386" fmla="*/ 409767 h 1406657"/>
                <a:gd name="connsiteX387" fmla="*/ 397951 w 4080607"/>
                <a:gd name="connsiteY387" fmla="*/ 407222 h 1406657"/>
                <a:gd name="connsiteX388" fmla="*/ 394239 w 4080607"/>
                <a:gd name="connsiteY388" fmla="*/ 405079 h 1406657"/>
                <a:gd name="connsiteX389" fmla="*/ 394239 w 4080607"/>
                <a:gd name="connsiteY389" fmla="*/ 405079 h 1406657"/>
                <a:gd name="connsiteX390" fmla="*/ 393067 w 4080607"/>
                <a:gd name="connsiteY390" fmla="*/ 402534 h 1406657"/>
                <a:gd name="connsiteX391" fmla="*/ 389355 w 4080607"/>
                <a:gd name="connsiteY391" fmla="*/ 400391 h 1406657"/>
                <a:gd name="connsiteX392" fmla="*/ 389355 w 4080607"/>
                <a:gd name="connsiteY392" fmla="*/ 400391 h 1406657"/>
                <a:gd name="connsiteX393" fmla="*/ 388183 w 4080607"/>
                <a:gd name="connsiteY393" fmla="*/ 397845 h 1406657"/>
                <a:gd name="connsiteX394" fmla="*/ 387108 w 4080607"/>
                <a:gd name="connsiteY394" fmla="*/ 396774 h 1406657"/>
                <a:gd name="connsiteX395" fmla="*/ 385741 w 4080607"/>
                <a:gd name="connsiteY395" fmla="*/ 393291 h 1406657"/>
                <a:gd name="connsiteX396" fmla="*/ 382029 w 4080607"/>
                <a:gd name="connsiteY396" fmla="*/ 391148 h 1406657"/>
                <a:gd name="connsiteX397" fmla="*/ 377047 w 4080607"/>
                <a:gd name="connsiteY397" fmla="*/ 391148 h 1406657"/>
                <a:gd name="connsiteX398" fmla="*/ 375875 w 4080607"/>
                <a:gd name="connsiteY398" fmla="*/ 388603 h 1406657"/>
                <a:gd name="connsiteX399" fmla="*/ 374898 w 4080607"/>
                <a:gd name="connsiteY399" fmla="*/ 387531 h 1406657"/>
                <a:gd name="connsiteX400" fmla="*/ 374898 w 4080607"/>
                <a:gd name="connsiteY400" fmla="*/ 384316 h 1406657"/>
                <a:gd name="connsiteX401" fmla="*/ 373335 w 4080607"/>
                <a:gd name="connsiteY401" fmla="*/ 379226 h 1406657"/>
                <a:gd name="connsiteX402" fmla="*/ 372261 w 4080607"/>
                <a:gd name="connsiteY402" fmla="*/ 378154 h 1406657"/>
                <a:gd name="connsiteX403" fmla="*/ 370796 w 4080607"/>
                <a:gd name="connsiteY403" fmla="*/ 374537 h 1406657"/>
                <a:gd name="connsiteX404" fmla="*/ 367084 w 4080607"/>
                <a:gd name="connsiteY404" fmla="*/ 372394 h 1406657"/>
                <a:gd name="connsiteX405" fmla="*/ 367084 w 4080607"/>
                <a:gd name="connsiteY405" fmla="*/ 372394 h 1406657"/>
                <a:gd name="connsiteX406" fmla="*/ 365912 w 4080607"/>
                <a:gd name="connsiteY406" fmla="*/ 369849 h 1406657"/>
                <a:gd name="connsiteX407" fmla="*/ 362493 w 4080607"/>
                <a:gd name="connsiteY407" fmla="*/ 367706 h 1406657"/>
                <a:gd name="connsiteX408" fmla="*/ 362493 w 4080607"/>
                <a:gd name="connsiteY408" fmla="*/ 365562 h 1406657"/>
                <a:gd name="connsiteX409" fmla="*/ 360930 w 4080607"/>
                <a:gd name="connsiteY409" fmla="*/ 360472 h 1406657"/>
                <a:gd name="connsiteX410" fmla="*/ 360051 w 4080607"/>
                <a:gd name="connsiteY410" fmla="*/ 359534 h 1406657"/>
                <a:gd name="connsiteX411" fmla="*/ 360051 w 4080607"/>
                <a:gd name="connsiteY411" fmla="*/ 356319 h 1406657"/>
                <a:gd name="connsiteX412" fmla="*/ 358488 w 4080607"/>
                <a:gd name="connsiteY412" fmla="*/ 351229 h 1406657"/>
                <a:gd name="connsiteX413" fmla="*/ 354776 w 4080607"/>
                <a:gd name="connsiteY413" fmla="*/ 349086 h 1406657"/>
                <a:gd name="connsiteX414" fmla="*/ 349892 w 4080607"/>
                <a:gd name="connsiteY414" fmla="*/ 349086 h 1406657"/>
                <a:gd name="connsiteX415" fmla="*/ 348720 w 4080607"/>
                <a:gd name="connsiteY415" fmla="*/ 346541 h 1406657"/>
                <a:gd name="connsiteX416" fmla="*/ 347645 w 4080607"/>
                <a:gd name="connsiteY416" fmla="*/ 345469 h 1406657"/>
                <a:gd name="connsiteX417" fmla="*/ 346180 w 4080607"/>
                <a:gd name="connsiteY417" fmla="*/ 341852 h 1406657"/>
                <a:gd name="connsiteX418" fmla="*/ 345203 w 4080607"/>
                <a:gd name="connsiteY418" fmla="*/ 340781 h 1406657"/>
                <a:gd name="connsiteX419" fmla="*/ 343738 w 4080607"/>
                <a:gd name="connsiteY419" fmla="*/ 337164 h 1406657"/>
                <a:gd name="connsiteX420" fmla="*/ 342859 w 4080607"/>
                <a:gd name="connsiteY420" fmla="*/ 336092 h 1406657"/>
                <a:gd name="connsiteX421" fmla="*/ 342859 w 4080607"/>
                <a:gd name="connsiteY421" fmla="*/ 332877 h 1406657"/>
                <a:gd name="connsiteX422" fmla="*/ 341296 w 4080607"/>
                <a:gd name="connsiteY422" fmla="*/ 327787 h 1406657"/>
                <a:gd name="connsiteX423" fmla="*/ 337584 w 4080607"/>
                <a:gd name="connsiteY423" fmla="*/ 325644 h 1406657"/>
                <a:gd name="connsiteX424" fmla="*/ 332602 w 4080607"/>
                <a:gd name="connsiteY424" fmla="*/ 325644 h 1406657"/>
                <a:gd name="connsiteX425" fmla="*/ 331430 w 4080607"/>
                <a:gd name="connsiteY425" fmla="*/ 323099 h 1406657"/>
                <a:gd name="connsiteX426" fmla="*/ 327718 w 4080607"/>
                <a:gd name="connsiteY426" fmla="*/ 320955 h 1406657"/>
                <a:gd name="connsiteX427" fmla="*/ 320295 w 4080607"/>
                <a:gd name="connsiteY427" fmla="*/ 320955 h 1406657"/>
                <a:gd name="connsiteX428" fmla="*/ 319123 w 4080607"/>
                <a:gd name="connsiteY428" fmla="*/ 318410 h 1406657"/>
                <a:gd name="connsiteX429" fmla="*/ 315411 w 4080607"/>
                <a:gd name="connsiteY429" fmla="*/ 316267 h 1406657"/>
                <a:gd name="connsiteX430" fmla="*/ 310820 w 4080607"/>
                <a:gd name="connsiteY430" fmla="*/ 316267 h 1406657"/>
                <a:gd name="connsiteX431" fmla="*/ 310820 w 4080607"/>
                <a:gd name="connsiteY431" fmla="*/ 314124 h 1406657"/>
                <a:gd name="connsiteX432" fmla="*/ 309257 w 4080607"/>
                <a:gd name="connsiteY432" fmla="*/ 309033 h 1406657"/>
                <a:gd name="connsiteX433" fmla="*/ 308182 w 4080607"/>
                <a:gd name="connsiteY433" fmla="*/ 307962 h 1406657"/>
                <a:gd name="connsiteX434" fmla="*/ 306815 w 4080607"/>
                <a:gd name="connsiteY434" fmla="*/ 304479 h 1406657"/>
                <a:gd name="connsiteX435" fmla="*/ 303103 w 4080607"/>
                <a:gd name="connsiteY435" fmla="*/ 302336 h 1406657"/>
                <a:gd name="connsiteX436" fmla="*/ 298219 w 4080607"/>
                <a:gd name="connsiteY436" fmla="*/ 302336 h 1406657"/>
                <a:gd name="connsiteX437" fmla="*/ 297047 w 4080607"/>
                <a:gd name="connsiteY437" fmla="*/ 299791 h 1406657"/>
                <a:gd name="connsiteX438" fmla="*/ 293628 w 4080607"/>
                <a:gd name="connsiteY438" fmla="*/ 297647 h 1406657"/>
                <a:gd name="connsiteX439" fmla="*/ 293628 w 4080607"/>
                <a:gd name="connsiteY439" fmla="*/ 295504 h 1406657"/>
                <a:gd name="connsiteX440" fmla="*/ 292065 w 4080607"/>
                <a:gd name="connsiteY440" fmla="*/ 290414 h 1406657"/>
                <a:gd name="connsiteX441" fmla="*/ 288353 w 4080607"/>
                <a:gd name="connsiteY441" fmla="*/ 288270 h 1406657"/>
                <a:gd name="connsiteX442" fmla="*/ 283469 w 4080607"/>
                <a:gd name="connsiteY442" fmla="*/ 288270 h 1406657"/>
                <a:gd name="connsiteX443" fmla="*/ 282297 w 4080607"/>
                <a:gd name="connsiteY443" fmla="*/ 285725 h 1406657"/>
                <a:gd name="connsiteX444" fmla="*/ 278585 w 4080607"/>
                <a:gd name="connsiteY444" fmla="*/ 283582 h 1406657"/>
                <a:gd name="connsiteX445" fmla="*/ 273994 w 4080607"/>
                <a:gd name="connsiteY445" fmla="*/ 283582 h 1406657"/>
                <a:gd name="connsiteX446" fmla="*/ 273994 w 4080607"/>
                <a:gd name="connsiteY446" fmla="*/ 276750 h 1406657"/>
                <a:gd name="connsiteX447" fmla="*/ 272431 w 4080607"/>
                <a:gd name="connsiteY447" fmla="*/ 271660 h 1406657"/>
                <a:gd name="connsiteX448" fmla="*/ 269012 w 4080607"/>
                <a:gd name="connsiteY448" fmla="*/ 269517 h 1406657"/>
                <a:gd name="connsiteX449" fmla="*/ 269012 w 4080607"/>
                <a:gd name="connsiteY449" fmla="*/ 267374 h 1406657"/>
                <a:gd name="connsiteX450" fmla="*/ 267449 w 4080607"/>
                <a:gd name="connsiteY450" fmla="*/ 262283 h 1406657"/>
                <a:gd name="connsiteX451" fmla="*/ 266570 w 4080607"/>
                <a:gd name="connsiteY451" fmla="*/ 261346 h 1406657"/>
                <a:gd name="connsiteX452" fmla="*/ 266570 w 4080607"/>
                <a:gd name="connsiteY452" fmla="*/ 258131 h 1406657"/>
                <a:gd name="connsiteX453" fmla="*/ 265007 w 4080607"/>
                <a:gd name="connsiteY453" fmla="*/ 253040 h 1406657"/>
                <a:gd name="connsiteX454" fmla="*/ 261296 w 4080607"/>
                <a:gd name="connsiteY454" fmla="*/ 250897 h 1406657"/>
                <a:gd name="connsiteX455" fmla="*/ 261296 w 4080607"/>
                <a:gd name="connsiteY455" fmla="*/ 250897 h 1406657"/>
                <a:gd name="connsiteX456" fmla="*/ 260123 w 4080607"/>
                <a:gd name="connsiteY456" fmla="*/ 248352 h 1406657"/>
                <a:gd name="connsiteX457" fmla="*/ 256705 w 4080607"/>
                <a:gd name="connsiteY457" fmla="*/ 246209 h 1406657"/>
                <a:gd name="connsiteX458" fmla="*/ 256705 w 4080607"/>
                <a:gd name="connsiteY458" fmla="*/ 239377 h 1406657"/>
                <a:gd name="connsiteX459" fmla="*/ 255142 w 4080607"/>
                <a:gd name="connsiteY459" fmla="*/ 234287 h 1406657"/>
                <a:gd name="connsiteX460" fmla="*/ 254165 w 4080607"/>
                <a:gd name="connsiteY460" fmla="*/ 233215 h 1406657"/>
                <a:gd name="connsiteX461" fmla="*/ 254165 w 4080607"/>
                <a:gd name="connsiteY461" fmla="*/ 230000 h 1406657"/>
                <a:gd name="connsiteX462" fmla="*/ 252602 w 4080607"/>
                <a:gd name="connsiteY462" fmla="*/ 224910 h 1406657"/>
                <a:gd name="connsiteX463" fmla="*/ 251528 w 4080607"/>
                <a:gd name="connsiteY463" fmla="*/ 223838 h 1406657"/>
                <a:gd name="connsiteX464" fmla="*/ 250160 w 4080607"/>
                <a:gd name="connsiteY464" fmla="*/ 220355 h 1406657"/>
                <a:gd name="connsiteX465" fmla="*/ 249086 w 4080607"/>
                <a:gd name="connsiteY465" fmla="*/ 219284 h 1406657"/>
                <a:gd name="connsiteX466" fmla="*/ 247718 w 4080607"/>
                <a:gd name="connsiteY466" fmla="*/ 215801 h 1406657"/>
                <a:gd name="connsiteX467" fmla="*/ 244006 w 4080607"/>
                <a:gd name="connsiteY467" fmla="*/ 213658 h 1406657"/>
                <a:gd name="connsiteX468" fmla="*/ 242834 w 4080607"/>
                <a:gd name="connsiteY468" fmla="*/ 211113 h 1406657"/>
                <a:gd name="connsiteX469" fmla="*/ 241759 w 4080607"/>
                <a:gd name="connsiteY469" fmla="*/ 210041 h 1406657"/>
                <a:gd name="connsiteX470" fmla="*/ 240392 w 4080607"/>
                <a:gd name="connsiteY470" fmla="*/ 206558 h 1406657"/>
                <a:gd name="connsiteX471" fmla="*/ 236680 w 4080607"/>
                <a:gd name="connsiteY471" fmla="*/ 204415 h 1406657"/>
                <a:gd name="connsiteX472" fmla="*/ 236680 w 4080607"/>
                <a:gd name="connsiteY472" fmla="*/ 204415 h 1406657"/>
                <a:gd name="connsiteX473" fmla="*/ 235508 w 4080607"/>
                <a:gd name="connsiteY473" fmla="*/ 201870 h 1406657"/>
                <a:gd name="connsiteX474" fmla="*/ 231796 w 4080607"/>
                <a:gd name="connsiteY474" fmla="*/ 199726 h 1406657"/>
                <a:gd name="connsiteX475" fmla="*/ 222321 w 4080607"/>
                <a:gd name="connsiteY475" fmla="*/ 199726 h 1406657"/>
                <a:gd name="connsiteX476" fmla="*/ 222321 w 4080607"/>
                <a:gd name="connsiteY476" fmla="*/ 197583 h 1406657"/>
                <a:gd name="connsiteX477" fmla="*/ 220758 w 4080607"/>
                <a:gd name="connsiteY477" fmla="*/ 192493 h 1406657"/>
                <a:gd name="connsiteX478" fmla="*/ 217046 w 4080607"/>
                <a:gd name="connsiteY478" fmla="*/ 190350 h 1406657"/>
                <a:gd name="connsiteX479" fmla="*/ 212162 w 4080607"/>
                <a:gd name="connsiteY479" fmla="*/ 190350 h 1406657"/>
                <a:gd name="connsiteX480" fmla="*/ 210990 w 4080607"/>
                <a:gd name="connsiteY480" fmla="*/ 187804 h 1406657"/>
                <a:gd name="connsiteX481" fmla="*/ 210013 w 4080607"/>
                <a:gd name="connsiteY481" fmla="*/ 186733 h 1406657"/>
                <a:gd name="connsiteX482" fmla="*/ 210013 w 4080607"/>
                <a:gd name="connsiteY482" fmla="*/ 183518 h 1406657"/>
                <a:gd name="connsiteX483" fmla="*/ 208450 w 4080607"/>
                <a:gd name="connsiteY483" fmla="*/ 178428 h 1406657"/>
                <a:gd name="connsiteX484" fmla="*/ 207376 w 4080607"/>
                <a:gd name="connsiteY484" fmla="*/ 177356 h 1406657"/>
                <a:gd name="connsiteX485" fmla="*/ 206008 w 4080607"/>
                <a:gd name="connsiteY485" fmla="*/ 173873 h 1406657"/>
                <a:gd name="connsiteX486" fmla="*/ 204934 w 4080607"/>
                <a:gd name="connsiteY486" fmla="*/ 172802 h 1406657"/>
                <a:gd name="connsiteX487" fmla="*/ 203566 w 4080607"/>
                <a:gd name="connsiteY487" fmla="*/ 169319 h 1406657"/>
                <a:gd name="connsiteX488" fmla="*/ 202492 w 4080607"/>
                <a:gd name="connsiteY488" fmla="*/ 168247 h 1406657"/>
                <a:gd name="connsiteX489" fmla="*/ 201124 w 4080607"/>
                <a:gd name="connsiteY489" fmla="*/ 164764 h 1406657"/>
                <a:gd name="connsiteX490" fmla="*/ 200245 w 4080607"/>
                <a:gd name="connsiteY490" fmla="*/ 163693 h 1406657"/>
                <a:gd name="connsiteX491" fmla="*/ 200245 w 4080607"/>
                <a:gd name="connsiteY491" fmla="*/ 155789 h 1406657"/>
                <a:gd name="connsiteX492" fmla="*/ 198682 w 4080607"/>
                <a:gd name="connsiteY492" fmla="*/ 150699 h 1406657"/>
                <a:gd name="connsiteX493" fmla="*/ 194970 w 4080607"/>
                <a:gd name="connsiteY493" fmla="*/ 148556 h 1406657"/>
                <a:gd name="connsiteX494" fmla="*/ 194970 w 4080607"/>
                <a:gd name="connsiteY494" fmla="*/ 148556 h 1406657"/>
                <a:gd name="connsiteX495" fmla="*/ 193798 w 4080607"/>
                <a:gd name="connsiteY495" fmla="*/ 146011 h 1406657"/>
                <a:gd name="connsiteX496" fmla="*/ 192724 w 4080607"/>
                <a:gd name="connsiteY496" fmla="*/ 144939 h 1406657"/>
                <a:gd name="connsiteX497" fmla="*/ 191356 w 4080607"/>
                <a:gd name="connsiteY497" fmla="*/ 141456 h 1406657"/>
                <a:gd name="connsiteX498" fmla="*/ 190379 w 4080607"/>
                <a:gd name="connsiteY498" fmla="*/ 140385 h 1406657"/>
                <a:gd name="connsiteX499" fmla="*/ 190379 w 4080607"/>
                <a:gd name="connsiteY499" fmla="*/ 137170 h 1406657"/>
                <a:gd name="connsiteX500" fmla="*/ 188817 w 4080607"/>
                <a:gd name="connsiteY500" fmla="*/ 132079 h 1406657"/>
                <a:gd name="connsiteX501" fmla="*/ 187742 w 4080607"/>
                <a:gd name="connsiteY501" fmla="*/ 131008 h 1406657"/>
                <a:gd name="connsiteX502" fmla="*/ 186375 w 4080607"/>
                <a:gd name="connsiteY502" fmla="*/ 127525 h 1406657"/>
                <a:gd name="connsiteX503" fmla="*/ 182663 w 4080607"/>
                <a:gd name="connsiteY503" fmla="*/ 125382 h 1406657"/>
                <a:gd name="connsiteX504" fmla="*/ 180514 w 4080607"/>
                <a:gd name="connsiteY504" fmla="*/ 125382 h 1406657"/>
                <a:gd name="connsiteX505" fmla="*/ 180514 w 4080607"/>
                <a:gd name="connsiteY505" fmla="*/ 123372 h 1406657"/>
                <a:gd name="connsiteX506" fmla="*/ 178951 w 4080607"/>
                <a:gd name="connsiteY506" fmla="*/ 118282 h 1406657"/>
                <a:gd name="connsiteX507" fmla="*/ 177876 w 4080607"/>
                <a:gd name="connsiteY507" fmla="*/ 117210 h 1406657"/>
                <a:gd name="connsiteX508" fmla="*/ 176509 w 4080607"/>
                <a:gd name="connsiteY508" fmla="*/ 113728 h 1406657"/>
                <a:gd name="connsiteX509" fmla="*/ 172797 w 4080607"/>
                <a:gd name="connsiteY509" fmla="*/ 111584 h 1406657"/>
                <a:gd name="connsiteX510" fmla="*/ 170355 w 4080607"/>
                <a:gd name="connsiteY510" fmla="*/ 111584 h 1406657"/>
                <a:gd name="connsiteX511" fmla="*/ 169183 w 4080607"/>
                <a:gd name="connsiteY511" fmla="*/ 109039 h 1406657"/>
                <a:gd name="connsiteX512" fmla="*/ 168206 w 4080607"/>
                <a:gd name="connsiteY512" fmla="*/ 107967 h 1406657"/>
                <a:gd name="connsiteX513" fmla="*/ 166741 w 4080607"/>
                <a:gd name="connsiteY513" fmla="*/ 104351 h 1406657"/>
                <a:gd name="connsiteX514" fmla="*/ 165666 w 4080607"/>
                <a:gd name="connsiteY514" fmla="*/ 103279 h 1406657"/>
                <a:gd name="connsiteX515" fmla="*/ 164299 w 4080607"/>
                <a:gd name="connsiteY515" fmla="*/ 99662 h 1406657"/>
                <a:gd name="connsiteX516" fmla="*/ 160587 w 4080607"/>
                <a:gd name="connsiteY516" fmla="*/ 97519 h 1406657"/>
                <a:gd name="connsiteX517" fmla="*/ 158145 w 4080607"/>
                <a:gd name="connsiteY517" fmla="*/ 97519 h 1406657"/>
                <a:gd name="connsiteX518" fmla="*/ 156973 w 4080607"/>
                <a:gd name="connsiteY518" fmla="*/ 94974 h 1406657"/>
                <a:gd name="connsiteX519" fmla="*/ 153261 w 4080607"/>
                <a:gd name="connsiteY519" fmla="*/ 92831 h 1406657"/>
                <a:gd name="connsiteX520" fmla="*/ 145837 w 4080607"/>
                <a:gd name="connsiteY520" fmla="*/ 92831 h 1406657"/>
                <a:gd name="connsiteX521" fmla="*/ 144665 w 4080607"/>
                <a:gd name="connsiteY521" fmla="*/ 90285 h 1406657"/>
                <a:gd name="connsiteX522" fmla="*/ 140953 w 4080607"/>
                <a:gd name="connsiteY522" fmla="*/ 88142 h 1406657"/>
                <a:gd name="connsiteX523" fmla="*/ 138511 w 4080607"/>
                <a:gd name="connsiteY523" fmla="*/ 88142 h 1406657"/>
                <a:gd name="connsiteX524" fmla="*/ 137339 w 4080607"/>
                <a:gd name="connsiteY524" fmla="*/ 85597 h 1406657"/>
                <a:gd name="connsiteX525" fmla="*/ 136264 w 4080607"/>
                <a:gd name="connsiteY525" fmla="*/ 84525 h 1406657"/>
                <a:gd name="connsiteX526" fmla="*/ 134897 w 4080607"/>
                <a:gd name="connsiteY526" fmla="*/ 81043 h 1406657"/>
                <a:gd name="connsiteX527" fmla="*/ 131185 w 4080607"/>
                <a:gd name="connsiteY527" fmla="*/ 78899 h 1406657"/>
                <a:gd name="connsiteX528" fmla="*/ 126301 w 4080607"/>
                <a:gd name="connsiteY528" fmla="*/ 78899 h 1406657"/>
                <a:gd name="connsiteX529" fmla="*/ 125129 w 4080607"/>
                <a:gd name="connsiteY529" fmla="*/ 76354 h 1406657"/>
                <a:gd name="connsiteX530" fmla="*/ 124250 w 4080607"/>
                <a:gd name="connsiteY530" fmla="*/ 75283 h 1406657"/>
                <a:gd name="connsiteX531" fmla="*/ 124250 w 4080607"/>
                <a:gd name="connsiteY531" fmla="*/ 72068 h 1406657"/>
                <a:gd name="connsiteX532" fmla="*/ 122687 w 4080607"/>
                <a:gd name="connsiteY532" fmla="*/ 66977 h 1406657"/>
                <a:gd name="connsiteX533" fmla="*/ 118975 w 4080607"/>
                <a:gd name="connsiteY533" fmla="*/ 64834 h 1406657"/>
                <a:gd name="connsiteX534" fmla="*/ 118975 w 4080607"/>
                <a:gd name="connsiteY534" fmla="*/ 64834 h 1406657"/>
                <a:gd name="connsiteX535" fmla="*/ 117803 w 4080607"/>
                <a:gd name="connsiteY535" fmla="*/ 62289 h 1406657"/>
                <a:gd name="connsiteX536" fmla="*/ 114091 w 4080607"/>
                <a:gd name="connsiteY536" fmla="*/ 60146 h 1406657"/>
                <a:gd name="connsiteX537" fmla="*/ 102174 w 4080607"/>
                <a:gd name="connsiteY537" fmla="*/ 60146 h 1406657"/>
                <a:gd name="connsiteX538" fmla="*/ 102174 w 4080607"/>
                <a:gd name="connsiteY538" fmla="*/ 58002 h 1406657"/>
                <a:gd name="connsiteX539" fmla="*/ 100611 w 4080607"/>
                <a:gd name="connsiteY539" fmla="*/ 52912 h 1406657"/>
                <a:gd name="connsiteX540" fmla="*/ 99537 w 4080607"/>
                <a:gd name="connsiteY540" fmla="*/ 51840 h 1406657"/>
                <a:gd name="connsiteX541" fmla="*/ 98071 w 4080607"/>
                <a:gd name="connsiteY541" fmla="*/ 48224 h 1406657"/>
                <a:gd name="connsiteX542" fmla="*/ 94359 w 4080607"/>
                <a:gd name="connsiteY542" fmla="*/ 46080 h 1406657"/>
                <a:gd name="connsiteX543" fmla="*/ 86936 w 4080607"/>
                <a:gd name="connsiteY543" fmla="*/ 46080 h 1406657"/>
                <a:gd name="connsiteX544" fmla="*/ 85764 w 4080607"/>
                <a:gd name="connsiteY544" fmla="*/ 43535 h 1406657"/>
                <a:gd name="connsiteX545" fmla="*/ 84689 w 4080607"/>
                <a:gd name="connsiteY545" fmla="*/ 42464 h 1406657"/>
                <a:gd name="connsiteX546" fmla="*/ 83322 w 4080607"/>
                <a:gd name="connsiteY546" fmla="*/ 38981 h 1406657"/>
                <a:gd name="connsiteX547" fmla="*/ 82247 w 4080607"/>
                <a:gd name="connsiteY547" fmla="*/ 37909 h 1406657"/>
                <a:gd name="connsiteX548" fmla="*/ 80880 w 4080607"/>
                <a:gd name="connsiteY548" fmla="*/ 34426 h 1406657"/>
                <a:gd name="connsiteX549" fmla="*/ 77168 w 4080607"/>
                <a:gd name="connsiteY549" fmla="*/ 32283 h 1406657"/>
                <a:gd name="connsiteX550" fmla="*/ 74726 w 4080607"/>
                <a:gd name="connsiteY550" fmla="*/ 32283 h 1406657"/>
                <a:gd name="connsiteX551" fmla="*/ 73553 w 4080607"/>
                <a:gd name="connsiteY551" fmla="*/ 29738 h 1406657"/>
                <a:gd name="connsiteX552" fmla="*/ 69842 w 4080607"/>
                <a:gd name="connsiteY552" fmla="*/ 27595 h 1406657"/>
                <a:gd name="connsiteX553" fmla="*/ 62809 w 4080607"/>
                <a:gd name="connsiteY553" fmla="*/ 27595 h 1406657"/>
                <a:gd name="connsiteX554" fmla="*/ 62809 w 4080607"/>
                <a:gd name="connsiteY554" fmla="*/ 25451 h 1406657"/>
                <a:gd name="connsiteX555" fmla="*/ 61246 w 4080607"/>
                <a:gd name="connsiteY555" fmla="*/ 20361 h 1406657"/>
                <a:gd name="connsiteX556" fmla="*/ 57534 w 4080607"/>
                <a:gd name="connsiteY556" fmla="*/ 18218 h 1406657"/>
                <a:gd name="connsiteX557" fmla="*/ 55092 w 4080607"/>
                <a:gd name="connsiteY557" fmla="*/ 18218 h 1406657"/>
                <a:gd name="connsiteX558" fmla="*/ 53920 w 4080607"/>
                <a:gd name="connsiteY558" fmla="*/ 15673 h 1406657"/>
                <a:gd name="connsiteX559" fmla="*/ 50501 w 4080607"/>
                <a:gd name="connsiteY559" fmla="*/ 13529 h 1406657"/>
                <a:gd name="connsiteX560" fmla="*/ 50501 w 4080607"/>
                <a:gd name="connsiteY560" fmla="*/ 11386 h 1406657"/>
                <a:gd name="connsiteX561" fmla="*/ 48938 w 4080607"/>
                <a:gd name="connsiteY561" fmla="*/ 6296 h 1406657"/>
                <a:gd name="connsiteX562" fmla="*/ 45226 w 4080607"/>
                <a:gd name="connsiteY562" fmla="*/ 4153 h 1406657"/>
                <a:gd name="connsiteX563" fmla="*/ 33309 w 4080607"/>
                <a:gd name="connsiteY563" fmla="*/ 4153 h 1406657"/>
                <a:gd name="connsiteX564" fmla="*/ 33309 w 4080607"/>
                <a:gd name="connsiteY564" fmla="*/ 0 h 1406657"/>
                <a:gd name="connsiteX565" fmla="*/ 50110 w 4080607"/>
                <a:gd name="connsiteY565" fmla="*/ 0 h 1406657"/>
                <a:gd name="connsiteX566" fmla="*/ 50110 w 4080607"/>
                <a:gd name="connsiteY566" fmla="*/ 1340 h 1406657"/>
                <a:gd name="connsiteX567" fmla="*/ 57436 w 4080607"/>
                <a:gd name="connsiteY567" fmla="*/ 1340 h 1406657"/>
                <a:gd name="connsiteX568" fmla="*/ 57436 w 4080607"/>
                <a:gd name="connsiteY568" fmla="*/ 7501 h 1406657"/>
                <a:gd name="connsiteX569" fmla="*/ 69744 w 4080607"/>
                <a:gd name="connsiteY569" fmla="*/ 7501 h 1406657"/>
                <a:gd name="connsiteX570" fmla="*/ 69744 w 4080607"/>
                <a:gd name="connsiteY570" fmla="*/ 10582 h 1406657"/>
                <a:gd name="connsiteX571" fmla="*/ 77070 w 4080607"/>
                <a:gd name="connsiteY571" fmla="*/ 10582 h 1406657"/>
                <a:gd name="connsiteX572" fmla="*/ 77070 w 4080607"/>
                <a:gd name="connsiteY572" fmla="*/ 13931 h 1406657"/>
                <a:gd name="connsiteX573" fmla="*/ 79512 w 4080607"/>
                <a:gd name="connsiteY573" fmla="*/ 13931 h 1406657"/>
                <a:gd name="connsiteX574" fmla="*/ 79512 w 4080607"/>
                <a:gd name="connsiteY574" fmla="*/ 17280 h 1406657"/>
                <a:gd name="connsiteX575" fmla="*/ 81954 w 4080607"/>
                <a:gd name="connsiteY575" fmla="*/ 17280 h 1406657"/>
                <a:gd name="connsiteX576" fmla="*/ 81954 w 4080607"/>
                <a:gd name="connsiteY576" fmla="*/ 20763 h 1406657"/>
                <a:gd name="connsiteX577" fmla="*/ 94262 w 4080607"/>
                <a:gd name="connsiteY577" fmla="*/ 20763 h 1406657"/>
                <a:gd name="connsiteX578" fmla="*/ 94262 w 4080607"/>
                <a:gd name="connsiteY578" fmla="*/ 24246 h 1406657"/>
                <a:gd name="connsiteX579" fmla="*/ 96704 w 4080607"/>
                <a:gd name="connsiteY579" fmla="*/ 24246 h 1406657"/>
                <a:gd name="connsiteX580" fmla="*/ 96704 w 4080607"/>
                <a:gd name="connsiteY580" fmla="*/ 31211 h 1406657"/>
                <a:gd name="connsiteX581" fmla="*/ 113896 w 4080607"/>
                <a:gd name="connsiteY581" fmla="*/ 31211 h 1406657"/>
                <a:gd name="connsiteX582" fmla="*/ 113896 w 4080607"/>
                <a:gd name="connsiteY582" fmla="*/ 34694 h 1406657"/>
                <a:gd name="connsiteX583" fmla="*/ 118780 w 4080607"/>
                <a:gd name="connsiteY583" fmla="*/ 34694 h 1406657"/>
                <a:gd name="connsiteX584" fmla="*/ 118780 w 4080607"/>
                <a:gd name="connsiteY584" fmla="*/ 41928 h 1406657"/>
                <a:gd name="connsiteX585" fmla="*/ 121222 w 4080607"/>
                <a:gd name="connsiteY585" fmla="*/ 41928 h 1406657"/>
                <a:gd name="connsiteX586" fmla="*/ 121222 w 4080607"/>
                <a:gd name="connsiteY586" fmla="*/ 45545 h 1406657"/>
                <a:gd name="connsiteX587" fmla="*/ 131087 w 4080607"/>
                <a:gd name="connsiteY587" fmla="*/ 45545 h 1406657"/>
                <a:gd name="connsiteX588" fmla="*/ 131087 w 4080607"/>
                <a:gd name="connsiteY588" fmla="*/ 49161 h 1406657"/>
                <a:gd name="connsiteX589" fmla="*/ 133529 w 4080607"/>
                <a:gd name="connsiteY589" fmla="*/ 49161 h 1406657"/>
                <a:gd name="connsiteX590" fmla="*/ 133529 w 4080607"/>
                <a:gd name="connsiteY590" fmla="*/ 52912 h 1406657"/>
                <a:gd name="connsiteX591" fmla="*/ 140855 w 4080607"/>
                <a:gd name="connsiteY591" fmla="*/ 52912 h 1406657"/>
                <a:gd name="connsiteX592" fmla="*/ 140855 w 4080607"/>
                <a:gd name="connsiteY592" fmla="*/ 56663 h 1406657"/>
                <a:gd name="connsiteX593" fmla="*/ 153163 w 4080607"/>
                <a:gd name="connsiteY593" fmla="*/ 56663 h 1406657"/>
                <a:gd name="connsiteX594" fmla="*/ 153163 w 4080607"/>
                <a:gd name="connsiteY594" fmla="*/ 60414 h 1406657"/>
                <a:gd name="connsiteX595" fmla="*/ 160489 w 4080607"/>
                <a:gd name="connsiteY595" fmla="*/ 60414 h 1406657"/>
                <a:gd name="connsiteX596" fmla="*/ 160489 w 4080607"/>
                <a:gd name="connsiteY596" fmla="*/ 64164 h 1406657"/>
                <a:gd name="connsiteX597" fmla="*/ 162931 w 4080607"/>
                <a:gd name="connsiteY597" fmla="*/ 64164 h 1406657"/>
                <a:gd name="connsiteX598" fmla="*/ 162931 w 4080607"/>
                <a:gd name="connsiteY598" fmla="*/ 67915 h 1406657"/>
                <a:gd name="connsiteX599" fmla="*/ 165373 w 4080607"/>
                <a:gd name="connsiteY599" fmla="*/ 67915 h 1406657"/>
                <a:gd name="connsiteX600" fmla="*/ 165373 w 4080607"/>
                <a:gd name="connsiteY600" fmla="*/ 71800 h 1406657"/>
                <a:gd name="connsiteX601" fmla="*/ 172699 w 4080607"/>
                <a:gd name="connsiteY601" fmla="*/ 71800 h 1406657"/>
                <a:gd name="connsiteX602" fmla="*/ 172699 w 4080607"/>
                <a:gd name="connsiteY602" fmla="*/ 75684 h 1406657"/>
                <a:gd name="connsiteX603" fmla="*/ 175141 w 4080607"/>
                <a:gd name="connsiteY603" fmla="*/ 75684 h 1406657"/>
                <a:gd name="connsiteX604" fmla="*/ 175141 w 4080607"/>
                <a:gd name="connsiteY604" fmla="*/ 83320 h 1406657"/>
                <a:gd name="connsiteX605" fmla="*/ 182467 w 4080607"/>
                <a:gd name="connsiteY605" fmla="*/ 83320 h 1406657"/>
                <a:gd name="connsiteX606" fmla="*/ 182467 w 4080607"/>
                <a:gd name="connsiteY606" fmla="*/ 87204 h 1406657"/>
                <a:gd name="connsiteX607" fmla="*/ 184909 w 4080607"/>
                <a:gd name="connsiteY607" fmla="*/ 87204 h 1406657"/>
                <a:gd name="connsiteX608" fmla="*/ 184909 w 4080607"/>
                <a:gd name="connsiteY608" fmla="*/ 94974 h 1406657"/>
                <a:gd name="connsiteX609" fmla="*/ 187351 w 4080607"/>
                <a:gd name="connsiteY609" fmla="*/ 94974 h 1406657"/>
                <a:gd name="connsiteX610" fmla="*/ 187351 w 4080607"/>
                <a:gd name="connsiteY610" fmla="*/ 98993 h 1406657"/>
                <a:gd name="connsiteX611" fmla="*/ 189793 w 4080607"/>
                <a:gd name="connsiteY611" fmla="*/ 98993 h 1406657"/>
                <a:gd name="connsiteX612" fmla="*/ 189793 w 4080607"/>
                <a:gd name="connsiteY612" fmla="*/ 102877 h 1406657"/>
                <a:gd name="connsiteX613" fmla="*/ 194677 w 4080607"/>
                <a:gd name="connsiteY613" fmla="*/ 102877 h 1406657"/>
                <a:gd name="connsiteX614" fmla="*/ 194677 w 4080607"/>
                <a:gd name="connsiteY614" fmla="*/ 114665 h 1406657"/>
                <a:gd name="connsiteX615" fmla="*/ 197119 w 4080607"/>
                <a:gd name="connsiteY615" fmla="*/ 114665 h 1406657"/>
                <a:gd name="connsiteX616" fmla="*/ 197119 w 4080607"/>
                <a:gd name="connsiteY616" fmla="*/ 118684 h 1406657"/>
                <a:gd name="connsiteX617" fmla="*/ 199561 w 4080607"/>
                <a:gd name="connsiteY617" fmla="*/ 118684 h 1406657"/>
                <a:gd name="connsiteX618" fmla="*/ 199561 w 4080607"/>
                <a:gd name="connsiteY618" fmla="*/ 122702 h 1406657"/>
                <a:gd name="connsiteX619" fmla="*/ 202003 w 4080607"/>
                <a:gd name="connsiteY619" fmla="*/ 122702 h 1406657"/>
                <a:gd name="connsiteX620" fmla="*/ 202003 w 4080607"/>
                <a:gd name="connsiteY620" fmla="*/ 126721 h 1406657"/>
                <a:gd name="connsiteX621" fmla="*/ 204445 w 4080607"/>
                <a:gd name="connsiteY621" fmla="*/ 126721 h 1406657"/>
                <a:gd name="connsiteX622" fmla="*/ 204445 w 4080607"/>
                <a:gd name="connsiteY622" fmla="*/ 134758 h 1406657"/>
                <a:gd name="connsiteX623" fmla="*/ 206888 w 4080607"/>
                <a:gd name="connsiteY623" fmla="*/ 134758 h 1406657"/>
                <a:gd name="connsiteX624" fmla="*/ 206888 w 4080607"/>
                <a:gd name="connsiteY624" fmla="*/ 138777 h 1406657"/>
                <a:gd name="connsiteX625" fmla="*/ 216656 w 4080607"/>
                <a:gd name="connsiteY625" fmla="*/ 138777 h 1406657"/>
                <a:gd name="connsiteX626" fmla="*/ 216656 w 4080607"/>
                <a:gd name="connsiteY626" fmla="*/ 146814 h 1406657"/>
                <a:gd name="connsiteX627" fmla="*/ 231308 w 4080607"/>
                <a:gd name="connsiteY627" fmla="*/ 146814 h 1406657"/>
                <a:gd name="connsiteX628" fmla="*/ 231308 w 4080607"/>
                <a:gd name="connsiteY628" fmla="*/ 150833 h 1406657"/>
                <a:gd name="connsiteX629" fmla="*/ 236192 w 4080607"/>
                <a:gd name="connsiteY629" fmla="*/ 150833 h 1406657"/>
                <a:gd name="connsiteX630" fmla="*/ 236192 w 4080607"/>
                <a:gd name="connsiteY630" fmla="*/ 154986 h 1406657"/>
                <a:gd name="connsiteX631" fmla="*/ 238634 w 4080607"/>
                <a:gd name="connsiteY631" fmla="*/ 154986 h 1406657"/>
                <a:gd name="connsiteX632" fmla="*/ 238634 w 4080607"/>
                <a:gd name="connsiteY632" fmla="*/ 159004 h 1406657"/>
                <a:gd name="connsiteX633" fmla="*/ 243518 w 4080607"/>
                <a:gd name="connsiteY633" fmla="*/ 159004 h 1406657"/>
                <a:gd name="connsiteX634" fmla="*/ 243518 w 4080607"/>
                <a:gd name="connsiteY634" fmla="*/ 163157 h 1406657"/>
                <a:gd name="connsiteX635" fmla="*/ 245960 w 4080607"/>
                <a:gd name="connsiteY635" fmla="*/ 163157 h 1406657"/>
                <a:gd name="connsiteX636" fmla="*/ 245960 w 4080607"/>
                <a:gd name="connsiteY636" fmla="*/ 167175 h 1406657"/>
                <a:gd name="connsiteX637" fmla="*/ 248402 w 4080607"/>
                <a:gd name="connsiteY637" fmla="*/ 167175 h 1406657"/>
                <a:gd name="connsiteX638" fmla="*/ 248402 w 4080607"/>
                <a:gd name="connsiteY638" fmla="*/ 175347 h 1406657"/>
                <a:gd name="connsiteX639" fmla="*/ 250844 w 4080607"/>
                <a:gd name="connsiteY639" fmla="*/ 175347 h 1406657"/>
                <a:gd name="connsiteX640" fmla="*/ 250844 w 4080607"/>
                <a:gd name="connsiteY640" fmla="*/ 187670 h 1406657"/>
                <a:gd name="connsiteX641" fmla="*/ 255728 w 4080607"/>
                <a:gd name="connsiteY641" fmla="*/ 187670 h 1406657"/>
                <a:gd name="connsiteX642" fmla="*/ 255728 w 4080607"/>
                <a:gd name="connsiteY642" fmla="*/ 191823 h 1406657"/>
                <a:gd name="connsiteX643" fmla="*/ 260612 w 4080607"/>
                <a:gd name="connsiteY643" fmla="*/ 191823 h 1406657"/>
                <a:gd name="connsiteX644" fmla="*/ 260612 w 4080607"/>
                <a:gd name="connsiteY644" fmla="*/ 200128 h 1406657"/>
                <a:gd name="connsiteX645" fmla="*/ 263054 w 4080607"/>
                <a:gd name="connsiteY645" fmla="*/ 200128 h 1406657"/>
                <a:gd name="connsiteX646" fmla="*/ 263054 w 4080607"/>
                <a:gd name="connsiteY646" fmla="*/ 208433 h 1406657"/>
                <a:gd name="connsiteX647" fmla="*/ 267938 w 4080607"/>
                <a:gd name="connsiteY647" fmla="*/ 208433 h 1406657"/>
                <a:gd name="connsiteX648" fmla="*/ 267938 w 4080607"/>
                <a:gd name="connsiteY648" fmla="*/ 220891 h 1406657"/>
                <a:gd name="connsiteX649" fmla="*/ 277804 w 4080607"/>
                <a:gd name="connsiteY649" fmla="*/ 220891 h 1406657"/>
                <a:gd name="connsiteX650" fmla="*/ 277804 w 4080607"/>
                <a:gd name="connsiteY650" fmla="*/ 225044 h 1406657"/>
                <a:gd name="connsiteX651" fmla="*/ 287572 w 4080607"/>
                <a:gd name="connsiteY651" fmla="*/ 225044 h 1406657"/>
                <a:gd name="connsiteX652" fmla="*/ 287572 w 4080607"/>
                <a:gd name="connsiteY652" fmla="*/ 233483 h 1406657"/>
                <a:gd name="connsiteX653" fmla="*/ 292456 w 4080607"/>
                <a:gd name="connsiteY653" fmla="*/ 233483 h 1406657"/>
                <a:gd name="connsiteX654" fmla="*/ 292456 w 4080607"/>
                <a:gd name="connsiteY654" fmla="*/ 237636 h 1406657"/>
                <a:gd name="connsiteX655" fmla="*/ 302321 w 4080607"/>
                <a:gd name="connsiteY655" fmla="*/ 237636 h 1406657"/>
                <a:gd name="connsiteX656" fmla="*/ 302321 w 4080607"/>
                <a:gd name="connsiteY656" fmla="*/ 241788 h 1406657"/>
                <a:gd name="connsiteX657" fmla="*/ 304763 w 4080607"/>
                <a:gd name="connsiteY657" fmla="*/ 241788 h 1406657"/>
                <a:gd name="connsiteX658" fmla="*/ 304763 w 4080607"/>
                <a:gd name="connsiteY658" fmla="*/ 250227 h 1406657"/>
                <a:gd name="connsiteX659" fmla="*/ 314532 w 4080607"/>
                <a:gd name="connsiteY659" fmla="*/ 250227 h 1406657"/>
                <a:gd name="connsiteX660" fmla="*/ 314532 w 4080607"/>
                <a:gd name="connsiteY660" fmla="*/ 254514 h 1406657"/>
                <a:gd name="connsiteX661" fmla="*/ 326839 w 4080607"/>
                <a:gd name="connsiteY661" fmla="*/ 254514 h 1406657"/>
                <a:gd name="connsiteX662" fmla="*/ 326839 w 4080607"/>
                <a:gd name="connsiteY662" fmla="*/ 258666 h 1406657"/>
                <a:gd name="connsiteX663" fmla="*/ 336705 w 4080607"/>
                <a:gd name="connsiteY663" fmla="*/ 258666 h 1406657"/>
                <a:gd name="connsiteX664" fmla="*/ 336705 w 4080607"/>
                <a:gd name="connsiteY664" fmla="*/ 267106 h 1406657"/>
                <a:gd name="connsiteX665" fmla="*/ 339147 w 4080607"/>
                <a:gd name="connsiteY665" fmla="*/ 267106 h 1406657"/>
                <a:gd name="connsiteX666" fmla="*/ 339147 w 4080607"/>
                <a:gd name="connsiteY666" fmla="*/ 271392 h 1406657"/>
                <a:gd name="connsiteX667" fmla="*/ 341589 w 4080607"/>
                <a:gd name="connsiteY667" fmla="*/ 271392 h 1406657"/>
                <a:gd name="connsiteX668" fmla="*/ 341589 w 4080607"/>
                <a:gd name="connsiteY668" fmla="*/ 275679 h 1406657"/>
                <a:gd name="connsiteX669" fmla="*/ 344031 w 4080607"/>
                <a:gd name="connsiteY669" fmla="*/ 275679 h 1406657"/>
                <a:gd name="connsiteX670" fmla="*/ 344031 w 4080607"/>
                <a:gd name="connsiteY670" fmla="*/ 279965 h 1406657"/>
                <a:gd name="connsiteX671" fmla="*/ 353897 w 4080607"/>
                <a:gd name="connsiteY671" fmla="*/ 279965 h 1406657"/>
                <a:gd name="connsiteX672" fmla="*/ 353897 w 4080607"/>
                <a:gd name="connsiteY672" fmla="*/ 288404 h 1406657"/>
                <a:gd name="connsiteX673" fmla="*/ 356339 w 4080607"/>
                <a:gd name="connsiteY673" fmla="*/ 288404 h 1406657"/>
                <a:gd name="connsiteX674" fmla="*/ 356339 w 4080607"/>
                <a:gd name="connsiteY674" fmla="*/ 296978 h 1406657"/>
                <a:gd name="connsiteX675" fmla="*/ 361223 w 4080607"/>
                <a:gd name="connsiteY675" fmla="*/ 296978 h 1406657"/>
                <a:gd name="connsiteX676" fmla="*/ 361223 w 4080607"/>
                <a:gd name="connsiteY676" fmla="*/ 301264 h 1406657"/>
                <a:gd name="connsiteX677" fmla="*/ 366107 w 4080607"/>
                <a:gd name="connsiteY677" fmla="*/ 301264 h 1406657"/>
                <a:gd name="connsiteX678" fmla="*/ 366107 w 4080607"/>
                <a:gd name="connsiteY678" fmla="*/ 305551 h 1406657"/>
                <a:gd name="connsiteX679" fmla="*/ 368549 w 4080607"/>
                <a:gd name="connsiteY679" fmla="*/ 305551 h 1406657"/>
                <a:gd name="connsiteX680" fmla="*/ 368549 w 4080607"/>
                <a:gd name="connsiteY680" fmla="*/ 314124 h 1406657"/>
                <a:gd name="connsiteX681" fmla="*/ 370991 w 4080607"/>
                <a:gd name="connsiteY681" fmla="*/ 314124 h 1406657"/>
                <a:gd name="connsiteX682" fmla="*/ 370991 w 4080607"/>
                <a:gd name="connsiteY682" fmla="*/ 318410 h 1406657"/>
                <a:gd name="connsiteX683" fmla="*/ 380857 w 4080607"/>
                <a:gd name="connsiteY683" fmla="*/ 318410 h 1406657"/>
                <a:gd name="connsiteX684" fmla="*/ 380857 w 4080607"/>
                <a:gd name="connsiteY684" fmla="*/ 322697 h 1406657"/>
                <a:gd name="connsiteX685" fmla="*/ 383299 w 4080607"/>
                <a:gd name="connsiteY685" fmla="*/ 322697 h 1406657"/>
                <a:gd name="connsiteX686" fmla="*/ 383299 w 4080607"/>
                <a:gd name="connsiteY686" fmla="*/ 326983 h 1406657"/>
                <a:gd name="connsiteX687" fmla="*/ 388183 w 4080607"/>
                <a:gd name="connsiteY687" fmla="*/ 326983 h 1406657"/>
                <a:gd name="connsiteX688" fmla="*/ 388183 w 4080607"/>
                <a:gd name="connsiteY688" fmla="*/ 331270 h 1406657"/>
                <a:gd name="connsiteX689" fmla="*/ 393067 w 4080607"/>
                <a:gd name="connsiteY689" fmla="*/ 331270 h 1406657"/>
                <a:gd name="connsiteX690" fmla="*/ 393067 w 4080607"/>
                <a:gd name="connsiteY690" fmla="*/ 335556 h 1406657"/>
                <a:gd name="connsiteX691" fmla="*/ 400393 w 4080607"/>
                <a:gd name="connsiteY691" fmla="*/ 335556 h 1406657"/>
                <a:gd name="connsiteX692" fmla="*/ 400393 w 4080607"/>
                <a:gd name="connsiteY692" fmla="*/ 339843 h 1406657"/>
                <a:gd name="connsiteX693" fmla="*/ 402835 w 4080607"/>
                <a:gd name="connsiteY693" fmla="*/ 339843 h 1406657"/>
                <a:gd name="connsiteX694" fmla="*/ 402835 w 4080607"/>
                <a:gd name="connsiteY694" fmla="*/ 344130 h 1406657"/>
                <a:gd name="connsiteX695" fmla="*/ 405277 w 4080607"/>
                <a:gd name="connsiteY695" fmla="*/ 344130 h 1406657"/>
                <a:gd name="connsiteX696" fmla="*/ 405277 w 4080607"/>
                <a:gd name="connsiteY696" fmla="*/ 348416 h 1406657"/>
                <a:gd name="connsiteX697" fmla="*/ 415143 w 4080607"/>
                <a:gd name="connsiteY697" fmla="*/ 348416 h 1406657"/>
                <a:gd name="connsiteX698" fmla="*/ 415143 w 4080607"/>
                <a:gd name="connsiteY698" fmla="*/ 352837 h 1406657"/>
                <a:gd name="connsiteX699" fmla="*/ 417585 w 4080607"/>
                <a:gd name="connsiteY699" fmla="*/ 352837 h 1406657"/>
                <a:gd name="connsiteX700" fmla="*/ 417585 w 4080607"/>
                <a:gd name="connsiteY700" fmla="*/ 357123 h 1406657"/>
                <a:gd name="connsiteX701" fmla="*/ 420027 w 4080607"/>
                <a:gd name="connsiteY701" fmla="*/ 357123 h 1406657"/>
                <a:gd name="connsiteX702" fmla="*/ 420027 w 4080607"/>
                <a:gd name="connsiteY702" fmla="*/ 361410 h 1406657"/>
                <a:gd name="connsiteX703" fmla="*/ 422469 w 4080607"/>
                <a:gd name="connsiteY703" fmla="*/ 361410 h 1406657"/>
                <a:gd name="connsiteX704" fmla="*/ 422469 w 4080607"/>
                <a:gd name="connsiteY704" fmla="*/ 365696 h 1406657"/>
                <a:gd name="connsiteX705" fmla="*/ 424911 w 4080607"/>
                <a:gd name="connsiteY705" fmla="*/ 365696 h 1406657"/>
                <a:gd name="connsiteX706" fmla="*/ 424911 w 4080607"/>
                <a:gd name="connsiteY706" fmla="*/ 369983 h 1406657"/>
                <a:gd name="connsiteX707" fmla="*/ 427353 w 4080607"/>
                <a:gd name="connsiteY707" fmla="*/ 369983 h 1406657"/>
                <a:gd name="connsiteX708" fmla="*/ 427353 w 4080607"/>
                <a:gd name="connsiteY708" fmla="*/ 374403 h 1406657"/>
                <a:gd name="connsiteX709" fmla="*/ 437121 w 4080607"/>
                <a:gd name="connsiteY709" fmla="*/ 374403 h 1406657"/>
                <a:gd name="connsiteX710" fmla="*/ 437121 w 4080607"/>
                <a:gd name="connsiteY710" fmla="*/ 378690 h 1406657"/>
                <a:gd name="connsiteX711" fmla="*/ 439563 w 4080607"/>
                <a:gd name="connsiteY711" fmla="*/ 378690 h 1406657"/>
                <a:gd name="connsiteX712" fmla="*/ 439563 w 4080607"/>
                <a:gd name="connsiteY712" fmla="*/ 387397 h 1406657"/>
                <a:gd name="connsiteX713" fmla="*/ 442005 w 4080607"/>
                <a:gd name="connsiteY713" fmla="*/ 387397 h 1406657"/>
                <a:gd name="connsiteX714" fmla="*/ 442005 w 4080607"/>
                <a:gd name="connsiteY714" fmla="*/ 391683 h 1406657"/>
                <a:gd name="connsiteX715" fmla="*/ 444447 w 4080607"/>
                <a:gd name="connsiteY715" fmla="*/ 391683 h 1406657"/>
                <a:gd name="connsiteX716" fmla="*/ 444447 w 4080607"/>
                <a:gd name="connsiteY716" fmla="*/ 400391 h 1406657"/>
                <a:gd name="connsiteX717" fmla="*/ 459196 w 4080607"/>
                <a:gd name="connsiteY717" fmla="*/ 400391 h 1406657"/>
                <a:gd name="connsiteX718" fmla="*/ 459196 w 4080607"/>
                <a:gd name="connsiteY718" fmla="*/ 404811 h 1406657"/>
                <a:gd name="connsiteX719" fmla="*/ 476388 w 4080607"/>
                <a:gd name="connsiteY719" fmla="*/ 404811 h 1406657"/>
                <a:gd name="connsiteX720" fmla="*/ 476388 w 4080607"/>
                <a:gd name="connsiteY720" fmla="*/ 409232 h 1406657"/>
                <a:gd name="connsiteX721" fmla="*/ 478830 w 4080607"/>
                <a:gd name="connsiteY721" fmla="*/ 409232 h 1406657"/>
                <a:gd name="connsiteX722" fmla="*/ 478830 w 4080607"/>
                <a:gd name="connsiteY722" fmla="*/ 417939 h 1406657"/>
                <a:gd name="connsiteX723" fmla="*/ 483714 w 4080607"/>
                <a:gd name="connsiteY723" fmla="*/ 417939 h 1406657"/>
                <a:gd name="connsiteX724" fmla="*/ 483714 w 4080607"/>
                <a:gd name="connsiteY724" fmla="*/ 422359 h 1406657"/>
                <a:gd name="connsiteX725" fmla="*/ 500906 w 4080607"/>
                <a:gd name="connsiteY725" fmla="*/ 422359 h 1406657"/>
                <a:gd name="connsiteX726" fmla="*/ 500906 w 4080607"/>
                <a:gd name="connsiteY726" fmla="*/ 426780 h 1406657"/>
                <a:gd name="connsiteX727" fmla="*/ 503348 w 4080607"/>
                <a:gd name="connsiteY727" fmla="*/ 426780 h 1406657"/>
                <a:gd name="connsiteX728" fmla="*/ 503348 w 4080607"/>
                <a:gd name="connsiteY728" fmla="*/ 431200 h 1406657"/>
                <a:gd name="connsiteX729" fmla="*/ 505790 w 4080607"/>
                <a:gd name="connsiteY729" fmla="*/ 431200 h 1406657"/>
                <a:gd name="connsiteX730" fmla="*/ 505790 w 4080607"/>
                <a:gd name="connsiteY730" fmla="*/ 439907 h 1406657"/>
                <a:gd name="connsiteX731" fmla="*/ 513116 w 4080607"/>
                <a:gd name="connsiteY731" fmla="*/ 439907 h 1406657"/>
                <a:gd name="connsiteX732" fmla="*/ 513116 w 4080607"/>
                <a:gd name="connsiteY732" fmla="*/ 448614 h 1406657"/>
                <a:gd name="connsiteX733" fmla="*/ 522884 w 4080607"/>
                <a:gd name="connsiteY733" fmla="*/ 448614 h 1406657"/>
                <a:gd name="connsiteX734" fmla="*/ 522884 w 4080607"/>
                <a:gd name="connsiteY734" fmla="*/ 457455 h 1406657"/>
                <a:gd name="connsiteX735" fmla="*/ 525326 w 4080607"/>
                <a:gd name="connsiteY735" fmla="*/ 457455 h 1406657"/>
                <a:gd name="connsiteX736" fmla="*/ 525326 w 4080607"/>
                <a:gd name="connsiteY736" fmla="*/ 461876 h 1406657"/>
                <a:gd name="connsiteX737" fmla="*/ 540076 w 4080607"/>
                <a:gd name="connsiteY737" fmla="*/ 461876 h 1406657"/>
                <a:gd name="connsiteX738" fmla="*/ 540076 w 4080607"/>
                <a:gd name="connsiteY738" fmla="*/ 466296 h 1406657"/>
                <a:gd name="connsiteX739" fmla="*/ 544960 w 4080607"/>
                <a:gd name="connsiteY739" fmla="*/ 466296 h 1406657"/>
                <a:gd name="connsiteX740" fmla="*/ 544960 w 4080607"/>
                <a:gd name="connsiteY740" fmla="*/ 470717 h 1406657"/>
                <a:gd name="connsiteX741" fmla="*/ 552286 w 4080607"/>
                <a:gd name="connsiteY741" fmla="*/ 470717 h 1406657"/>
                <a:gd name="connsiteX742" fmla="*/ 552286 w 4080607"/>
                <a:gd name="connsiteY742" fmla="*/ 475137 h 1406657"/>
                <a:gd name="connsiteX743" fmla="*/ 554728 w 4080607"/>
                <a:gd name="connsiteY743" fmla="*/ 475137 h 1406657"/>
                <a:gd name="connsiteX744" fmla="*/ 554728 w 4080607"/>
                <a:gd name="connsiteY744" fmla="*/ 479558 h 1406657"/>
                <a:gd name="connsiteX745" fmla="*/ 557170 w 4080607"/>
                <a:gd name="connsiteY745" fmla="*/ 479558 h 1406657"/>
                <a:gd name="connsiteX746" fmla="*/ 557170 w 4080607"/>
                <a:gd name="connsiteY746" fmla="*/ 483978 h 1406657"/>
                <a:gd name="connsiteX747" fmla="*/ 567036 w 4080607"/>
                <a:gd name="connsiteY747" fmla="*/ 483978 h 1406657"/>
                <a:gd name="connsiteX748" fmla="*/ 567036 w 4080607"/>
                <a:gd name="connsiteY748" fmla="*/ 488399 h 1406657"/>
                <a:gd name="connsiteX749" fmla="*/ 586670 w 4080607"/>
                <a:gd name="connsiteY749" fmla="*/ 488399 h 1406657"/>
                <a:gd name="connsiteX750" fmla="*/ 586670 w 4080607"/>
                <a:gd name="connsiteY750" fmla="*/ 492819 h 1406657"/>
                <a:gd name="connsiteX751" fmla="*/ 589112 w 4080607"/>
                <a:gd name="connsiteY751" fmla="*/ 492819 h 1406657"/>
                <a:gd name="connsiteX752" fmla="*/ 589112 w 4080607"/>
                <a:gd name="connsiteY752" fmla="*/ 497240 h 1406657"/>
                <a:gd name="connsiteX753" fmla="*/ 596438 w 4080607"/>
                <a:gd name="connsiteY753" fmla="*/ 497240 h 1406657"/>
                <a:gd name="connsiteX754" fmla="*/ 596438 w 4080607"/>
                <a:gd name="connsiteY754" fmla="*/ 501660 h 1406657"/>
                <a:gd name="connsiteX755" fmla="*/ 608746 w 4080607"/>
                <a:gd name="connsiteY755" fmla="*/ 501660 h 1406657"/>
                <a:gd name="connsiteX756" fmla="*/ 608746 w 4080607"/>
                <a:gd name="connsiteY756" fmla="*/ 514922 h 1406657"/>
                <a:gd name="connsiteX757" fmla="*/ 613630 w 4080607"/>
                <a:gd name="connsiteY757" fmla="*/ 514922 h 1406657"/>
                <a:gd name="connsiteX758" fmla="*/ 613630 w 4080607"/>
                <a:gd name="connsiteY758" fmla="*/ 519342 h 1406657"/>
                <a:gd name="connsiteX759" fmla="*/ 620956 w 4080607"/>
                <a:gd name="connsiteY759" fmla="*/ 519342 h 1406657"/>
                <a:gd name="connsiteX760" fmla="*/ 620956 w 4080607"/>
                <a:gd name="connsiteY760" fmla="*/ 532738 h 1406657"/>
                <a:gd name="connsiteX761" fmla="*/ 623398 w 4080607"/>
                <a:gd name="connsiteY761" fmla="*/ 532738 h 1406657"/>
                <a:gd name="connsiteX762" fmla="*/ 623398 w 4080607"/>
                <a:gd name="connsiteY762" fmla="*/ 537158 h 1406657"/>
                <a:gd name="connsiteX763" fmla="*/ 630821 w 4080607"/>
                <a:gd name="connsiteY763" fmla="*/ 537158 h 1406657"/>
                <a:gd name="connsiteX764" fmla="*/ 630821 w 4080607"/>
                <a:gd name="connsiteY764" fmla="*/ 541579 h 1406657"/>
                <a:gd name="connsiteX765" fmla="*/ 647915 w 4080607"/>
                <a:gd name="connsiteY765" fmla="*/ 541579 h 1406657"/>
                <a:gd name="connsiteX766" fmla="*/ 647915 w 4080607"/>
                <a:gd name="connsiteY766" fmla="*/ 545999 h 1406657"/>
                <a:gd name="connsiteX767" fmla="*/ 650357 w 4080607"/>
                <a:gd name="connsiteY767" fmla="*/ 545999 h 1406657"/>
                <a:gd name="connsiteX768" fmla="*/ 650357 w 4080607"/>
                <a:gd name="connsiteY768" fmla="*/ 550420 h 1406657"/>
                <a:gd name="connsiteX769" fmla="*/ 655242 w 4080607"/>
                <a:gd name="connsiteY769" fmla="*/ 550420 h 1406657"/>
                <a:gd name="connsiteX770" fmla="*/ 655242 w 4080607"/>
                <a:gd name="connsiteY770" fmla="*/ 554974 h 1406657"/>
                <a:gd name="connsiteX771" fmla="*/ 660126 w 4080607"/>
                <a:gd name="connsiteY771" fmla="*/ 554974 h 1406657"/>
                <a:gd name="connsiteX772" fmla="*/ 660126 w 4080607"/>
                <a:gd name="connsiteY772" fmla="*/ 559395 h 1406657"/>
                <a:gd name="connsiteX773" fmla="*/ 662568 w 4080607"/>
                <a:gd name="connsiteY773" fmla="*/ 559395 h 1406657"/>
                <a:gd name="connsiteX774" fmla="*/ 662568 w 4080607"/>
                <a:gd name="connsiteY774" fmla="*/ 572790 h 1406657"/>
                <a:gd name="connsiteX775" fmla="*/ 669894 w 4080607"/>
                <a:gd name="connsiteY775" fmla="*/ 572790 h 1406657"/>
                <a:gd name="connsiteX776" fmla="*/ 669894 w 4080607"/>
                <a:gd name="connsiteY776" fmla="*/ 577345 h 1406657"/>
                <a:gd name="connsiteX777" fmla="*/ 682201 w 4080607"/>
                <a:gd name="connsiteY777" fmla="*/ 577345 h 1406657"/>
                <a:gd name="connsiteX778" fmla="*/ 682201 w 4080607"/>
                <a:gd name="connsiteY778" fmla="*/ 581765 h 1406657"/>
                <a:gd name="connsiteX779" fmla="*/ 696951 w 4080607"/>
                <a:gd name="connsiteY779" fmla="*/ 581765 h 1406657"/>
                <a:gd name="connsiteX780" fmla="*/ 696951 w 4080607"/>
                <a:gd name="connsiteY780" fmla="*/ 586320 h 1406657"/>
                <a:gd name="connsiteX781" fmla="*/ 701835 w 4080607"/>
                <a:gd name="connsiteY781" fmla="*/ 586320 h 1406657"/>
                <a:gd name="connsiteX782" fmla="*/ 701835 w 4080607"/>
                <a:gd name="connsiteY782" fmla="*/ 590874 h 1406657"/>
                <a:gd name="connsiteX783" fmla="*/ 714045 w 4080607"/>
                <a:gd name="connsiteY783" fmla="*/ 590874 h 1406657"/>
                <a:gd name="connsiteX784" fmla="*/ 714045 w 4080607"/>
                <a:gd name="connsiteY784" fmla="*/ 595295 h 1406657"/>
                <a:gd name="connsiteX785" fmla="*/ 726353 w 4080607"/>
                <a:gd name="connsiteY785" fmla="*/ 595295 h 1406657"/>
                <a:gd name="connsiteX786" fmla="*/ 726353 w 4080607"/>
                <a:gd name="connsiteY786" fmla="*/ 604403 h 1406657"/>
                <a:gd name="connsiteX787" fmla="*/ 736219 w 4080607"/>
                <a:gd name="connsiteY787" fmla="*/ 604403 h 1406657"/>
                <a:gd name="connsiteX788" fmla="*/ 736219 w 4080607"/>
                <a:gd name="connsiteY788" fmla="*/ 608958 h 1406657"/>
                <a:gd name="connsiteX789" fmla="*/ 741103 w 4080607"/>
                <a:gd name="connsiteY789" fmla="*/ 608958 h 1406657"/>
                <a:gd name="connsiteX790" fmla="*/ 741103 w 4080607"/>
                <a:gd name="connsiteY790" fmla="*/ 613512 h 1406657"/>
                <a:gd name="connsiteX791" fmla="*/ 745987 w 4080607"/>
                <a:gd name="connsiteY791" fmla="*/ 613512 h 1406657"/>
                <a:gd name="connsiteX792" fmla="*/ 745987 w 4080607"/>
                <a:gd name="connsiteY792" fmla="*/ 618067 h 1406657"/>
                <a:gd name="connsiteX793" fmla="*/ 753410 w 4080607"/>
                <a:gd name="connsiteY793" fmla="*/ 618067 h 1406657"/>
                <a:gd name="connsiteX794" fmla="*/ 753410 w 4080607"/>
                <a:gd name="connsiteY794" fmla="*/ 622621 h 1406657"/>
                <a:gd name="connsiteX795" fmla="*/ 760737 w 4080607"/>
                <a:gd name="connsiteY795" fmla="*/ 622621 h 1406657"/>
                <a:gd name="connsiteX796" fmla="*/ 760737 w 4080607"/>
                <a:gd name="connsiteY796" fmla="*/ 627176 h 1406657"/>
                <a:gd name="connsiteX797" fmla="*/ 763179 w 4080607"/>
                <a:gd name="connsiteY797" fmla="*/ 627176 h 1406657"/>
                <a:gd name="connsiteX798" fmla="*/ 763179 w 4080607"/>
                <a:gd name="connsiteY798" fmla="*/ 631730 h 1406657"/>
                <a:gd name="connsiteX799" fmla="*/ 770602 w 4080607"/>
                <a:gd name="connsiteY799" fmla="*/ 631730 h 1406657"/>
                <a:gd name="connsiteX800" fmla="*/ 770602 w 4080607"/>
                <a:gd name="connsiteY800" fmla="*/ 636285 h 1406657"/>
                <a:gd name="connsiteX801" fmla="*/ 773044 w 4080607"/>
                <a:gd name="connsiteY801" fmla="*/ 636285 h 1406657"/>
                <a:gd name="connsiteX802" fmla="*/ 773044 w 4080607"/>
                <a:gd name="connsiteY802" fmla="*/ 645394 h 1406657"/>
                <a:gd name="connsiteX803" fmla="*/ 775486 w 4080607"/>
                <a:gd name="connsiteY803" fmla="*/ 645394 h 1406657"/>
                <a:gd name="connsiteX804" fmla="*/ 775486 w 4080607"/>
                <a:gd name="connsiteY804" fmla="*/ 649948 h 1406657"/>
                <a:gd name="connsiteX805" fmla="*/ 777928 w 4080607"/>
                <a:gd name="connsiteY805" fmla="*/ 649948 h 1406657"/>
                <a:gd name="connsiteX806" fmla="*/ 777928 w 4080607"/>
                <a:gd name="connsiteY806" fmla="*/ 654503 h 1406657"/>
                <a:gd name="connsiteX807" fmla="*/ 782812 w 4080607"/>
                <a:gd name="connsiteY807" fmla="*/ 654503 h 1406657"/>
                <a:gd name="connsiteX808" fmla="*/ 782812 w 4080607"/>
                <a:gd name="connsiteY808" fmla="*/ 659057 h 1406657"/>
                <a:gd name="connsiteX809" fmla="*/ 800004 w 4080607"/>
                <a:gd name="connsiteY809" fmla="*/ 659057 h 1406657"/>
                <a:gd name="connsiteX810" fmla="*/ 800004 w 4080607"/>
                <a:gd name="connsiteY810" fmla="*/ 663611 h 1406657"/>
                <a:gd name="connsiteX811" fmla="*/ 802446 w 4080607"/>
                <a:gd name="connsiteY811" fmla="*/ 663611 h 1406657"/>
                <a:gd name="connsiteX812" fmla="*/ 802446 w 4080607"/>
                <a:gd name="connsiteY812" fmla="*/ 672720 h 1406657"/>
                <a:gd name="connsiteX813" fmla="*/ 804888 w 4080607"/>
                <a:gd name="connsiteY813" fmla="*/ 672720 h 1406657"/>
                <a:gd name="connsiteX814" fmla="*/ 804888 w 4080607"/>
                <a:gd name="connsiteY814" fmla="*/ 677275 h 1406657"/>
                <a:gd name="connsiteX815" fmla="*/ 819638 w 4080607"/>
                <a:gd name="connsiteY815" fmla="*/ 677275 h 1406657"/>
                <a:gd name="connsiteX816" fmla="*/ 819638 w 4080607"/>
                <a:gd name="connsiteY816" fmla="*/ 681829 h 1406657"/>
                <a:gd name="connsiteX817" fmla="*/ 831848 w 4080607"/>
                <a:gd name="connsiteY817" fmla="*/ 681829 h 1406657"/>
                <a:gd name="connsiteX818" fmla="*/ 831848 w 4080607"/>
                <a:gd name="connsiteY818" fmla="*/ 686384 h 1406657"/>
                <a:gd name="connsiteX819" fmla="*/ 834290 w 4080607"/>
                <a:gd name="connsiteY819" fmla="*/ 686384 h 1406657"/>
                <a:gd name="connsiteX820" fmla="*/ 834290 w 4080607"/>
                <a:gd name="connsiteY820" fmla="*/ 690938 h 1406657"/>
                <a:gd name="connsiteX821" fmla="*/ 851482 w 4080607"/>
                <a:gd name="connsiteY821" fmla="*/ 690938 h 1406657"/>
                <a:gd name="connsiteX822" fmla="*/ 851482 w 4080607"/>
                <a:gd name="connsiteY822" fmla="*/ 695493 h 1406657"/>
                <a:gd name="connsiteX823" fmla="*/ 861348 w 4080607"/>
                <a:gd name="connsiteY823" fmla="*/ 695493 h 1406657"/>
                <a:gd name="connsiteX824" fmla="*/ 861348 w 4080607"/>
                <a:gd name="connsiteY824" fmla="*/ 704736 h 1406657"/>
                <a:gd name="connsiteX825" fmla="*/ 866232 w 4080607"/>
                <a:gd name="connsiteY825" fmla="*/ 704736 h 1406657"/>
                <a:gd name="connsiteX826" fmla="*/ 866232 w 4080607"/>
                <a:gd name="connsiteY826" fmla="*/ 709290 h 1406657"/>
                <a:gd name="connsiteX827" fmla="*/ 885865 w 4080607"/>
                <a:gd name="connsiteY827" fmla="*/ 709290 h 1406657"/>
                <a:gd name="connsiteX828" fmla="*/ 885865 w 4080607"/>
                <a:gd name="connsiteY828" fmla="*/ 713978 h 1406657"/>
                <a:gd name="connsiteX829" fmla="*/ 893289 w 4080607"/>
                <a:gd name="connsiteY829" fmla="*/ 713978 h 1406657"/>
                <a:gd name="connsiteX830" fmla="*/ 893289 w 4080607"/>
                <a:gd name="connsiteY830" fmla="*/ 718667 h 1406657"/>
                <a:gd name="connsiteX831" fmla="*/ 895731 w 4080607"/>
                <a:gd name="connsiteY831" fmla="*/ 718667 h 1406657"/>
                <a:gd name="connsiteX832" fmla="*/ 895731 w 4080607"/>
                <a:gd name="connsiteY832" fmla="*/ 728044 h 1406657"/>
                <a:gd name="connsiteX833" fmla="*/ 903155 w 4080607"/>
                <a:gd name="connsiteY833" fmla="*/ 728044 h 1406657"/>
                <a:gd name="connsiteX834" fmla="*/ 903155 w 4080607"/>
                <a:gd name="connsiteY834" fmla="*/ 732732 h 1406657"/>
                <a:gd name="connsiteX835" fmla="*/ 925231 w 4080607"/>
                <a:gd name="connsiteY835" fmla="*/ 732732 h 1406657"/>
                <a:gd name="connsiteX836" fmla="*/ 925231 w 4080607"/>
                <a:gd name="connsiteY836" fmla="*/ 737420 h 1406657"/>
                <a:gd name="connsiteX837" fmla="*/ 959517 w 4080607"/>
                <a:gd name="connsiteY837" fmla="*/ 737420 h 1406657"/>
                <a:gd name="connsiteX838" fmla="*/ 959517 w 4080607"/>
                <a:gd name="connsiteY838" fmla="*/ 742109 h 1406657"/>
                <a:gd name="connsiteX839" fmla="*/ 961959 w 4080607"/>
                <a:gd name="connsiteY839" fmla="*/ 742109 h 1406657"/>
                <a:gd name="connsiteX840" fmla="*/ 961959 w 4080607"/>
                <a:gd name="connsiteY840" fmla="*/ 746797 h 1406657"/>
                <a:gd name="connsiteX841" fmla="*/ 969382 w 4080607"/>
                <a:gd name="connsiteY841" fmla="*/ 746797 h 1406657"/>
                <a:gd name="connsiteX842" fmla="*/ 969382 w 4080607"/>
                <a:gd name="connsiteY842" fmla="*/ 751486 h 1406657"/>
                <a:gd name="connsiteX843" fmla="*/ 971824 w 4080607"/>
                <a:gd name="connsiteY843" fmla="*/ 751486 h 1406657"/>
                <a:gd name="connsiteX844" fmla="*/ 971824 w 4080607"/>
                <a:gd name="connsiteY844" fmla="*/ 756174 h 1406657"/>
                <a:gd name="connsiteX845" fmla="*/ 989016 w 4080607"/>
                <a:gd name="connsiteY845" fmla="*/ 756174 h 1406657"/>
                <a:gd name="connsiteX846" fmla="*/ 989016 w 4080607"/>
                <a:gd name="connsiteY846" fmla="*/ 760863 h 1406657"/>
                <a:gd name="connsiteX847" fmla="*/ 993900 w 4080607"/>
                <a:gd name="connsiteY847" fmla="*/ 760863 h 1406657"/>
                <a:gd name="connsiteX848" fmla="*/ 993900 w 4080607"/>
                <a:gd name="connsiteY848" fmla="*/ 765551 h 1406657"/>
                <a:gd name="connsiteX849" fmla="*/ 1001226 w 4080607"/>
                <a:gd name="connsiteY849" fmla="*/ 765551 h 1406657"/>
                <a:gd name="connsiteX850" fmla="*/ 1001226 w 4080607"/>
                <a:gd name="connsiteY850" fmla="*/ 770239 h 1406657"/>
                <a:gd name="connsiteX851" fmla="*/ 1003668 w 4080607"/>
                <a:gd name="connsiteY851" fmla="*/ 770239 h 1406657"/>
                <a:gd name="connsiteX852" fmla="*/ 1003668 w 4080607"/>
                <a:gd name="connsiteY852" fmla="*/ 774928 h 1406657"/>
                <a:gd name="connsiteX853" fmla="*/ 1006110 w 4080607"/>
                <a:gd name="connsiteY853" fmla="*/ 774928 h 1406657"/>
                <a:gd name="connsiteX854" fmla="*/ 1006110 w 4080607"/>
                <a:gd name="connsiteY854" fmla="*/ 779616 h 1406657"/>
                <a:gd name="connsiteX855" fmla="*/ 1028186 w 4080607"/>
                <a:gd name="connsiteY855" fmla="*/ 779616 h 1406657"/>
                <a:gd name="connsiteX856" fmla="*/ 1028186 w 4080607"/>
                <a:gd name="connsiteY856" fmla="*/ 784305 h 1406657"/>
                <a:gd name="connsiteX857" fmla="*/ 1030628 w 4080607"/>
                <a:gd name="connsiteY857" fmla="*/ 784305 h 1406657"/>
                <a:gd name="connsiteX858" fmla="*/ 1030628 w 4080607"/>
                <a:gd name="connsiteY858" fmla="*/ 788993 h 1406657"/>
                <a:gd name="connsiteX859" fmla="*/ 1050262 w 4080607"/>
                <a:gd name="connsiteY859" fmla="*/ 788993 h 1406657"/>
                <a:gd name="connsiteX860" fmla="*/ 1050262 w 4080607"/>
                <a:gd name="connsiteY860" fmla="*/ 793681 h 1406657"/>
                <a:gd name="connsiteX861" fmla="*/ 1052704 w 4080607"/>
                <a:gd name="connsiteY861" fmla="*/ 793681 h 1406657"/>
                <a:gd name="connsiteX862" fmla="*/ 1052704 w 4080607"/>
                <a:gd name="connsiteY862" fmla="*/ 798504 h 1406657"/>
                <a:gd name="connsiteX863" fmla="*/ 1057588 w 4080607"/>
                <a:gd name="connsiteY863" fmla="*/ 798504 h 1406657"/>
                <a:gd name="connsiteX864" fmla="*/ 1057588 w 4080607"/>
                <a:gd name="connsiteY864" fmla="*/ 803192 h 1406657"/>
                <a:gd name="connsiteX865" fmla="*/ 1084548 w 4080607"/>
                <a:gd name="connsiteY865" fmla="*/ 803192 h 1406657"/>
                <a:gd name="connsiteX866" fmla="*/ 1084548 w 4080607"/>
                <a:gd name="connsiteY866" fmla="*/ 808015 h 1406657"/>
                <a:gd name="connsiteX867" fmla="*/ 1116489 w 4080607"/>
                <a:gd name="connsiteY867" fmla="*/ 808015 h 1406657"/>
                <a:gd name="connsiteX868" fmla="*/ 1116489 w 4080607"/>
                <a:gd name="connsiteY868" fmla="*/ 817525 h 1406657"/>
                <a:gd name="connsiteX869" fmla="*/ 1131141 w 4080607"/>
                <a:gd name="connsiteY869" fmla="*/ 817525 h 1406657"/>
                <a:gd name="connsiteX870" fmla="*/ 1131141 w 4080607"/>
                <a:gd name="connsiteY870" fmla="*/ 822348 h 1406657"/>
                <a:gd name="connsiteX871" fmla="*/ 1165525 w 4080607"/>
                <a:gd name="connsiteY871" fmla="*/ 822348 h 1406657"/>
                <a:gd name="connsiteX872" fmla="*/ 1165525 w 4080607"/>
                <a:gd name="connsiteY872" fmla="*/ 827170 h 1406657"/>
                <a:gd name="connsiteX873" fmla="*/ 1167967 w 4080607"/>
                <a:gd name="connsiteY873" fmla="*/ 827170 h 1406657"/>
                <a:gd name="connsiteX874" fmla="*/ 1167967 w 4080607"/>
                <a:gd name="connsiteY874" fmla="*/ 831992 h 1406657"/>
                <a:gd name="connsiteX875" fmla="*/ 1172851 w 4080607"/>
                <a:gd name="connsiteY875" fmla="*/ 831992 h 1406657"/>
                <a:gd name="connsiteX876" fmla="*/ 1172851 w 4080607"/>
                <a:gd name="connsiteY876" fmla="*/ 836815 h 1406657"/>
                <a:gd name="connsiteX877" fmla="*/ 1185159 w 4080607"/>
                <a:gd name="connsiteY877" fmla="*/ 836815 h 1406657"/>
                <a:gd name="connsiteX878" fmla="*/ 1185159 w 4080607"/>
                <a:gd name="connsiteY878" fmla="*/ 841637 h 1406657"/>
                <a:gd name="connsiteX879" fmla="*/ 1187601 w 4080607"/>
                <a:gd name="connsiteY879" fmla="*/ 841637 h 1406657"/>
                <a:gd name="connsiteX880" fmla="*/ 1187601 w 4080607"/>
                <a:gd name="connsiteY880" fmla="*/ 846460 h 1406657"/>
                <a:gd name="connsiteX881" fmla="*/ 1197466 w 4080607"/>
                <a:gd name="connsiteY881" fmla="*/ 846460 h 1406657"/>
                <a:gd name="connsiteX882" fmla="*/ 1197466 w 4080607"/>
                <a:gd name="connsiteY882" fmla="*/ 851282 h 1406657"/>
                <a:gd name="connsiteX883" fmla="*/ 1217100 w 4080607"/>
                <a:gd name="connsiteY883" fmla="*/ 851282 h 1406657"/>
                <a:gd name="connsiteX884" fmla="*/ 1217100 w 4080607"/>
                <a:gd name="connsiteY884" fmla="*/ 856104 h 1406657"/>
                <a:gd name="connsiteX885" fmla="*/ 1231850 w 4080607"/>
                <a:gd name="connsiteY885" fmla="*/ 856104 h 1406657"/>
                <a:gd name="connsiteX886" fmla="*/ 1231850 w 4080607"/>
                <a:gd name="connsiteY886" fmla="*/ 860927 h 1406657"/>
                <a:gd name="connsiteX887" fmla="*/ 1236734 w 4080607"/>
                <a:gd name="connsiteY887" fmla="*/ 860927 h 1406657"/>
                <a:gd name="connsiteX888" fmla="*/ 1236734 w 4080607"/>
                <a:gd name="connsiteY888" fmla="*/ 870705 h 1406657"/>
                <a:gd name="connsiteX889" fmla="*/ 1253926 w 4080607"/>
                <a:gd name="connsiteY889" fmla="*/ 870705 h 1406657"/>
                <a:gd name="connsiteX890" fmla="*/ 1253926 w 4080607"/>
                <a:gd name="connsiteY890" fmla="*/ 875528 h 1406657"/>
                <a:gd name="connsiteX891" fmla="*/ 1310385 w 4080607"/>
                <a:gd name="connsiteY891" fmla="*/ 875528 h 1406657"/>
                <a:gd name="connsiteX892" fmla="*/ 1310385 w 4080607"/>
                <a:gd name="connsiteY892" fmla="*/ 880350 h 1406657"/>
                <a:gd name="connsiteX893" fmla="*/ 1327577 w 4080607"/>
                <a:gd name="connsiteY893" fmla="*/ 880350 h 1406657"/>
                <a:gd name="connsiteX894" fmla="*/ 1327577 w 4080607"/>
                <a:gd name="connsiteY894" fmla="*/ 885306 h 1406657"/>
                <a:gd name="connsiteX895" fmla="*/ 1334903 w 4080607"/>
                <a:gd name="connsiteY895" fmla="*/ 885306 h 1406657"/>
                <a:gd name="connsiteX896" fmla="*/ 1334903 w 4080607"/>
                <a:gd name="connsiteY896" fmla="*/ 890263 h 1406657"/>
                <a:gd name="connsiteX897" fmla="*/ 1347211 w 4080607"/>
                <a:gd name="connsiteY897" fmla="*/ 890263 h 1406657"/>
                <a:gd name="connsiteX898" fmla="*/ 1347211 w 4080607"/>
                <a:gd name="connsiteY898" fmla="*/ 895085 h 1406657"/>
                <a:gd name="connsiteX899" fmla="*/ 1366845 w 4080607"/>
                <a:gd name="connsiteY899" fmla="*/ 895085 h 1406657"/>
                <a:gd name="connsiteX900" fmla="*/ 1366845 w 4080607"/>
                <a:gd name="connsiteY900" fmla="*/ 904864 h 1406657"/>
                <a:gd name="connsiteX901" fmla="*/ 1381497 w 4080607"/>
                <a:gd name="connsiteY901" fmla="*/ 904864 h 1406657"/>
                <a:gd name="connsiteX902" fmla="*/ 1381497 w 4080607"/>
                <a:gd name="connsiteY902" fmla="*/ 909820 h 1406657"/>
                <a:gd name="connsiteX903" fmla="*/ 1428188 w 4080607"/>
                <a:gd name="connsiteY903" fmla="*/ 909820 h 1406657"/>
                <a:gd name="connsiteX904" fmla="*/ 1428188 w 4080607"/>
                <a:gd name="connsiteY904" fmla="*/ 914776 h 1406657"/>
                <a:gd name="connsiteX905" fmla="*/ 1433072 w 4080607"/>
                <a:gd name="connsiteY905" fmla="*/ 914776 h 1406657"/>
                <a:gd name="connsiteX906" fmla="*/ 1433072 w 4080607"/>
                <a:gd name="connsiteY906" fmla="*/ 919733 h 1406657"/>
                <a:gd name="connsiteX907" fmla="*/ 1442938 w 4080607"/>
                <a:gd name="connsiteY907" fmla="*/ 919733 h 1406657"/>
                <a:gd name="connsiteX908" fmla="*/ 1442938 w 4080607"/>
                <a:gd name="connsiteY908" fmla="*/ 924689 h 1406657"/>
                <a:gd name="connsiteX909" fmla="*/ 1445380 w 4080607"/>
                <a:gd name="connsiteY909" fmla="*/ 924689 h 1406657"/>
                <a:gd name="connsiteX910" fmla="*/ 1445380 w 4080607"/>
                <a:gd name="connsiteY910" fmla="*/ 929645 h 1406657"/>
                <a:gd name="connsiteX911" fmla="*/ 1452706 w 4080607"/>
                <a:gd name="connsiteY911" fmla="*/ 929645 h 1406657"/>
                <a:gd name="connsiteX912" fmla="*/ 1452706 w 4080607"/>
                <a:gd name="connsiteY912" fmla="*/ 934602 h 1406657"/>
                <a:gd name="connsiteX913" fmla="*/ 1467456 w 4080607"/>
                <a:gd name="connsiteY913" fmla="*/ 934602 h 1406657"/>
                <a:gd name="connsiteX914" fmla="*/ 1467456 w 4080607"/>
                <a:gd name="connsiteY914" fmla="*/ 944514 h 1406657"/>
                <a:gd name="connsiteX915" fmla="*/ 1533683 w 4080607"/>
                <a:gd name="connsiteY915" fmla="*/ 944514 h 1406657"/>
                <a:gd name="connsiteX916" fmla="*/ 1533683 w 4080607"/>
                <a:gd name="connsiteY916" fmla="*/ 949471 h 1406657"/>
                <a:gd name="connsiteX917" fmla="*/ 1553317 w 4080607"/>
                <a:gd name="connsiteY917" fmla="*/ 949471 h 1406657"/>
                <a:gd name="connsiteX918" fmla="*/ 1553317 w 4080607"/>
                <a:gd name="connsiteY918" fmla="*/ 954427 h 1406657"/>
                <a:gd name="connsiteX919" fmla="*/ 1570509 w 4080607"/>
                <a:gd name="connsiteY919" fmla="*/ 954427 h 1406657"/>
                <a:gd name="connsiteX920" fmla="*/ 1570509 w 4080607"/>
                <a:gd name="connsiteY920" fmla="*/ 959383 h 1406657"/>
                <a:gd name="connsiteX921" fmla="*/ 1600008 w 4080607"/>
                <a:gd name="connsiteY921" fmla="*/ 959383 h 1406657"/>
                <a:gd name="connsiteX922" fmla="*/ 1600008 w 4080607"/>
                <a:gd name="connsiteY922" fmla="*/ 964474 h 1406657"/>
                <a:gd name="connsiteX923" fmla="*/ 1654026 w 4080607"/>
                <a:gd name="connsiteY923" fmla="*/ 964474 h 1406657"/>
                <a:gd name="connsiteX924" fmla="*/ 1654026 w 4080607"/>
                <a:gd name="connsiteY924" fmla="*/ 969430 h 1406657"/>
                <a:gd name="connsiteX925" fmla="*/ 1705503 w 4080607"/>
                <a:gd name="connsiteY925" fmla="*/ 969430 h 1406657"/>
                <a:gd name="connsiteX926" fmla="*/ 1705503 w 4080607"/>
                <a:gd name="connsiteY926" fmla="*/ 974520 h 1406657"/>
                <a:gd name="connsiteX927" fmla="*/ 1710387 w 4080607"/>
                <a:gd name="connsiteY927" fmla="*/ 974520 h 1406657"/>
                <a:gd name="connsiteX928" fmla="*/ 1710387 w 4080607"/>
                <a:gd name="connsiteY928" fmla="*/ 979610 h 1406657"/>
                <a:gd name="connsiteX929" fmla="*/ 1786480 w 4080607"/>
                <a:gd name="connsiteY929" fmla="*/ 979610 h 1406657"/>
                <a:gd name="connsiteX930" fmla="*/ 1786480 w 4080607"/>
                <a:gd name="connsiteY930" fmla="*/ 984701 h 1406657"/>
                <a:gd name="connsiteX931" fmla="*/ 1796249 w 4080607"/>
                <a:gd name="connsiteY931" fmla="*/ 984701 h 1406657"/>
                <a:gd name="connsiteX932" fmla="*/ 1796249 w 4080607"/>
                <a:gd name="connsiteY932" fmla="*/ 989791 h 1406657"/>
                <a:gd name="connsiteX933" fmla="*/ 1823208 w 4080607"/>
                <a:gd name="connsiteY933" fmla="*/ 989791 h 1406657"/>
                <a:gd name="connsiteX934" fmla="*/ 1823208 w 4080607"/>
                <a:gd name="connsiteY934" fmla="*/ 994881 h 1406657"/>
                <a:gd name="connsiteX935" fmla="*/ 1840400 w 4080607"/>
                <a:gd name="connsiteY935" fmla="*/ 994881 h 1406657"/>
                <a:gd name="connsiteX936" fmla="*/ 1840400 w 4080607"/>
                <a:gd name="connsiteY936" fmla="*/ 999972 h 1406657"/>
                <a:gd name="connsiteX937" fmla="*/ 1850168 w 4080607"/>
                <a:gd name="connsiteY937" fmla="*/ 999972 h 1406657"/>
                <a:gd name="connsiteX938" fmla="*/ 1850168 w 4080607"/>
                <a:gd name="connsiteY938" fmla="*/ 1005062 h 1406657"/>
                <a:gd name="connsiteX939" fmla="*/ 2002257 w 4080607"/>
                <a:gd name="connsiteY939" fmla="*/ 1005062 h 1406657"/>
                <a:gd name="connsiteX940" fmla="*/ 2002257 w 4080607"/>
                <a:gd name="connsiteY940" fmla="*/ 1010152 h 1406657"/>
                <a:gd name="connsiteX941" fmla="*/ 2107752 w 4080607"/>
                <a:gd name="connsiteY941" fmla="*/ 1010152 h 1406657"/>
                <a:gd name="connsiteX942" fmla="*/ 2107752 w 4080607"/>
                <a:gd name="connsiteY942" fmla="*/ 1015376 h 1406657"/>
                <a:gd name="connsiteX943" fmla="*/ 2144578 w 4080607"/>
                <a:gd name="connsiteY943" fmla="*/ 1015376 h 1406657"/>
                <a:gd name="connsiteX944" fmla="*/ 2144578 w 4080607"/>
                <a:gd name="connsiteY944" fmla="*/ 1025825 h 1406657"/>
                <a:gd name="connsiteX945" fmla="*/ 2147020 w 4080607"/>
                <a:gd name="connsiteY945" fmla="*/ 1025825 h 1406657"/>
                <a:gd name="connsiteX946" fmla="*/ 2147020 w 4080607"/>
                <a:gd name="connsiteY946" fmla="*/ 1031049 h 1406657"/>
                <a:gd name="connsiteX947" fmla="*/ 2245189 w 4080607"/>
                <a:gd name="connsiteY947" fmla="*/ 1031049 h 1406657"/>
                <a:gd name="connsiteX948" fmla="*/ 2245189 w 4080607"/>
                <a:gd name="connsiteY948" fmla="*/ 1036407 h 1406657"/>
                <a:gd name="connsiteX949" fmla="*/ 2259938 w 4080607"/>
                <a:gd name="connsiteY949" fmla="*/ 1036407 h 1406657"/>
                <a:gd name="connsiteX950" fmla="*/ 2259938 w 4080607"/>
                <a:gd name="connsiteY950" fmla="*/ 1041765 h 1406657"/>
                <a:gd name="connsiteX951" fmla="*/ 2282014 w 4080607"/>
                <a:gd name="connsiteY951" fmla="*/ 1041765 h 1406657"/>
                <a:gd name="connsiteX952" fmla="*/ 2282014 w 4080607"/>
                <a:gd name="connsiteY952" fmla="*/ 1047124 h 1406657"/>
                <a:gd name="connsiteX953" fmla="*/ 2333590 w 4080607"/>
                <a:gd name="connsiteY953" fmla="*/ 1047124 h 1406657"/>
                <a:gd name="connsiteX954" fmla="*/ 2333590 w 4080607"/>
                <a:gd name="connsiteY954" fmla="*/ 1052482 h 1406657"/>
                <a:gd name="connsiteX955" fmla="*/ 2431759 w 4080607"/>
                <a:gd name="connsiteY955" fmla="*/ 1052482 h 1406657"/>
                <a:gd name="connsiteX956" fmla="*/ 2431759 w 4080607"/>
                <a:gd name="connsiteY956" fmla="*/ 1057974 h 1406657"/>
                <a:gd name="connsiteX957" fmla="*/ 2497986 w 4080607"/>
                <a:gd name="connsiteY957" fmla="*/ 1057974 h 1406657"/>
                <a:gd name="connsiteX958" fmla="*/ 2497986 w 4080607"/>
                <a:gd name="connsiteY958" fmla="*/ 1066011 h 1406657"/>
                <a:gd name="connsiteX959" fmla="*/ 2534812 w 4080607"/>
                <a:gd name="connsiteY959" fmla="*/ 1066011 h 1406657"/>
                <a:gd name="connsiteX960" fmla="*/ 2534812 w 4080607"/>
                <a:gd name="connsiteY960" fmla="*/ 1089185 h 1406657"/>
                <a:gd name="connsiteX961" fmla="*/ 2588829 w 4080607"/>
                <a:gd name="connsiteY961" fmla="*/ 1089185 h 1406657"/>
                <a:gd name="connsiteX962" fmla="*/ 2588829 w 4080607"/>
                <a:gd name="connsiteY962" fmla="*/ 1112627 h 1406657"/>
                <a:gd name="connsiteX963" fmla="*/ 2655057 w 4080607"/>
                <a:gd name="connsiteY963" fmla="*/ 1112627 h 1406657"/>
                <a:gd name="connsiteX964" fmla="*/ 2655057 w 4080607"/>
                <a:gd name="connsiteY964" fmla="*/ 1137007 h 1406657"/>
                <a:gd name="connsiteX965" fmla="*/ 2686998 w 4080607"/>
                <a:gd name="connsiteY965" fmla="*/ 1137007 h 1406657"/>
                <a:gd name="connsiteX966" fmla="*/ 2686998 w 4080607"/>
                <a:gd name="connsiteY966" fmla="*/ 1161253 h 1406657"/>
                <a:gd name="connsiteX967" fmla="*/ 2858721 w 4080607"/>
                <a:gd name="connsiteY967" fmla="*/ 1161253 h 1406657"/>
                <a:gd name="connsiteX968" fmla="*/ 2858721 w 4080607"/>
                <a:gd name="connsiteY968" fmla="*/ 1185633 h 1406657"/>
                <a:gd name="connsiteX969" fmla="*/ 3406220 w 4080607"/>
                <a:gd name="connsiteY969" fmla="*/ 1246582 h 1406657"/>
                <a:gd name="connsiteX970" fmla="*/ 3372227 w 4080607"/>
                <a:gd name="connsiteY970" fmla="*/ 1246582 h 1406657"/>
                <a:gd name="connsiteX971" fmla="*/ 3370664 w 4080607"/>
                <a:gd name="connsiteY971" fmla="*/ 1241760 h 1406657"/>
                <a:gd name="connsiteX972" fmla="*/ 3366953 w 4080607"/>
                <a:gd name="connsiteY972" fmla="*/ 1239617 h 1406657"/>
                <a:gd name="connsiteX973" fmla="*/ 3354938 w 4080607"/>
                <a:gd name="connsiteY973" fmla="*/ 1239617 h 1406657"/>
                <a:gd name="connsiteX974" fmla="*/ 3353473 w 4080607"/>
                <a:gd name="connsiteY974" fmla="*/ 1235062 h 1406657"/>
                <a:gd name="connsiteX975" fmla="*/ 3349761 w 4080607"/>
                <a:gd name="connsiteY975" fmla="*/ 1232919 h 1406657"/>
                <a:gd name="connsiteX976" fmla="*/ 3283826 w 4080607"/>
                <a:gd name="connsiteY976" fmla="*/ 1232919 h 1406657"/>
                <a:gd name="connsiteX977" fmla="*/ 3282361 w 4080607"/>
                <a:gd name="connsiteY977" fmla="*/ 1228632 h 1406657"/>
                <a:gd name="connsiteX978" fmla="*/ 3278649 w 4080607"/>
                <a:gd name="connsiteY978" fmla="*/ 1226489 h 1406657"/>
                <a:gd name="connsiteX979" fmla="*/ 3124314 w 4080607"/>
                <a:gd name="connsiteY979" fmla="*/ 1226489 h 1406657"/>
                <a:gd name="connsiteX980" fmla="*/ 3122849 w 4080607"/>
                <a:gd name="connsiteY980" fmla="*/ 1222604 h 1406657"/>
                <a:gd name="connsiteX981" fmla="*/ 3119137 w 4080607"/>
                <a:gd name="connsiteY981" fmla="*/ 1220461 h 1406657"/>
                <a:gd name="connsiteX982" fmla="*/ 3072739 w 4080607"/>
                <a:gd name="connsiteY982" fmla="*/ 1220461 h 1406657"/>
                <a:gd name="connsiteX983" fmla="*/ 3071273 w 4080607"/>
                <a:gd name="connsiteY983" fmla="*/ 1216576 h 1406657"/>
                <a:gd name="connsiteX984" fmla="*/ 3070394 w 4080607"/>
                <a:gd name="connsiteY984" fmla="*/ 1215639 h 1406657"/>
                <a:gd name="connsiteX985" fmla="*/ 3068831 w 4080607"/>
                <a:gd name="connsiteY985" fmla="*/ 1210682 h 1406657"/>
                <a:gd name="connsiteX986" fmla="*/ 3065119 w 4080607"/>
                <a:gd name="connsiteY986" fmla="*/ 1208539 h 1406657"/>
                <a:gd name="connsiteX987" fmla="*/ 3057989 w 4080607"/>
                <a:gd name="connsiteY987" fmla="*/ 1208539 h 1406657"/>
                <a:gd name="connsiteX988" fmla="*/ 3056524 w 4080607"/>
                <a:gd name="connsiteY988" fmla="*/ 1204654 h 1406657"/>
                <a:gd name="connsiteX989" fmla="*/ 3052812 w 4080607"/>
                <a:gd name="connsiteY989" fmla="*/ 1202511 h 1406657"/>
                <a:gd name="connsiteX990" fmla="*/ 2969588 w 4080607"/>
                <a:gd name="connsiteY990" fmla="*/ 1202511 h 1406657"/>
                <a:gd name="connsiteX991" fmla="*/ 2968123 w 4080607"/>
                <a:gd name="connsiteY991" fmla="*/ 1198760 h 1406657"/>
                <a:gd name="connsiteX992" fmla="*/ 2964411 w 4080607"/>
                <a:gd name="connsiteY992" fmla="*/ 1196617 h 1406657"/>
                <a:gd name="connsiteX993" fmla="*/ 2915571 w 4080607"/>
                <a:gd name="connsiteY993" fmla="*/ 1196617 h 1406657"/>
                <a:gd name="connsiteX994" fmla="*/ 2914105 w 4080607"/>
                <a:gd name="connsiteY994" fmla="*/ 1193000 h 1406657"/>
                <a:gd name="connsiteX995" fmla="*/ 2911761 w 4080607"/>
                <a:gd name="connsiteY995" fmla="*/ 1191125 h 1406657"/>
                <a:gd name="connsiteX996" fmla="*/ 3298186 w 4080607"/>
                <a:gd name="connsiteY996" fmla="*/ 1191125 h 1406657"/>
                <a:gd name="connsiteX997" fmla="*/ 3298186 w 4080607"/>
                <a:gd name="connsiteY997" fmla="*/ 1219523 h 1406657"/>
                <a:gd name="connsiteX998" fmla="*/ 3406122 w 4080607"/>
                <a:gd name="connsiteY998" fmla="*/ 1219523 h 1406657"/>
                <a:gd name="connsiteX999" fmla="*/ 3406122 w 4080607"/>
                <a:gd name="connsiteY999" fmla="*/ 1246180 h 1406657"/>
                <a:gd name="connsiteX1000" fmla="*/ 4077579 w 4080607"/>
                <a:gd name="connsiteY1000" fmla="*/ 1398755 h 1406657"/>
                <a:gd name="connsiteX1001" fmla="*/ 3977945 w 4080607"/>
                <a:gd name="connsiteY1001" fmla="*/ 1398755 h 1406657"/>
                <a:gd name="connsiteX1002" fmla="*/ 3977945 w 4080607"/>
                <a:gd name="connsiteY1002" fmla="*/ 1380403 h 1406657"/>
                <a:gd name="connsiteX1003" fmla="*/ 3862584 w 4080607"/>
                <a:gd name="connsiteY1003" fmla="*/ 1380403 h 1406657"/>
                <a:gd name="connsiteX1004" fmla="*/ 3862584 w 4080607"/>
                <a:gd name="connsiteY1004" fmla="*/ 1366606 h 1406657"/>
                <a:gd name="connsiteX1005" fmla="*/ 3482216 w 4080607"/>
                <a:gd name="connsiteY1005" fmla="*/ 1366606 h 1406657"/>
                <a:gd name="connsiteX1006" fmla="*/ 3482216 w 4080607"/>
                <a:gd name="connsiteY1006" fmla="*/ 1358702 h 1406657"/>
                <a:gd name="connsiteX1007" fmla="*/ 3469908 w 4080607"/>
                <a:gd name="connsiteY1007" fmla="*/ 1358702 h 1406657"/>
                <a:gd name="connsiteX1008" fmla="*/ 3469908 w 4080607"/>
                <a:gd name="connsiteY1008" fmla="*/ 1351067 h 1406657"/>
                <a:gd name="connsiteX1009" fmla="*/ 3366855 w 4080607"/>
                <a:gd name="connsiteY1009" fmla="*/ 1351067 h 1406657"/>
                <a:gd name="connsiteX1010" fmla="*/ 3366855 w 4080607"/>
                <a:gd name="connsiteY1010" fmla="*/ 1344101 h 1406657"/>
                <a:gd name="connsiteX1011" fmla="*/ 3349663 w 4080607"/>
                <a:gd name="connsiteY1011" fmla="*/ 1344101 h 1406657"/>
                <a:gd name="connsiteX1012" fmla="*/ 3349663 w 4080607"/>
                <a:gd name="connsiteY1012" fmla="*/ 1337403 h 1406657"/>
                <a:gd name="connsiteX1013" fmla="*/ 3278454 w 4080607"/>
                <a:gd name="connsiteY1013" fmla="*/ 1337403 h 1406657"/>
                <a:gd name="connsiteX1014" fmla="*/ 3278454 w 4080607"/>
                <a:gd name="connsiteY1014" fmla="*/ 1330974 h 1406657"/>
                <a:gd name="connsiteX1015" fmla="*/ 3118942 w 4080607"/>
                <a:gd name="connsiteY1015" fmla="*/ 1330974 h 1406657"/>
                <a:gd name="connsiteX1016" fmla="*/ 3118942 w 4080607"/>
                <a:gd name="connsiteY1016" fmla="*/ 1324946 h 1406657"/>
                <a:gd name="connsiteX1017" fmla="*/ 3067366 w 4080607"/>
                <a:gd name="connsiteY1017" fmla="*/ 1324946 h 1406657"/>
                <a:gd name="connsiteX1018" fmla="*/ 3067366 w 4080607"/>
                <a:gd name="connsiteY1018" fmla="*/ 1318918 h 1406657"/>
                <a:gd name="connsiteX1019" fmla="*/ 3064924 w 4080607"/>
                <a:gd name="connsiteY1019" fmla="*/ 1318918 h 1406657"/>
                <a:gd name="connsiteX1020" fmla="*/ 3064924 w 4080607"/>
                <a:gd name="connsiteY1020" fmla="*/ 1313024 h 1406657"/>
                <a:gd name="connsiteX1021" fmla="*/ 3052714 w 4080607"/>
                <a:gd name="connsiteY1021" fmla="*/ 1313024 h 1406657"/>
                <a:gd name="connsiteX1022" fmla="*/ 3052714 w 4080607"/>
                <a:gd name="connsiteY1022" fmla="*/ 1306996 h 1406657"/>
                <a:gd name="connsiteX1023" fmla="*/ 2964313 w 4080607"/>
                <a:gd name="connsiteY1023" fmla="*/ 1306996 h 1406657"/>
                <a:gd name="connsiteX1024" fmla="*/ 2964313 w 4080607"/>
                <a:gd name="connsiteY1024" fmla="*/ 1301236 h 1406657"/>
                <a:gd name="connsiteX1025" fmla="*/ 2910296 w 4080607"/>
                <a:gd name="connsiteY1025" fmla="*/ 1301236 h 1406657"/>
                <a:gd name="connsiteX1026" fmla="*/ 2910296 w 4080607"/>
                <a:gd name="connsiteY1026" fmla="*/ 1295342 h 1406657"/>
                <a:gd name="connsiteX1027" fmla="*/ 2726266 w 4080607"/>
                <a:gd name="connsiteY1027" fmla="*/ 1295342 h 1406657"/>
                <a:gd name="connsiteX1028" fmla="*/ 2726266 w 4080607"/>
                <a:gd name="connsiteY1028" fmla="*/ 1283956 h 1406657"/>
                <a:gd name="connsiteX1029" fmla="*/ 2579061 w 4080607"/>
                <a:gd name="connsiteY1029" fmla="*/ 1283956 h 1406657"/>
                <a:gd name="connsiteX1030" fmla="*/ 2579061 w 4080607"/>
                <a:gd name="connsiteY1030" fmla="*/ 1278329 h 1406657"/>
                <a:gd name="connsiteX1031" fmla="*/ 2539793 w 4080607"/>
                <a:gd name="connsiteY1031" fmla="*/ 1278329 h 1406657"/>
                <a:gd name="connsiteX1032" fmla="*/ 2539793 w 4080607"/>
                <a:gd name="connsiteY1032" fmla="*/ 1272703 h 1406657"/>
                <a:gd name="connsiteX1033" fmla="*/ 2522602 w 4080607"/>
                <a:gd name="connsiteY1033" fmla="*/ 1272703 h 1406657"/>
                <a:gd name="connsiteX1034" fmla="*/ 2522602 w 4080607"/>
                <a:gd name="connsiteY1034" fmla="*/ 1267077 h 1406657"/>
                <a:gd name="connsiteX1035" fmla="*/ 2434298 w 4080607"/>
                <a:gd name="connsiteY1035" fmla="*/ 1267077 h 1406657"/>
                <a:gd name="connsiteX1036" fmla="*/ 2434298 w 4080607"/>
                <a:gd name="connsiteY1036" fmla="*/ 1261585 h 1406657"/>
                <a:gd name="connsiteX1037" fmla="*/ 2336129 w 4080607"/>
                <a:gd name="connsiteY1037" fmla="*/ 1261585 h 1406657"/>
                <a:gd name="connsiteX1038" fmla="*/ 2336129 w 4080607"/>
                <a:gd name="connsiteY1038" fmla="*/ 1256093 h 1406657"/>
                <a:gd name="connsiteX1039" fmla="*/ 2284554 w 4080607"/>
                <a:gd name="connsiteY1039" fmla="*/ 1256093 h 1406657"/>
                <a:gd name="connsiteX1040" fmla="*/ 2284554 w 4080607"/>
                <a:gd name="connsiteY1040" fmla="*/ 1250735 h 1406657"/>
                <a:gd name="connsiteX1041" fmla="*/ 2262478 w 4080607"/>
                <a:gd name="connsiteY1041" fmla="*/ 1250735 h 1406657"/>
                <a:gd name="connsiteX1042" fmla="*/ 2262478 w 4080607"/>
                <a:gd name="connsiteY1042" fmla="*/ 1245243 h 1406657"/>
                <a:gd name="connsiteX1043" fmla="*/ 2247728 w 4080607"/>
                <a:gd name="connsiteY1043" fmla="*/ 1245243 h 1406657"/>
                <a:gd name="connsiteX1044" fmla="*/ 2247728 w 4080607"/>
                <a:gd name="connsiteY1044" fmla="*/ 1239751 h 1406657"/>
                <a:gd name="connsiteX1045" fmla="*/ 2149559 w 4080607"/>
                <a:gd name="connsiteY1045" fmla="*/ 1239751 h 1406657"/>
                <a:gd name="connsiteX1046" fmla="*/ 2149559 w 4080607"/>
                <a:gd name="connsiteY1046" fmla="*/ 1234392 h 1406657"/>
                <a:gd name="connsiteX1047" fmla="*/ 2147117 w 4080607"/>
                <a:gd name="connsiteY1047" fmla="*/ 1234392 h 1406657"/>
                <a:gd name="connsiteX1048" fmla="*/ 2147117 w 4080607"/>
                <a:gd name="connsiteY1048" fmla="*/ 1223810 h 1406657"/>
                <a:gd name="connsiteX1049" fmla="*/ 2110292 w 4080607"/>
                <a:gd name="connsiteY1049" fmla="*/ 1223810 h 1406657"/>
                <a:gd name="connsiteX1050" fmla="*/ 2110292 w 4080607"/>
                <a:gd name="connsiteY1050" fmla="*/ 1218452 h 1406657"/>
                <a:gd name="connsiteX1051" fmla="*/ 2004797 w 4080607"/>
                <a:gd name="connsiteY1051" fmla="*/ 1218452 h 1406657"/>
                <a:gd name="connsiteX1052" fmla="*/ 2004797 w 4080607"/>
                <a:gd name="connsiteY1052" fmla="*/ 1213227 h 1406657"/>
                <a:gd name="connsiteX1053" fmla="*/ 1852708 w 4080607"/>
                <a:gd name="connsiteY1053" fmla="*/ 1213227 h 1406657"/>
                <a:gd name="connsiteX1054" fmla="*/ 1852708 w 4080607"/>
                <a:gd name="connsiteY1054" fmla="*/ 1208137 h 1406657"/>
                <a:gd name="connsiteX1055" fmla="*/ 1842940 w 4080607"/>
                <a:gd name="connsiteY1055" fmla="*/ 1208137 h 1406657"/>
                <a:gd name="connsiteX1056" fmla="*/ 1842940 w 4080607"/>
                <a:gd name="connsiteY1056" fmla="*/ 1202913 h 1406657"/>
                <a:gd name="connsiteX1057" fmla="*/ 1825748 w 4080607"/>
                <a:gd name="connsiteY1057" fmla="*/ 1202913 h 1406657"/>
                <a:gd name="connsiteX1058" fmla="*/ 1825748 w 4080607"/>
                <a:gd name="connsiteY1058" fmla="*/ 1197823 h 1406657"/>
                <a:gd name="connsiteX1059" fmla="*/ 1798788 w 4080607"/>
                <a:gd name="connsiteY1059" fmla="*/ 1197823 h 1406657"/>
                <a:gd name="connsiteX1060" fmla="*/ 1798788 w 4080607"/>
                <a:gd name="connsiteY1060" fmla="*/ 1192598 h 1406657"/>
                <a:gd name="connsiteX1061" fmla="*/ 1789020 w 4080607"/>
                <a:gd name="connsiteY1061" fmla="*/ 1192598 h 1406657"/>
                <a:gd name="connsiteX1062" fmla="*/ 1789020 w 4080607"/>
                <a:gd name="connsiteY1062" fmla="*/ 1187508 h 1406657"/>
                <a:gd name="connsiteX1063" fmla="*/ 1712927 w 4080607"/>
                <a:gd name="connsiteY1063" fmla="*/ 1187508 h 1406657"/>
                <a:gd name="connsiteX1064" fmla="*/ 1712927 w 4080607"/>
                <a:gd name="connsiteY1064" fmla="*/ 1182418 h 1406657"/>
                <a:gd name="connsiteX1065" fmla="*/ 1708043 w 4080607"/>
                <a:gd name="connsiteY1065" fmla="*/ 1182418 h 1406657"/>
                <a:gd name="connsiteX1066" fmla="*/ 1708043 w 4080607"/>
                <a:gd name="connsiteY1066" fmla="*/ 1177328 h 1406657"/>
                <a:gd name="connsiteX1067" fmla="*/ 1656565 w 4080607"/>
                <a:gd name="connsiteY1067" fmla="*/ 1177328 h 1406657"/>
                <a:gd name="connsiteX1068" fmla="*/ 1656565 w 4080607"/>
                <a:gd name="connsiteY1068" fmla="*/ 1172237 h 1406657"/>
                <a:gd name="connsiteX1069" fmla="*/ 1602548 w 4080607"/>
                <a:gd name="connsiteY1069" fmla="*/ 1172237 h 1406657"/>
                <a:gd name="connsiteX1070" fmla="*/ 1602548 w 4080607"/>
                <a:gd name="connsiteY1070" fmla="*/ 1167147 h 1406657"/>
                <a:gd name="connsiteX1071" fmla="*/ 1573048 w 4080607"/>
                <a:gd name="connsiteY1071" fmla="*/ 1167147 h 1406657"/>
                <a:gd name="connsiteX1072" fmla="*/ 1573048 w 4080607"/>
                <a:gd name="connsiteY1072" fmla="*/ 1162057 h 1406657"/>
                <a:gd name="connsiteX1073" fmla="*/ 1555857 w 4080607"/>
                <a:gd name="connsiteY1073" fmla="*/ 1162057 h 1406657"/>
                <a:gd name="connsiteX1074" fmla="*/ 1555857 w 4080607"/>
                <a:gd name="connsiteY1074" fmla="*/ 1156967 h 1406657"/>
                <a:gd name="connsiteX1075" fmla="*/ 1536223 w 4080607"/>
                <a:gd name="connsiteY1075" fmla="*/ 1156967 h 1406657"/>
                <a:gd name="connsiteX1076" fmla="*/ 1536223 w 4080607"/>
                <a:gd name="connsiteY1076" fmla="*/ 1151876 h 1406657"/>
                <a:gd name="connsiteX1077" fmla="*/ 1469995 w 4080607"/>
                <a:gd name="connsiteY1077" fmla="*/ 1151876 h 1406657"/>
                <a:gd name="connsiteX1078" fmla="*/ 1469995 w 4080607"/>
                <a:gd name="connsiteY1078" fmla="*/ 1141696 h 1406657"/>
                <a:gd name="connsiteX1079" fmla="*/ 1455246 w 4080607"/>
                <a:gd name="connsiteY1079" fmla="*/ 1141696 h 1406657"/>
                <a:gd name="connsiteX1080" fmla="*/ 1455246 w 4080607"/>
                <a:gd name="connsiteY1080" fmla="*/ 1136739 h 1406657"/>
                <a:gd name="connsiteX1081" fmla="*/ 1447920 w 4080607"/>
                <a:gd name="connsiteY1081" fmla="*/ 1136739 h 1406657"/>
                <a:gd name="connsiteX1082" fmla="*/ 1447920 w 4080607"/>
                <a:gd name="connsiteY1082" fmla="*/ 1131649 h 1406657"/>
                <a:gd name="connsiteX1083" fmla="*/ 1445478 w 4080607"/>
                <a:gd name="connsiteY1083" fmla="*/ 1131649 h 1406657"/>
                <a:gd name="connsiteX1084" fmla="*/ 1445478 w 4080607"/>
                <a:gd name="connsiteY1084" fmla="*/ 1126559 h 1406657"/>
                <a:gd name="connsiteX1085" fmla="*/ 1435612 w 4080607"/>
                <a:gd name="connsiteY1085" fmla="*/ 1126559 h 1406657"/>
                <a:gd name="connsiteX1086" fmla="*/ 1435612 w 4080607"/>
                <a:gd name="connsiteY1086" fmla="*/ 1121469 h 1406657"/>
                <a:gd name="connsiteX1087" fmla="*/ 1430728 w 4080607"/>
                <a:gd name="connsiteY1087" fmla="*/ 1121469 h 1406657"/>
                <a:gd name="connsiteX1088" fmla="*/ 1430728 w 4080607"/>
                <a:gd name="connsiteY1088" fmla="*/ 1116378 h 1406657"/>
                <a:gd name="connsiteX1089" fmla="*/ 1384036 w 4080607"/>
                <a:gd name="connsiteY1089" fmla="*/ 1116378 h 1406657"/>
                <a:gd name="connsiteX1090" fmla="*/ 1384036 w 4080607"/>
                <a:gd name="connsiteY1090" fmla="*/ 1111288 h 1406657"/>
                <a:gd name="connsiteX1091" fmla="*/ 1369384 w 4080607"/>
                <a:gd name="connsiteY1091" fmla="*/ 1111288 h 1406657"/>
                <a:gd name="connsiteX1092" fmla="*/ 1369384 w 4080607"/>
                <a:gd name="connsiteY1092" fmla="*/ 1101241 h 1406657"/>
                <a:gd name="connsiteX1093" fmla="*/ 1349751 w 4080607"/>
                <a:gd name="connsiteY1093" fmla="*/ 1101241 h 1406657"/>
                <a:gd name="connsiteX1094" fmla="*/ 1349751 w 4080607"/>
                <a:gd name="connsiteY1094" fmla="*/ 1096151 h 1406657"/>
                <a:gd name="connsiteX1095" fmla="*/ 1337443 w 4080607"/>
                <a:gd name="connsiteY1095" fmla="*/ 1096151 h 1406657"/>
                <a:gd name="connsiteX1096" fmla="*/ 1337443 w 4080607"/>
                <a:gd name="connsiteY1096" fmla="*/ 1091195 h 1406657"/>
                <a:gd name="connsiteX1097" fmla="*/ 1330117 w 4080607"/>
                <a:gd name="connsiteY1097" fmla="*/ 1091195 h 1406657"/>
                <a:gd name="connsiteX1098" fmla="*/ 1330117 w 4080607"/>
                <a:gd name="connsiteY1098" fmla="*/ 1086105 h 1406657"/>
                <a:gd name="connsiteX1099" fmla="*/ 1312925 w 4080607"/>
                <a:gd name="connsiteY1099" fmla="*/ 1086105 h 1406657"/>
                <a:gd name="connsiteX1100" fmla="*/ 1312925 w 4080607"/>
                <a:gd name="connsiteY1100" fmla="*/ 1081014 h 1406657"/>
                <a:gd name="connsiteX1101" fmla="*/ 1256466 w 4080607"/>
                <a:gd name="connsiteY1101" fmla="*/ 1081014 h 1406657"/>
                <a:gd name="connsiteX1102" fmla="*/ 1256466 w 4080607"/>
                <a:gd name="connsiteY1102" fmla="*/ 1076058 h 1406657"/>
                <a:gd name="connsiteX1103" fmla="*/ 1239274 w 4080607"/>
                <a:gd name="connsiteY1103" fmla="*/ 1076058 h 1406657"/>
                <a:gd name="connsiteX1104" fmla="*/ 1239274 w 4080607"/>
                <a:gd name="connsiteY1104" fmla="*/ 1065877 h 1406657"/>
                <a:gd name="connsiteX1105" fmla="*/ 1234390 w 4080607"/>
                <a:gd name="connsiteY1105" fmla="*/ 1065877 h 1406657"/>
                <a:gd name="connsiteX1106" fmla="*/ 1234390 w 4080607"/>
                <a:gd name="connsiteY1106" fmla="*/ 1060921 h 1406657"/>
                <a:gd name="connsiteX1107" fmla="*/ 1219640 w 4080607"/>
                <a:gd name="connsiteY1107" fmla="*/ 1060921 h 1406657"/>
                <a:gd name="connsiteX1108" fmla="*/ 1219640 w 4080607"/>
                <a:gd name="connsiteY1108" fmla="*/ 1055965 h 1406657"/>
                <a:gd name="connsiteX1109" fmla="*/ 1200006 w 4080607"/>
                <a:gd name="connsiteY1109" fmla="*/ 1055965 h 1406657"/>
                <a:gd name="connsiteX1110" fmla="*/ 1200006 w 4080607"/>
                <a:gd name="connsiteY1110" fmla="*/ 1051008 h 1406657"/>
                <a:gd name="connsiteX1111" fmla="*/ 1190140 w 4080607"/>
                <a:gd name="connsiteY1111" fmla="*/ 1051008 h 1406657"/>
                <a:gd name="connsiteX1112" fmla="*/ 1190140 w 4080607"/>
                <a:gd name="connsiteY1112" fmla="*/ 1046052 h 1406657"/>
                <a:gd name="connsiteX1113" fmla="*/ 1187698 w 4080607"/>
                <a:gd name="connsiteY1113" fmla="*/ 1046052 h 1406657"/>
                <a:gd name="connsiteX1114" fmla="*/ 1187698 w 4080607"/>
                <a:gd name="connsiteY1114" fmla="*/ 1041096 h 1406657"/>
                <a:gd name="connsiteX1115" fmla="*/ 1175391 w 4080607"/>
                <a:gd name="connsiteY1115" fmla="*/ 1041096 h 1406657"/>
                <a:gd name="connsiteX1116" fmla="*/ 1175391 w 4080607"/>
                <a:gd name="connsiteY1116" fmla="*/ 1036139 h 1406657"/>
                <a:gd name="connsiteX1117" fmla="*/ 1170507 w 4080607"/>
                <a:gd name="connsiteY1117" fmla="*/ 1036139 h 1406657"/>
                <a:gd name="connsiteX1118" fmla="*/ 1170507 w 4080607"/>
                <a:gd name="connsiteY1118" fmla="*/ 1031183 h 1406657"/>
                <a:gd name="connsiteX1119" fmla="*/ 1168065 w 4080607"/>
                <a:gd name="connsiteY1119" fmla="*/ 1031183 h 1406657"/>
                <a:gd name="connsiteX1120" fmla="*/ 1168065 w 4080607"/>
                <a:gd name="connsiteY1120" fmla="*/ 1026227 h 1406657"/>
                <a:gd name="connsiteX1121" fmla="*/ 1133681 w 4080607"/>
                <a:gd name="connsiteY1121" fmla="*/ 1026227 h 1406657"/>
                <a:gd name="connsiteX1122" fmla="*/ 1133681 w 4080607"/>
                <a:gd name="connsiteY1122" fmla="*/ 1021270 h 1406657"/>
                <a:gd name="connsiteX1123" fmla="*/ 1119029 w 4080607"/>
                <a:gd name="connsiteY1123" fmla="*/ 1021270 h 1406657"/>
                <a:gd name="connsiteX1124" fmla="*/ 1119029 w 4080607"/>
                <a:gd name="connsiteY1124" fmla="*/ 1011358 h 1406657"/>
                <a:gd name="connsiteX1125" fmla="*/ 1087087 w 4080607"/>
                <a:gd name="connsiteY1125" fmla="*/ 1011358 h 1406657"/>
                <a:gd name="connsiteX1126" fmla="*/ 1087087 w 4080607"/>
                <a:gd name="connsiteY1126" fmla="*/ 1006401 h 1406657"/>
                <a:gd name="connsiteX1127" fmla="*/ 1060128 w 4080607"/>
                <a:gd name="connsiteY1127" fmla="*/ 1006401 h 1406657"/>
                <a:gd name="connsiteX1128" fmla="*/ 1060128 w 4080607"/>
                <a:gd name="connsiteY1128" fmla="*/ 1001445 h 1406657"/>
                <a:gd name="connsiteX1129" fmla="*/ 1055244 w 4080607"/>
                <a:gd name="connsiteY1129" fmla="*/ 1001445 h 1406657"/>
                <a:gd name="connsiteX1130" fmla="*/ 1055244 w 4080607"/>
                <a:gd name="connsiteY1130" fmla="*/ 996489 h 1406657"/>
                <a:gd name="connsiteX1131" fmla="*/ 1052802 w 4080607"/>
                <a:gd name="connsiteY1131" fmla="*/ 996489 h 1406657"/>
                <a:gd name="connsiteX1132" fmla="*/ 1052802 w 4080607"/>
                <a:gd name="connsiteY1132" fmla="*/ 991532 h 1406657"/>
                <a:gd name="connsiteX1133" fmla="*/ 1033168 w 4080607"/>
                <a:gd name="connsiteY1133" fmla="*/ 991532 h 1406657"/>
                <a:gd name="connsiteX1134" fmla="*/ 1033168 w 4080607"/>
                <a:gd name="connsiteY1134" fmla="*/ 986576 h 1406657"/>
                <a:gd name="connsiteX1135" fmla="*/ 1030726 w 4080607"/>
                <a:gd name="connsiteY1135" fmla="*/ 986576 h 1406657"/>
                <a:gd name="connsiteX1136" fmla="*/ 1030726 w 4080607"/>
                <a:gd name="connsiteY1136" fmla="*/ 981620 h 1406657"/>
                <a:gd name="connsiteX1137" fmla="*/ 1008650 w 4080607"/>
                <a:gd name="connsiteY1137" fmla="*/ 981620 h 1406657"/>
                <a:gd name="connsiteX1138" fmla="*/ 1008650 w 4080607"/>
                <a:gd name="connsiteY1138" fmla="*/ 976663 h 1406657"/>
                <a:gd name="connsiteX1139" fmla="*/ 1006208 w 4080607"/>
                <a:gd name="connsiteY1139" fmla="*/ 976663 h 1406657"/>
                <a:gd name="connsiteX1140" fmla="*/ 1006208 w 4080607"/>
                <a:gd name="connsiteY1140" fmla="*/ 971707 h 1406657"/>
                <a:gd name="connsiteX1141" fmla="*/ 1003766 w 4080607"/>
                <a:gd name="connsiteY1141" fmla="*/ 971707 h 1406657"/>
                <a:gd name="connsiteX1142" fmla="*/ 1003766 w 4080607"/>
                <a:gd name="connsiteY1142" fmla="*/ 966751 h 1406657"/>
                <a:gd name="connsiteX1143" fmla="*/ 996440 w 4080607"/>
                <a:gd name="connsiteY1143" fmla="*/ 966751 h 1406657"/>
                <a:gd name="connsiteX1144" fmla="*/ 996440 w 4080607"/>
                <a:gd name="connsiteY1144" fmla="*/ 961795 h 1406657"/>
                <a:gd name="connsiteX1145" fmla="*/ 991556 w 4080607"/>
                <a:gd name="connsiteY1145" fmla="*/ 961795 h 1406657"/>
                <a:gd name="connsiteX1146" fmla="*/ 991556 w 4080607"/>
                <a:gd name="connsiteY1146" fmla="*/ 956838 h 1406657"/>
                <a:gd name="connsiteX1147" fmla="*/ 974364 w 4080607"/>
                <a:gd name="connsiteY1147" fmla="*/ 956838 h 1406657"/>
                <a:gd name="connsiteX1148" fmla="*/ 974364 w 4080607"/>
                <a:gd name="connsiteY1148" fmla="*/ 951882 h 1406657"/>
                <a:gd name="connsiteX1149" fmla="*/ 971922 w 4080607"/>
                <a:gd name="connsiteY1149" fmla="*/ 951882 h 1406657"/>
                <a:gd name="connsiteX1150" fmla="*/ 971922 w 4080607"/>
                <a:gd name="connsiteY1150" fmla="*/ 946926 h 1406657"/>
                <a:gd name="connsiteX1151" fmla="*/ 964498 w 4080607"/>
                <a:gd name="connsiteY1151" fmla="*/ 946926 h 1406657"/>
                <a:gd name="connsiteX1152" fmla="*/ 964498 w 4080607"/>
                <a:gd name="connsiteY1152" fmla="*/ 941969 h 1406657"/>
                <a:gd name="connsiteX1153" fmla="*/ 962056 w 4080607"/>
                <a:gd name="connsiteY1153" fmla="*/ 941969 h 1406657"/>
                <a:gd name="connsiteX1154" fmla="*/ 962056 w 4080607"/>
                <a:gd name="connsiteY1154" fmla="*/ 937013 h 1406657"/>
                <a:gd name="connsiteX1155" fmla="*/ 927770 w 4080607"/>
                <a:gd name="connsiteY1155" fmla="*/ 937013 h 1406657"/>
                <a:gd name="connsiteX1156" fmla="*/ 927770 w 4080607"/>
                <a:gd name="connsiteY1156" fmla="*/ 932057 h 1406657"/>
                <a:gd name="connsiteX1157" fmla="*/ 905695 w 4080607"/>
                <a:gd name="connsiteY1157" fmla="*/ 932057 h 1406657"/>
                <a:gd name="connsiteX1158" fmla="*/ 905695 w 4080607"/>
                <a:gd name="connsiteY1158" fmla="*/ 927234 h 1406657"/>
                <a:gd name="connsiteX1159" fmla="*/ 898271 w 4080607"/>
                <a:gd name="connsiteY1159" fmla="*/ 927234 h 1406657"/>
                <a:gd name="connsiteX1160" fmla="*/ 898271 w 4080607"/>
                <a:gd name="connsiteY1160" fmla="*/ 917456 h 1406657"/>
                <a:gd name="connsiteX1161" fmla="*/ 895829 w 4080607"/>
                <a:gd name="connsiteY1161" fmla="*/ 917456 h 1406657"/>
                <a:gd name="connsiteX1162" fmla="*/ 895829 w 4080607"/>
                <a:gd name="connsiteY1162" fmla="*/ 912499 h 1406657"/>
                <a:gd name="connsiteX1163" fmla="*/ 888405 w 4080607"/>
                <a:gd name="connsiteY1163" fmla="*/ 912499 h 1406657"/>
                <a:gd name="connsiteX1164" fmla="*/ 888405 w 4080607"/>
                <a:gd name="connsiteY1164" fmla="*/ 907677 h 1406657"/>
                <a:gd name="connsiteX1165" fmla="*/ 868771 w 4080607"/>
                <a:gd name="connsiteY1165" fmla="*/ 907677 h 1406657"/>
                <a:gd name="connsiteX1166" fmla="*/ 868771 w 4080607"/>
                <a:gd name="connsiteY1166" fmla="*/ 902721 h 1406657"/>
                <a:gd name="connsiteX1167" fmla="*/ 863887 w 4080607"/>
                <a:gd name="connsiteY1167" fmla="*/ 902721 h 1406657"/>
                <a:gd name="connsiteX1168" fmla="*/ 863887 w 4080607"/>
                <a:gd name="connsiteY1168" fmla="*/ 892942 h 1406657"/>
                <a:gd name="connsiteX1169" fmla="*/ 854022 w 4080607"/>
                <a:gd name="connsiteY1169" fmla="*/ 892942 h 1406657"/>
                <a:gd name="connsiteX1170" fmla="*/ 854022 w 4080607"/>
                <a:gd name="connsiteY1170" fmla="*/ 888120 h 1406657"/>
                <a:gd name="connsiteX1171" fmla="*/ 836830 w 4080607"/>
                <a:gd name="connsiteY1171" fmla="*/ 888120 h 1406657"/>
                <a:gd name="connsiteX1172" fmla="*/ 836830 w 4080607"/>
                <a:gd name="connsiteY1172" fmla="*/ 883297 h 1406657"/>
                <a:gd name="connsiteX1173" fmla="*/ 834388 w 4080607"/>
                <a:gd name="connsiteY1173" fmla="*/ 883297 h 1406657"/>
                <a:gd name="connsiteX1174" fmla="*/ 834388 w 4080607"/>
                <a:gd name="connsiteY1174" fmla="*/ 878475 h 1406657"/>
                <a:gd name="connsiteX1175" fmla="*/ 822178 w 4080607"/>
                <a:gd name="connsiteY1175" fmla="*/ 878475 h 1406657"/>
                <a:gd name="connsiteX1176" fmla="*/ 822178 w 4080607"/>
                <a:gd name="connsiteY1176" fmla="*/ 873652 h 1406657"/>
                <a:gd name="connsiteX1177" fmla="*/ 807428 w 4080607"/>
                <a:gd name="connsiteY1177" fmla="*/ 873652 h 1406657"/>
                <a:gd name="connsiteX1178" fmla="*/ 807428 w 4080607"/>
                <a:gd name="connsiteY1178" fmla="*/ 868830 h 1406657"/>
                <a:gd name="connsiteX1179" fmla="*/ 804986 w 4080607"/>
                <a:gd name="connsiteY1179" fmla="*/ 868830 h 1406657"/>
                <a:gd name="connsiteX1180" fmla="*/ 804986 w 4080607"/>
                <a:gd name="connsiteY1180" fmla="*/ 859185 h 1406657"/>
                <a:gd name="connsiteX1181" fmla="*/ 802544 w 4080607"/>
                <a:gd name="connsiteY1181" fmla="*/ 859185 h 1406657"/>
                <a:gd name="connsiteX1182" fmla="*/ 802544 w 4080607"/>
                <a:gd name="connsiteY1182" fmla="*/ 854363 h 1406657"/>
                <a:gd name="connsiteX1183" fmla="*/ 785352 w 4080607"/>
                <a:gd name="connsiteY1183" fmla="*/ 854363 h 1406657"/>
                <a:gd name="connsiteX1184" fmla="*/ 785352 w 4080607"/>
                <a:gd name="connsiteY1184" fmla="*/ 849541 h 1406657"/>
                <a:gd name="connsiteX1185" fmla="*/ 780468 w 4080607"/>
                <a:gd name="connsiteY1185" fmla="*/ 849541 h 1406657"/>
                <a:gd name="connsiteX1186" fmla="*/ 780468 w 4080607"/>
                <a:gd name="connsiteY1186" fmla="*/ 844718 h 1406657"/>
                <a:gd name="connsiteX1187" fmla="*/ 778026 w 4080607"/>
                <a:gd name="connsiteY1187" fmla="*/ 844718 h 1406657"/>
                <a:gd name="connsiteX1188" fmla="*/ 778026 w 4080607"/>
                <a:gd name="connsiteY1188" fmla="*/ 839896 h 1406657"/>
                <a:gd name="connsiteX1189" fmla="*/ 775584 w 4080607"/>
                <a:gd name="connsiteY1189" fmla="*/ 839896 h 1406657"/>
                <a:gd name="connsiteX1190" fmla="*/ 775584 w 4080607"/>
                <a:gd name="connsiteY1190" fmla="*/ 830251 h 1406657"/>
                <a:gd name="connsiteX1191" fmla="*/ 773142 w 4080607"/>
                <a:gd name="connsiteY1191" fmla="*/ 830251 h 1406657"/>
                <a:gd name="connsiteX1192" fmla="*/ 773142 w 4080607"/>
                <a:gd name="connsiteY1192" fmla="*/ 825429 h 1406657"/>
                <a:gd name="connsiteX1193" fmla="*/ 765718 w 4080607"/>
                <a:gd name="connsiteY1193" fmla="*/ 825429 h 1406657"/>
                <a:gd name="connsiteX1194" fmla="*/ 765718 w 4080607"/>
                <a:gd name="connsiteY1194" fmla="*/ 820606 h 1406657"/>
                <a:gd name="connsiteX1195" fmla="*/ 763276 w 4080607"/>
                <a:gd name="connsiteY1195" fmla="*/ 820606 h 1406657"/>
                <a:gd name="connsiteX1196" fmla="*/ 763276 w 4080607"/>
                <a:gd name="connsiteY1196" fmla="*/ 815784 h 1406657"/>
                <a:gd name="connsiteX1197" fmla="*/ 755950 w 4080607"/>
                <a:gd name="connsiteY1197" fmla="*/ 815784 h 1406657"/>
                <a:gd name="connsiteX1198" fmla="*/ 755950 w 4080607"/>
                <a:gd name="connsiteY1198" fmla="*/ 810828 h 1406657"/>
                <a:gd name="connsiteX1199" fmla="*/ 748526 w 4080607"/>
                <a:gd name="connsiteY1199" fmla="*/ 810828 h 1406657"/>
                <a:gd name="connsiteX1200" fmla="*/ 748526 w 4080607"/>
                <a:gd name="connsiteY1200" fmla="*/ 806005 h 1406657"/>
                <a:gd name="connsiteX1201" fmla="*/ 743642 w 4080607"/>
                <a:gd name="connsiteY1201" fmla="*/ 806005 h 1406657"/>
                <a:gd name="connsiteX1202" fmla="*/ 743642 w 4080607"/>
                <a:gd name="connsiteY1202" fmla="*/ 801183 h 1406657"/>
                <a:gd name="connsiteX1203" fmla="*/ 738758 w 4080607"/>
                <a:gd name="connsiteY1203" fmla="*/ 801183 h 1406657"/>
                <a:gd name="connsiteX1204" fmla="*/ 738758 w 4080607"/>
                <a:gd name="connsiteY1204" fmla="*/ 796361 h 1406657"/>
                <a:gd name="connsiteX1205" fmla="*/ 728893 w 4080607"/>
                <a:gd name="connsiteY1205" fmla="*/ 796361 h 1406657"/>
                <a:gd name="connsiteX1206" fmla="*/ 728893 w 4080607"/>
                <a:gd name="connsiteY1206" fmla="*/ 786582 h 1406657"/>
                <a:gd name="connsiteX1207" fmla="*/ 716585 w 4080607"/>
                <a:gd name="connsiteY1207" fmla="*/ 786582 h 1406657"/>
                <a:gd name="connsiteX1208" fmla="*/ 716585 w 4080607"/>
                <a:gd name="connsiteY1208" fmla="*/ 781759 h 1406657"/>
                <a:gd name="connsiteX1209" fmla="*/ 704375 w 4080607"/>
                <a:gd name="connsiteY1209" fmla="*/ 781759 h 1406657"/>
                <a:gd name="connsiteX1210" fmla="*/ 704375 w 4080607"/>
                <a:gd name="connsiteY1210" fmla="*/ 776937 h 1406657"/>
                <a:gd name="connsiteX1211" fmla="*/ 699491 w 4080607"/>
                <a:gd name="connsiteY1211" fmla="*/ 776937 h 1406657"/>
                <a:gd name="connsiteX1212" fmla="*/ 699491 w 4080607"/>
                <a:gd name="connsiteY1212" fmla="*/ 771981 h 1406657"/>
                <a:gd name="connsiteX1213" fmla="*/ 684741 w 4080607"/>
                <a:gd name="connsiteY1213" fmla="*/ 771981 h 1406657"/>
                <a:gd name="connsiteX1214" fmla="*/ 684741 w 4080607"/>
                <a:gd name="connsiteY1214" fmla="*/ 767292 h 1406657"/>
                <a:gd name="connsiteX1215" fmla="*/ 672433 w 4080607"/>
                <a:gd name="connsiteY1215" fmla="*/ 767292 h 1406657"/>
                <a:gd name="connsiteX1216" fmla="*/ 672433 w 4080607"/>
                <a:gd name="connsiteY1216" fmla="*/ 762470 h 1406657"/>
                <a:gd name="connsiteX1217" fmla="*/ 665107 w 4080607"/>
                <a:gd name="connsiteY1217" fmla="*/ 762470 h 1406657"/>
                <a:gd name="connsiteX1218" fmla="*/ 665107 w 4080607"/>
                <a:gd name="connsiteY1218" fmla="*/ 748003 h 1406657"/>
                <a:gd name="connsiteX1219" fmla="*/ 662665 w 4080607"/>
                <a:gd name="connsiteY1219" fmla="*/ 748003 h 1406657"/>
                <a:gd name="connsiteX1220" fmla="*/ 662665 w 4080607"/>
                <a:gd name="connsiteY1220" fmla="*/ 743181 h 1406657"/>
                <a:gd name="connsiteX1221" fmla="*/ 657781 w 4080607"/>
                <a:gd name="connsiteY1221" fmla="*/ 743181 h 1406657"/>
                <a:gd name="connsiteX1222" fmla="*/ 657781 w 4080607"/>
                <a:gd name="connsiteY1222" fmla="*/ 738358 h 1406657"/>
                <a:gd name="connsiteX1223" fmla="*/ 652897 w 4080607"/>
                <a:gd name="connsiteY1223" fmla="*/ 738358 h 1406657"/>
                <a:gd name="connsiteX1224" fmla="*/ 652897 w 4080607"/>
                <a:gd name="connsiteY1224" fmla="*/ 733536 h 1406657"/>
                <a:gd name="connsiteX1225" fmla="*/ 650455 w 4080607"/>
                <a:gd name="connsiteY1225" fmla="*/ 733536 h 1406657"/>
                <a:gd name="connsiteX1226" fmla="*/ 650455 w 4080607"/>
                <a:gd name="connsiteY1226" fmla="*/ 728713 h 1406657"/>
                <a:gd name="connsiteX1227" fmla="*/ 633361 w 4080607"/>
                <a:gd name="connsiteY1227" fmla="*/ 728713 h 1406657"/>
                <a:gd name="connsiteX1228" fmla="*/ 633361 w 4080607"/>
                <a:gd name="connsiteY1228" fmla="*/ 723891 h 1406657"/>
                <a:gd name="connsiteX1229" fmla="*/ 625937 w 4080607"/>
                <a:gd name="connsiteY1229" fmla="*/ 723891 h 1406657"/>
                <a:gd name="connsiteX1230" fmla="*/ 625937 w 4080607"/>
                <a:gd name="connsiteY1230" fmla="*/ 719069 h 1406657"/>
                <a:gd name="connsiteX1231" fmla="*/ 623495 w 4080607"/>
                <a:gd name="connsiteY1231" fmla="*/ 719069 h 1406657"/>
                <a:gd name="connsiteX1232" fmla="*/ 623495 w 4080607"/>
                <a:gd name="connsiteY1232" fmla="*/ 704468 h 1406657"/>
                <a:gd name="connsiteX1233" fmla="*/ 616169 w 4080607"/>
                <a:gd name="connsiteY1233" fmla="*/ 704468 h 1406657"/>
                <a:gd name="connsiteX1234" fmla="*/ 616169 w 4080607"/>
                <a:gd name="connsiteY1234" fmla="*/ 699645 h 1406657"/>
                <a:gd name="connsiteX1235" fmla="*/ 611285 w 4080607"/>
                <a:gd name="connsiteY1235" fmla="*/ 699645 h 1406657"/>
                <a:gd name="connsiteX1236" fmla="*/ 611285 w 4080607"/>
                <a:gd name="connsiteY1236" fmla="*/ 684910 h 1406657"/>
                <a:gd name="connsiteX1237" fmla="*/ 598977 w 4080607"/>
                <a:gd name="connsiteY1237" fmla="*/ 684910 h 1406657"/>
                <a:gd name="connsiteX1238" fmla="*/ 598977 w 4080607"/>
                <a:gd name="connsiteY1238" fmla="*/ 680088 h 1406657"/>
                <a:gd name="connsiteX1239" fmla="*/ 591651 w 4080607"/>
                <a:gd name="connsiteY1239" fmla="*/ 680088 h 1406657"/>
                <a:gd name="connsiteX1240" fmla="*/ 591651 w 4080607"/>
                <a:gd name="connsiteY1240" fmla="*/ 675132 h 1406657"/>
                <a:gd name="connsiteX1241" fmla="*/ 589209 w 4080607"/>
                <a:gd name="connsiteY1241" fmla="*/ 675132 h 1406657"/>
                <a:gd name="connsiteX1242" fmla="*/ 589209 w 4080607"/>
                <a:gd name="connsiteY1242" fmla="*/ 670309 h 1406657"/>
                <a:gd name="connsiteX1243" fmla="*/ 569576 w 4080607"/>
                <a:gd name="connsiteY1243" fmla="*/ 670309 h 1406657"/>
                <a:gd name="connsiteX1244" fmla="*/ 569576 w 4080607"/>
                <a:gd name="connsiteY1244" fmla="*/ 665353 h 1406657"/>
                <a:gd name="connsiteX1245" fmla="*/ 559710 w 4080607"/>
                <a:gd name="connsiteY1245" fmla="*/ 665353 h 1406657"/>
                <a:gd name="connsiteX1246" fmla="*/ 559710 w 4080607"/>
                <a:gd name="connsiteY1246" fmla="*/ 660530 h 1406657"/>
                <a:gd name="connsiteX1247" fmla="*/ 557268 w 4080607"/>
                <a:gd name="connsiteY1247" fmla="*/ 660530 h 1406657"/>
                <a:gd name="connsiteX1248" fmla="*/ 557268 w 4080607"/>
                <a:gd name="connsiteY1248" fmla="*/ 655574 h 1406657"/>
                <a:gd name="connsiteX1249" fmla="*/ 554826 w 4080607"/>
                <a:gd name="connsiteY1249" fmla="*/ 655574 h 1406657"/>
                <a:gd name="connsiteX1250" fmla="*/ 554826 w 4080607"/>
                <a:gd name="connsiteY1250" fmla="*/ 650618 h 1406657"/>
                <a:gd name="connsiteX1251" fmla="*/ 547500 w 4080607"/>
                <a:gd name="connsiteY1251" fmla="*/ 650618 h 1406657"/>
                <a:gd name="connsiteX1252" fmla="*/ 547500 w 4080607"/>
                <a:gd name="connsiteY1252" fmla="*/ 645795 h 1406657"/>
                <a:gd name="connsiteX1253" fmla="*/ 542616 w 4080607"/>
                <a:gd name="connsiteY1253" fmla="*/ 645795 h 1406657"/>
                <a:gd name="connsiteX1254" fmla="*/ 542616 w 4080607"/>
                <a:gd name="connsiteY1254" fmla="*/ 640839 h 1406657"/>
                <a:gd name="connsiteX1255" fmla="*/ 527866 w 4080607"/>
                <a:gd name="connsiteY1255" fmla="*/ 640839 h 1406657"/>
                <a:gd name="connsiteX1256" fmla="*/ 527866 w 4080607"/>
                <a:gd name="connsiteY1256" fmla="*/ 635883 h 1406657"/>
                <a:gd name="connsiteX1257" fmla="*/ 525424 w 4080607"/>
                <a:gd name="connsiteY1257" fmla="*/ 635883 h 1406657"/>
                <a:gd name="connsiteX1258" fmla="*/ 525424 w 4080607"/>
                <a:gd name="connsiteY1258" fmla="*/ 626104 h 1406657"/>
                <a:gd name="connsiteX1259" fmla="*/ 515656 w 4080607"/>
                <a:gd name="connsiteY1259" fmla="*/ 626104 h 1406657"/>
                <a:gd name="connsiteX1260" fmla="*/ 515656 w 4080607"/>
                <a:gd name="connsiteY1260" fmla="*/ 616325 h 1406657"/>
                <a:gd name="connsiteX1261" fmla="*/ 508330 w 4080607"/>
                <a:gd name="connsiteY1261" fmla="*/ 616325 h 1406657"/>
                <a:gd name="connsiteX1262" fmla="*/ 508330 w 4080607"/>
                <a:gd name="connsiteY1262" fmla="*/ 606547 h 1406657"/>
                <a:gd name="connsiteX1263" fmla="*/ 505888 w 4080607"/>
                <a:gd name="connsiteY1263" fmla="*/ 606547 h 1406657"/>
                <a:gd name="connsiteX1264" fmla="*/ 505888 w 4080607"/>
                <a:gd name="connsiteY1264" fmla="*/ 601724 h 1406657"/>
                <a:gd name="connsiteX1265" fmla="*/ 503446 w 4080607"/>
                <a:gd name="connsiteY1265" fmla="*/ 601724 h 1406657"/>
                <a:gd name="connsiteX1266" fmla="*/ 503446 w 4080607"/>
                <a:gd name="connsiteY1266" fmla="*/ 596768 h 1406657"/>
                <a:gd name="connsiteX1267" fmla="*/ 486254 w 4080607"/>
                <a:gd name="connsiteY1267" fmla="*/ 596768 h 1406657"/>
                <a:gd name="connsiteX1268" fmla="*/ 486254 w 4080607"/>
                <a:gd name="connsiteY1268" fmla="*/ 591946 h 1406657"/>
                <a:gd name="connsiteX1269" fmla="*/ 481370 w 4080607"/>
                <a:gd name="connsiteY1269" fmla="*/ 591946 h 1406657"/>
                <a:gd name="connsiteX1270" fmla="*/ 481370 w 4080607"/>
                <a:gd name="connsiteY1270" fmla="*/ 582167 h 1406657"/>
                <a:gd name="connsiteX1271" fmla="*/ 478928 w 4080607"/>
                <a:gd name="connsiteY1271" fmla="*/ 582167 h 1406657"/>
                <a:gd name="connsiteX1272" fmla="*/ 478928 w 4080607"/>
                <a:gd name="connsiteY1272" fmla="*/ 577345 h 1406657"/>
                <a:gd name="connsiteX1273" fmla="*/ 461736 w 4080607"/>
                <a:gd name="connsiteY1273" fmla="*/ 577345 h 1406657"/>
                <a:gd name="connsiteX1274" fmla="*/ 461736 w 4080607"/>
                <a:gd name="connsiteY1274" fmla="*/ 572388 h 1406657"/>
                <a:gd name="connsiteX1275" fmla="*/ 446986 w 4080607"/>
                <a:gd name="connsiteY1275" fmla="*/ 572388 h 1406657"/>
                <a:gd name="connsiteX1276" fmla="*/ 446986 w 4080607"/>
                <a:gd name="connsiteY1276" fmla="*/ 562610 h 1406657"/>
                <a:gd name="connsiteX1277" fmla="*/ 444544 w 4080607"/>
                <a:gd name="connsiteY1277" fmla="*/ 562610 h 1406657"/>
                <a:gd name="connsiteX1278" fmla="*/ 444544 w 4080607"/>
                <a:gd name="connsiteY1278" fmla="*/ 557653 h 1406657"/>
                <a:gd name="connsiteX1279" fmla="*/ 442102 w 4080607"/>
                <a:gd name="connsiteY1279" fmla="*/ 557653 h 1406657"/>
                <a:gd name="connsiteX1280" fmla="*/ 442102 w 4080607"/>
                <a:gd name="connsiteY1280" fmla="*/ 547741 h 1406657"/>
                <a:gd name="connsiteX1281" fmla="*/ 439660 w 4080607"/>
                <a:gd name="connsiteY1281" fmla="*/ 547741 h 1406657"/>
                <a:gd name="connsiteX1282" fmla="*/ 439660 w 4080607"/>
                <a:gd name="connsiteY1282" fmla="*/ 542784 h 1406657"/>
                <a:gd name="connsiteX1283" fmla="*/ 429892 w 4080607"/>
                <a:gd name="connsiteY1283" fmla="*/ 542784 h 1406657"/>
                <a:gd name="connsiteX1284" fmla="*/ 429892 w 4080607"/>
                <a:gd name="connsiteY1284" fmla="*/ 537828 h 1406657"/>
                <a:gd name="connsiteX1285" fmla="*/ 427450 w 4080607"/>
                <a:gd name="connsiteY1285" fmla="*/ 537828 h 1406657"/>
                <a:gd name="connsiteX1286" fmla="*/ 427450 w 4080607"/>
                <a:gd name="connsiteY1286" fmla="*/ 532872 h 1406657"/>
                <a:gd name="connsiteX1287" fmla="*/ 425008 w 4080607"/>
                <a:gd name="connsiteY1287" fmla="*/ 532872 h 1406657"/>
                <a:gd name="connsiteX1288" fmla="*/ 425008 w 4080607"/>
                <a:gd name="connsiteY1288" fmla="*/ 527915 h 1406657"/>
                <a:gd name="connsiteX1289" fmla="*/ 422566 w 4080607"/>
                <a:gd name="connsiteY1289" fmla="*/ 527915 h 1406657"/>
                <a:gd name="connsiteX1290" fmla="*/ 422566 w 4080607"/>
                <a:gd name="connsiteY1290" fmla="*/ 522959 h 1406657"/>
                <a:gd name="connsiteX1291" fmla="*/ 420124 w 4080607"/>
                <a:gd name="connsiteY1291" fmla="*/ 522959 h 1406657"/>
                <a:gd name="connsiteX1292" fmla="*/ 420124 w 4080607"/>
                <a:gd name="connsiteY1292" fmla="*/ 518003 h 1406657"/>
                <a:gd name="connsiteX1293" fmla="*/ 417682 w 4080607"/>
                <a:gd name="connsiteY1293" fmla="*/ 518003 h 1406657"/>
                <a:gd name="connsiteX1294" fmla="*/ 417682 w 4080607"/>
                <a:gd name="connsiteY1294" fmla="*/ 513046 h 1406657"/>
                <a:gd name="connsiteX1295" fmla="*/ 407817 w 4080607"/>
                <a:gd name="connsiteY1295" fmla="*/ 513046 h 1406657"/>
                <a:gd name="connsiteX1296" fmla="*/ 407817 w 4080607"/>
                <a:gd name="connsiteY1296" fmla="*/ 508090 h 1406657"/>
                <a:gd name="connsiteX1297" fmla="*/ 405375 w 4080607"/>
                <a:gd name="connsiteY1297" fmla="*/ 508090 h 1406657"/>
                <a:gd name="connsiteX1298" fmla="*/ 405375 w 4080607"/>
                <a:gd name="connsiteY1298" fmla="*/ 503134 h 1406657"/>
                <a:gd name="connsiteX1299" fmla="*/ 402932 w 4080607"/>
                <a:gd name="connsiteY1299" fmla="*/ 503134 h 1406657"/>
                <a:gd name="connsiteX1300" fmla="*/ 402932 w 4080607"/>
                <a:gd name="connsiteY1300" fmla="*/ 498177 h 1406657"/>
                <a:gd name="connsiteX1301" fmla="*/ 395606 w 4080607"/>
                <a:gd name="connsiteY1301" fmla="*/ 498177 h 1406657"/>
                <a:gd name="connsiteX1302" fmla="*/ 395606 w 4080607"/>
                <a:gd name="connsiteY1302" fmla="*/ 493221 h 1406657"/>
                <a:gd name="connsiteX1303" fmla="*/ 390722 w 4080607"/>
                <a:gd name="connsiteY1303" fmla="*/ 493221 h 1406657"/>
                <a:gd name="connsiteX1304" fmla="*/ 390722 w 4080607"/>
                <a:gd name="connsiteY1304" fmla="*/ 488265 h 1406657"/>
                <a:gd name="connsiteX1305" fmla="*/ 385838 w 4080607"/>
                <a:gd name="connsiteY1305" fmla="*/ 488265 h 1406657"/>
                <a:gd name="connsiteX1306" fmla="*/ 385838 w 4080607"/>
                <a:gd name="connsiteY1306" fmla="*/ 483308 h 1406657"/>
                <a:gd name="connsiteX1307" fmla="*/ 383396 w 4080607"/>
                <a:gd name="connsiteY1307" fmla="*/ 483308 h 1406657"/>
                <a:gd name="connsiteX1308" fmla="*/ 383396 w 4080607"/>
                <a:gd name="connsiteY1308" fmla="*/ 478352 h 1406657"/>
                <a:gd name="connsiteX1309" fmla="*/ 373531 w 4080607"/>
                <a:gd name="connsiteY1309" fmla="*/ 478352 h 1406657"/>
                <a:gd name="connsiteX1310" fmla="*/ 373531 w 4080607"/>
                <a:gd name="connsiteY1310" fmla="*/ 473396 h 1406657"/>
                <a:gd name="connsiteX1311" fmla="*/ 371089 w 4080607"/>
                <a:gd name="connsiteY1311" fmla="*/ 473396 h 1406657"/>
                <a:gd name="connsiteX1312" fmla="*/ 371089 w 4080607"/>
                <a:gd name="connsiteY1312" fmla="*/ 463483 h 1406657"/>
                <a:gd name="connsiteX1313" fmla="*/ 368647 w 4080607"/>
                <a:gd name="connsiteY1313" fmla="*/ 463483 h 1406657"/>
                <a:gd name="connsiteX1314" fmla="*/ 368647 w 4080607"/>
                <a:gd name="connsiteY1314" fmla="*/ 458527 h 1406657"/>
                <a:gd name="connsiteX1315" fmla="*/ 363763 w 4080607"/>
                <a:gd name="connsiteY1315" fmla="*/ 458527 h 1406657"/>
                <a:gd name="connsiteX1316" fmla="*/ 363763 w 4080607"/>
                <a:gd name="connsiteY1316" fmla="*/ 453571 h 1406657"/>
                <a:gd name="connsiteX1317" fmla="*/ 358879 w 4080607"/>
                <a:gd name="connsiteY1317" fmla="*/ 453571 h 1406657"/>
                <a:gd name="connsiteX1318" fmla="*/ 358879 w 4080607"/>
                <a:gd name="connsiteY1318" fmla="*/ 443524 h 1406657"/>
                <a:gd name="connsiteX1319" fmla="*/ 356437 w 4080607"/>
                <a:gd name="connsiteY1319" fmla="*/ 443524 h 1406657"/>
                <a:gd name="connsiteX1320" fmla="*/ 356437 w 4080607"/>
                <a:gd name="connsiteY1320" fmla="*/ 433477 h 1406657"/>
                <a:gd name="connsiteX1321" fmla="*/ 346571 w 4080607"/>
                <a:gd name="connsiteY1321" fmla="*/ 433477 h 1406657"/>
                <a:gd name="connsiteX1322" fmla="*/ 346571 w 4080607"/>
                <a:gd name="connsiteY1322" fmla="*/ 428521 h 1406657"/>
                <a:gd name="connsiteX1323" fmla="*/ 344129 w 4080607"/>
                <a:gd name="connsiteY1323" fmla="*/ 428521 h 1406657"/>
                <a:gd name="connsiteX1324" fmla="*/ 344129 w 4080607"/>
                <a:gd name="connsiteY1324" fmla="*/ 423431 h 1406657"/>
                <a:gd name="connsiteX1325" fmla="*/ 341687 w 4080607"/>
                <a:gd name="connsiteY1325" fmla="*/ 423431 h 1406657"/>
                <a:gd name="connsiteX1326" fmla="*/ 341687 w 4080607"/>
                <a:gd name="connsiteY1326" fmla="*/ 418474 h 1406657"/>
                <a:gd name="connsiteX1327" fmla="*/ 339245 w 4080607"/>
                <a:gd name="connsiteY1327" fmla="*/ 418474 h 1406657"/>
                <a:gd name="connsiteX1328" fmla="*/ 339245 w 4080607"/>
                <a:gd name="connsiteY1328" fmla="*/ 408428 h 1406657"/>
                <a:gd name="connsiteX1329" fmla="*/ 329379 w 4080607"/>
                <a:gd name="connsiteY1329" fmla="*/ 408428 h 1406657"/>
                <a:gd name="connsiteX1330" fmla="*/ 329379 w 4080607"/>
                <a:gd name="connsiteY1330" fmla="*/ 403338 h 1406657"/>
                <a:gd name="connsiteX1331" fmla="*/ 317071 w 4080607"/>
                <a:gd name="connsiteY1331" fmla="*/ 403338 h 1406657"/>
                <a:gd name="connsiteX1332" fmla="*/ 317071 w 4080607"/>
                <a:gd name="connsiteY1332" fmla="*/ 398381 h 1406657"/>
                <a:gd name="connsiteX1333" fmla="*/ 307303 w 4080607"/>
                <a:gd name="connsiteY1333" fmla="*/ 398381 h 1406657"/>
                <a:gd name="connsiteX1334" fmla="*/ 307303 w 4080607"/>
                <a:gd name="connsiteY1334" fmla="*/ 388335 h 1406657"/>
                <a:gd name="connsiteX1335" fmla="*/ 304861 w 4080607"/>
                <a:gd name="connsiteY1335" fmla="*/ 388335 h 1406657"/>
                <a:gd name="connsiteX1336" fmla="*/ 304861 w 4080607"/>
                <a:gd name="connsiteY1336" fmla="*/ 383244 h 1406657"/>
                <a:gd name="connsiteX1337" fmla="*/ 294995 w 4080607"/>
                <a:gd name="connsiteY1337" fmla="*/ 383244 h 1406657"/>
                <a:gd name="connsiteX1338" fmla="*/ 294995 w 4080607"/>
                <a:gd name="connsiteY1338" fmla="*/ 378154 h 1406657"/>
                <a:gd name="connsiteX1339" fmla="*/ 290111 w 4080607"/>
                <a:gd name="connsiteY1339" fmla="*/ 378154 h 1406657"/>
                <a:gd name="connsiteX1340" fmla="*/ 290111 w 4080607"/>
                <a:gd name="connsiteY1340" fmla="*/ 367973 h 1406657"/>
                <a:gd name="connsiteX1341" fmla="*/ 280343 w 4080607"/>
                <a:gd name="connsiteY1341" fmla="*/ 367973 h 1406657"/>
                <a:gd name="connsiteX1342" fmla="*/ 280343 w 4080607"/>
                <a:gd name="connsiteY1342" fmla="*/ 362883 h 1406657"/>
                <a:gd name="connsiteX1343" fmla="*/ 270478 w 4080607"/>
                <a:gd name="connsiteY1343" fmla="*/ 362883 h 1406657"/>
                <a:gd name="connsiteX1344" fmla="*/ 270478 w 4080607"/>
                <a:gd name="connsiteY1344" fmla="*/ 347612 h 1406657"/>
                <a:gd name="connsiteX1345" fmla="*/ 265594 w 4080607"/>
                <a:gd name="connsiteY1345" fmla="*/ 347612 h 1406657"/>
                <a:gd name="connsiteX1346" fmla="*/ 265594 w 4080607"/>
                <a:gd name="connsiteY1346" fmla="*/ 337298 h 1406657"/>
                <a:gd name="connsiteX1347" fmla="*/ 263152 w 4080607"/>
                <a:gd name="connsiteY1347" fmla="*/ 337298 h 1406657"/>
                <a:gd name="connsiteX1348" fmla="*/ 263152 w 4080607"/>
                <a:gd name="connsiteY1348" fmla="*/ 327117 h 1406657"/>
                <a:gd name="connsiteX1349" fmla="*/ 258268 w 4080607"/>
                <a:gd name="connsiteY1349" fmla="*/ 327117 h 1406657"/>
                <a:gd name="connsiteX1350" fmla="*/ 258268 w 4080607"/>
                <a:gd name="connsiteY1350" fmla="*/ 322027 h 1406657"/>
                <a:gd name="connsiteX1351" fmla="*/ 253383 w 4080607"/>
                <a:gd name="connsiteY1351" fmla="*/ 322027 h 1406657"/>
                <a:gd name="connsiteX1352" fmla="*/ 253383 w 4080607"/>
                <a:gd name="connsiteY1352" fmla="*/ 306622 h 1406657"/>
                <a:gd name="connsiteX1353" fmla="*/ 250941 w 4080607"/>
                <a:gd name="connsiteY1353" fmla="*/ 306622 h 1406657"/>
                <a:gd name="connsiteX1354" fmla="*/ 250941 w 4080607"/>
                <a:gd name="connsiteY1354" fmla="*/ 296442 h 1406657"/>
                <a:gd name="connsiteX1355" fmla="*/ 248499 w 4080607"/>
                <a:gd name="connsiteY1355" fmla="*/ 296442 h 1406657"/>
                <a:gd name="connsiteX1356" fmla="*/ 248499 w 4080607"/>
                <a:gd name="connsiteY1356" fmla="*/ 291217 h 1406657"/>
                <a:gd name="connsiteX1357" fmla="*/ 246057 w 4080607"/>
                <a:gd name="connsiteY1357" fmla="*/ 291217 h 1406657"/>
                <a:gd name="connsiteX1358" fmla="*/ 246057 w 4080607"/>
                <a:gd name="connsiteY1358" fmla="*/ 285993 h 1406657"/>
                <a:gd name="connsiteX1359" fmla="*/ 241173 w 4080607"/>
                <a:gd name="connsiteY1359" fmla="*/ 285993 h 1406657"/>
                <a:gd name="connsiteX1360" fmla="*/ 241173 w 4080607"/>
                <a:gd name="connsiteY1360" fmla="*/ 280903 h 1406657"/>
                <a:gd name="connsiteX1361" fmla="*/ 238731 w 4080607"/>
                <a:gd name="connsiteY1361" fmla="*/ 280903 h 1406657"/>
                <a:gd name="connsiteX1362" fmla="*/ 238731 w 4080607"/>
                <a:gd name="connsiteY1362" fmla="*/ 275679 h 1406657"/>
                <a:gd name="connsiteX1363" fmla="*/ 233847 w 4080607"/>
                <a:gd name="connsiteY1363" fmla="*/ 275679 h 1406657"/>
                <a:gd name="connsiteX1364" fmla="*/ 233847 w 4080607"/>
                <a:gd name="connsiteY1364" fmla="*/ 270454 h 1406657"/>
                <a:gd name="connsiteX1365" fmla="*/ 219195 w 4080607"/>
                <a:gd name="connsiteY1365" fmla="*/ 270454 h 1406657"/>
                <a:gd name="connsiteX1366" fmla="*/ 219195 w 4080607"/>
                <a:gd name="connsiteY1366" fmla="*/ 260006 h 1406657"/>
                <a:gd name="connsiteX1367" fmla="*/ 209427 w 4080607"/>
                <a:gd name="connsiteY1367" fmla="*/ 260006 h 1406657"/>
                <a:gd name="connsiteX1368" fmla="*/ 209427 w 4080607"/>
                <a:gd name="connsiteY1368" fmla="*/ 254782 h 1406657"/>
                <a:gd name="connsiteX1369" fmla="*/ 206985 w 4080607"/>
                <a:gd name="connsiteY1369" fmla="*/ 254782 h 1406657"/>
                <a:gd name="connsiteX1370" fmla="*/ 206985 w 4080607"/>
                <a:gd name="connsiteY1370" fmla="*/ 244333 h 1406657"/>
                <a:gd name="connsiteX1371" fmla="*/ 204543 w 4080607"/>
                <a:gd name="connsiteY1371" fmla="*/ 244333 h 1406657"/>
                <a:gd name="connsiteX1372" fmla="*/ 204543 w 4080607"/>
                <a:gd name="connsiteY1372" fmla="*/ 239109 h 1406657"/>
                <a:gd name="connsiteX1373" fmla="*/ 202101 w 4080607"/>
                <a:gd name="connsiteY1373" fmla="*/ 239109 h 1406657"/>
                <a:gd name="connsiteX1374" fmla="*/ 202101 w 4080607"/>
                <a:gd name="connsiteY1374" fmla="*/ 233885 h 1406657"/>
                <a:gd name="connsiteX1375" fmla="*/ 199659 w 4080607"/>
                <a:gd name="connsiteY1375" fmla="*/ 233885 h 1406657"/>
                <a:gd name="connsiteX1376" fmla="*/ 199659 w 4080607"/>
                <a:gd name="connsiteY1376" fmla="*/ 228661 h 1406657"/>
                <a:gd name="connsiteX1377" fmla="*/ 197217 w 4080607"/>
                <a:gd name="connsiteY1377" fmla="*/ 228661 h 1406657"/>
                <a:gd name="connsiteX1378" fmla="*/ 197217 w 4080607"/>
                <a:gd name="connsiteY1378" fmla="*/ 212854 h 1406657"/>
                <a:gd name="connsiteX1379" fmla="*/ 192333 w 4080607"/>
                <a:gd name="connsiteY1379" fmla="*/ 212854 h 1406657"/>
                <a:gd name="connsiteX1380" fmla="*/ 192333 w 4080607"/>
                <a:gd name="connsiteY1380" fmla="*/ 207630 h 1406657"/>
                <a:gd name="connsiteX1381" fmla="*/ 189891 w 4080607"/>
                <a:gd name="connsiteY1381" fmla="*/ 207630 h 1406657"/>
                <a:gd name="connsiteX1382" fmla="*/ 189891 w 4080607"/>
                <a:gd name="connsiteY1382" fmla="*/ 202272 h 1406657"/>
                <a:gd name="connsiteX1383" fmla="*/ 187449 w 4080607"/>
                <a:gd name="connsiteY1383" fmla="*/ 202272 h 1406657"/>
                <a:gd name="connsiteX1384" fmla="*/ 187449 w 4080607"/>
                <a:gd name="connsiteY1384" fmla="*/ 191555 h 1406657"/>
                <a:gd name="connsiteX1385" fmla="*/ 185007 w 4080607"/>
                <a:gd name="connsiteY1385" fmla="*/ 191555 h 1406657"/>
                <a:gd name="connsiteX1386" fmla="*/ 185007 w 4080607"/>
                <a:gd name="connsiteY1386" fmla="*/ 186197 h 1406657"/>
                <a:gd name="connsiteX1387" fmla="*/ 177681 w 4080607"/>
                <a:gd name="connsiteY1387" fmla="*/ 186197 h 1406657"/>
                <a:gd name="connsiteX1388" fmla="*/ 177681 w 4080607"/>
                <a:gd name="connsiteY1388" fmla="*/ 175481 h 1406657"/>
                <a:gd name="connsiteX1389" fmla="*/ 175239 w 4080607"/>
                <a:gd name="connsiteY1389" fmla="*/ 175481 h 1406657"/>
                <a:gd name="connsiteX1390" fmla="*/ 175239 w 4080607"/>
                <a:gd name="connsiteY1390" fmla="*/ 170122 h 1406657"/>
                <a:gd name="connsiteX1391" fmla="*/ 167913 w 4080607"/>
                <a:gd name="connsiteY1391" fmla="*/ 170122 h 1406657"/>
                <a:gd name="connsiteX1392" fmla="*/ 167913 w 4080607"/>
                <a:gd name="connsiteY1392" fmla="*/ 164630 h 1406657"/>
                <a:gd name="connsiteX1393" fmla="*/ 165471 w 4080607"/>
                <a:gd name="connsiteY1393" fmla="*/ 164630 h 1406657"/>
                <a:gd name="connsiteX1394" fmla="*/ 165471 w 4080607"/>
                <a:gd name="connsiteY1394" fmla="*/ 159138 h 1406657"/>
                <a:gd name="connsiteX1395" fmla="*/ 163029 w 4080607"/>
                <a:gd name="connsiteY1395" fmla="*/ 159138 h 1406657"/>
                <a:gd name="connsiteX1396" fmla="*/ 163029 w 4080607"/>
                <a:gd name="connsiteY1396" fmla="*/ 153646 h 1406657"/>
                <a:gd name="connsiteX1397" fmla="*/ 155703 w 4080607"/>
                <a:gd name="connsiteY1397" fmla="*/ 153646 h 1406657"/>
                <a:gd name="connsiteX1398" fmla="*/ 155703 w 4080607"/>
                <a:gd name="connsiteY1398" fmla="*/ 148154 h 1406657"/>
                <a:gd name="connsiteX1399" fmla="*/ 143395 w 4080607"/>
                <a:gd name="connsiteY1399" fmla="*/ 148154 h 1406657"/>
                <a:gd name="connsiteX1400" fmla="*/ 143395 w 4080607"/>
                <a:gd name="connsiteY1400" fmla="*/ 142662 h 1406657"/>
                <a:gd name="connsiteX1401" fmla="*/ 136069 w 4080607"/>
                <a:gd name="connsiteY1401" fmla="*/ 142662 h 1406657"/>
                <a:gd name="connsiteX1402" fmla="*/ 136069 w 4080607"/>
                <a:gd name="connsiteY1402" fmla="*/ 137170 h 1406657"/>
                <a:gd name="connsiteX1403" fmla="*/ 133627 w 4080607"/>
                <a:gd name="connsiteY1403" fmla="*/ 137170 h 1406657"/>
                <a:gd name="connsiteX1404" fmla="*/ 133627 w 4080607"/>
                <a:gd name="connsiteY1404" fmla="*/ 131543 h 1406657"/>
                <a:gd name="connsiteX1405" fmla="*/ 123761 w 4080607"/>
                <a:gd name="connsiteY1405" fmla="*/ 131543 h 1406657"/>
                <a:gd name="connsiteX1406" fmla="*/ 123761 w 4080607"/>
                <a:gd name="connsiteY1406" fmla="*/ 125917 h 1406657"/>
                <a:gd name="connsiteX1407" fmla="*/ 121319 w 4080607"/>
                <a:gd name="connsiteY1407" fmla="*/ 125917 h 1406657"/>
                <a:gd name="connsiteX1408" fmla="*/ 121319 w 4080607"/>
                <a:gd name="connsiteY1408" fmla="*/ 114665 h 1406657"/>
                <a:gd name="connsiteX1409" fmla="*/ 116435 w 4080607"/>
                <a:gd name="connsiteY1409" fmla="*/ 114665 h 1406657"/>
                <a:gd name="connsiteX1410" fmla="*/ 116435 w 4080607"/>
                <a:gd name="connsiteY1410" fmla="*/ 109039 h 1406657"/>
                <a:gd name="connsiteX1411" fmla="*/ 99243 w 4080607"/>
                <a:gd name="connsiteY1411" fmla="*/ 109039 h 1406657"/>
                <a:gd name="connsiteX1412" fmla="*/ 99243 w 4080607"/>
                <a:gd name="connsiteY1412" fmla="*/ 97519 h 1406657"/>
                <a:gd name="connsiteX1413" fmla="*/ 96801 w 4080607"/>
                <a:gd name="connsiteY1413" fmla="*/ 97519 h 1406657"/>
                <a:gd name="connsiteX1414" fmla="*/ 96801 w 4080607"/>
                <a:gd name="connsiteY1414" fmla="*/ 91759 h 1406657"/>
                <a:gd name="connsiteX1415" fmla="*/ 84494 w 4080607"/>
                <a:gd name="connsiteY1415" fmla="*/ 91759 h 1406657"/>
                <a:gd name="connsiteX1416" fmla="*/ 84494 w 4080607"/>
                <a:gd name="connsiteY1416" fmla="*/ 85865 h 1406657"/>
                <a:gd name="connsiteX1417" fmla="*/ 82052 w 4080607"/>
                <a:gd name="connsiteY1417" fmla="*/ 85865 h 1406657"/>
                <a:gd name="connsiteX1418" fmla="*/ 82052 w 4080607"/>
                <a:gd name="connsiteY1418" fmla="*/ 79971 h 1406657"/>
                <a:gd name="connsiteX1419" fmla="*/ 79610 w 4080607"/>
                <a:gd name="connsiteY1419" fmla="*/ 79971 h 1406657"/>
                <a:gd name="connsiteX1420" fmla="*/ 79610 w 4080607"/>
                <a:gd name="connsiteY1420" fmla="*/ 73943 h 1406657"/>
                <a:gd name="connsiteX1421" fmla="*/ 72284 w 4080607"/>
                <a:gd name="connsiteY1421" fmla="*/ 73943 h 1406657"/>
                <a:gd name="connsiteX1422" fmla="*/ 72284 w 4080607"/>
                <a:gd name="connsiteY1422" fmla="*/ 67915 h 1406657"/>
                <a:gd name="connsiteX1423" fmla="*/ 59976 w 4080607"/>
                <a:gd name="connsiteY1423" fmla="*/ 67915 h 1406657"/>
                <a:gd name="connsiteX1424" fmla="*/ 59976 w 4080607"/>
                <a:gd name="connsiteY1424" fmla="*/ 55591 h 1406657"/>
                <a:gd name="connsiteX1425" fmla="*/ 52650 w 4080607"/>
                <a:gd name="connsiteY1425" fmla="*/ 55591 h 1406657"/>
                <a:gd name="connsiteX1426" fmla="*/ 52650 w 4080607"/>
                <a:gd name="connsiteY1426" fmla="*/ 49161 h 1406657"/>
                <a:gd name="connsiteX1427" fmla="*/ 47766 w 4080607"/>
                <a:gd name="connsiteY1427" fmla="*/ 49161 h 1406657"/>
                <a:gd name="connsiteX1428" fmla="*/ 47766 w 4080607"/>
                <a:gd name="connsiteY1428" fmla="*/ 35900 h 1406657"/>
                <a:gd name="connsiteX1429" fmla="*/ 30672 w 4080607"/>
                <a:gd name="connsiteY1429" fmla="*/ 35900 h 1406657"/>
                <a:gd name="connsiteX1430" fmla="*/ 30672 w 4080607"/>
                <a:gd name="connsiteY1430" fmla="*/ 25050 h 1406657"/>
                <a:gd name="connsiteX1431" fmla="*/ 42589 w 4080607"/>
                <a:gd name="connsiteY1431" fmla="*/ 25050 h 1406657"/>
                <a:gd name="connsiteX1432" fmla="*/ 42589 w 4080607"/>
                <a:gd name="connsiteY1432" fmla="*/ 27193 h 1406657"/>
                <a:gd name="connsiteX1433" fmla="*/ 44152 w 4080607"/>
                <a:gd name="connsiteY1433" fmla="*/ 32283 h 1406657"/>
                <a:gd name="connsiteX1434" fmla="*/ 47863 w 4080607"/>
                <a:gd name="connsiteY1434" fmla="*/ 34426 h 1406657"/>
                <a:gd name="connsiteX1435" fmla="*/ 47863 w 4080607"/>
                <a:gd name="connsiteY1435" fmla="*/ 34426 h 1406657"/>
                <a:gd name="connsiteX1436" fmla="*/ 49036 w 4080607"/>
                <a:gd name="connsiteY1436" fmla="*/ 36971 h 1406657"/>
                <a:gd name="connsiteX1437" fmla="*/ 52748 w 4080607"/>
                <a:gd name="connsiteY1437" fmla="*/ 39115 h 1406657"/>
                <a:gd name="connsiteX1438" fmla="*/ 54896 w 4080607"/>
                <a:gd name="connsiteY1438" fmla="*/ 39115 h 1406657"/>
                <a:gd name="connsiteX1439" fmla="*/ 54896 w 4080607"/>
                <a:gd name="connsiteY1439" fmla="*/ 41258 h 1406657"/>
                <a:gd name="connsiteX1440" fmla="*/ 56459 w 4080607"/>
                <a:gd name="connsiteY1440" fmla="*/ 46348 h 1406657"/>
                <a:gd name="connsiteX1441" fmla="*/ 60171 w 4080607"/>
                <a:gd name="connsiteY1441" fmla="*/ 48492 h 1406657"/>
                <a:gd name="connsiteX1442" fmla="*/ 67595 w 4080607"/>
                <a:gd name="connsiteY1442" fmla="*/ 48492 h 1406657"/>
                <a:gd name="connsiteX1443" fmla="*/ 68767 w 4080607"/>
                <a:gd name="connsiteY1443" fmla="*/ 51037 h 1406657"/>
                <a:gd name="connsiteX1444" fmla="*/ 72479 w 4080607"/>
                <a:gd name="connsiteY1444" fmla="*/ 53180 h 1406657"/>
                <a:gd name="connsiteX1445" fmla="*/ 74921 w 4080607"/>
                <a:gd name="connsiteY1445" fmla="*/ 53180 h 1406657"/>
                <a:gd name="connsiteX1446" fmla="*/ 76093 w 4080607"/>
                <a:gd name="connsiteY1446" fmla="*/ 55725 h 1406657"/>
                <a:gd name="connsiteX1447" fmla="*/ 77168 w 4080607"/>
                <a:gd name="connsiteY1447" fmla="*/ 56797 h 1406657"/>
                <a:gd name="connsiteX1448" fmla="*/ 78535 w 4080607"/>
                <a:gd name="connsiteY1448" fmla="*/ 60280 h 1406657"/>
                <a:gd name="connsiteX1449" fmla="*/ 79610 w 4080607"/>
                <a:gd name="connsiteY1449" fmla="*/ 61351 h 1406657"/>
                <a:gd name="connsiteX1450" fmla="*/ 80977 w 4080607"/>
                <a:gd name="connsiteY1450" fmla="*/ 64834 h 1406657"/>
                <a:gd name="connsiteX1451" fmla="*/ 84689 w 4080607"/>
                <a:gd name="connsiteY1451" fmla="*/ 66977 h 1406657"/>
                <a:gd name="connsiteX1452" fmla="*/ 92015 w 4080607"/>
                <a:gd name="connsiteY1452" fmla="*/ 66977 h 1406657"/>
                <a:gd name="connsiteX1453" fmla="*/ 93187 w 4080607"/>
                <a:gd name="connsiteY1453" fmla="*/ 69522 h 1406657"/>
                <a:gd name="connsiteX1454" fmla="*/ 94066 w 4080607"/>
                <a:gd name="connsiteY1454" fmla="*/ 70594 h 1406657"/>
                <a:gd name="connsiteX1455" fmla="*/ 94066 w 4080607"/>
                <a:gd name="connsiteY1455" fmla="*/ 73809 h 1406657"/>
                <a:gd name="connsiteX1456" fmla="*/ 95629 w 4080607"/>
                <a:gd name="connsiteY1456" fmla="*/ 78899 h 1406657"/>
                <a:gd name="connsiteX1457" fmla="*/ 99341 w 4080607"/>
                <a:gd name="connsiteY1457" fmla="*/ 81043 h 1406657"/>
                <a:gd name="connsiteX1458" fmla="*/ 111551 w 4080607"/>
                <a:gd name="connsiteY1458" fmla="*/ 81043 h 1406657"/>
                <a:gd name="connsiteX1459" fmla="*/ 112723 w 4080607"/>
                <a:gd name="connsiteY1459" fmla="*/ 83588 h 1406657"/>
                <a:gd name="connsiteX1460" fmla="*/ 116142 w 4080607"/>
                <a:gd name="connsiteY1460" fmla="*/ 85731 h 1406657"/>
                <a:gd name="connsiteX1461" fmla="*/ 116142 w 4080607"/>
                <a:gd name="connsiteY1461" fmla="*/ 87874 h 1406657"/>
                <a:gd name="connsiteX1462" fmla="*/ 117705 w 4080607"/>
                <a:gd name="connsiteY1462" fmla="*/ 92965 h 1406657"/>
                <a:gd name="connsiteX1463" fmla="*/ 118780 w 4080607"/>
                <a:gd name="connsiteY1463" fmla="*/ 94036 h 1406657"/>
                <a:gd name="connsiteX1464" fmla="*/ 120147 w 4080607"/>
                <a:gd name="connsiteY1464" fmla="*/ 97519 h 1406657"/>
                <a:gd name="connsiteX1465" fmla="*/ 123859 w 4080607"/>
                <a:gd name="connsiteY1465" fmla="*/ 99662 h 1406657"/>
                <a:gd name="connsiteX1466" fmla="*/ 128841 w 4080607"/>
                <a:gd name="connsiteY1466" fmla="*/ 99662 h 1406657"/>
                <a:gd name="connsiteX1467" fmla="*/ 130013 w 4080607"/>
                <a:gd name="connsiteY1467" fmla="*/ 102073 h 1406657"/>
                <a:gd name="connsiteX1468" fmla="*/ 131087 w 4080607"/>
                <a:gd name="connsiteY1468" fmla="*/ 103145 h 1406657"/>
                <a:gd name="connsiteX1469" fmla="*/ 132553 w 4080607"/>
                <a:gd name="connsiteY1469" fmla="*/ 106628 h 1406657"/>
                <a:gd name="connsiteX1470" fmla="*/ 136264 w 4080607"/>
                <a:gd name="connsiteY1470" fmla="*/ 108771 h 1406657"/>
                <a:gd name="connsiteX1471" fmla="*/ 138706 w 4080607"/>
                <a:gd name="connsiteY1471" fmla="*/ 108771 h 1406657"/>
                <a:gd name="connsiteX1472" fmla="*/ 139879 w 4080607"/>
                <a:gd name="connsiteY1472" fmla="*/ 111316 h 1406657"/>
                <a:gd name="connsiteX1473" fmla="*/ 143590 w 4080607"/>
                <a:gd name="connsiteY1473" fmla="*/ 113460 h 1406657"/>
                <a:gd name="connsiteX1474" fmla="*/ 151014 w 4080607"/>
                <a:gd name="connsiteY1474" fmla="*/ 113460 h 1406657"/>
                <a:gd name="connsiteX1475" fmla="*/ 152186 w 4080607"/>
                <a:gd name="connsiteY1475" fmla="*/ 116005 h 1406657"/>
                <a:gd name="connsiteX1476" fmla="*/ 155898 w 4080607"/>
                <a:gd name="connsiteY1476" fmla="*/ 118148 h 1406657"/>
                <a:gd name="connsiteX1477" fmla="*/ 158340 w 4080607"/>
                <a:gd name="connsiteY1477" fmla="*/ 118148 h 1406657"/>
                <a:gd name="connsiteX1478" fmla="*/ 159512 w 4080607"/>
                <a:gd name="connsiteY1478" fmla="*/ 120693 h 1406657"/>
                <a:gd name="connsiteX1479" fmla="*/ 160587 w 4080607"/>
                <a:gd name="connsiteY1479" fmla="*/ 121765 h 1406657"/>
                <a:gd name="connsiteX1480" fmla="*/ 161954 w 4080607"/>
                <a:gd name="connsiteY1480" fmla="*/ 125382 h 1406657"/>
                <a:gd name="connsiteX1481" fmla="*/ 163029 w 4080607"/>
                <a:gd name="connsiteY1481" fmla="*/ 126453 h 1406657"/>
                <a:gd name="connsiteX1482" fmla="*/ 164396 w 4080607"/>
                <a:gd name="connsiteY1482" fmla="*/ 129936 h 1406657"/>
                <a:gd name="connsiteX1483" fmla="*/ 168108 w 4080607"/>
                <a:gd name="connsiteY1483" fmla="*/ 132079 h 1406657"/>
                <a:gd name="connsiteX1484" fmla="*/ 170550 w 4080607"/>
                <a:gd name="connsiteY1484" fmla="*/ 132079 h 1406657"/>
                <a:gd name="connsiteX1485" fmla="*/ 171723 w 4080607"/>
                <a:gd name="connsiteY1485" fmla="*/ 134624 h 1406657"/>
                <a:gd name="connsiteX1486" fmla="*/ 172602 w 4080607"/>
                <a:gd name="connsiteY1486" fmla="*/ 135696 h 1406657"/>
                <a:gd name="connsiteX1487" fmla="*/ 172602 w 4080607"/>
                <a:gd name="connsiteY1487" fmla="*/ 138911 h 1406657"/>
                <a:gd name="connsiteX1488" fmla="*/ 174165 w 4080607"/>
                <a:gd name="connsiteY1488" fmla="*/ 144001 h 1406657"/>
                <a:gd name="connsiteX1489" fmla="*/ 177876 w 4080607"/>
                <a:gd name="connsiteY1489" fmla="*/ 146145 h 1406657"/>
                <a:gd name="connsiteX1490" fmla="*/ 180318 w 4080607"/>
                <a:gd name="connsiteY1490" fmla="*/ 146145 h 1406657"/>
                <a:gd name="connsiteX1491" fmla="*/ 181491 w 4080607"/>
                <a:gd name="connsiteY1491" fmla="*/ 148690 h 1406657"/>
                <a:gd name="connsiteX1492" fmla="*/ 182370 w 4080607"/>
                <a:gd name="connsiteY1492" fmla="*/ 149761 h 1406657"/>
                <a:gd name="connsiteX1493" fmla="*/ 182370 w 4080607"/>
                <a:gd name="connsiteY1493" fmla="*/ 152976 h 1406657"/>
                <a:gd name="connsiteX1494" fmla="*/ 183933 w 4080607"/>
                <a:gd name="connsiteY1494" fmla="*/ 158067 h 1406657"/>
                <a:gd name="connsiteX1495" fmla="*/ 185007 w 4080607"/>
                <a:gd name="connsiteY1495" fmla="*/ 159138 h 1406657"/>
                <a:gd name="connsiteX1496" fmla="*/ 186375 w 4080607"/>
                <a:gd name="connsiteY1496" fmla="*/ 162621 h 1406657"/>
                <a:gd name="connsiteX1497" fmla="*/ 187449 w 4080607"/>
                <a:gd name="connsiteY1497" fmla="*/ 163693 h 1406657"/>
                <a:gd name="connsiteX1498" fmla="*/ 188817 w 4080607"/>
                <a:gd name="connsiteY1498" fmla="*/ 167175 h 1406657"/>
                <a:gd name="connsiteX1499" fmla="*/ 192235 w 4080607"/>
                <a:gd name="connsiteY1499" fmla="*/ 169319 h 1406657"/>
                <a:gd name="connsiteX1500" fmla="*/ 192235 w 4080607"/>
                <a:gd name="connsiteY1500" fmla="*/ 176150 h 1406657"/>
                <a:gd name="connsiteX1501" fmla="*/ 193798 w 4080607"/>
                <a:gd name="connsiteY1501" fmla="*/ 181241 h 1406657"/>
                <a:gd name="connsiteX1502" fmla="*/ 194873 w 4080607"/>
                <a:gd name="connsiteY1502" fmla="*/ 182312 h 1406657"/>
                <a:gd name="connsiteX1503" fmla="*/ 196240 w 4080607"/>
                <a:gd name="connsiteY1503" fmla="*/ 185795 h 1406657"/>
                <a:gd name="connsiteX1504" fmla="*/ 197315 w 4080607"/>
                <a:gd name="connsiteY1504" fmla="*/ 186867 h 1406657"/>
                <a:gd name="connsiteX1505" fmla="*/ 198682 w 4080607"/>
                <a:gd name="connsiteY1505" fmla="*/ 190350 h 1406657"/>
                <a:gd name="connsiteX1506" fmla="*/ 199757 w 4080607"/>
                <a:gd name="connsiteY1506" fmla="*/ 191421 h 1406657"/>
                <a:gd name="connsiteX1507" fmla="*/ 201124 w 4080607"/>
                <a:gd name="connsiteY1507" fmla="*/ 194904 h 1406657"/>
                <a:gd name="connsiteX1508" fmla="*/ 202101 w 4080607"/>
                <a:gd name="connsiteY1508" fmla="*/ 195976 h 1406657"/>
                <a:gd name="connsiteX1509" fmla="*/ 202101 w 4080607"/>
                <a:gd name="connsiteY1509" fmla="*/ 199191 h 1406657"/>
                <a:gd name="connsiteX1510" fmla="*/ 203664 w 4080607"/>
                <a:gd name="connsiteY1510" fmla="*/ 204281 h 1406657"/>
                <a:gd name="connsiteX1511" fmla="*/ 204739 w 4080607"/>
                <a:gd name="connsiteY1511" fmla="*/ 205353 h 1406657"/>
                <a:gd name="connsiteX1512" fmla="*/ 206106 w 4080607"/>
                <a:gd name="connsiteY1512" fmla="*/ 208969 h 1406657"/>
                <a:gd name="connsiteX1513" fmla="*/ 209818 w 4080607"/>
                <a:gd name="connsiteY1513" fmla="*/ 211113 h 1406657"/>
                <a:gd name="connsiteX1514" fmla="*/ 214409 w 4080607"/>
                <a:gd name="connsiteY1514" fmla="*/ 211113 h 1406657"/>
                <a:gd name="connsiteX1515" fmla="*/ 214409 w 4080607"/>
                <a:gd name="connsiteY1515" fmla="*/ 213256 h 1406657"/>
                <a:gd name="connsiteX1516" fmla="*/ 215972 w 4080607"/>
                <a:gd name="connsiteY1516" fmla="*/ 218346 h 1406657"/>
                <a:gd name="connsiteX1517" fmla="*/ 219684 w 4080607"/>
                <a:gd name="connsiteY1517" fmla="*/ 220489 h 1406657"/>
                <a:gd name="connsiteX1518" fmla="*/ 229452 w 4080607"/>
                <a:gd name="connsiteY1518" fmla="*/ 220489 h 1406657"/>
                <a:gd name="connsiteX1519" fmla="*/ 230624 w 4080607"/>
                <a:gd name="connsiteY1519" fmla="*/ 223035 h 1406657"/>
                <a:gd name="connsiteX1520" fmla="*/ 234336 w 4080607"/>
                <a:gd name="connsiteY1520" fmla="*/ 225178 h 1406657"/>
                <a:gd name="connsiteX1521" fmla="*/ 234336 w 4080607"/>
                <a:gd name="connsiteY1521" fmla="*/ 225178 h 1406657"/>
                <a:gd name="connsiteX1522" fmla="*/ 235508 w 4080607"/>
                <a:gd name="connsiteY1522" fmla="*/ 227589 h 1406657"/>
                <a:gd name="connsiteX1523" fmla="*/ 236582 w 4080607"/>
                <a:gd name="connsiteY1523" fmla="*/ 228661 h 1406657"/>
                <a:gd name="connsiteX1524" fmla="*/ 237950 w 4080607"/>
                <a:gd name="connsiteY1524" fmla="*/ 232277 h 1406657"/>
                <a:gd name="connsiteX1525" fmla="*/ 241662 w 4080607"/>
                <a:gd name="connsiteY1525" fmla="*/ 234421 h 1406657"/>
                <a:gd name="connsiteX1526" fmla="*/ 241662 w 4080607"/>
                <a:gd name="connsiteY1526" fmla="*/ 234421 h 1406657"/>
                <a:gd name="connsiteX1527" fmla="*/ 242834 w 4080607"/>
                <a:gd name="connsiteY1527" fmla="*/ 236966 h 1406657"/>
                <a:gd name="connsiteX1528" fmla="*/ 243908 w 4080607"/>
                <a:gd name="connsiteY1528" fmla="*/ 238037 h 1406657"/>
                <a:gd name="connsiteX1529" fmla="*/ 245276 w 4080607"/>
                <a:gd name="connsiteY1529" fmla="*/ 241520 h 1406657"/>
                <a:gd name="connsiteX1530" fmla="*/ 246253 w 4080607"/>
                <a:gd name="connsiteY1530" fmla="*/ 242592 h 1406657"/>
                <a:gd name="connsiteX1531" fmla="*/ 246253 w 4080607"/>
                <a:gd name="connsiteY1531" fmla="*/ 245807 h 1406657"/>
                <a:gd name="connsiteX1532" fmla="*/ 247816 w 4080607"/>
                <a:gd name="connsiteY1532" fmla="*/ 250897 h 1406657"/>
                <a:gd name="connsiteX1533" fmla="*/ 248695 w 4080607"/>
                <a:gd name="connsiteY1533" fmla="*/ 251835 h 1406657"/>
                <a:gd name="connsiteX1534" fmla="*/ 248695 w 4080607"/>
                <a:gd name="connsiteY1534" fmla="*/ 259738 h 1406657"/>
                <a:gd name="connsiteX1535" fmla="*/ 250258 w 4080607"/>
                <a:gd name="connsiteY1535" fmla="*/ 264828 h 1406657"/>
                <a:gd name="connsiteX1536" fmla="*/ 253970 w 4080607"/>
                <a:gd name="connsiteY1536" fmla="*/ 266972 h 1406657"/>
                <a:gd name="connsiteX1537" fmla="*/ 253970 w 4080607"/>
                <a:gd name="connsiteY1537" fmla="*/ 266972 h 1406657"/>
                <a:gd name="connsiteX1538" fmla="*/ 255142 w 4080607"/>
                <a:gd name="connsiteY1538" fmla="*/ 269517 h 1406657"/>
                <a:gd name="connsiteX1539" fmla="*/ 258561 w 4080607"/>
                <a:gd name="connsiteY1539" fmla="*/ 271660 h 1406657"/>
                <a:gd name="connsiteX1540" fmla="*/ 258561 w 4080607"/>
                <a:gd name="connsiteY1540" fmla="*/ 273803 h 1406657"/>
                <a:gd name="connsiteX1541" fmla="*/ 260123 w 4080607"/>
                <a:gd name="connsiteY1541" fmla="*/ 278894 h 1406657"/>
                <a:gd name="connsiteX1542" fmla="*/ 261003 w 4080607"/>
                <a:gd name="connsiteY1542" fmla="*/ 279965 h 1406657"/>
                <a:gd name="connsiteX1543" fmla="*/ 261003 w 4080607"/>
                <a:gd name="connsiteY1543" fmla="*/ 283180 h 1406657"/>
                <a:gd name="connsiteX1544" fmla="*/ 262565 w 4080607"/>
                <a:gd name="connsiteY1544" fmla="*/ 288270 h 1406657"/>
                <a:gd name="connsiteX1545" fmla="*/ 265984 w 4080607"/>
                <a:gd name="connsiteY1545" fmla="*/ 290414 h 1406657"/>
                <a:gd name="connsiteX1546" fmla="*/ 265984 w 4080607"/>
                <a:gd name="connsiteY1546" fmla="*/ 297245 h 1406657"/>
                <a:gd name="connsiteX1547" fmla="*/ 267547 w 4080607"/>
                <a:gd name="connsiteY1547" fmla="*/ 302336 h 1406657"/>
                <a:gd name="connsiteX1548" fmla="*/ 271259 w 4080607"/>
                <a:gd name="connsiteY1548" fmla="*/ 304479 h 1406657"/>
                <a:gd name="connsiteX1549" fmla="*/ 276241 w 4080607"/>
                <a:gd name="connsiteY1549" fmla="*/ 304479 h 1406657"/>
                <a:gd name="connsiteX1550" fmla="*/ 277413 w 4080607"/>
                <a:gd name="connsiteY1550" fmla="*/ 307024 h 1406657"/>
                <a:gd name="connsiteX1551" fmla="*/ 281125 w 4080607"/>
                <a:gd name="connsiteY1551" fmla="*/ 309167 h 1406657"/>
                <a:gd name="connsiteX1552" fmla="*/ 285618 w 4080607"/>
                <a:gd name="connsiteY1552" fmla="*/ 309167 h 1406657"/>
                <a:gd name="connsiteX1553" fmla="*/ 285618 w 4080607"/>
                <a:gd name="connsiteY1553" fmla="*/ 311177 h 1406657"/>
                <a:gd name="connsiteX1554" fmla="*/ 287181 w 4080607"/>
                <a:gd name="connsiteY1554" fmla="*/ 316267 h 1406657"/>
                <a:gd name="connsiteX1555" fmla="*/ 290893 w 4080607"/>
                <a:gd name="connsiteY1555" fmla="*/ 318410 h 1406657"/>
                <a:gd name="connsiteX1556" fmla="*/ 290893 w 4080607"/>
                <a:gd name="connsiteY1556" fmla="*/ 318410 h 1406657"/>
                <a:gd name="connsiteX1557" fmla="*/ 292065 w 4080607"/>
                <a:gd name="connsiteY1557" fmla="*/ 320955 h 1406657"/>
                <a:gd name="connsiteX1558" fmla="*/ 295777 w 4080607"/>
                <a:gd name="connsiteY1558" fmla="*/ 323099 h 1406657"/>
                <a:gd name="connsiteX1559" fmla="*/ 300759 w 4080607"/>
                <a:gd name="connsiteY1559" fmla="*/ 323099 h 1406657"/>
                <a:gd name="connsiteX1560" fmla="*/ 301931 w 4080607"/>
                <a:gd name="connsiteY1560" fmla="*/ 325644 h 1406657"/>
                <a:gd name="connsiteX1561" fmla="*/ 302810 w 4080607"/>
                <a:gd name="connsiteY1561" fmla="*/ 326715 h 1406657"/>
                <a:gd name="connsiteX1562" fmla="*/ 302810 w 4080607"/>
                <a:gd name="connsiteY1562" fmla="*/ 329930 h 1406657"/>
                <a:gd name="connsiteX1563" fmla="*/ 304373 w 4080607"/>
                <a:gd name="connsiteY1563" fmla="*/ 335021 h 1406657"/>
                <a:gd name="connsiteX1564" fmla="*/ 308085 w 4080607"/>
                <a:gd name="connsiteY1564" fmla="*/ 337164 h 1406657"/>
                <a:gd name="connsiteX1565" fmla="*/ 312969 w 4080607"/>
                <a:gd name="connsiteY1565" fmla="*/ 337164 h 1406657"/>
                <a:gd name="connsiteX1566" fmla="*/ 314141 w 4080607"/>
                <a:gd name="connsiteY1566" fmla="*/ 339709 h 1406657"/>
                <a:gd name="connsiteX1567" fmla="*/ 317853 w 4080607"/>
                <a:gd name="connsiteY1567" fmla="*/ 341852 h 1406657"/>
                <a:gd name="connsiteX1568" fmla="*/ 325276 w 4080607"/>
                <a:gd name="connsiteY1568" fmla="*/ 341852 h 1406657"/>
                <a:gd name="connsiteX1569" fmla="*/ 326449 w 4080607"/>
                <a:gd name="connsiteY1569" fmla="*/ 344397 h 1406657"/>
                <a:gd name="connsiteX1570" fmla="*/ 330160 w 4080607"/>
                <a:gd name="connsiteY1570" fmla="*/ 346541 h 1406657"/>
                <a:gd name="connsiteX1571" fmla="*/ 334751 w 4080607"/>
                <a:gd name="connsiteY1571" fmla="*/ 346541 h 1406657"/>
                <a:gd name="connsiteX1572" fmla="*/ 334751 w 4080607"/>
                <a:gd name="connsiteY1572" fmla="*/ 348684 h 1406657"/>
                <a:gd name="connsiteX1573" fmla="*/ 336314 w 4080607"/>
                <a:gd name="connsiteY1573" fmla="*/ 353774 h 1406657"/>
                <a:gd name="connsiteX1574" fmla="*/ 337389 w 4080607"/>
                <a:gd name="connsiteY1574" fmla="*/ 354846 h 1406657"/>
                <a:gd name="connsiteX1575" fmla="*/ 338756 w 4080607"/>
                <a:gd name="connsiteY1575" fmla="*/ 358329 h 1406657"/>
                <a:gd name="connsiteX1576" fmla="*/ 339733 w 4080607"/>
                <a:gd name="connsiteY1576" fmla="*/ 359400 h 1406657"/>
                <a:gd name="connsiteX1577" fmla="*/ 341198 w 4080607"/>
                <a:gd name="connsiteY1577" fmla="*/ 363017 h 1406657"/>
                <a:gd name="connsiteX1578" fmla="*/ 342273 w 4080607"/>
                <a:gd name="connsiteY1578" fmla="*/ 364089 h 1406657"/>
                <a:gd name="connsiteX1579" fmla="*/ 343738 w 4080607"/>
                <a:gd name="connsiteY1579" fmla="*/ 367706 h 1406657"/>
                <a:gd name="connsiteX1580" fmla="*/ 347450 w 4080607"/>
                <a:gd name="connsiteY1580" fmla="*/ 369849 h 1406657"/>
                <a:gd name="connsiteX1581" fmla="*/ 352041 w 4080607"/>
                <a:gd name="connsiteY1581" fmla="*/ 369849 h 1406657"/>
                <a:gd name="connsiteX1582" fmla="*/ 352041 w 4080607"/>
                <a:gd name="connsiteY1582" fmla="*/ 371992 h 1406657"/>
                <a:gd name="connsiteX1583" fmla="*/ 353604 w 4080607"/>
                <a:gd name="connsiteY1583" fmla="*/ 377082 h 1406657"/>
                <a:gd name="connsiteX1584" fmla="*/ 354483 w 4080607"/>
                <a:gd name="connsiteY1584" fmla="*/ 378020 h 1406657"/>
                <a:gd name="connsiteX1585" fmla="*/ 354483 w 4080607"/>
                <a:gd name="connsiteY1585" fmla="*/ 381235 h 1406657"/>
                <a:gd name="connsiteX1586" fmla="*/ 356046 w 4080607"/>
                <a:gd name="connsiteY1586" fmla="*/ 386325 h 1406657"/>
                <a:gd name="connsiteX1587" fmla="*/ 359758 w 4080607"/>
                <a:gd name="connsiteY1587" fmla="*/ 388469 h 1406657"/>
                <a:gd name="connsiteX1588" fmla="*/ 359758 w 4080607"/>
                <a:gd name="connsiteY1588" fmla="*/ 388469 h 1406657"/>
                <a:gd name="connsiteX1589" fmla="*/ 360930 w 4080607"/>
                <a:gd name="connsiteY1589" fmla="*/ 391014 h 1406657"/>
                <a:gd name="connsiteX1590" fmla="*/ 364642 w 4080607"/>
                <a:gd name="connsiteY1590" fmla="*/ 393157 h 1406657"/>
                <a:gd name="connsiteX1591" fmla="*/ 364642 w 4080607"/>
                <a:gd name="connsiteY1591" fmla="*/ 393157 h 1406657"/>
                <a:gd name="connsiteX1592" fmla="*/ 365814 w 4080607"/>
                <a:gd name="connsiteY1592" fmla="*/ 395702 h 1406657"/>
                <a:gd name="connsiteX1593" fmla="*/ 366693 w 4080607"/>
                <a:gd name="connsiteY1593" fmla="*/ 396774 h 1406657"/>
                <a:gd name="connsiteX1594" fmla="*/ 366693 w 4080607"/>
                <a:gd name="connsiteY1594" fmla="*/ 399989 h 1406657"/>
                <a:gd name="connsiteX1595" fmla="*/ 368256 w 4080607"/>
                <a:gd name="connsiteY1595" fmla="*/ 405079 h 1406657"/>
                <a:gd name="connsiteX1596" fmla="*/ 369330 w 4080607"/>
                <a:gd name="connsiteY1596" fmla="*/ 406151 h 1406657"/>
                <a:gd name="connsiteX1597" fmla="*/ 370796 w 4080607"/>
                <a:gd name="connsiteY1597" fmla="*/ 409767 h 1406657"/>
                <a:gd name="connsiteX1598" fmla="*/ 374507 w 4080607"/>
                <a:gd name="connsiteY1598" fmla="*/ 411911 h 1406657"/>
                <a:gd name="connsiteX1599" fmla="*/ 379489 w 4080607"/>
                <a:gd name="connsiteY1599" fmla="*/ 411911 h 1406657"/>
                <a:gd name="connsiteX1600" fmla="*/ 380661 w 4080607"/>
                <a:gd name="connsiteY1600" fmla="*/ 414456 h 1406657"/>
                <a:gd name="connsiteX1601" fmla="*/ 381736 w 4080607"/>
                <a:gd name="connsiteY1601" fmla="*/ 415527 h 1406657"/>
                <a:gd name="connsiteX1602" fmla="*/ 383103 w 4080607"/>
                <a:gd name="connsiteY1602" fmla="*/ 419144 h 1406657"/>
                <a:gd name="connsiteX1603" fmla="*/ 386815 w 4080607"/>
                <a:gd name="connsiteY1603" fmla="*/ 421287 h 1406657"/>
                <a:gd name="connsiteX1604" fmla="*/ 386815 w 4080607"/>
                <a:gd name="connsiteY1604" fmla="*/ 421287 h 1406657"/>
                <a:gd name="connsiteX1605" fmla="*/ 387987 w 4080607"/>
                <a:gd name="connsiteY1605" fmla="*/ 423833 h 1406657"/>
                <a:gd name="connsiteX1606" fmla="*/ 391699 w 4080607"/>
                <a:gd name="connsiteY1606" fmla="*/ 425976 h 1406657"/>
                <a:gd name="connsiteX1607" fmla="*/ 391699 w 4080607"/>
                <a:gd name="connsiteY1607" fmla="*/ 425976 h 1406657"/>
                <a:gd name="connsiteX1608" fmla="*/ 392871 w 4080607"/>
                <a:gd name="connsiteY1608" fmla="*/ 428521 h 1406657"/>
                <a:gd name="connsiteX1609" fmla="*/ 396583 w 4080607"/>
                <a:gd name="connsiteY1609" fmla="*/ 430664 h 1406657"/>
                <a:gd name="connsiteX1610" fmla="*/ 399025 w 4080607"/>
                <a:gd name="connsiteY1610" fmla="*/ 430664 h 1406657"/>
                <a:gd name="connsiteX1611" fmla="*/ 400197 w 4080607"/>
                <a:gd name="connsiteY1611" fmla="*/ 433209 h 1406657"/>
                <a:gd name="connsiteX1612" fmla="*/ 401272 w 4080607"/>
                <a:gd name="connsiteY1612" fmla="*/ 434281 h 1406657"/>
                <a:gd name="connsiteX1613" fmla="*/ 402737 w 4080607"/>
                <a:gd name="connsiteY1613" fmla="*/ 437764 h 1406657"/>
                <a:gd name="connsiteX1614" fmla="*/ 403812 w 4080607"/>
                <a:gd name="connsiteY1614" fmla="*/ 438835 h 1406657"/>
                <a:gd name="connsiteX1615" fmla="*/ 405277 w 4080607"/>
                <a:gd name="connsiteY1615" fmla="*/ 442452 h 1406657"/>
                <a:gd name="connsiteX1616" fmla="*/ 408989 w 4080607"/>
                <a:gd name="connsiteY1616" fmla="*/ 444596 h 1406657"/>
                <a:gd name="connsiteX1617" fmla="*/ 413873 w 4080607"/>
                <a:gd name="connsiteY1617" fmla="*/ 444596 h 1406657"/>
                <a:gd name="connsiteX1618" fmla="*/ 415045 w 4080607"/>
                <a:gd name="connsiteY1618" fmla="*/ 447141 h 1406657"/>
                <a:gd name="connsiteX1619" fmla="*/ 416119 w 4080607"/>
                <a:gd name="connsiteY1619" fmla="*/ 448212 h 1406657"/>
                <a:gd name="connsiteX1620" fmla="*/ 417487 w 4080607"/>
                <a:gd name="connsiteY1620" fmla="*/ 451695 h 1406657"/>
                <a:gd name="connsiteX1621" fmla="*/ 418561 w 4080607"/>
                <a:gd name="connsiteY1621" fmla="*/ 452767 h 1406657"/>
                <a:gd name="connsiteX1622" fmla="*/ 419929 w 4080607"/>
                <a:gd name="connsiteY1622" fmla="*/ 456250 h 1406657"/>
                <a:gd name="connsiteX1623" fmla="*/ 421003 w 4080607"/>
                <a:gd name="connsiteY1623" fmla="*/ 457321 h 1406657"/>
                <a:gd name="connsiteX1624" fmla="*/ 422469 w 4080607"/>
                <a:gd name="connsiteY1624" fmla="*/ 460938 h 1406657"/>
                <a:gd name="connsiteX1625" fmla="*/ 423543 w 4080607"/>
                <a:gd name="connsiteY1625" fmla="*/ 462010 h 1406657"/>
                <a:gd name="connsiteX1626" fmla="*/ 424911 w 4080607"/>
                <a:gd name="connsiteY1626" fmla="*/ 465626 h 1406657"/>
                <a:gd name="connsiteX1627" fmla="*/ 425985 w 4080607"/>
                <a:gd name="connsiteY1627" fmla="*/ 466698 h 1406657"/>
                <a:gd name="connsiteX1628" fmla="*/ 427450 w 4080607"/>
                <a:gd name="connsiteY1628" fmla="*/ 470315 h 1406657"/>
                <a:gd name="connsiteX1629" fmla="*/ 431162 w 4080607"/>
                <a:gd name="connsiteY1629" fmla="*/ 472458 h 1406657"/>
                <a:gd name="connsiteX1630" fmla="*/ 436046 w 4080607"/>
                <a:gd name="connsiteY1630" fmla="*/ 472458 h 1406657"/>
                <a:gd name="connsiteX1631" fmla="*/ 437218 w 4080607"/>
                <a:gd name="connsiteY1631" fmla="*/ 475003 h 1406657"/>
                <a:gd name="connsiteX1632" fmla="*/ 438097 w 4080607"/>
                <a:gd name="connsiteY1632" fmla="*/ 475941 h 1406657"/>
                <a:gd name="connsiteX1633" fmla="*/ 438097 w 4080607"/>
                <a:gd name="connsiteY1633" fmla="*/ 479156 h 1406657"/>
                <a:gd name="connsiteX1634" fmla="*/ 439660 w 4080607"/>
                <a:gd name="connsiteY1634" fmla="*/ 484246 h 1406657"/>
                <a:gd name="connsiteX1635" fmla="*/ 440735 w 4080607"/>
                <a:gd name="connsiteY1635" fmla="*/ 485318 h 1406657"/>
                <a:gd name="connsiteX1636" fmla="*/ 442102 w 4080607"/>
                <a:gd name="connsiteY1636" fmla="*/ 488801 h 1406657"/>
                <a:gd name="connsiteX1637" fmla="*/ 442982 w 4080607"/>
                <a:gd name="connsiteY1637" fmla="*/ 489738 h 1406657"/>
                <a:gd name="connsiteX1638" fmla="*/ 442982 w 4080607"/>
                <a:gd name="connsiteY1638" fmla="*/ 492953 h 1406657"/>
                <a:gd name="connsiteX1639" fmla="*/ 444544 w 4080607"/>
                <a:gd name="connsiteY1639" fmla="*/ 498043 h 1406657"/>
                <a:gd name="connsiteX1640" fmla="*/ 448256 w 4080607"/>
                <a:gd name="connsiteY1640" fmla="*/ 500187 h 1406657"/>
                <a:gd name="connsiteX1641" fmla="*/ 458122 w 4080607"/>
                <a:gd name="connsiteY1641" fmla="*/ 500187 h 1406657"/>
                <a:gd name="connsiteX1642" fmla="*/ 459294 w 4080607"/>
                <a:gd name="connsiteY1642" fmla="*/ 502732 h 1406657"/>
                <a:gd name="connsiteX1643" fmla="*/ 463006 w 4080607"/>
                <a:gd name="connsiteY1643" fmla="*/ 504875 h 1406657"/>
                <a:gd name="connsiteX1644" fmla="*/ 475314 w 4080607"/>
                <a:gd name="connsiteY1644" fmla="*/ 504875 h 1406657"/>
                <a:gd name="connsiteX1645" fmla="*/ 476486 w 4080607"/>
                <a:gd name="connsiteY1645" fmla="*/ 507420 h 1406657"/>
                <a:gd name="connsiteX1646" fmla="*/ 477365 w 4080607"/>
                <a:gd name="connsiteY1646" fmla="*/ 508358 h 1406657"/>
                <a:gd name="connsiteX1647" fmla="*/ 477365 w 4080607"/>
                <a:gd name="connsiteY1647" fmla="*/ 511573 h 1406657"/>
                <a:gd name="connsiteX1648" fmla="*/ 478928 w 4080607"/>
                <a:gd name="connsiteY1648" fmla="*/ 516663 h 1406657"/>
                <a:gd name="connsiteX1649" fmla="*/ 482640 w 4080607"/>
                <a:gd name="connsiteY1649" fmla="*/ 518806 h 1406657"/>
                <a:gd name="connsiteX1650" fmla="*/ 482640 w 4080607"/>
                <a:gd name="connsiteY1650" fmla="*/ 518806 h 1406657"/>
                <a:gd name="connsiteX1651" fmla="*/ 483812 w 4080607"/>
                <a:gd name="connsiteY1651" fmla="*/ 521352 h 1406657"/>
                <a:gd name="connsiteX1652" fmla="*/ 487524 w 4080607"/>
                <a:gd name="connsiteY1652" fmla="*/ 523495 h 1406657"/>
                <a:gd name="connsiteX1653" fmla="*/ 499832 w 4080607"/>
                <a:gd name="connsiteY1653" fmla="*/ 523495 h 1406657"/>
                <a:gd name="connsiteX1654" fmla="*/ 501004 w 4080607"/>
                <a:gd name="connsiteY1654" fmla="*/ 526040 h 1406657"/>
                <a:gd name="connsiteX1655" fmla="*/ 502078 w 4080607"/>
                <a:gd name="connsiteY1655" fmla="*/ 527112 h 1406657"/>
                <a:gd name="connsiteX1656" fmla="*/ 503446 w 4080607"/>
                <a:gd name="connsiteY1656" fmla="*/ 530594 h 1406657"/>
                <a:gd name="connsiteX1657" fmla="*/ 504325 w 4080607"/>
                <a:gd name="connsiteY1657" fmla="*/ 531666 h 1406657"/>
                <a:gd name="connsiteX1658" fmla="*/ 504325 w 4080607"/>
                <a:gd name="connsiteY1658" fmla="*/ 534881 h 1406657"/>
                <a:gd name="connsiteX1659" fmla="*/ 505888 w 4080607"/>
                <a:gd name="connsiteY1659" fmla="*/ 539971 h 1406657"/>
                <a:gd name="connsiteX1660" fmla="*/ 509600 w 4080607"/>
                <a:gd name="connsiteY1660" fmla="*/ 542115 h 1406657"/>
                <a:gd name="connsiteX1661" fmla="*/ 511749 w 4080607"/>
                <a:gd name="connsiteY1661" fmla="*/ 542115 h 1406657"/>
                <a:gd name="connsiteX1662" fmla="*/ 511749 w 4080607"/>
                <a:gd name="connsiteY1662" fmla="*/ 544258 h 1406657"/>
                <a:gd name="connsiteX1663" fmla="*/ 513312 w 4080607"/>
                <a:gd name="connsiteY1663" fmla="*/ 549348 h 1406657"/>
                <a:gd name="connsiteX1664" fmla="*/ 517023 w 4080607"/>
                <a:gd name="connsiteY1664" fmla="*/ 551491 h 1406657"/>
                <a:gd name="connsiteX1665" fmla="*/ 521517 w 4080607"/>
                <a:gd name="connsiteY1665" fmla="*/ 551491 h 1406657"/>
                <a:gd name="connsiteX1666" fmla="*/ 521517 w 4080607"/>
                <a:gd name="connsiteY1666" fmla="*/ 553635 h 1406657"/>
                <a:gd name="connsiteX1667" fmla="*/ 523080 w 4080607"/>
                <a:gd name="connsiteY1667" fmla="*/ 558725 h 1406657"/>
                <a:gd name="connsiteX1668" fmla="*/ 524154 w 4080607"/>
                <a:gd name="connsiteY1668" fmla="*/ 559797 h 1406657"/>
                <a:gd name="connsiteX1669" fmla="*/ 525619 w 4080607"/>
                <a:gd name="connsiteY1669" fmla="*/ 563413 h 1406657"/>
                <a:gd name="connsiteX1670" fmla="*/ 529331 w 4080607"/>
                <a:gd name="connsiteY1670" fmla="*/ 565557 h 1406657"/>
                <a:gd name="connsiteX1671" fmla="*/ 539197 w 4080607"/>
                <a:gd name="connsiteY1671" fmla="*/ 565557 h 1406657"/>
                <a:gd name="connsiteX1672" fmla="*/ 540369 w 4080607"/>
                <a:gd name="connsiteY1672" fmla="*/ 568102 h 1406657"/>
                <a:gd name="connsiteX1673" fmla="*/ 544081 w 4080607"/>
                <a:gd name="connsiteY1673" fmla="*/ 570245 h 1406657"/>
                <a:gd name="connsiteX1674" fmla="*/ 545253 w 4080607"/>
                <a:gd name="connsiteY1674" fmla="*/ 572924 h 1406657"/>
                <a:gd name="connsiteX1675" fmla="*/ 548965 w 4080607"/>
                <a:gd name="connsiteY1675" fmla="*/ 575067 h 1406657"/>
                <a:gd name="connsiteX1676" fmla="*/ 551407 w 4080607"/>
                <a:gd name="connsiteY1676" fmla="*/ 575067 h 1406657"/>
                <a:gd name="connsiteX1677" fmla="*/ 552579 w 4080607"/>
                <a:gd name="connsiteY1677" fmla="*/ 577613 h 1406657"/>
                <a:gd name="connsiteX1678" fmla="*/ 553654 w 4080607"/>
                <a:gd name="connsiteY1678" fmla="*/ 578684 h 1406657"/>
                <a:gd name="connsiteX1679" fmla="*/ 555119 w 4080607"/>
                <a:gd name="connsiteY1679" fmla="*/ 582301 h 1406657"/>
                <a:gd name="connsiteX1680" fmla="*/ 556193 w 4080607"/>
                <a:gd name="connsiteY1680" fmla="*/ 583373 h 1406657"/>
                <a:gd name="connsiteX1681" fmla="*/ 557659 w 4080607"/>
                <a:gd name="connsiteY1681" fmla="*/ 586989 h 1406657"/>
                <a:gd name="connsiteX1682" fmla="*/ 561370 w 4080607"/>
                <a:gd name="connsiteY1682" fmla="*/ 589133 h 1406657"/>
                <a:gd name="connsiteX1683" fmla="*/ 566254 w 4080607"/>
                <a:gd name="connsiteY1683" fmla="*/ 589133 h 1406657"/>
                <a:gd name="connsiteX1684" fmla="*/ 567427 w 4080607"/>
                <a:gd name="connsiteY1684" fmla="*/ 591678 h 1406657"/>
                <a:gd name="connsiteX1685" fmla="*/ 571138 w 4080607"/>
                <a:gd name="connsiteY1685" fmla="*/ 593821 h 1406657"/>
                <a:gd name="connsiteX1686" fmla="*/ 585791 w 4080607"/>
                <a:gd name="connsiteY1686" fmla="*/ 593821 h 1406657"/>
                <a:gd name="connsiteX1687" fmla="*/ 586963 w 4080607"/>
                <a:gd name="connsiteY1687" fmla="*/ 596500 h 1406657"/>
                <a:gd name="connsiteX1688" fmla="*/ 588037 w 4080607"/>
                <a:gd name="connsiteY1688" fmla="*/ 597572 h 1406657"/>
                <a:gd name="connsiteX1689" fmla="*/ 589405 w 4080607"/>
                <a:gd name="connsiteY1689" fmla="*/ 601055 h 1406657"/>
                <a:gd name="connsiteX1690" fmla="*/ 593117 w 4080607"/>
                <a:gd name="connsiteY1690" fmla="*/ 603198 h 1406657"/>
                <a:gd name="connsiteX1691" fmla="*/ 595559 w 4080607"/>
                <a:gd name="connsiteY1691" fmla="*/ 603198 h 1406657"/>
                <a:gd name="connsiteX1692" fmla="*/ 596731 w 4080607"/>
                <a:gd name="connsiteY1692" fmla="*/ 605877 h 1406657"/>
                <a:gd name="connsiteX1693" fmla="*/ 600443 w 4080607"/>
                <a:gd name="connsiteY1693" fmla="*/ 608020 h 1406657"/>
                <a:gd name="connsiteX1694" fmla="*/ 607476 w 4080607"/>
                <a:gd name="connsiteY1694" fmla="*/ 608020 h 1406657"/>
                <a:gd name="connsiteX1695" fmla="*/ 607476 w 4080607"/>
                <a:gd name="connsiteY1695" fmla="*/ 614852 h 1406657"/>
                <a:gd name="connsiteX1696" fmla="*/ 609039 w 4080607"/>
                <a:gd name="connsiteY1696" fmla="*/ 619942 h 1406657"/>
                <a:gd name="connsiteX1697" fmla="*/ 612750 w 4080607"/>
                <a:gd name="connsiteY1697" fmla="*/ 622085 h 1406657"/>
                <a:gd name="connsiteX1698" fmla="*/ 612750 w 4080607"/>
                <a:gd name="connsiteY1698" fmla="*/ 622085 h 1406657"/>
                <a:gd name="connsiteX1699" fmla="*/ 613923 w 4080607"/>
                <a:gd name="connsiteY1699" fmla="*/ 624631 h 1406657"/>
                <a:gd name="connsiteX1700" fmla="*/ 617634 w 4080607"/>
                <a:gd name="connsiteY1700" fmla="*/ 626774 h 1406657"/>
                <a:gd name="connsiteX1701" fmla="*/ 619783 w 4080607"/>
                <a:gd name="connsiteY1701" fmla="*/ 626774 h 1406657"/>
                <a:gd name="connsiteX1702" fmla="*/ 619783 w 4080607"/>
                <a:gd name="connsiteY1702" fmla="*/ 633740 h 1406657"/>
                <a:gd name="connsiteX1703" fmla="*/ 621346 w 4080607"/>
                <a:gd name="connsiteY1703" fmla="*/ 638830 h 1406657"/>
                <a:gd name="connsiteX1704" fmla="*/ 622421 w 4080607"/>
                <a:gd name="connsiteY1704" fmla="*/ 639901 h 1406657"/>
                <a:gd name="connsiteX1705" fmla="*/ 623788 w 4080607"/>
                <a:gd name="connsiteY1705" fmla="*/ 643518 h 1406657"/>
                <a:gd name="connsiteX1706" fmla="*/ 627500 w 4080607"/>
                <a:gd name="connsiteY1706" fmla="*/ 645662 h 1406657"/>
                <a:gd name="connsiteX1707" fmla="*/ 629942 w 4080607"/>
                <a:gd name="connsiteY1707" fmla="*/ 645662 h 1406657"/>
                <a:gd name="connsiteX1708" fmla="*/ 631114 w 4080607"/>
                <a:gd name="connsiteY1708" fmla="*/ 648341 h 1406657"/>
                <a:gd name="connsiteX1709" fmla="*/ 634826 w 4080607"/>
                <a:gd name="connsiteY1709" fmla="*/ 650484 h 1406657"/>
                <a:gd name="connsiteX1710" fmla="*/ 647036 w 4080607"/>
                <a:gd name="connsiteY1710" fmla="*/ 650484 h 1406657"/>
                <a:gd name="connsiteX1711" fmla="*/ 648208 w 4080607"/>
                <a:gd name="connsiteY1711" fmla="*/ 653029 h 1406657"/>
                <a:gd name="connsiteX1712" fmla="*/ 649185 w 4080607"/>
                <a:gd name="connsiteY1712" fmla="*/ 654101 h 1406657"/>
                <a:gd name="connsiteX1713" fmla="*/ 650651 w 4080607"/>
                <a:gd name="connsiteY1713" fmla="*/ 657717 h 1406657"/>
                <a:gd name="connsiteX1714" fmla="*/ 654362 w 4080607"/>
                <a:gd name="connsiteY1714" fmla="*/ 659861 h 1406657"/>
                <a:gd name="connsiteX1715" fmla="*/ 654362 w 4080607"/>
                <a:gd name="connsiteY1715" fmla="*/ 659861 h 1406657"/>
                <a:gd name="connsiteX1716" fmla="*/ 655535 w 4080607"/>
                <a:gd name="connsiteY1716" fmla="*/ 662406 h 1406657"/>
                <a:gd name="connsiteX1717" fmla="*/ 659246 w 4080607"/>
                <a:gd name="connsiteY1717" fmla="*/ 664549 h 1406657"/>
                <a:gd name="connsiteX1718" fmla="*/ 659246 w 4080607"/>
                <a:gd name="connsiteY1718" fmla="*/ 664549 h 1406657"/>
                <a:gd name="connsiteX1719" fmla="*/ 660419 w 4080607"/>
                <a:gd name="connsiteY1719" fmla="*/ 667094 h 1406657"/>
                <a:gd name="connsiteX1720" fmla="*/ 661395 w 4080607"/>
                <a:gd name="connsiteY1720" fmla="*/ 668166 h 1406657"/>
                <a:gd name="connsiteX1721" fmla="*/ 661395 w 4080607"/>
                <a:gd name="connsiteY1721" fmla="*/ 676203 h 1406657"/>
                <a:gd name="connsiteX1722" fmla="*/ 662958 w 4080607"/>
                <a:gd name="connsiteY1722" fmla="*/ 681293 h 1406657"/>
                <a:gd name="connsiteX1723" fmla="*/ 666670 w 4080607"/>
                <a:gd name="connsiteY1723" fmla="*/ 683437 h 1406657"/>
                <a:gd name="connsiteX1724" fmla="*/ 669112 w 4080607"/>
                <a:gd name="connsiteY1724" fmla="*/ 683437 h 1406657"/>
                <a:gd name="connsiteX1725" fmla="*/ 670284 w 4080607"/>
                <a:gd name="connsiteY1725" fmla="*/ 685982 h 1406657"/>
                <a:gd name="connsiteX1726" fmla="*/ 673996 w 4080607"/>
                <a:gd name="connsiteY1726" fmla="*/ 688125 h 1406657"/>
                <a:gd name="connsiteX1727" fmla="*/ 681420 w 4080607"/>
                <a:gd name="connsiteY1727" fmla="*/ 688125 h 1406657"/>
                <a:gd name="connsiteX1728" fmla="*/ 682592 w 4080607"/>
                <a:gd name="connsiteY1728" fmla="*/ 690804 h 1406657"/>
                <a:gd name="connsiteX1729" fmla="*/ 686304 w 4080607"/>
                <a:gd name="connsiteY1729" fmla="*/ 692948 h 1406657"/>
                <a:gd name="connsiteX1730" fmla="*/ 696170 w 4080607"/>
                <a:gd name="connsiteY1730" fmla="*/ 692948 h 1406657"/>
                <a:gd name="connsiteX1731" fmla="*/ 697342 w 4080607"/>
                <a:gd name="connsiteY1731" fmla="*/ 695493 h 1406657"/>
                <a:gd name="connsiteX1732" fmla="*/ 701054 w 4080607"/>
                <a:gd name="connsiteY1732" fmla="*/ 697636 h 1406657"/>
                <a:gd name="connsiteX1733" fmla="*/ 702226 w 4080607"/>
                <a:gd name="connsiteY1733" fmla="*/ 700181 h 1406657"/>
                <a:gd name="connsiteX1734" fmla="*/ 705938 w 4080607"/>
                <a:gd name="connsiteY1734" fmla="*/ 702324 h 1406657"/>
                <a:gd name="connsiteX1735" fmla="*/ 713264 w 4080607"/>
                <a:gd name="connsiteY1735" fmla="*/ 702324 h 1406657"/>
                <a:gd name="connsiteX1736" fmla="*/ 714436 w 4080607"/>
                <a:gd name="connsiteY1736" fmla="*/ 704869 h 1406657"/>
                <a:gd name="connsiteX1737" fmla="*/ 718148 w 4080607"/>
                <a:gd name="connsiteY1737" fmla="*/ 707013 h 1406657"/>
                <a:gd name="connsiteX1738" fmla="*/ 725181 w 4080607"/>
                <a:gd name="connsiteY1738" fmla="*/ 707013 h 1406657"/>
                <a:gd name="connsiteX1739" fmla="*/ 725181 w 4080607"/>
                <a:gd name="connsiteY1739" fmla="*/ 709156 h 1406657"/>
                <a:gd name="connsiteX1740" fmla="*/ 726744 w 4080607"/>
                <a:gd name="connsiteY1740" fmla="*/ 714246 h 1406657"/>
                <a:gd name="connsiteX1741" fmla="*/ 730456 w 4080607"/>
                <a:gd name="connsiteY1741" fmla="*/ 716390 h 1406657"/>
                <a:gd name="connsiteX1742" fmla="*/ 735340 w 4080607"/>
                <a:gd name="connsiteY1742" fmla="*/ 716390 h 1406657"/>
                <a:gd name="connsiteX1743" fmla="*/ 736512 w 4080607"/>
                <a:gd name="connsiteY1743" fmla="*/ 718935 h 1406657"/>
                <a:gd name="connsiteX1744" fmla="*/ 740224 w 4080607"/>
                <a:gd name="connsiteY1744" fmla="*/ 721078 h 1406657"/>
                <a:gd name="connsiteX1745" fmla="*/ 741396 w 4080607"/>
                <a:gd name="connsiteY1745" fmla="*/ 723757 h 1406657"/>
                <a:gd name="connsiteX1746" fmla="*/ 745108 w 4080607"/>
                <a:gd name="connsiteY1746" fmla="*/ 725900 h 1406657"/>
                <a:gd name="connsiteX1747" fmla="*/ 746280 w 4080607"/>
                <a:gd name="connsiteY1747" fmla="*/ 728579 h 1406657"/>
                <a:gd name="connsiteX1748" fmla="*/ 749992 w 4080607"/>
                <a:gd name="connsiteY1748" fmla="*/ 730723 h 1406657"/>
                <a:gd name="connsiteX1749" fmla="*/ 752434 w 4080607"/>
                <a:gd name="connsiteY1749" fmla="*/ 730723 h 1406657"/>
                <a:gd name="connsiteX1750" fmla="*/ 753703 w 4080607"/>
                <a:gd name="connsiteY1750" fmla="*/ 733402 h 1406657"/>
                <a:gd name="connsiteX1751" fmla="*/ 757415 w 4080607"/>
                <a:gd name="connsiteY1751" fmla="*/ 735545 h 1406657"/>
                <a:gd name="connsiteX1752" fmla="*/ 759857 w 4080607"/>
                <a:gd name="connsiteY1752" fmla="*/ 735545 h 1406657"/>
                <a:gd name="connsiteX1753" fmla="*/ 761030 w 4080607"/>
                <a:gd name="connsiteY1753" fmla="*/ 738224 h 1406657"/>
                <a:gd name="connsiteX1754" fmla="*/ 762006 w 4080607"/>
                <a:gd name="connsiteY1754" fmla="*/ 739296 h 1406657"/>
                <a:gd name="connsiteX1755" fmla="*/ 763472 w 4080607"/>
                <a:gd name="connsiteY1755" fmla="*/ 743047 h 1406657"/>
                <a:gd name="connsiteX1756" fmla="*/ 767183 w 4080607"/>
                <a:gd name="connsiteY1756" fmla="*/ 745190 h 1406657"/>
                <a:gd name="connsiteX1757" fmla="*/ 769625 w 4080607"/>
                <a:gd name="connsiteY1757" fmla="*/ 745190 h 1406657"/>
                <a:gd name="connsiteX1758" fmla="*/ 770798 w 4080607"/>
                <a:gd name="connsiteY1758" fmla="*/ 747735 h 1406657"/>
                <a:gd name="connsiteX1759" fmla="*/ 771677 w 4080607"/>
                <a:gd name="connsiteY1759" fmla="*/ 748807 h 1406657"/>
                <a:gd name="connsiteX1760" fmla="*/ 771677 w 4080607"/>
                <a:gd name="connsiteY1760" fmla="*/ 752155 h 1406657"/>
                <a:gd name="connsiteX1761" fmla="*/ 773240 w 4080607"/>
                <a:gd name="connsiteY1761" fmla="*/ 757246 h 1406657"/>
                <a:gd name="connsiteX1762" fmla="*/ 774314 w 4080607"/>
                <a:gd name="connsiteY1762" fmla="*/ 758317 h 1406657"/>
                <a:gd name="connsiteX1763" fmla="*/ 775779 w 4080607"/>
                <a:gd name="connsiteY1763" fmla="*/ 761934 h 1406657"/>
                <a:gd name="connsiteX1764" fmla="*/ 776854 w 4080607"/>
                <a:gd name="connsiteY1764" fmla="*/ 763006 h 1406657"/>
                <a:gd name="connsiteX1765" fmla="*/ 778221 w 4080607"/>
                <a:gd name="connsiteY1765" fmla="*/ 766623 h 1406657"/>
                <a:gd name="connsiteX1766" fmla="*/ 781933 w 4080607"/>
                <a:gd name="connsiteY1766" fmla="*/ 768766 h 1406657"/>
                <a:gd name="connsiteX1767" fmla="*/ 783105 w 4080607"/>
                <a:gd name="connsiteY1767" fmla="*/ 771445 h 1406657"/>
                <a:gd name="connsiteX1768" fmla="*/ 786817 w 4080607"/>
                <a:gd name="connsiteY1768" fmla="*/ 773588 h 1406657"/>
                <a:gd name="connsiteX1769" fmla="*/ 799125 w 4080607"/>
                <a:gd name="connsiteY1769" fmla="*/ 773588 h 1406657"/>
                <a:gd name="connsiteX1770" fmla="*/ 800297 w 4080607"/>
                <a:gd name="connsiteY1770" fmla="*/ 776267 h 1406657"/>
                <a:gd name="connsiteX1771" fmla="*/ 801274 w 4080607"/>
                <a:gd name="connsiteY1771" fmla="*/ 777339 h 1406657"/>
                <a:gd name="connsiteX1772" fmla="*/ 801274 w 4080607"/>
                <a:gd name="connsiteY1772" fmla="*/ 780822 h 1406657"/>
                <a:gd name="connsiteX1773" fmla="*/ 802837 w 4080607"/>
                <a:gd name="connsiteY1773" fmla="*/ 785912 h 1406657"/>
                <a:gd name="connsiteX1774" fmla="*/ 803911 w 4080607"/>
                <a:gd name="connsiteY1774" fmla="*/ 786984 h 1406657"/>
                <a:gd name="connsiteX1775" fmla="*/ 805377 w 4080607"/>
                <a:gd name="connsiteY1775" fmla="*/ 790600 h 1406657"/>
                <a:gd name="connsiteX1776" fmla="*/ 809088 w 4080607"/>
                <a:gd name="connsiteY1776" fmla="*/ 792744 h 1406657"/>
                <a:gd name="connsiteX1777" fmla="*/ 818954 w 4080607"/>
                <a:gd name="connsiteY1777" fmla="*/ 792744 h 1406657"/>
                <a:gd name="connsiteX1778" fmla="*/ 820126 w 4080607"/>
                <a:gd name="connsiteY1778" fmla="*/ 795423 h 1406657"/>
                <a:gd name="connsiteX1779" fmla="*/ 823838 w 4080607"/>
                <a:gd name="connsiteY1779" fmla="*/ 797566 h 1406657"/>
                <a:gd name="connsiteX1780" fmla="*/ 831164 w 4080607"/>
                <a:gd name="connsiteY1780" fmla="*/ 797566 h 1406657"/>
                <a:gd name="connsiteX1781" fmla="*/ 832336 w 4080607"/>
                <a:gd name="connsiteY1781" fmla="*/ 800245 h 1406657"/>
                <a:gd name="connsiteX1782" fmla="*/ 833411 w 4080607"/>
                <a:gd name="connsiteY1782" fmla="*/ 801317 h 1406657"/>
                <a:gd name="connsiteX1783" fmla="*/ 834778 w 4080607"/>
                <a:gd name="connsiteY1783" fmla="*/ 804934 h 1406657"/>
                <a:gd name="connsiteX1784" fmla="*/ 838490 w 4080607"/>
                <a:gd name="connsiteY1784" fmla="*/ 807077 h 1406657"/>
                <a:gd name="connsiteX1785" fmla="*/ 850798 w 4080607"/>
                <a:gd name="connsiteY1785" fmla="*/ 807077 h 1406657"/>
                <a:gd name="connsiteX1786" fmla="*/ 852068 w 4080607"/>
                <a:gd name="connsiteY1786" fmla="*/ 809756 h 1406657"/>
                <a:gd name="connsiteX1787" fmla="*/ 855780 w 4080607"/>
                <a:gd name="connsiteY1787" fmla="*/ 811899 h 1406657"/>
                <a:gd name="connsiteX1788" fmla="*/ 860371 w 4080607"/>
                <a:gd name="connsiteY1788" fmla="*/ 811899 h 1406657"/>
                <a:gd name="connsiteX1789" fmla="*/ 860371 w 4080607"/>
                <a:gd name="connsiteY1789" fmla="*/ 814176 h 1406657"/>
                <a:gd name="connsiteX1790" fmla="*/ 861934 w 4080607"/>
                <a:gd name="connsiteY1790" fmla="*/ 819267 h 1406657"/>
                <a:gd name="connsiteX1791" fmla="*/ 865646 w 4080607"/>
                <a:gd name="connsiteY1791" fmla="*/ 821410 h 1406657"/>
                <a:gd name="connsiteX1792" fmla="*/ 866818 w 4080607"/>
                <a:gd name="connsiteY1792" fmla="*/ 824089 h 1406657"/>
                <a:gd name="connsiteX1793" fmla="*/ 870530 w 4080607"/>
                <a:gd name="connsiteY1793" fmla="*/ 826232 h 1406657"/>
                <a:gd name="connsiteX1794" fmla="*/ 885182 w 4080607"/>
                <a:gd name="connsiteY1794" fmla="*/ 826232 h 1406657"/>
                <a:gd name="connsiteX1795" fmla="*/ 886451 w 4080607"/>
                <a:gd name="connsiteY1795" fmla="*/ 828912 h 1406657"/>
                <a:gd name="connsiteX1796" fmla="*/ 890163 w 4080607"/>
                <a:gd name="connsiteY1796" fmla="*/ 831055 h 1406657"/>
                <a:gd name="connsiteX1797" fmla="*/ 892605 w 4080607"/>
                <a:gd name="connsiteY1797" fmla="*/ 831055 h 1406657"/>
                <a:gd name="connsiteX1798" fmla="*/ 893778 w 4080607"/>
                <a:gd name="connsiteY1798" fmla="*/ 833734 h 1406657"/>
                <a:gd name="connsiteX1799" fmla="*/ 894657 w 4080607"/>
                <a:gd name="connsiteY1799" fmla="*/ 834672 h 1406657"/>
                <a:gd name="connsiteX1800" fmla="*/ 894657 w 4080607"/>
                <a:gd name="connsiteY1800" fmla="*/ 838154 h 1406657"/>
                <a:gd name="connsiteX1801" fmla="*/ 896220 w 4080607"/>
                <a:gd name="connsiteY1801" fmla="*/ 843245 h 1406657"/>
                <a:gd name="connsiteX1802" fmla="*/ 899931 w 4080607"/>
                <a:gd name="connsiteY1802" fmla="*/ 845388 h 1406657"/>
                <a:gd name="connsiteX1803" fmla="*/ 902373 w 4080607"/>
                <a:gd name="connsiteY1803" fmla="*/ 845388 h 1406657"/>
                <a:gd name="connsiteX1804" fmla="*/ 903643 w 4080607"/>
                <a:gd name="connsiteY1804" fmla="*/ 848067 h 1406657"/>
                <a:gd name="connsiteX1805" fmla="*/ 907355 w 4080607"/>
                <a:gd name="connsiteY1805" fmla="*/ 850210 h 1406657"/>
                <a:gd name="connsiteX1806" fmla="*/ 924547 w 4080607"/>
                <a:gd name="connsiteY1806" fmla="*/ 850210 h 1406657"/>
                <a:gd name="connsiteX1807" fmla="*/ 925817 w 4080607"/>
                <a:gd name="connsiteY1807" fmla="*/ 853023 h 1406657"/>
                <a:gd name="connsiteX1808" fmla="*/ 929529 w 4080607"/>
                <a:gd name="connsiteY1808" fmla="*/ 855167 h 1406657"/>
                <a:gd name="connsiteX1809" fmla="*/ 958930 w 4080607"/>
                <a:gd name="connsiteY1809" fmla="*/ 855167 h 1406657"/>
                <a:gd name="connsiteX1810" fmla="*/ 960200 w 4080607"/>
                <a:gd name="connsiteY1810" fmla="*/ 857846 h 1406657"/>
                <a:gd name="connsiteX1811" fmla="*/ 961177 w 4080607"/>
                <a:gd name="connsiteY1811" fmla="*/ 858917 h 1406657"/>
                <a:gd name="connsiteX1812" fmla="*/ 962642 w 4080607"/>
                <a:gd name="connsiteY1812" fmla="*/ 862668 h 1406657"/>
                <a:gd name="connsiteX1813" fmla="*/ 966354 w 4080607"/>
                <a:gd name="connsiteY1813" fmla="*/ 864811 h 1406657"/>
                <a:gd name="connsiteX1814" fmla="*/ 968796 w 4080607"/>
                <a:gd name="connsiteY1814" fmla="*/ 864811 h 1406657"/>
                <a:gd name="connsiteX1815" fmla="*/ 970066 w 4080607"/>
                <a:gd name="connsiteY1815" fmla="*/ 867490 h 1406657"/>
                <a:gd name="connsiteX1816" fmla="*/ 971043 w 4080607"/>
                <a:gd name="connsiteY1816" fmla="*/ 868562 h 1406657"/>
                <a:gd name="connsiteX1817" fmla="*/ 972508 w 4080607"/>
                <a:gd name="connsiteY1817" fmla="*/ 872313 h 1406657"/>
                <a:gd name="connsiteX1818" fmla="*/ 976220 w 4080607"/>
                <a:gd name="connsiteY1818" fmla="*/ 874456 h 1406657"/>
                <a:gd name="connsiteX1819" fmla="*/ 988430 w 4080607"/>
                <a:gd name="connsiteY1819" fmla="*/ 874456 h 1406657"/>
                <a:gd name="connsiteX1820" fmla="*/ 989700 w 4080607"/>
                <a:gd name="connsiteY1820" fmla="*/ 877135 h 1406657"/>
                <a:gd name="connsiteX1821" fmla="*/ 993412 w 4080607"/>
                <a:gd name="connsiteY1821" fmla="*/ 879278 h 1406657"/>
                <a:gd name="connsiteX1822" fmla="*/ 994682 w 4080607"/>
                <a:gd name="connsiteY1822" fmla="*/ 882091 h 1406657"/>
                <a:gd name="connsiteX1823" fmla="*/ 998393 w 4080607"/>
                <a:gd name="connsiteY1823" fmla="*/ 884235 h 1406657"/>
                <a:gd name="connsiteX1824" fmla="*/ 1000835 w 4080607"/>
                <a:gd name="connsiteY1824" fmla="*/ 884235 h 1406657"/>
                <a:gd name="connsiteX1825" fmla="*/ 1002105 w 4080607"/>
                <a:gd name="connsiteY1825" fmla="*/ 887048 h 1406657"/>
                <a:gd name="connsiteX1826" fmla="*/ 1003082 w 4080607"/>
                <a:gd name="connsiteY1826" fmla="*/ 888120 h 1406657"/>
                <a:gd name="connsiteX1827" fmla="*/ 1004547 w 4080607"/>
                <a:gd name="connsiteY1827" fmla="*/ 891870 h 1406657"/>
                <a:gd name="connsiteX1828" fmla="*/ 1005524 w 4080607"/>
                <a:gd name="connsiteY1828" fmla="*/ 892942 h 1406657"/>
                <a:gd name="connsiteX1829" fmla="*/ 1006989 w 4080607"/>
                <a:gd name="connsiteY1829" fmla="*/ 896693 h 1406657"/>
                <a:gd name="connsiteX1830" fmla="*/ 1010701 w 4080607"/>
                <a:gd name="connsiteY1830" fmla="*/ 898836 h 1406657"/>
                <a:gd name="connsiteX1831" fmla="*/ 1027893 w 4080607"/>
                <a:gd name="connsiteY1831" fmla="*/ 898836 h 1406657"/>
                <a:gd name="connsiteX1832" fmla="*/ 1029163 w 4080607"/>
                <a:gd name="connsiteY1832" fmla="*/ 901649 h 1406657"/>
                <a:gd name="connsiteX1833" fmla="*/ 1030140 w 4080607"/>
                <a:gd name="connsiteY1833" fmla="*/ 902721 h 1406657"/>
                <a:gd name="connsiteX1834" fmla="*/ 1031605 w 4080607"/>
                <a:gd name="connsiteY1834" fmla="*/ 906605 h 1406657"/>
                <a:gd name="connsiteX1835" fmla="*/ 1035317 w 4080607"/>
                <a:gd name="connsiteY1835" fmla="*/ 908748 h 1406657"/>
                <a:gd name="connsiteX1836" fmla="*/ 1049969 w 4080607"/>
                <a:gd name="connsiteY1836" fmla="*/ 908748 h 1406657"/>
                <a:gd name="connsiteX1837" fmla="*/ 1051239 w 4080607"/>
                <a:gd name="connsiteY1837" fmla="*/ 911428 h 1406657"/>
                <a:gd name="connsiteX1838" fmla="*/ 1052215 w 4080607"/>
                <a:gd name="connsiteY1838" fmla="*/ 912499 h 1406657"/>
                <a:gd name="connsiteX1839" fmla="*/ 1053681 w 4080607"/>
                <a:gd name="connsiteY1839" fmla="*/ 916250 h 1406657"/>
                <a:gd name="connsiteX1840" fmla="*/ 1057393 w 4080607"/>
                <a:gd name="connsiteY1840" fmla="*/ 918393 h 1406657"/>
                <a:gd name="connsiteX1841" fmla="*/ 1058662 w 4080607"/>
                <a:gd name="connsiteY1841" fmla="*/ 921072 h 1406657"/>
                <a:gd name="connsiteX1842" fmla="*/ 1062374 w 4080607"/>
                <a:gd name="connsiteY1842" fmla="*/ 923216 h 1406657"/>
                <a:gd name="connsiteX1843" fmla="*/ 1084352 w 4080607"/>
                <a:gd name="connsiteY1843" fmla="*/ 923216 h 1406657"/>
                <a:gd name="connsiteX1844" fmla="*/ 1085622 w 4080607"/>
                <a:gd name="connsiteY1844" fmla="*/ 926029 h 1406657"/>
                <a:gd name="connsiteX1845" fmla="*/ 1089334 w 4080607"/>
                <a:gd name="connsiteY1845" fmla="*/ 928172 h 1406657"/>
                <a:gd name="connsiteX1846" fmla="*/ 1116001 w 4080607"/>
                <a:gd name="connsiteY1846" fmla="*/ 928172 h 1406657"/>
                <a:gd name="connsiteX1847" fmla="*/ 1116001 w 4080607"/>
                <a:gd name="connsiteY1847" fmla="*/ 930851 h 1406657"/>
                <a:gd name="connsiteX1848" fmla="*/ 1117564 w 4080607"/>
                <a:gd name="connsiteY1848" fmla="*/ 935941 h 1406657"/>
                <a:gd name="connsiteX1849" fmla="*/ 1121276 w 4080607"/>
                <a:gd name="connsiteY1849" fmla="*/ 938085 h 1406657"/>
                <a:gd name="connsiteX1850" fmla="*/ 1131044 w 4080607"/>
                <a:gd name="connsiteY1850" fmla="*/ 938085 h 1406657"/>
                <a:gd name="connsiteX1851" fmla="*/ 1132314 w 4080607"/>
                <a:gd name="connsiteY1851" fmla="*/ 940898 h 1406657"/>
                <a:gd name="connsiteX1852" fmla="*/ 1136025 w 4080607"/>
                <a:gd name="connsiteY1852" fmla="*/ 943041 h 1406657"/>
                <a:gd name="connsiteX1853" fmla="*/ 1165427 w 4080607"/>
                <a:gd name="connsiteY1853" fmla="*/ 943041 h 1406657"/>
                <a:gd name="connsiteX1854" fmla="*/ 1166697 w 4080607"/>
                <a:gd name="connsiteY1854" fmla="*/ 945854 h 1406657"/>
                <a:gd name="connsiteX1855" fmla="*/ 1167674 w 4080607"/>
                <a:gd name="connsiteY1855" fmla="*/ 946926 h 1406657"/>
                <a:gd name="connsiteX1856" fmla="*/ 1169139 w 4080607"/>
                <a:gd name="connsiteY1856" fmla="*/ 950810 h 1406657"/>
                <a:gd name="connsiteX1857" fmla="*/ 1172753 w 4080607"/>
                <a:gd name="connsiteY1857" fmla="*/ 952954 h 1406657"/>
                <a:gd name="connsiteX1858" fmla="*/ 1174023 w 4080607"/>
                <a:gd name="connsiteY1858" fmla="*/ 955767 h 1406657"/>
                <a:gd name="connsiteX1859" fmla="*/ 1177735 w 4080607"/>
                <a:gd name="connsiteY1859" fmla="*/ 957910 h 1406657"/>
                <a:gd name="connsiteX1860" fmla="*/ 1185061 w 4080607"/>
                <a:gd name="connsiteY1860" fmla="*/ 957910 h 1406657"/>
                <a:gd name="connsiteX1861" fmla="*/ 1186331 w 4080607"/>
                <a:gd name="connsiteY1861" fmla="*/ 960723 h 1406657"/>
                <a:gd name="connsiteX1862" fmla="*/ 1187308 w 4080607"/>
                <a:gd name="connsiteY1862" fmla="*/ 961795 h 1406657"/>
                <a:gd name="connsiteX1863" fmla="*/ 1188773 w 4080607"/>
                <a:gd name="connsiteY1863" fmla="*/ 965679 h 1406657"/>
                <a:gd name="connsiteX1864" fmla="*/ 1192485 w 4080607"/>
                <a:gd name="connsiteY1864" fmla="*/ 967823 h 1406657"/>
                <a:gd name="connsiteX1865" fmla="*/ 1197369 w 4080607"/>
                <a:gd name="connsiteY1865" fmla="*/ 967823 h 1406657"/>
                <a:gd name="connsiteX1866" fmla="*/ 1198639 w 4080607"/>
                <a:gd name="connsiteY1866" fmla="*/ 970636 h 1406657"/>
                <a:gd name="connsiteX1867" fmla="*/ 1202351 w 4080607"/>
                <a:gd name="connsiteY1867" fmla="*/ 972779 h 1406657"/>
                <a:gd name="connsiteX1868" fmla="*/ 1217003 w 4080607"/>
                <a:gd name="connsiteY1868" fmla="*/ 972779 h 1406657"/>
                <a:gd name="connsiteX1869" fmla="*/ 1218273 w 4080607"/>
                <a:gd name="connsiteY1869" fmla="*/ 975592 h 1406657"/>
                <a:gd name="connsiteX1870" fmla="*/ 1221984 w 4080607"/>
                <a:gd name="connsiteY1870" fmla="*/ 977735 h 1406657"/>
                <a:gd name="connsiteX1871" fmla="*/ 1231752 w 4080607"/>
                <a:gd name="connsiteY1871" fmla="*/ 977735 h 1406657"/>
                <a:gd name="connsiteX1872" fmla="*/ 1233022 w 4080607"/>
                <a:gd name="connsiteY1872" fmla="*/ 980548 h 1406657"/>
                <a:gd name="connsiteX1873" fmla="*/ 1236441 w 4080607"/>
                <a:gd name="connsiteY1873" fmla="*/ 982691 h 1406657"/>
                <a:gd name="connsiteX1874" fmla="*/ 1236441 w 4080607"/>
                <a:gd name="connsiteY1874" fmla="*/ 985505 h 1406657"/>
                <a:gd name="connsiteX1875" fmla="*/ 1238004 w 4080607"/>
                <a:gd name="connsiteY1875" fmla="*/ 990595 h 1406657"/>
                <a:gd name="connsiteX1876" fmla="*/ 1241716 w 4080607"/>
                <a:gd name="connsiteY1876" fmla="*/ 992738 h 1406657"/>
                <a:gd name="connsiteX1877" fmla="*/ 1253926 w 4080607"/>
                <a:gd name="connsiteY1877" fmla="*/ 992738 h 1406657"/>
                <a:gd name="connsiteX1878" fmla="*/ 1255196 w 4080607"/>
                <a:gd name="connsiteY1878" fmla="*/ 995685 h 1406657"/>
                <a:gd name="connsiteX1879" fmla="*/ 1258908 w 4080607"/>
                <a:gd name="connsiteY1879" fmla="*/ 997828 h 1406657"/>
                <a:gd name="connsiteX1880" fmla="*/ 1310385 w 4080607"/>
                <a:gd name="connsiteY1880" fmla="*/ 997828 h 1406657"/>
                <a:gd name="connsiteX1881" fmla="*/ 1311655 w 4080607"/>
                <a:gd name="connsiteY1881" fmla="*/ 1000775 h 1406657"/>
                <a:gd name="connsiteX1882" fmla="*/ 1315367 w 4080607"/>
                <a:gd name="connsiteY1882" fmla="*/ 1002919 h 1406657"/>
                <a:gd name="connsiteX1883" fmla="*/ 1327577 w 4080607"/>
                <a:gd name="connsiteY1883" fmla="*/ 1002919 h 1406657"/>
                <a:gd name="connsiteX1884" fmla="*/ 1328847 w 4080607"/>
                <a:gd name="connsiteY1884" fmla="*/ 1005866 h 1406657"/>
                <a:gd name="connsiteX1885" fmla="*/ 1332559 w 4080607"/>
                <a:gd name="connsiteY1885" fmla="*/ 1008009 h 1406657"/>
                <a:gd name="connsiteX1886" fmla="*/ 1334903 w 4080607"/>
                <a:gd name="connsiteY1886" fmla="*/ 1008009 h 1406657"/>
                <a:gd name="connsiteX1887" fmla="*/ 1336173 w 4080607"/>
                <a:gd name="connsiteY1887" fmla="*/ 1010956 h 1406657"/>
                <a:gd name="connsiteX1888" fmla="*/ 1339885 w 4080607"/>
                <a:gd name="connsiteY1888" fmla="*/ 1013099 h 1406657"/>
                <a:gd name="connsiteX1889" fmla="*/ 1347211 w 4080607"/>
                <a:gd name="connsiteY1889" fmla="*/ 1013099 h 1406657"/>
                <a:gd name="connsiteX1890" fmla="*/ 1348481 w 4080607"/>
                <a:gd name="connsiteY1890" fmla="*/ 1016046 h 1406657"/>
                <a:gd name="connsiteX1891" fmla="*/ 1352193 w 4080607"/>
                <a:gd name="connsiteY1891" fmla="*/ 1018189 h 1406657"/>
                <a:gd name="connsiteX1892" fmla="*/ 1366649 w 4080607"/>
                <a:gd name="connsiteY1892" fmla="*/ 1018189 h 1406657"/>
                <a:gd name="connsiteX1893" fmla="*/ 1366649 w 4080607"/>
                <a:gd name="connsiteY1893" fmla="*/ 1021003 h 1406657"/>
                <a:gd name="connsiteX1894" fmla="*/ 1368212 w 4080607"/>
                <a:gd name="connsiteY1894" fmla="*/ 1026093 h 1406657"/>
                <a:gd name="connsiteX1895" fmla="*/ 1371924 w 4080607"/>
                <a:gd name="connsiteY1895" fmla="*/ 1028236 h 1406657"/>
                <a:gd name="connsiteX1896" fmla="*/ 1381594 w 4080607"/>
                <a:gd name="connsiteY1896" fmla="*/ 1028236 h 1406657"/>
                <a:gd name="connsiteX1897" fmla="*/ 1382864 w 4080607"/>
                <a:gd name="connsiteY1897" fmla="*/ 1031183 h 1406657"/>
                <a:gd name="connsiteX1898" fmla="*/ 1386576 w 4080607"/>
                <a:gd name="connsiteY1898" fmla="*/ 1033326 h 1406657"/>
                <a:gd name="connsiteX1899" fmla="*/ 1428286 w 4080607"/>
                <a:gd name="connsiteY1899" fmla="*/ 1033326 h 1406657"/>
                <a:gd name="connsiteX1900" fmla="*/ 1429556 w 4080607"/>
                <a:gd name="connsiteY1900" fmla="*/ 1036139 h 1406657"/>
                <a:gd name="connsiteX1901" fmla="*/ 1433170 w 4080607"/>
                <a:gd name="connsiteY1901" fmla="*/ 1038283 h 1406657"/>
                <a:gd name="connsiteX1902" fmla="*/ 1434440 w 4080607"/>
                <a:gd name="connsiteY1902" fmla="*/ 1041230 h 1406657"/>
                <a:gd name="connsiteX1903" fmla="*/ 1438152 w 4080607"/>
                <a:gd name="connsiteY1903" fmla="*/ 1043373 h 1406657"/>
                <a:gd name="connsiteX1904" fmla="*/ 1443036 w 4080607"/>
                <a:gd name="connsiteY1904" fmla="*/ 1043373 h 1406657"/>
                <a:gd name="connsiteX1905" fmla="*/ 1444305 w 4080607"/>
                <a:gd name="connsiteY1905" fmla="*/ 1046186 h 1406657"/>
                <a:gd name="connsiteX1906" fmla="*/ 1445282 w 4080607"/>
                <a:gd name="connsiteY1906" fmla="*/ 1047258 h 1406657"/>
                <a:gd name="connsiteX1907" fmla="*/ 1446747 w 4080607"/>
                <a:gd name="connsiteY1907" fmla="*/ 1051142 h 1406657"/>
                <a:gd name="connsiteX1908" fmla="*/ 1450459 w 4080607"/>
                <a:gd name="connsiteY1908" fmla="*/ 1053286 h 1406657"/>
                <a:gd name="connsiteX1909" fmla="*/ 1452804 w 4080607"/>
                <a:gd name="connsiteY1909" fmla="*/ 1053286 h 1406657"/>
                <a:gd name="connsiteX1910" fmla="*/ 1454073 w 4080607"/>
                <a:gd name="connsiteY1910" fmla="*/ 1056233 h 1406657"/>
                <a:gd name="connsiteX1911" fmla="*/ 1457785 w 4080607"/>
                <a:gd name="connsiteY1911" fmla="*/ 1058376 h 1406657"/>
                <a:gd name="connsiteX1912" fmla="*/ 1467260 w 4080607"/>
                <a:gd name="connsiteY1912" fmla="*/ 1058376 h 1406657"/>
                <a:gd name="connsiteX1913" fmla="*/ 1467260 w 4080607"/>
                <a:gd name="connsiteY1913" fmla="*/ 1061189 h 1406657"/>
                <a:gd name="connsiteX1914" fmla="*/ 1468823 w 4080607"/>
                <a:gd name="connsiteY1914" fmla="*/ 1066279 h 1406657"/>
                <a:gd name="connsiteX1915" fmla="*/ 1472535 w 4080607"/>
                <a:gd name="connsiteY1915" fmla="*/ 1068423 h 1406657"/>
                <a:gd name="connsiteX1916" fmla="*/ 1533781 w 4080607"/>
                <a:gd name="connsiteY1916" fmla="*/ 1068423 h 1406657"/>
                <a:gd name="connsiteX1917" fmla="*/ 1535051 w 4080607"/>
                <a:gd name="connsiteY1917" fmla="*/ 1071369 h 1406657"/>
                <a:gd name="connsiteX1918" fmla="*/ 1538763 w 4080607"/>
                <a:gd name="connsiteY1918" fmla="*/ 1073513 h 1406657"/>
                <a:gd name="connsiteX1919" fmla="*/ 1553415 w 4080607"/>
                <a:gd name="connsiteY1919" fmla="*/ 1073513 h 1406657"/>
                <a:gd name="connsiteX1920" fmla="*/ 1554684 w 4080607"/>
                <a:gd name="connsiteY1920" fmla="*/ 1076460 h 1406657"/>
                <a:gd name="connsiteX1921" fmla="*/ 1558396 w 4080607"/>
                <a:gd name="connsiteY1921" fmla="*/ 1078603 h 1406657"/>
                <a:gd name="connsiteX1922" fmla="*/ 1570606 w 4080607"/>
                <a:gd name="connsiteY1922" fmla="*/ 1078603 h 1406657"/>
                <a:gd name="connsiteX1923" fmla="*/ 1571876 w 4080607"/>
                <a:gd name="connsiteY1923" fmla="*/ 1081684 h 1406657"/>
                <a:gd name="connsiteX1924" fmla="*/ 1575588 w 4080607"/>
                <a:gd name="connsiteY1924" fmla="*/ 1083827 h 1406657"/>
                <a:gd name="connsiteX1925" fmla="*/ 1600008 w 4080607"/>
                <a:gd name="connsiteY1925" fmla="*/ 1083827 h 1406657"/>
                <a:gd name="connsiteX1926" fmla="*/ 1601278 w 4080607"/>
                <a:gd name="connsiteY1926" fmla="*/ 1086908 h 1406657"/>
                <a:gd name="connsiteX1927" fmla="*/ 1604990 w 4080607"/>
                <a:gd name="connsiteY1927" fmla="*/ 1089052 h 1406657"/>
                <a:gd name="connsiteX1928" fmla="*/ 1654026 w 4080607"/>
                <a:gd name="connsiteY1928" fmla="*/ 1089052 h 1406657"/>
                <a:gd name="connsiteX1929" fmla="*/ 1655295 w 4080607"/>
                <a:gd name="connsiteY1929" fmla="*/ 1091998 h 1406657"/>
                <a:gd name="connsiteX1930" fmla="*/ 1659007 w 4080607"/>
                <a:gd name="connsiteY1930" fmla="*/ 1094142 h 1406657"/>
                <a:gd name="connsiteX1931" fmla="*/ 1705503 w 4080607"/>
                <a:gd name="connsiteY1931" fmla="*/ 1094142 h 1406657"/>
                <a:gd name="connsiteX1932" fmla="*/ 1706773 w 4080607"/>
                <a:gd name="connsiteY1932" fmla="*/ 1097089 h 1406657"/>
                <a:gd name="connsiteX1933" fmla="*/ 1710387 w 4080607"/>
                <a:gd name="connsiteY1933" fmla="*/ 1099232 h 1406657"/>
                <a:gd name="connsiteX1934" fmla="*/ 1711657 w 4080607"/>
                <a:gd name="connsiteY1934" fmla="*/ 1102313 h 1406657"/>
                <a:gd name="connsiteX1935" fmla="*/ 1715369 w 4080607"/>
                <a:gd name="connsiteY1935" fmla="*/ 1104456 h 1406657"/>
                <a:gd name="connsiteX1936" fmla="*/ 1786480 w 4080607"/>
                <a:gd name="connsiteY1936" fmla="*/ 1104456 h 1406657"/>
                <a:gd name="connsiteX1937" fmla="*/ 1787848 w 4080607"/>
                <a:gd name="connsiteY1937" fmla="*/ 1107537 h 1406657"/>
                <a:gd name="connsiteX1938" fmla="*/ 1791560 w 4080607"/>
                <a:gd name="connsiteY1938" fmla="*/ 1109680 h 1406657"/>
                <a:gd name="connsiteX1939" fmla="*/ 1796346 w 4080607"/>
                <a:gd name="connsiteY1939" fmla="*/ 1109680 h 1406657"/>
                <a:gd name="connsiteX1940" fmla="*/ 1797616 w 4080607"/>
                <a:gd name="connsiteY1940" fmla="*/ 1112761 h 1406657"/>
                <a:gd name="connsiteX1941" fmla="*/ 1801328 w 4080607"/>
                <a:gd name="connsiteY1941" fmla="*/ 1114905 h 1406657"/>
                <a:gd name="connsiteX1942" fmla="*/ 1823306 w 4080607"/>
                <a:gd name="connsiteY1942" fmla="*/ 1114905 h 1406657"/>
                <a:gd name="connsiteX1943" fmla="*/ 1824674 w 4080607"/>
                <a:gd name="connsiteY1943" fmla="*/ 1117986 h 1406657"/>
                <a:gd name="connsiteX1944" fmla="*/ 1828386 w 4080607"/>
                <a:gd name="connsiteY1944" fmla="*/ 1120129 h 1406657"/>
                <a:gd name="connsiteX1945" fmla="*/ 1840596 w 4080607"/>
                <a:gd name="connsiteY1945" fmla="*/ 1120129 h 1406657"/>
                <a:gd name="connsiteX1946" fmla="*/ 1841865 w 4080607"/>
                <a:gd name="connsiteY1946" fmla="*/ 1123210 h 1406657"/>
                <a:gd name="connsiteX1947" fmla="*/ 1845577 w 4080607"/>
                <a:gd name="connsiteY1947" fmla="*/ 1125353 h 1406657"/>
                <a:gd name="connsiteX1948" fmla="*/ 1850364 w 4080607"/>
                <a:gd name="connsiteY1948" fmla="*/ 1125353 h 1406657"/>
                <a:gd name="connsiteX1949" fmla="*/ 1851634 w 4080607"/>
                <a:gd name="connsiteY1949" fmla="*/ 1128434 h 1406657"/>
                <a:gd name="connsiteX1950" fmla="*/ 1855345 w 4080607"/>
                <a:gd name="connsiteY1950" fmla="*/ 1130577 h 1406657"/>
                <a:gd name="connsiteX1951" fmla="*/ 2002452 w 4080607"/>
                <a:gd name="connsiteY1951" fmla="*/ 1130577 h 1406657"/>
                <a:gd name="connsiteX1952" fmla="*/ 2003820 w 4080607"/>
                <a:gd name="connsiteY1952" fmla="*/ 1133658 h 1406657"/>
                <a:gd name="connsiteX1953" fmla="*/ 2007532 w 4080607"/>
                <a:gd name="connsiteY1953" fmla="*/ 1135802 h 1406657"/>
                <a:gd name="connsiteX1954" fmla="*/ 2107947 w 4080607"/>
                <a:gd name="connsiteY1954" fmla="*/ 1135802 h 1406657"/>
                <a:gd name="connsiteX1955" fmla="*/ 2109315 w 4080607"/>
                <a:gd name="connsiteY1955" fmla="*/ 1139017 h 1406657"/>
                <a:gd name="connsiteX1956" fmla="*/ 2113027 w 4080607"/>
                <a:gd name="connsiteY1956" fmla="*/ 1141160 h 1406657"/>
                <a:gd name="connsiteX1957" fmla="*/ 2144675 w 4080607"/>
                <a:gd name="connsiteY1957" fmla="*/ 1141160 h 1406657"/>
                <a:gd name="connsiteX1958" fmla="*/ 2144675 w 4080607"/>
                <a:gd name="connsiteY1958" fmla="*/ 1144643 h 1406657"/>
                <a:gd name="connsiteX1959" fmla="*/ 2146238 w 4080607"/>
                <a:gd name="connsiteY1959" fmla="*/ 1149733 h 1406657"/>
                <a:gd name="connsiteX1960" fmla="*/ 2147215 w 4080607"/>
                <a:gd name="connsiteY1960" fmla="*/ 1150805 h 1406657"/>
                <a:gd name="connsiteX1961" fmla="*/ 2148680 w 4080607"/>
                <a:gd name="connsiteY1961" fmla="*/ 1155091 h 1406657"/>
                <a:gd name="connsiteX1962" fmla="*/ 2152392 w 4080607"/>
                <a:gd name="connsiteY1962" fmla="*/ 1157234 h 1406657"/>
                <a:gd name="connsiteX1963" fmla="*/ 2245482 w 4080607"/>
                <a:gd name="connsiteY1963" fmla="*/ 1157234 h 1406657"/>
                <a:gd name="connsiteX1964" fmla="*/ 2246849 w 4080607"/>
                <a:gd name="connsiteY1964" fmla="*/ 1160583 h 1406657"/>
                <a:gd name="connsiteX1965" fmla="*/ 2250561 w 4080607"/>
                <a:gd name="connsiteY1965" fmla="*/ 1162727 h 1406657"/>
                <a:gd name="connsiteX1966" fmla="*/ 2260231 w 4080607"/>
                <a:gd name="connsiteY1966" fmla="*/ 1162727 h 1406657"/>
                <a:gd name="connsiteX1967" fmla="*/ 2261599 w 4080607"/>
                <a:gd name="connsiteY1967" fmla="*/ 1166075 h 1406657"/>
                <a:gd name="connsiteX1968" fmla="*/ 2265311 w 4080607"/>
                <a:gd name="connsiteY1968" fmla="*/ 1168219 h 1406657"/>
                <a:gd name="connsiteX1969" fmla="*/ 2282307 w 4080607"/>
                <a:gd name="connsiteY1969" fmla="*/ 1168219 h 1406657"/>
                <a:gd name="connsiteX1970" fmla="*/ 2283675 w 4080607"/>
                <a:gd name="connsiteY1970" fmla="*/ 1171434 h 1406657"/>
                <a:gd name="connsiteX1971" fmla="*/ 2287387 w 4080607"/>
                <a:gd name="connsiteY1971" fmla="*/ 1173577 h 1406657"/>
                <a:gd name="connsiteX1972" fmla="*/ 2333883 w 4080607"/>
                <a:gd name="connsiteY1972" fmla="*/ 1173577 h 1406657"/>
                <a:gd name="connsiteX1973" fmla="*/ 2335250 w 4080607"/>
                <a:gd name="connsiteY1973" fmla="*/ 1176926 h 1406657"/>
                <a:gd name="connsiteX1974" fmla="*/ 2338962 w 4080607"/>
                <a:gd name="connsiteY1974" fmla="*/ 1179069 h 1406657"/>
                <a:gd name="connsiteX1975" fmla="*/ 2431954 w 4080607"/>
                <a:gd name="connsiteY1975" fmla="*/ 1179069 h 1406657"/>
                <a:gd name="connsiteX1976" fmla="*/ 2433321 w 4080607"/>
                <a:gd name="connsiteY1976" fmla="*/ 1182418 h 1406657"/>
                <a:gd name="connsiteX1977" fmla="*/ 2437033 w 4080607"/>
                <a:gd name="connsiteY1977" fmla="*/ 1184561 h 1406657"/>
                <a:gd name="connsiteX1978" fmla="*/ 2520257 w 4080607"/>
                <a:gd name="connsiteY1978" fmla="*/ 1184561 h 1406657"/>
                <a:gd name="connsiteX1979" fmla="*/ 2521625 w 4080607"/>
                <a:gd name="connsiteY1979" fmla="*/ 1188044 h 1406657"/>
                <a:gd name="connsiteX1980" fmla="*/ 2525337 w 4080607"/>
                <a:gd name="connsiteY1980" fmla="*/ 1190187 h 1406657"/>
                <a:gd name="connsiteX1981" fmla="*/ 2537449 w 4080607"/>
                <a:gd name="connsiteY1981" fmla="*/ 1190187 h 1406657"/>
                <a:gd name="connsiteX1982" fmla="*/ 2538817 w 4080607"/>
                <a:gd name="connsiteY1982" fmla="*/ 1193670 h 1406657"/>
                <a:gd name="connsiteX1983" fmla="*/ 2542528 w 4080607"/>
                <a:gd name="connsiteY1983" fmla="*/ 1195813 h 1406657"/>
                <a:gd name="connsiteX1984" fmla="*/ 2576716 w 4080607"/>
                <a:gd name="connsiteY1984" fmla="*/ 1195813 h 1406657"/>
                <a:gd name="connsiteX1985" fmla="*/ 2578084 w 4080607"/>
                <a:gd name="connsiteY1985" fmla="*/ 1199296 h 1406657"/>
                <a:gd name="connsiteX1986" fmla="*/ 2581796 w 4080607"/>
                <a:gd name="connsiteY1986" fmla="*/ 1201440 h 1406657"/>
                <a:gd name="connsiteX1987" fmla="*/ 2723824 w 4080607"/>
                <a:gd name="connsiteY1987" fmla="*/ 1201440 h 1406657"/>
                <a:gd name="connsiteX1988" fmla="*/ 2723824 w 4080607"/>
                <a:gd name="connsiteY1988" fmla="*/ 1205592 h 1406657"/>
                <a:gd name="connsiteX1989" fmla="*/ 2725386 w 4080607"/>
                <a:gd name="connsiteY1989" fmla="*/ 1210682 h 1406657"/>
                <a:gd name="connsiteX1990" fmla="*/ 2729098 w 4080607"/>
                <a:gd name="connsiteY1990" fmla="*/ 1212826 h 1406657"/>
                <a:gd name="connsiteX1991" fmla="*/ 2908049 w 4080607"/>
                <a:gd name="connsiteY1991" fmla="*/ 1212826 h 1406657"/>
                <a:gd name="connsiteX1992" fmla="*/ 2909514 w 4080607"/>
                <a:gd name="connsiteY1992" fmla="*/ 1216576 h 1406657"/>
                <a:gd name="connsiteX1993" fmla="*/ 2913226 w 4080607"/>
                <a:gd name="connsiteY1993" fmla="*/ 1218720 h 1406657"/>
                <a:gd name="connsiteX1994" fmla="*/ 2962067 w 4080607"/>
                <a:gd name="connsiteY1994" fmla="*/ 1218720 h 1406657"/>
                <a:gd name="connsiteX1995" fmla="*/ 2963532 w 4080607"/>
                <a:gd name="connsiteY1995" fmla="*/ 1222470 h 1406657"/>
                <a:gd name="connsiteX1996" fmla="*/ 2967244 w 4080607"/>
                <a:gd name="connsiteY1996" fmla="*/ 1224614 h 1406657"/>
                <a:gd name="connsiteX1997" fmla="*/ 3050467 w 4080607"/>
                <a:gd name="connsiteY1997" fmla="*/ 1224614 h 1406657"/>
                <a:gd name="connsiteX1998" fmla="*/ 3051933 w 4080607"/>
                <a:gd name="connsiteY1998" fmla="*/ 1228498 h 1406657"/>
                <a:gd name="connsiteX1999" fmla="*/ 3055644 w 4080607"/>
                <a:gd name="connsiteY1999" fmla="*/ 1230642 h 1406657"/>
                <a:gd name="connsiteX2000" fmla="*/ 3062775 w 4080607"/>
                <a:gd name="connsiteY2000" fmla="*/ 1230642 h 1406657"/>
                <a:gd name="connsiteX2001" fmla="*/ 3064240 w 4080607"/>
                <a:gd name="connsiteY2001" fmla="*/ 1234392 h 1406657"/>
                <a:gd name="connsiteX2002" fmla="*/ 3065119 w 4080607"/>
                <a:gd name="connsiteY2002" fmla="*/ 1235330 h 1406657"/>
                <a:gd name="connsiteX2003" fmla="*/ 3066682 w 4080607"/>
                <a:gd name="connsiteY2003" fmla="*/ 1240420 h 1406657"/>
                <a:gd name="connsiteX2004" fmla="*/ 3070394 w 4080607"/>
                <a:gd name="connsiteY2004" fmla="*/ 1242564 h 1406657"/>
                <a:gd name="connsiteX2005" fmla="*/ 3116793 w 4080607"/>
                <a:gd name="connsiteY2005" fmla="*/ 1242564 h 1406657"/>
                <a:gd name="connsiteX2006" fmla="*/ 3118258 w 4080607"/>
                <a:gd name="connsiteY2006" fmla="*/ 1246448 h 1406657"/>
                <a:gd name="connsiteX2007" fmla="*/ 3121970 w 4080607"/>
                <a:gd name="connsiteY2007" fmla="*/ 1248592 h 1406657"/>
                <a:gd name="connsiteX2008" fmla="*/ 3276305 w 4080607"/>
                <a:gd name="connsiteY2008" fmla="*/ 1248592 h 1406657"/>
                <a:gd name="connsiteX2009" fmla="*/ 3277770 w 4080607"/>
                <a:gd name="connsiteY2009" fmla="*/ 1252878 h 1406657"/>
                <a:gd name="connsiteX2010" fmla="*/ 3281482 w 4080607"/>
                <a:gd name="connsiteY2010" fmla="*/ 1255021 h 1406657"/>
                <a:gd name="connsiteX2011" fmla="*/ 3347417 w 4080607"/>
                <a:gd name="connsiteY2011" fmla="*/ 1255021 h 1406657"/>
                <a:gd name="connsiteX2012" fmla="*/ 3348882 w 4080607"/>
                <a:gd name="connsiteY2012" fmla="*/ 1259576 h 1406657"/>
                <a:gd name="connsiteX2013" fmla="*/ 3352594 w 4080607"/>
                <a:gd name="connsiteY2013" fmla="*/ 1261719 h 1406657"/>
                <a:gd name="connsiteX2014" fmla="*/ 3364511 w 4080607"/>
                <a:gd name="connsiteY2014" fmla="*/ 1261719 h 1406657"/>
                <a:gd name="connsiteX2015" fmla="*/ 3366074 w 4080607"/>
                <a:gd name="connsiteY2015" fmla="*/ 1266541 h 1406657"/>
                <a:gd name="connsiteX2016" fmla="*/ 3369785 w 4080607"/>
                <a:gd name="connsiteY2016" fmla="*/ 1268685 h 1406657"/>
                <a:gd name="connsiteX2017" fmla="*/ 3467661 w 4080607"/>
                <a:gd name="connsiteY2017" fmla="*/ 1268685 h 1406657"/>
                <a:gd name="connsiteX2018" fmla="*/ 3467661 w 4080607"/>
                <a:gd name="connsiteY2018" fmla="*/ 1268953 h 1406657"/>
                <a:gd name="connsiteX2019" fmla="*/ 3469224 w 4080607"/>
                <a:gd name="connsiteY2019" fmla="*/ 1274043 h 1406657"/>
                <a:gd name="connsiteX2020" fmla="*/ 3472936 w 4080607"/>
                <a:gd name="connsiteY2020" fmla="*/ 1276186 h 1406657"/>
                <a:gd name="connsiteX2021" fmla="*/ 3479969 w 4080607"/>
                <a:gd name="connsiteY2021" fmla="*/ 1276186 h 1406657"/>
                <a:gd name="connsiteX2022" fmla="*/ 3479969 w 4080607"/>
                <a:gd name="connsiteY2022" fmla="*/ 1276722 h 1406657"/>
                <a:gd name="connsiteX2023" fmla="*/ 3481532 w 4080607"/>
                <a:gd name="connsiteY2023" fmla="*/ 1281812 h 1406657"/>
                <a:gd name="connsiteX2024" fmla="*/ 3485244 w 4080607"/>
                <a:gd name="connsiteY2024" fmla="*/ 1283956 h 1406657"/>
                <a:gd name="connsiteX2025" fmla="*/ 3860337 w 4080607"/>
                <a:gd name="connsiteY2025" fmla="*/ 1283956 h 1406657"/>
                <a:gd name="connsiteX2026" fmla="*/ 3860337 w 4080607"/>
                <a:gd name="connsiteY2026" fmla="*/ 1289314 h 1406657"/>
                <a:gd name="connsiteX2027" fmla="*/ 3861900 w 4080607"/>
                <a:gd name="connsiteY2027" fmla="*/ 1294404 h 1406657"/>
                <a:gd name="connsiteX2028" fmla="*/ 3865612 w 4080607"/>
                <a:gd name="connsiteY2028" fmla="*/ 1296547 h 1406657"/>
                <a:gd name="connsiteX2029" fmla="*/ 3975698 w 4080607"/>
                <a:gd name="connsiteY2029" fmla="*/ 1296547 h 1406657"/>
                <a:gd name="connsiteX2030" fmla="*/ 3975698 w 4080607"/>
                <a:gd name="connsiteY2030" fmla="*/ 1305254 h 1406657"/>
                <a:gd name="connsiteX2031" fmla="*/ 3977261 w 4080607"/>
                <a:gd name="connsiteY2031" fmla="*/ 1310345 h 1406657"/>
                <a:gd name="connsiteX2032" fmla="*/ 3980973 w 4080607"/>
                <a:gd name="connsiteY2032" fmla="*/ 1312488 h 1406657"/>
                <a:gd name="connsiteX2033" fmla="*/ 4080607 w 4080607"/>
                <a:gd name="connsiteY2033" fmla="*/ 1312488 h 1406657"/>
                <a:gd name="connsiteX2034" fmla="*/ 4080607 w 4080607"/>
                <a:gd name="connsiteY2034" fmla="*/ 1298155 h 1406657"/>
                <a:gd name="connsiteX2035" fmla="*/ 3986248 w 4080607"/>
                <a:gd name="connsiteY2035" fmla="*/ 1298155 h 1406657"/>
                <a:gd name="connsiteX2036" fmla="*/ 3986248 w 4080607"/>
                <a:gd name="connsiteY2036" fmla="*/ 1289448 h 1406657"/>
                <a:gd name="connsiteX2037" fmla="*/ 3984685 w 4080607"/>
                <a:gd name="connsiteY2037" fmla="*/ 1284357 h 1406657"/>
                <a:gd name="connsiteX2038" fmla="*/ 3980973 w 4080607"/>
                <a:gd name="connsiteY2038" fmla="*/ 1282214 h 1406657"/>
                <a:gd name="connsiteX2039" fmla="*/ 3870887 w 4080607"/>
                <a:gd name="connsiteY2039" fmla="*/ 1282214 h 1406657"/>
                <a:gd name="connsiteX2040" fmla="*/ 3870887 w 4080607"/>
                <a:gd name="connsiteY2040" fmla="*/ 1276856 h 1406657"/>
                <a:gd name="connsiteX2041" fmla="*/ 3869324 w 4080607"/>
                <a:gd name="connsiteY2041" fmla="*/ 1271766 h 1406657"/>
                <a:gd name="connsiteX2042" fmla="*/ 3865612 w 4080607"/>
                <a:gd name="connsiteY2042" fmla="*/ 1269622 h 1406657"/>
                <a:gd name="connsiteX2043" fmla="*/ 3490519 w 4080607"/>
                <a:gd name="connsiteY2043" fmla="*/ 1269622 h 1406657"/>
                <a:gd name="connsiteX2044" fmla="*/ 3490519 w 4080607"/>
                <a:gd name="connsiteY2044" fmla="*/ 1269087 h 1406657"/>
                <a:gd name="connsiteX2045" fmla="*/ 3488956 w 4080607"/>
                <a:gd name="connsiteY2045" fmla="*/ 1263996 h 1406657"/>
                <a:gd name="connsiteX2046" fmla="*/ 3485244 w 4080607"/>
                <a:gd name="connsiteY2046" fmla="*/ 1261853 h 1406657"/>
                <a:gd name="connsiteX2047" fmla="*/ 3478211 w 4080607"/>
                <a:gd name="connsiteY2047" fmla="*/ 1261853 h 1406657"/>
                <a:gd name="connsiteX2048" fmla="*/ 3478211 w 4080607"/>
                <a:gd name="connsiteY2048" fmla="*/ 1261585 h 1406657"/>
                <a:gd name="connsiteX2049" fmla="*/ 3478211 w 4080607"/>
                <a:gd name="connsiteY2049" fmla="*/ 1260246 h 1406657"/>
                <a:gd name="connsiteX2050" fmla="*/ 4080607 w 4080607"/>
                <a:gd name="connsiteY2050" fmla="*/ 1260246 h 1406657"/>
                <a:gd name="connsiteX2051" fmla="*/ 4080607 w 4080607"/>
                <a:gd name="connsiteY2051" fmla="*/ 1406658 h 1406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</a:cxnLst>
              <a:rect l="l" t="t" r="r" b="b"/>
              <a:pathLst>
                <a:path w="4080607" h="1406657">
                  <a:moveTo>
                    <a:pt x="24225" y="12726"/>
                  </a:moveTo>
                  <a:lnTo>
                    <a:pt x="0" y="12726"/>
                  </a:lnTo>
                  <a:lnTo>
                    <a:pt x="0" y="10850"/>
                  </a:lnTo>
                  <a:lnTo>
                    <a:pt x="24225" y="10850"/>
                  </a:lnTo>
                  <a:lnTo>
                    <a:pt x="24225" y="12726"/>
                  </a:lnTo>
                  <a:moveTo>
                    <a:pt x="2861456" y="1191259"/>
                  </a:moveTo>
                  <a:lnTo>
                    <a:pt x="2731736" y="1191259"/>
                  </a:lnTo>
                  <a:lnTo>
                    <a:pt x="2731736" y="1187106"/>
                  </a:lnTo>
                  <a:cubicBezTo>
                    <a:pt x="2731736" y="1185231"/>
                    <a:pt x="2731150" y="1183356"/>
                    <a:pt x="2730173" y="1182016"/>
                  </a:cubicBezTo>
                  <a:cubicBezTo>
                    <a:pt x="2729196" y="1180676"/>
                    <a:pt x="2727828" y="1179873"/>
                    <a:pt x="2726461" y="1179873"/>
                  </a:cubicBezTo>
                  <a:lnTo>
                    <a:pt x="2584336" y="1179873"/>
                  </a:lnTo>
                  <a:cubicBezTo>
                    <a:pt x="2584140" y="1178533"/>
                    <a:pt x="2583652" y="1177328"/>
                    <a:pt x="2582968" y="1176390"/>
                  </a:cubicBezTo>
                  <a:cubicBezTo>
                    <a:pt x="2581991" y="1175050"/>
                    <a:pt x="2580624" y="1174247"/>
                    <a:pt x="2579256" y="1174247"/>
                  </a:cubicBezTo>
                  <a:lnTo>
                    <a:pt x="2545068" y="1174247"/>
                  </a:lnTo>
                  <a:cubicBezTo>
                    <a:pt x="2544873" y="1172907"/>
                    <a:pt x="2544384" y="1171702"/>
                    <a:pt x="2543701" y="1170764"/>
                  </a:cubicBezTo>
                  <a:cubicBezTo>
                    <a:pt x="2542724" y="1169424"/>
                    <a:pt x="2541356" y="1168621"/>
                    <a:pt x="2539989" y="1168621"/>
                  </a:cubicBezTo>
                  <a:lnTo>
                    <a:pt x="2527876" y="1168621"/>
                  </a:lnTo>
                  <a:cubicBezTo>
                    <a:pt x="2527681" y="1167281"/>
                    <a:pt x="2527193" y="1166075"/>
                    <a:pt x="2526509" y="1165138"/>
                  </a:cubicBezTo>
                  <a:cubicBezTo>
                    <a:pt x="2525532" y="1163798"/>
                    <a:pt x="2524165" y="1162994"/>
                    <a:pt x="2522797" y="1162994"/>
                  </a:cubicBezTo>
                  <a:lnTo>
                    <a:pt x="2439573" y="1162994"/>
                  </a:lnTo>
                  <a:cubicBezTo>
                    <a:pt x="2439378" y="1161789"/>
                    <a:pt x="2438889" y="1160583"/>
                    <a:pt x="2438205" y="1159646"/>
                  </a:cubicBezTo>
                  <a:cubicBezTo>
                    <a:pt x="2437229" y="1158306"/>
                    <a:pt x="2435861" y="1157502"/>
                    <a:pt x="2434494" y="1157502"/>
                  </a:cubicBezTo>
                  <a:lnTo>
                    <a:pt x="2341404" y="1157502"/>
                  </a:lnTo>
                  <a:cubicBezTo>
                    <a:pt x="2341209" y="1156297"/>
                    <a:pt x="2340720" y="1155091"/>
                    <a:pt x="2340037" y="1154153"/>
                  </a:cubicBezTo>
                  <a:cubicBezTo>
                    <a:pt x="2339060" y="1152814"/>
                    <a:pt x="2337692" y="1152010"/>
                    <a:pt x="2336325" y="1152010"/>
                  </a:cubicBezTo>
                  <a:lnTo>
                    <a:pt x="2289829" y="1152010"/>
                  </a:lnTo>
                  <a:cubicBezTo>
                    <a:pt x="2289633" y="1150805"/>
                    <a:pt x="2289145" y="1149599"/>
                    <a:pt x="2288461" y="1148795"/>
                  </a:cubicBezTo>
                  <a:cubicBezTo>
                    <a:pt x="2287484" y="1147456"/>
                    <a:pt x="2286117" y="1146652"/>
                    <a:pt x="2284749" y="1146652"/>
                  </a:cubicBezTo>
                  <a:lnTo>
                    <a:pt x="2267753" y="1146652"/>
                  </a:lnTo>
                  <a:cubicBezTo>
                    <a:pt x="2267557" y="1145446"/>
                    <a:pt x="2267069" y="1144241"/>
                    <a:pt x="2266385" y="1143303"/>
                  </a:cubicBezTo>
                  <a:cubicBezTo>
                    <a:pt x="2265409" y="1141964"/>
                    <a:pt x="2264041" y="1141160"/>
                    <a:pt x="2262673" y="1141160"/>
                  </a:cubicBezTo>
                  <a:lnTo>
                    <a:pt x="2253003" y="1141160"/>
                  </a:lnTo>
                  <a:cubicBezTo>
                    <a:pt x="2252808" y="1139954"/>
                    <a:pt x="2252319" y="1138749"/>
                    <a:pt x="2251636" y="1137811"/>
                  </a:cubicBezTo>
                  <a:cubicBezTo>
                    <a:pt x="2250659" y="1136471"/>
                    <a:pt x="2249291" y="1135668"/>
                    <a:pt x="2247924" y="1135668"/>
                  </a:cubicBezTo>
                  <a:lnTo>
                    <a:pt x="2154834" y="1135668"/>
                  </a:lnTo>
                  <a:cubicBezTo>
                    <a:pt x="2154639" y="1134462"/>
                    <a:pt x="2154150" y="1133391"/>
                    <a:pt x="2153467" y="1132453"/>
                  </a:cubicBezTo>
                  <a:cubicBezTo>
                    <a:pt x="2153174" y="1132051"/>
                    <a:pt x="2152881" y="1131783"/>
                    <a:pt x="2152490" y="1131381"/>
                  </a:cubicBezTo>
                  <a:lnTo>
                    <a:pt x="2152490" y="1126827"/>
                  </a:lnTo>
                  <a:cubicBezTo>
                    <a:pt x="2152490" y="1124951"/>
                    <a:pt x="2151904" y="1123076"/>
                    <a:pt x="2150927" y="1121736"/>
                  </a:cubicBezTo>
                  <a:cubicBezTo>
                    <a:pt x="2149950" y="1120397"/>
                    <a:pt x="2148583" y="1119593"/>
                    <a:pt x="2147215" y="1119593"/>
                  </a:cubicBezTo>
                  <a:lnTo>
                    <a:pt x="2115469" y="1119593"/>
                  </a:lnTo>
                  <a:cubicBezTo>
                    <a:pt x="2115176" y="1118388"/>
                    <a:pt x="2114785" y="1117316"/>
                    <a:pt x="2114101" y="1116378"/>
                  </a:cubicBezTo>
                  <a:cubicBezTo>
                    <a:pt x="2113124" y="1115039"/>
                    <a:pt x="2111757" y="1114235"/>
                    <a:pt x="2110389" y="1114235"/>
                  </a:cubicBezTo>
                  <a:lnTo>
                    <a:pt x="2009876" y="1114235"/>
                  </a:lnTo>
                  <a:cubicBezTo>
                    <a:pt x="2009681" y="1113029"/>
                    <a:pt x="2009192" y="1111958"/>
                    <a:pt x="2008509" y="1111154"/>
                  </a:cubicBezTo>
                  <a:cubicBezTo>
                    <a:pt x="2007532" y="1109814"/>
                    <a:pt x="2006164" y="1109011"/>
                    <a:pt x="2004797" y="1109011"/>
                  </a:cubicBezTo>
                  <a:lnTo>
                    <a:pt x="1857690" y="1109011"/>
                  </a:lnTo>
                  <a:cubicBezTo>
                    <a:pt x="1857494" y="1107805"/>
                    <a:pt x="1857006" y="1106867"/>
                    <a:pt x="1856420" y="1105930"/>
                  </a:cubicBezTo>
                  <a:cubicBezTo>
                    <a:pt x="1855443" y="1104590"/>
                    <a:pt x="1854076" y="1103787"/>
                    <a:pt x="1852708" y="1103787"/>
                  </a:cubicBezTo>
                  <a:lnTo>
                    <a:pt x="1847922" y="1103787"/>
                  </a:lnTo>
                  <a:cubicBezTo>
                    <a:pt x="1847629" y="1102715"/>
                    <a:pt x="1847238" y="1101643"/>
                    <a:pt x="1846554" y="1100840"/>
                  </a:cubicBezTo>
                  <a:cubicBezTo>
                    <a:pt x="1845577" y="1099500"/>
                    <a:pt x="1844210" y="1098696"/>
                    <a:pt x="1842842" y="1098696"/>
                  </a:cubicBezTo>
                  <a:lnTo>
                    <a:pt x="1830632" y="1098696"/>
                  </a:lnTo>
                  <a:cubicBezTo>
                    <a:pt x="1830437" y="1097491"/>
                    <a:pt x="1829948" y="1096419"/>
                    <a:pt x="1829265" y="1095615"/>
                  </a:cubicBezTo>
                  <a:cubicBezTo>
                    <a:pt x="1828288" y="1094276"/>
                    <a:pt x="1826920" y="1093472"/>
                    <a:pt x="1825553" y="1093472"/>
                  </a:cubicBezTo>
                  <a:lnTo>
                    <a:pt x="1803575" y="1093472"/>
                  </a:lnTo>
                  <a:cubicBezTo>
                    <a:pt x="1803282" y="1092266"/>
                    <a:pt x="1802891" y="1091329"/>
                    <a:pt x="1802305" y="1090391"/>
                  </a:cubicBezTo>
                  <a:cubicBezTo>
                    <a:pt x="1801328" y="1089052"/>
                    <a:pt x="1799960" y="1088248"/>
                    <a:pt x="1798593" y="1088248"/>
                  </a:cubicBezTo>
                  <a:lnTo>
                    <a:pt x="1793806" y="1088248"/>
                  </a:lnTo>
                  <a:cubicBezTo>
                    <a:pt x="1793611" y="1087176"/>
                    <a:pt x="1793123" y="1086105"/>
                    <a:pt x="1792537" y="1085167"/>
                  </a:cubicBezTo>
                  <a:cubicBezTo>
                    <a:pt x="1791560" y="1083827"/>
                    <a:pt x="1790192" y="1083024"/>
                    <a:pt x="1788825" y="1083024"/>
                  </a:cubicBezTo>
                  <a:lnTo>
                    <a:pt x="1717713" y="1083024"/>
                  </a:lnTo>
                  <a:cubicBezTo>
                    <a:pt x="1717420" y="1081952"/>
                    <a:pt x="1717030" y="1080880"/>
                    <a:pt x="1716443" y="1080077"/>
                  </a:cubicBezTo>
                  <a:cubicBezTo>
                    <a:pt x="1715467" y="1078737"/>
                    <a:pt x="1714197" y="1078067"/>
                    <a:pt x="1712829" y="1077933"/>
                  </a:cubicBezTo>
                  <a:cubicBezTo>
                    <a:pt x="1712536" y="1076862"/>
                    <a:pt x="1712146" y="1075790"/>
                    <a:pt x="1711559" y="1074852"/>
                  </a:cubicBezTo>
                  <a:cubicBezTo>
                    <a:pt x="1710583" y="1073513"/>
                    <a:pt x="1709215" y="1072709"/>
                    <a:pt x="1707848" y="1072709"/>
                  </a:cubicBezTo>
                  <a:lnTo>
                    <a:pt x="1661352" y="1072709"/>
                  </a:lnTo>
                  <a:cubicBezTo>
                    <a:pt x="1661156" y="1071637"/>
                    <a:pt x="1660668" y="1070566"/>
                    <a:pt x="1660082" y="1069762"/>
                  </a:cubicBezTo>
                  <a:cubicBezTo>
                    <a:pt x="1659105" y="1068423"/>
                    <a:pt x="1657737" y="1067619"/>
                    <a:pt x="1656370" y="1067619"/>
                  </a:cubicBezTo>
                  <a:lnTo>
                    <a:pt x="1607334" y="1067619"/>
                  </a:lnTo>
                  <a:cubicBezTo>
                    <a:pt x="1607139" y="1066413"/>
                    <a:pt x="1606651" y="1065476"/>
                    <a:pt x="1606065" y="1064538"/>
                  </a:cubicBezTo>
                  <a:cubicBezTo>
                    <a:pt x="1605088" y="1063198"/>
                    <a:pt x="1603720" y="1062394"/>
                    <a:pt x="1602353" y="1062394"/>
                  </a:cubicBezTo>
                  <a:lnTo>
                    <a:pt x="1577932" y="1062394"/>
                  </a:lnTo>
                  <a:cubicBezTo>
                    <a:pt x="1577737" y="1061189"/>
                    <a:pt x="1577249" y="1060251"/>
                    <a:pt x="1576663" y="1059314"/>
                  </a:cubicBezTo>
                  <a:cubicBezTo>
                    <a:pt x="1575686" y="1057974"/>
                    <a:pt x="1574318" y="1057170"/>
                    <a:pt x="1572951" y="1057170"/>
                  </a:cubicBezTo>
                  <a:lnTo>
                    <a:pt x="1560741" y="1057170"/>
                  </a:lnTo>
                  <a:cubicBezTo>
                    <a:pt x="1560545" y="1056099"/>
                    <a:pt x="1560057" y="1055027"/>
                    <a:pt x="1559471" y="1054223"/>
                  </a:cubicBezTo>
                  <a:cubicBezTo>
                    <a:pt x="1558494" y="1052884"/>
                    <a:pt x="1557126" y="1052080"/>
                    <a:pt x="1555759" y="1052080"/>
                  </a:cubicBezTo>
                  <a:lnTo>
                    <a:pt x="1541205" y="1052080"/>
                  </a:lnTo>
                  <a:cubicBezTo>
                    <a:pt x="1540911" y="1051008"/>
                    <a:pt x="1540521" y="1049937"/>
                    <a:pt x="1539935" y="1049133"/>
                  </a:cubicBezTo>
                  <a:cubicBezTo>
                    <a:pt x="1538958" y="1047793"/>
                    <a:pt x="1537590" y="1046990"/>
                    <a:pt x="1536223" y="1046990"/>
                  </a:cubicBezTo>
                  <a:lnTo>
                    <a:pt x="1475172" y="1046990"/>
                  </a:lnTo>
                  <a:lnTo>
                    <a:pt x="1475172" y="1044177"/>
                  </a:lnTo>
                  <a:cubicBezTo>
                    <a:pt x="1475172" y="1042301"/>
                    <a:pt x="1474586" y="1040426"/>
                    <a:pt x="1473610" y="1039086"/>
                  </a:cubicBezTo>
                  <a:cubicBezTo>
                    <a:pt x="1472633" y="1037747"/>
                    <a:pt x="1471265" y="1036943"/>
                    <a:pt x="1469898" y="1036943"/>
                  </a:cubicBezTo>
                  <a:lnTo>
                    <a:pt x="1460130" y="1036943"/>
                  </a:lnTo>
                  <a:cubicBezTo>
                    <a:pt x="1459837" y="1035872"/>
                    <a:pt x="1459446" y="1034800"/>
                    <a:pt x="1458860" y="1033996"/>
                  </a:cubicBezTo>
                  <a:cubicBezTo>
                    <a:pt x="1457883" y="1032657"/>
                    <a:pt x="1456515" y="1031853"/>
                    <a:pt x="1455148" y="1031853"/>
                  </a:cubicBezTo>
                  <a:lnTo>
                    <a:pt x="1452804" y="1031853"/>
                  </a:lnTo>
                  <a:cubicBezTo>
                    <a:pt x="1452511" y="1030781"/>
                    <a:pt x="1452120" y="1029843"/>
                    <a:pt x="1451534" y="1029040"/>
                  </a:cubicBezTo>
                  <a:cubicBezTo>
                    <a:pt x="1451241" y="1028638"/>
                    <a:pt x="1450948" y="1028236"/>
                    <a:pt x="1450557" y="1027968"/>
                  </a:cubicBezTo>
                  <a:cubicBezTo>
                    <a:pt x="1450362" y="1026495"/>
                    <a:pt x="1449873" y="1025155"/>
                    <a:pt x="1449092" y="1024083"/>
                  </a:cubicBezTo>
                  <a:cubicBezTo>
                    <a:pt x="1448115" y="1022744"/>
                    <a:pt x="1446747" y="1021940"/>
                    <a:pt x="1445380" y="1021940"/>
                  </a:cubicBezTo>
                  <a:lnTo>
                    <a:pt x="1440496" y="1021940"/>
                  </a:lnTo>
                  <a:cubicBezTo>
                    <a:pt x="1440203" y="1020869"/>
                    <a:pt x="1439812" y="1019797"/>
                    <a:pt x="1439226" y="1018993"/>
                  </a:cubicBezTo>
                  <a:cubicBezTo>
                    <a:pt x="1438249" y="1017654"/>
                    <a:pt x="1436979" y="1016984"/>
                    <a:pt x="1435612" y="1016850"/>
                  </a:cubicBezTo>
                  <a:cubicBezTo>
                    <a:pt x="1435319" y="1015778"/>
                    <a:pt x="1434928" y="1014841"/>
                    <a:pt x="1434342" y="1014037"/>
                  </a:cubicBezTo>
                  <a:cubicBezTo>
                    <a:pt x="1433365" y="1012697"/>
                    <a:pt x="1431998" y="1011894"/>
                    <a:pt x="1430630" y="1011894"/>
                  </a:cubicBezTo>
                  <a:lnTo>
                    <a:pt x="1388920" y="1011894"/>
                  </a:lnTo>
                  <a:cubicBezTo>
                    <a:pt x="1388627" y="1010822"/>
                    <a:pt x="1388237" y="1009884"/>
                    <a:pt x="1387651" y="1008947"/>
                  </a:cubicBezTo>
                  <a:cubicBezTo>
                    <a:pt x="1386674" y="1007607"/>
                    <a:pt x="1385306" y="1006803"/>
                    <a:pt x="1383939" y="1006803"/>
                  </a:cubicBezTo>
                  <a:lnTo>
                    <a:pt x="1374464" y="1006803"/>
                  </a:lnTo>
                  <a:lnTo>
                    <a:pt x="1374464" y="1003990"/>
                  </a:lnTo>
                  <a:cubicBezTo>
                    <a:pt x="1374464" y="1002115"/>
                    <a:pt x="1373878" y="1000240"/>
                    <a:pt x="1372901" y="998900"/>
                  </a:cubicBezTo>
                  <a:cubicBezTo>
                    <a:pt x="1371924" y="997560"/>
                    <a:pt x="1370557" y="996757"/>
                    <a:pt x="1369189" y="996757"/>
                  </a:cubicBezTo>
                  <a:lnTo>
                    <a:pt x="1354537" y="996757"/>
                  </a:lnTo>
                  <a:cubicBezTo>
                    <a:pt x="1354244" y="995685"/>
                    <a:pt x="1353853" y="994613"/>
                    <a:pt x="1353267" y="993810"/>
                  </a:cubicBezTo>
                  <a:cubicBezTo>
                    <a:pt x="1352290" y="992470"/>
                    <a:pt x="1350923" y="991666"/>
                    <a:pt x="1349555" y="991666"/>
                  </a:cubicBezTo>
                  <a:lnTo>
                    <a:pt x="1342229" y="991666"/>
                  </a:lnTo>
                  <a:cubicBezTo>
                    <a:pt x="1341936" y="990595"/>
                    <a:pt x="1341545" y="989523"/>
                    <a:pt x="1340959" y="988719"/>
                  </a:cubicBezTo>
                  <a:cubicBezTo>
                    <a:pt x="1339983" y="987380"/>
                    <a:pt x="1338615" y="986576"/>
                    <a:pt x="1337247" y="986576"/>
                  </a:cubicBezTo>
                  <a:lnTo>
                    <a:pt x="1334903" y="986576"/>
                  </a:lnTo>
                  <a:cubicBezTo>
                    <a:pt x="1334610" y="985505"/>
                    <a:pt x="1334219" y="984567"/>
                    <a:pt x="1333633" y="983763"/>
                  </a:cubicBezTo>
                  <a:cubicBezTo>
                    <a:pt x="1332656" y="982424"/>
                    <a:pt x="1331289" y="981620"/>
                    <a:pt x="1329921" y="981620"/>
                  </a:cubicBezTo>
                  <a:lnTo>
                    <a:pt x="1317711" y="981620"/>
                  </a:lnTo>
                  <a:cubicBezTo>
                    <a:pt x="1317418" y="980548"/>
                    <a:pt x="1317028" y="979477"/>
                    <a:pt x="1316441" y="978673"/>
                  </a:cubicBezTo>
                  <a:cubicBezTo>
                    <a:pt x="1315465" y="977333"/>
                    <a:pt x="1314097" y="976530"/>
                    <a:pt x="1312730" y="976530"/>
                  </a:cubicBezTo>
                  <a:lnTo>
                    <a:pt x="1261252" y="976530"/>
                  </a:lnTo>
                  <a:cubicBezTo>
                    <a:pt x="1260959" y="975458"/>
                    <a:pt x="1260568" y="974520"/>
                    <a:pt x="1259982" y="973717"/>
                  </a:cubicBezTo>
                  <a:cubicBezTo>
                    <a:pt x="1259005" y="972377"/>
                    <a:pt x="1257638" y="971573"/>
                    <a:pt x="1256270" y="971573"/>
                  </a:cubicBezTo>
                  <a:lnTo>
                    <a:pt x="1244353" y="971573"/>
                  </a:lnTo>
                  <a:lnTo>
                    <a:pt x="1244353" y="968894"/>
                  </a:lnTo>
                  <a:cubicBezTo>
                    <a:pt x="1244353" y="967019"/>
                    <a:pt x="1243767" y="965143"/>
                    <a:pt x="1242790" y="963804"/>
                  </a:cubicBezTo>
                  <a:cubicBezTo>
                    <a:pt x="1241813" y="962464"/>
                    <a:pt x="1240544" y="961661"/>
                    <a:pt x="1239176" y="961661"/>
                  </a:cubicBezTo>
                  <a:cubicBezTo>
                    <a:pt x="1238883" y="960589"/>
                    <a:pt x="1238492" y="959651"/>
                    <a:pt x="1237906" y="958848"/>
                  </a:cubicBezTo>
                  <a:cubicBezTo>
                    <a:pt x="1236929" y="957508"/>
                    <a:pt x="1235562" y="956704"/>
                    <a:pt x="1234194" y="956704"/>
                  </a:cubicBezTo>
                  <a:lnTo>
                    <a:pt x="1224426" y="956704"/>
                  </a:lnTo>
                  <a:cubicBezTo>
                    <a:pt x="1224133" y="955633"/>
                    <a:pt x="1223743" y="954695"/>
                    <a:pt x="1223157" y="953891"/>
                  </a:cubicBezTo>
                  <a:cubicBezTo>
                    <a:pt x="1222180" y="952552"/>
                    <a:pt x="1220812" y="951748"/>
                    <a:pt x="1219445" y="951748"/>
                  </a:cubicBezTo>
                  <a:lnTo>
                    <a:pt x="1204793" y="951748"/>
                  </a:lnTo>
                  <a:cubicBezTo>
                    <a:pt x="1204500" y="950676"/>
                    <a:pt x="1204109" y="949739"/>
                    <a:pt x="1203523" y="948935"/>
                  </a:cubicBezTo>
                  <a:cubicBezTo>
                    <a:pt x="1202546" y="947595"/>
                    <a:pt x="1201178" y="946792"/>
                    <a:pt x="1199811" y="946792"/>
                  </a:cubicBezTo>
                  <a:lnTo>
                    <a:pt x="1194927" y="946792"/>
                  </a:lnTo>
                  <a:cubicBezTo>
                    <a:pt x="1194634" y="945720"/>
                    <a:pt x="1194243" y="944782"/>
                    <a:pt x="1193657" y="943979"/>
                  </a:cubicBezTo>
                  <a:cubicBezTo>
                    <a:pt x="1193364" y="943577"/>
                    <a:pt x="1193071" y="943309"/>
                    <a:pt x="1192680" y="942907"/>
                  </a:cubicBezTo>
                  <a:cubicBezTo>
                    <a:pt x="1192485" y="941433"/>
                    <a:pt x="1191996" y="940094"/>
                    <a:pt x="1191215" y="939022"/>
                  </a:cubicBezTo>
                  <a:cubicBezTo>
                    <a:pt x="1190238" y="937683"/>
                    <a:pt x="1188871" y="936879"/>
                    <a:pt x="1187503" y="936879"/>
                  </a:cubicBezTo>
                  <a:lnTo>
                    <a:pt x="1180177" y="936879"/>
                  </a:lnTo>
                  <a:cubicBezTo>
                    <a:pt x="1179884" y="935807"/>
                    <a:pt x="1179493" y="934870"/>
                    <a:pt x="1178907" y="934066"/>
                  </a:cubicBezTo>
                  <a:cubicBezTo>
                    <a:pt x="1177930" y="932726"/>
                    <a:pt x="1176661" y="931923"/>
                    <a:pt x="1175293" y="931923"/>
                  </a:cubicBezTo>
                  <a:cubicBezTo>
                    <a:pt x="1175000" y="930851"/>
                    <a:pt x="1174609" y="929913"/>
                    <a:pt x="1174023" y="929110"/>
                  </a:cubicBezTo>
                  <a:cubicBezTo>
                    <a:pt x="1173730" y="928708"/>
                    <a:pt x="1173339" y="928306"/>
                    <a:pt x="1173046" y="928038"/>
                  </a:cubicBezTo>
                  <a:cubicBezTo>
                    <a:pt x="1172851" y="926564"/>
                    <a:pt x="1172363" y="925225"/>
                    <a:pt x="1171581" y="924153"/>
                  </a:cubicBezTo>
                  <a:cubicBezTo>
                    <a:pt x="1170604" y="922814"/>
                    <a:pt x="1169237" y="922010"/>
                    <a:pt x="1167869" y="922010"/>
                  </a:cubicBezTo>
                  <a:lnTo>
                    <a:pt x="1138467" y="922010"/>
                  </a:lnTo>
                  <a:cubicBezTo>
                    <a:pt x="1138174" y="920938"/>
                    <a:pt x="1137784" y="920001"/>
                    <a:pt x="1137198" y="919197"/>
                  </a:cubicBezTo>
                  <a:cubicBezTo>
                    <a:pt x="1136221" y="917857"/>
                    <a:pt x="1134853" y="917054"/>
                    <a:pt x="1133486" y="917054"/>
                  </a:cubicBezTo>
                  <a:lnTo>
                    <a:pt x="1124011" y="917054"/>
                  </a:lnTo>
                  <a:lnTo>
                    <a:pt x="1124011" y="914375"/>
                  </a:lnTo>
                  <a:cubicBezTo>
                    <a:pt x="1124011" y="912499"/>
                    <a:pt x="1123425" y="910624"/>
                    <a:pt x="1122448" y="909284"/>
                  </a:cubicBezTo>
                  <a:cubicBezTo>
                    <a:pt x="1121471" y="907945"/>
                    <a:pt x="1120103" y="907141"/>
                    <a:pt x="1118736" y="907141"/>
                  </a:cubicBezTo>
                  <a:lnTo>
                    <a:pt x="1091776" y="907141"/>
                  </a:lnTo>
                  <a:cubicBezTo>
                    <a:pt x="1091483" y="906069"/>
                    <a:pt x="1091092" y="905132"/>
                    <a:pt x="1090506" y="904328"/>
                  </a:cubicBezTo>
                  <a:cubicBezTo>
                    <a:pt x="1089529" y="902988"/>
                    <a:pt x="1088162" y="902185"/>
                    <a:pt x="1086794" y="902185"/>
                  </a:cubicBezTo>
                  <a:lnTo>
                    <a:pt x="1064719" y="902185"/>
                  </a:lnTo>
                  <a:cubicBezTo>
                    <a:pt x="1064426" y="901113"/>
                    <a:pt x="1064035" y="900175"/>
                    <a:pt x="1063449" y="899372"/>
                  </a:cubicBezTo>
                  <a:cubicBezTo>
                    <a:pt x="1062472" y="898032"/>
                    <a:pt x="1061104" y="897228"/>
                    <a:pt x="1059737" y="897228"/>
                  </a:cubicBezTo>
                  <a:cubicBezTo>
                    <a:pt x="1059444" y="896157"/>
                    <a:pt x="1059053" y="895219"/>
                    <a:pt x="1058467" y="894549"/>
                  </a:cubicBezTo>
                  <a:cubicBezTo>
                    <a:pt x="1058174" y="894147"/>
                    <a:pt x="1057783" y="893746"/>
                    <a:pt x="1057490" y="893478"/>
                  </a:cubicBezTo>
                  <a:cubicBezTo>
                    <a:pt x="1057295" y="892004"/>
                    <a:pt x="1056806" y="890665"/>
                    <a:pt x="1056025" y="889727"/>
                  </a:cubicBezTo>
                  <a:cubicBezTo>
                    <a:pt x="1055048" y="888387"/>
                    <a:pt x="1053681" y="887584"/>
                    <a:pt x="1052313" y="887584"/>
                  </a:cubicBezTo>
                  <a:lnTo>
                    <a:pt x="1037661" y="887584"/>
                  </a:lnTo>
                  <a:cubicBezTo>
                    <a:pt x="1037368" y="886512"/>
                    <a:pt x="1036977" y="885574"/>
                    <a:pt x="1036391" y="884771"/>
                  </a:cubicBezTo>
                  <a:cubicBezTo>
                    <a:pt x="1036098" y="884369"/>
                    <a:pt x="1035707" y="883967"/>
                    <a:pt x="1035414" y="883699"/>
                  </a:cubicBezTo>
                  <a:cubicBezTo>
                    <a:pt x="1035219" y="882225"/>
                    <a:pt x="1034731" y="880886"/>
                    <a:pt x="1033949" y="879948"/>
                  </a:cubicBezTo>
                  <a:cubicBezTo>
                    <a:pt x="1032972" y="878609"/>
                    <a:pt x="1031605" y="877805"/>
                    <a:pt x="1030237" y="877805"/>
                  </a:cubicBezTo>
                  <a:lnTo>
                    <a:pt x="1013046" y="877805"/>
                  </a:lnTo>
                  <a:cubicBezTo>
                    <a:pt x="1012752" y="876867"/>
                    <a:pt x="1012362" y="875930"/>
                    <a:pt x="1011776" y="875126"/>
                  </a:cubicBezTo>
                  <a:cubicBezTo>
                    <a:pt x="1011483" y="874724"/>
                    <a:pt x="1011190" y="874322"/>
                    <a:pt x="1010799" y="874054"/>
                  </a:cubicBezTo>
                  <a:cubicBezTo>
                    <a:pt x="1010603" y="872581"/>
                    <a:pt x="1010115" y="871241"/>
                    <a:pt x="1009334" y="870170"/>
                  </a:cubicBezTo>
                  <a:cubicBezTo>
                    <a:pt x="1009041" y="869768"/>
                    <a:pt x="1008650" y="869366"/>
                    <a:pt x="1008357" y="869098"/>
                  </a:cubicBezTo>
                  <a:cubicBezTo>
                    <a:pt x="1008161" y="867624"/>
                    <a:pt x="1007673" y="866285"/>
                    <a:pt x="1006892" y="865347"/>
                  </a:cubicBezTo>
                  <a:cubicBezTo>
                    <a:pt x="1005915" y="864008"/>
                    <a:pt x="1004547" y="863204"/>
                    <a:pt x="1003180" y="863204"/>
                  </a:cubicBezTo>
                  <a:lnTo>
                    <a:pt x="1000738" y="863204"/>
                  </a:lnTo>
                  <a:cubicBezTo>
                    <a:pt x="1000445" y="862132"/>
                    <a:pt x="1000054" y="861195"/>
                    <a:pt x="999468" y="860391"/>
                  </a:cubicBezTo>
                  <a:cubicBezTo>
                    <a:pt x="998491" y="859051"/>
                    <a:pt x="997124" y="858248"/>
                    <a:pt x="995756" y="858248"/>
                  </a:cubicBezTo>
                  <a:cubicBezTo>
                    <a:pt x="995463" y="857176"/>
                    <a:pt x="995072" y="856238"/>
                    <a:pt x="994486" y="855569"/>
                  </a:cubicBezTo>
                  <a:cubicBezTo>
                    <a:pt x="993509" y="854229"/>
                    <a:pt x="992142" y="853425"/>
                    <a:pt x="990774" y="853425"/>
                  </a:cubicBezTo>
                  <a:lnTo>
                    <a:pt x="978564" y="853425"/>
                  </a:lnTo>
                  <a:cubicBezTo>
                    <a:pt x="978271" y="852488"/>
                    <a:pt x="977881" y="851550"/>
                    <a:pt x="977294" y="850746"/>
                  </a:cubicBezTo>
                  <a:cubicBezTo>
                    <a:pt x="977001" y="850344"/>
                    <a:pt x="976611" y="849942"/>
                    <a:pt x="976318" y="849674"/>
                  </a:cubicBezTo>
                  <a:cubicBezTo>
                    <a:pt x="976122" y="848201"/>
                    <a:pt x="975634" y="846861"/>
                    <a:pt x="974852" y="845924"/>
                  </a:cubicBezTo>
                  <a:cubicBezTo>
                    <a:pt x="973876" y="844584"/>
                    <a:pt x="972508" y="843780"/>
                    <a:pt x="971141" y="843780"/>
                  </a:cubicBezTo>
                  <a:lnTo>
                    <a:pt x="968699" y="843780"/>
                  </a:lnTo>
                  <a:cubicBezTo>
                    <a:pt x="968405" y="842843"/>
                    <a:pt x="968015" y="841905"/>
                    <a:pt x="967429" y="841101"/>
                  </a:cubicBezTo>
                  <a:cubicBezTo>
                    <a:pt x="967136" y="840700"/>
                    <a:pt x="966745" y="840298"/>
                    <a:pt x="966354" y="840030"/>
                  </a:cubicBezTo>
                  <a:cubicBezTo>
                    <a:pt x="966159" y="838690"/>
                    <a:pt x="965670" y="837351"/>
                    <a:pt x="964889" y="836279"/>
                  </a:cubicBezTo>
                  <a:cubicBezTo>
                    <a:pt x="963912" y="834939"/>
                    <a:pt x="962545" y="834136"/>
                    <a:pt x="961177" y="834136"/>
                  </a:cubicBezTo>
                  <a:lnTo>
                    <a:pt x="931775" y="834136"/>
                  </a:lnTo>
                  <a:cubicBezTo>
                    <a:pt x="931482" y="833064"/>
                    <a:pt x="931091" y="832126"/>
                    <a:pt x="930505" y="831323"/>
                  </a:cubicBezTo>
                  <a:cubicBezTo>
                    <a:pt x="929529" y="829983"/>
                    <a:pt x="928161" y="829179"/>
                    <a:pt x="926794" y="829179"/>
                  </a:cubicBezTo>
                  <a:lnTo>
                    <a:pt x="909602" y="829179"/>
                  </a:lnTo>
                  <a:cubicBezTo>
                    <a:pt x="909309" y="828108"/>
                    <a:pt x="908918" y="827304"/>
                    <a:pt x="908332" y="826500"/>
                  </a:cubicBezTo>
                  <a:cubicBezTo>
                    <a:pt x="907355" y="825161"/>
                    <a:pt x="905988" y="824357"/>
                    <a:pt x="904620" y="824357"/>
                  </a:cubicBezTo>
                  <a:lnTo>
                    <a:pt x="902471" y="824357"/>
                  </a:lnTo>
                  <a:lnTo>
                    <a:pt x="902471" y="821946"/>
                  </a:lnTo>
                  <a:cubicBezTo>
                    <a:pt x="902471" y="820071"/>
                    <a:pt x="901885" y="818195"/>
                    <a:pt x="900908" y="816856"/>
                  </a:cubicBezTo>
                  <a:cubicBezTo>
                    <a:pt x="900615" y="816454"/>
                    <a:pt x="900224" y="816052"/>
                    <a:pt x="899931" y="815784"/>
                  </a:cubicBezTo>
                  <a:cubicBezTo>
                    <a:pt x="899736" y="814444"/>
                    <a:pt x="899248" y="813105"/>
                    <a:pt x="898466" y="812167"/>
                  </a:cubicBezTo>
                  <a:cubicBezTo>
                    <a:pt x="897489" y="810828"/>
                    <a:pt x="896122" y="810024"/>
                    <a:pt x="894754" y="810024"/>
                  </a:cubicBezTo>
                  <a:lnTo>
                    <a:pt x="892312" y="810024"/>
                  </a:lnTo>
                  <a:cubicBezTo>
                    <a:pt x="892019" y="808952"/>
                    <a:pt x="891629" y="808149"/>
                    <a:pt x="891042" y="807345"/>
                  </a:cubicBezTo>
                  <a:cubicBezTo>
                    <a:pt x="890066" y="806005"/>
                    <a:pt x="888698" y="805202"/>
                    <a:pt x="887331" y="805202"/>
                  </a:cubicBezTo>
                  <a:lnTo>
                    <a:pt x="872678" y="805202"/>
                  </a:lnTo>
                  <a:cubicBezTo>
                    <a:pt x="872385" y="804264"/>
                    <a:pt x="871995" y="803326"/>
                    <a:pt x="871506" y="802522"/>
                  </a:cubicBezTo>
                  <a:cubicBezTo>
                    <a:pt x="870627" y="801317"/>
                    <a:pt x="869357" y="800513"/>
                    <a:pt x="868088" y="800379"/>
                  </a:cubicBezTo>
                  <a:lnTo>
                    <a:pt x="868088" y="798102"/>
                  </a:lnTo>
                  <a:cubicBezTo>
                    <a:pt x="868088" y="796227"/>
                    <a:pt x="867501" y="794351"/>
                    <a:pt x="866525" y="793012"/>
                  </a:cubicBezTo>
                  <a:cubicBezTo>
                    <a:pt x="865548" y="791672"/>
                    <a:pt x="864180" y="790868"/>
                    <a:pt x="862813" y="790868"/>
                  </a:cubicBezTo>
                  <a:lnTo>
                    <a:pt x="857929" y="790868"/>
                  </a:lnTo>
                  <a:cubicBezTo>
                    <a:pt x="857636" y="789797"/>
                    <a:pt x="857245" y="788993"/>
                    <a:pt x="856659" y="788189"/>
                  </a:cubicBezTo>
                  <a:cubicBezTo>
                    <a:pt x="855682" y="786850"/>
                    <a:pt x="854315" y="786046"/>
                    <a:pt x="852947" y="786046"/>
                  </a:cubicBezTo>
                  <a:lnTo>
                    <a:pt x="840639" y="786046"/>
                  </a:lnTo>
                  <a:cubicBezTo>
                    <a:pt x="840346" y="785108"/>
                    <a:pt x="839955" y="784171"/>
                    <a:pt x="839467" y="783501"/>
                  </a:cubicBezTo>
                  <a:cubicBezTo>
                    <a:pt x="839174" y="783099"/>
                    <a:pt x="838783" y="782697"/>
                    <a:pt x="838393" y="782429"/>
                  </a:cubicBezTo>
                  <a:cubicBezTo>
                    <a:pt x="838197" y="781090"/>
                    <a:pt x="837709" y="779750"/>
                    <a:pt x="836927" y="778812"/>
                  </a:cubicBezTo>
                  <a:cubicBezTo>
                    <a:pt x="835951" y="777473"/>
                    <a:pt x="834583" y="776669"/>
                    <a:pt x="833215" y="776669"/>
                  </a:cubicBezTo>
                  <a:lnTo>
                    <a:pt x="825889" y="776669"/>
                  </a:lnTo>
                  <a:cubicBezTo>
                    <a:pt x="825596" y="775732"/>
                    <a:pt x="825206" y="774794"/>
                    <a:pt x="824717" y="774124"/>
                  </a:cubicBezTo>
                  <a:cubicBezTo>
                    <a:pt x="823741" y="772784"/>
                    <a:pt x="822373" y="771981"/>
                    <a:pt x="821005" y="771981"/>
                  </a:cubicBezTo>
                  <a:lnTo>
                    <a:pt x="811140" y="771981"/>
                  </a:lnTo>
                  <a:cubicBezTo>
                    <a:pt x="810847" y="771043"/>
                    <a:pt x="810456" y="770105"/>
                    <a:pt x="809968" y="769302"/>
                  </a:cubicBezTo>
                  <a:cubicBezTo>
                    <a:pt x="809675" y="768900"/>
                    <a:pt x="809381" y="768632"/>
                    <a:pt x="809088" y="768364"/>
                  </a:cubicBezTo>
                  <a:lnTo>
                    <a:pt x="809088" y="764881"/>
                  </a:lnTo>
                  <a:cubicBezTo>
                    <a:pt x="809088" y="763006"/>
                    <a:pt x="808502" y="761130"/>
                    <a:pt x="807526" y="759791"/>
                  </a:cubicBezTo>
                  <a:cubicBezTo>
                    <a:pt x="807232" y="759389"/>
                    <a:pt x="806842" y="758987"/>
                    <a:pt x="806451" y="758719"/>
                  </a:cubicBezTo>
                  <a:cubicBezTo>
                    <a:pt x="806256" y="757380"/>
                    <a:pt x="805767" y="756040"/>
                    <a:pt x="804986" y="755102"/>
                  </a:cubicBezTo>
                  <a:cubicBezTo>
                    <a:pt x="804009" y="753763"/>
                    <a:pt x="802641" y="752959"/>
                    <a:pt x="801274" y="752959"/>
                  </a:cubicBezTo>
                  <a:lnTo>
                    <a:pt x="788966" y="752959"/>
                  </a:lnTo>
                  <a:cubicBezTo>
                    <a:pt x="788673" y="752022"/>
                    <a:pt x="788282" y="751084"/>
                    <a:pt x="787794" y="750280"/>
                  </a:cubicBezTo>
                  <a:cubicBezTo>
                    <a:pt x="786817" y="748941"/>
                    <a:pt x="785450" y="748137"/>
                    <a:pt x="784082" y="748137"/>
                  </a:cubicBezTo>
                  <a:cubicBezTo>
                    <a:pt x="783789" y="747199"/>
                    <a:pt x="783398" y="746261"/>
                    <a:pt x="782910" y="745592"/>
                  </a:cubicBezTo>
                  <a:cubicBezTo>
                    <a:pt x="782617" y="745190"/>
                    <a:pt x="782226" y="744788"/>
                    <a:pt x="781836" y="744520"/>
                  </a:cubicBezTo>
                  <a:cubicBezTo>
                    <a:pt x="781640" y="743181"/>
                    <a:pt x="781152" y="741841"/>
                    <a:pt x="780370" y="740903"/>
                  </a:cubicBezTo>
                  <a:cubicBezTo>
                    <a:pt x="780077" y="740501"/>
                    <a:pt x="779784" y="740234"/>
                    <a:pt x="779394" y="739832"/>
                  </a:cubicBezTo>
                  <a:lnTo>
                    <a:pt x="779394" y="736483"/>
                  </a:lnTo>
                  <a:cubicBezTo>
                    <a:pt x="779394" y="734607"/>
                    <a:pt x="778807" y="732732"/>
                    <a:pt x="777831" y="731392"/>
                  </a:cubicBezTo>
                  <a:cubicBezTo>
                    <a:pt x="777538" y="730991"/>
                    <a:pt x="777147" y="730589"/>
                    <a:pt x="776854" y="730321"/>
                  </a:cubicBezTo>
                  <a:cubicBezTo>
                    <a:pt x="776658" y="728981"/>
                    <a:pt x="776170" y="727642"/>
                    <a:pt x="775389" y="726704"/>
                  </a:cubicBezTo>
                  <a:cubicBezTo>
                    <a:pt x="774412" y="725365"/>
                    <a:pt x="773044" y="724561"/>
                    <a:pt x="771677" y="724561"/>
                  </a:cubicBezTo>
                  <a:lnTo>
                    <a:pt x="769235" y="724561"/>
                  </a:lnTo>
                  <a:cubicBezTo>
                    <a:pt x="768942" y="723623"/>
                    <a:pt x="768551" y="722685"/>
                    <a:pt x="768063" y="721882"/>
                  </a:cubicBezTo>
                  <a:cubicBezTo>
                    <a:pt x="767770" y="721480"/>
                    <a:pt x="767476" y="721078"/>
                    <a:pt x="767086" y="720810"/>
                  </a:cubicBezTo>
                  <a:cubicBezTo>
                    <a:pt x="766890" y="719471"/>
                    <a:pt x="766402" y="718131"/>
                    <a:pt x="765621" y="717059"/>
                  </a:cubicBezTo>
                  <a:cubicBezTo>
                    <a:pt x="764644" y="715720"/>
                    <a:pt x="763276" y="714916"/>
                    <a:pt x="761909" y="714916"/>
                  </a:cubicBezTo>
                  <a:lnTo>
                    <a:pt x="759467" y="714916"/>
                  </a:lnTo>
                  <a:cubicBezTo>
                    <a:pt x="759174" y="713844"/>
                    <a:pt x="758783" y="713041"/>
                    <a:pt x="758294" y="712237"/>
                  </a:cubicBezTo>
                  <a:cubicBezTo>
                    <a:pt x="757318" y="710897"/>
                    <a:pt x="755950" y="710094"/>
                    <a:pt x="754583" y="710094"/>
                  </a:cubicBezTo>
                  <a:lnTo>
                    <a:pt x="752141" y="710094"/>
                  </a:lnTo>
                  <a:cubicBezTo>
                    <a:pt x="751848" y="709156"/>
                    <a:pt x="751457" y="708218"/>
                    <a:pt x="750968" y="707415"/>
                  </a:cubicBezTo>
                  <a:cubicBezTo>
                    <a:pt x="749992" y="706075"/>
                    <a:pt x="748624" y="705271"/>
                    <a:pt x="747257" y="705271"/>
                  </a:cubicBezTo>
                  <a:cubicBezTo>
                    <a:pt x="746964" y="704334"/>
                    <a:pt x="746573" y="703396"/>
                    <a:pt x="746084" y="702592"/>
                  </a:cubicBezTo>
                  <a:cubicBezTo>
                    <a:pt x="745108" y="701253"/>
                    <a:pt x="743740" y="700449"/>
                    <a:pt x="742373" y="700449"/>
                  </a:cubicBezTo>
                  <a:cubicBezTo>
                    <a:pt x="742080" y="699511"/>
                    <a:pt x="741689" y="698574"/>
                    <a:pt x="741200" y="697770"/>
                  </a:cubicBezTo>
                  <a:cubicBezTo>
                    <a:pt x="740224" y="696430"/>
                    <a:pt x="738856" y="695627"/>
                    <a:pt x="737489" y="695627"/>
                  </a:cubicBezTo>
                  <a:lnTo>
                    <a:pt x="732898" y="695627"/>
                  </a:lnTo>
                  <a:lnTo>
                    <a:pt x="732898" y="693483"/>
                  </a:lnTo>
                  <a:cubicBezTo>
                    <a:pt x="732898" y="691608"/>
                    <a:pt x="732311" y="689733"/>
                    <a:pt x="731335" y="688393"/>
                  </a:cubicBezTo>
                  <a:cubicBezTo>
                    <a:pt x="730358" y="687054"/>
                    <a:pt x="728990" y="686250"/>
                    <a:pt x="727623" y="686250"/>
                  </a:cubicBezTo>
                  <a:lnTo>
                    <a:pt x="720199" y="686250"/>
                  </a:lnTo>
                  <a:cubicBezTo>
                    <a:pt x="719906" y="685312"/>
                    <a:pt x="719515" y="684374"/>
                    <a:pt x="719027" y="683571"/>
                  </a:cubicBezTo>
                  <a:cubicBezTo>
                    <a:pt x="718050" y="682231"/>
                    <a:pt x="716683" y="681427"/>
                    <a:pt x="715315" y="681427"/>
                  </a:cubicBezTo>
                  <a:lnTo>
                    <a:pt x="707989" y="681427"/>
                  </a:lnTo>
                  <a:cubicBezTo>
                    <a:pt x="707696" y="680490"/>
                    <a:pt x="707305" y="679552"/>
                    <a:pt x="706817" y="678748"/>
                  </a:cubicBezTo>
                  <a:cubicBezTo>
                    <a:pt x="705840" y="677409"/>
                    <a:pt x="704473" y="676605"/>
                    <a:pt x="703105" y="676605"/>
                  </a:cubicBezTo>
                  <a:lnTo>
                    <a:pt x="703105" y="676605"/>
                  </a:lnTo>
                  <a:cubicBezTo>
                    <a:pt x="702812" y="675667"/>
                    <a:pt x="702421" y="674730"/>
                    <a:pt x="701933" y="674060"/>
                  </a:cubicBezTo>
                  <a:cubicBezTo>
                    <a:pt x="700956" y="672720"/>
                    <a:pt x="699589" y="671917"/>
                    <a:pt x="698221" y="671917"/>
                  </a:cubicBezTo>
                  <a:lnTo>
                    <a:pt x="688355" y="671917"/>
                  </a:lnTo>
                  <a:cubicBezTo>
                    <a:pt x="688062" y="670979"/>
                    <a:pt x="687671" y="670041"/>
                    <a:pt x="687183" y="669372"/>
                  </a:cubicBezTo>
                  <a:cubicBezTo>
                    <a:pt x="686206" y="668032"/>
                    <a:pt x="684839" y="667228"/>
                    <a:pt x="683471" y="667228"/>
                  </a:cubicBezTo>
                  <a:lnTo>
                    <a:pt x="676047" y="667228"/>
                  </a:lnTo>
                  <a:cubicBezTo>
                    <a:pt x="675754" y="666291"/>
                    <a:pt x="675364" y="665353"/>
                    <a:pt x="674875" y="664683"/>
                  </a:cubicBezTo>
                  <a:cubicBezTo>
                    <a:pt x="673898" y="663344"/>
                    <a:pt x="672531" y="662540"/>
                    <a:pt x="671163" y="662540"/>
                  </a:cubicBezTo>
                  <a:lnTo>
                    <a:pt x="669014" y="662540"/>
                  </a:lnTo>
                  <a:lnTo>
                    <a:pt x="669014" y="655574"/>
                  </a:lnTo>
                  <a:cubicBezTo>
                    <a:pt x="669014" y="653699"/>
                    <a:pt x="668428" y="651823"/>
                    <a:pt x="667452" y="650484"/>
                  </a:cubicBezTo>
                  <a:cubicBezTo>
                    <a:pt x="667158" y="650082"/>
                    <a:pt x="666768" y="649680"/>
                    <a:pt x="666377" y="649412"/>
                  </a:cubicBezTo>
                  <a:cubicBezTo>
                    <a:pt x="666182" y="648073"/>
                    <a:pt x="665693" y="646867"/>
                    <a:pt x="665010" y="645929"/>
                  </a:cubicBezTo>
                  <a:cubicBezTo>
                    <a:pt x="664033" y="644590"/>
                    <a:pt x="662665" y="643786"/>
                    <a:pt x="661298" y="643786"/>
                  </a:cubicBezTo>
                  <a:lnTo>
                    <a:pt x="661298" y="643786"/>
                  </a:lnTo>
                  <a:cubicBezTo>
                    <a:pt x="661005" y="642848"/>
                    <a:pt x="660614" y="641911"/>
                    <a:pt x="660126" y="641241"/>
                  </a:cubicBezTo>
                  <a:cubicBezTo>
                    <a:pt x="659149" y="639901"/>
                    <a:pt x="657781" y="639098"/>
                    <a:pt x="656414" y="639098"/>
                  </a:cubicBezTo>
                  <a:cubicBezTo>
                    <a:pt x="656121" y="638160"/>
                    <a:pt x="655730" y="637222"/>
                    <a:pt x="655242" y="636419"/>
                  </a:cubicBezTo>
                  <a:cubicBezTo>
                    <a:pt x="654948" y="636017"/>
                    <a:pt x="654558" y="635615"/>
                    <a:pt x="654167" y="635347"/>
                  </a:cubicBezTo>
                  <a:cubicBezTo>
                    <a:pt x="653972" y="634007"/>
                    <a:pt x="653483" y="632802"/>
                    <a:pt x="652799" y="631864"/>
                  </a:cubicBezTo>
                  <a:cubicBezTo>
                    <a:pt x="651823" y="630525"/>
                    <a:pt x="650455" y="629721"/>
                    <a:pt x="649088" y="629721"/>
                  </a:cubicBezTo>
                  <a:lnTo>
                    <a:pt x="636878" y="629721"/>
                  </a:lnTo>
                  <a:cubicBezTo>
                    <a:pt x="636584" y="628783"/>
                    <a:pt x="636194" y="627846"/>
                    <a:pt x="635705" y="627042"/>
                  </a:cubicBezTo>
                  <a:cubicBezTo>
                    <a:pt x="634729" y="625702"/>
                    <a:pt x="633361" y="624899"/>
                    <a:pt x="631993" y="624899"/>
                  </a:cubicBezTo>
                  <a:lnTo>
                    <a:pt x="629551" y="624899"/>
                  </a:lnTo>
                  <a:cubicBezTo>
                    <a:pt x="629258" y="623961"/>
                    <a:pt x="628868" y="623023"/>
                    <a:pt x="628379" y="622353"/>
                  </a:cubicBezTo>
                  <a:cubicBezTo>
                    <a:pt x="628086" y="621952"/>
                    <a:pt x="627793" y="621684"/>
                    <a:pt x="627500" y="621416"/>
                  </a:cubicBezTo>
                  <a:lnTo>
                    <a:pt x="627500" y="613378"/>
                  </a:lnTo>
                  <a:cubicBezTo>
                    <a:pt x="627500" y="611503"/>
                    <a:pt x="626914" y="609628"/>
                    <a:pt x="625937" y="608288"/>
                  </a:cubicBezTo>
                  <a:cubicBezTo>
                    <a:pt x="624960" y="606949"/>
                    <a:pt x="623593" y="606145"/>
                    <a:pt x="622225" y="606145"/>
                  </a:cubicBezTo>
                  <a:lnTo>
                    <a:pt x="619783" y="606145"/>
                  </a:lnTo>
                  <a:cubicBezTo>
                    <a:pt x="619490" y="605207"/>
                    <a:pt x="619100" y="604270"/>
                    <a:pt x="618611" y="603600"/>
                  </a:cubicBezTo>
                  <a:cubicBezTo>
                    <a:pt x="617732" y="602394"/>
                    <a:pt x="616462" y="601590"/>
                    <a:pt x="615192" y="601456"/>
                  </a:cubicBezTo>
                  <a:lnTo>
                    <a:pt x="615192" y="594625"/>
                  </a:lnTo>
                  <a:cubicBezTo>
                    <a:pt x="615192" y="592749"/>
                    <a:pt x="614606" y="590874"/>
                    <a:pt x="613630" y="589535"/>
                  </a:cubicBezTo>
                  <a:cubicBezTo>
                    <a:pt x="612653" y="588195"/>
                    <a:pt x="611285" y="587391"/>
                    <a:pt x="609918" y="587391"/>
                  </a:cubicBezTo>
                  <a:lnTo>
                    <a:pt x="602494" y="587391"/>
                  </a:lnTo>
                  <a:cubicBezTo>
                    <a:pt x="602201" y="586454"/>
                    <a:pt x="601810" y="585516"/>
                    <a:pt x="601322" y="584712"/>
                  </a:cubicBezTo>
                  <a:cubicBezTo>
                    <a:pt x="600345" y="583373"/>
                    <a:pt x="598977" y="582569"/>
                    <a:pt x="597610" y="582569"/>
                  </a:cubicBezTo>
                  <a:lnTo>
                    <a:pt x="595168" y="582569"/>
                  </a:lnTo>
                  <a:cubicBezTo>
                    <a:pt x="594875" y="581631"/>
                    <a:pt x="594484" y="580693"/>
                    <a:pt x="593996" y="580024"/>
                  </a:cubicBezTo>
                  <a:cubicBezTo>
                    <a:pt x="593703" y="579622"/>
                    <a:pt x="593312" y="579220"/>
                    <a:pt x="592921" y="578952"/>
                  </a:cubicBezTo>
                  <a:cubicBezTo>
                    <a:pt x="592726" y="577613"/>
                    <a:pt x="592237" y="576273"/>
                    <a:pt x="591554" y="575335"/>
                  </a:cubicBezTo>
                  <a:cubicBezTo>
                    <a:pt x="590577" y="573996"/>
                    <a:pt x="589209" y="573192"/>
                    <a:pt x="587842" y="573192"/>
                  </a:cubicBezTo>
                  <a:lnTo>
                    <a:pt x="573092" y="573192"/>
                  </a:lnTo>
                  <a:cubicBezTo>
                    <a:pt x="572799" y="572254"/>
                    <a:pt x="572408" y="571317"/>
                    <a:pt x="571920" y="570647"/>
                  </a:cubicBezTo>
                  <a:cubicBezTo>
                    <a:pt x="570943" y="569307"/>
                    <a:pt x="569576" y="568504"/>
                    <a:pt x="568208" y="568504"/>
                  </a:cubicBezTo>
                  <a:lnTo>
                    <a:pt x="563324" y="568504"/>
                  </a:lnTo>
                  <a:cubicBezTo>
                    <a:pt x="563031" y="567566"/>
                    <a:pt x="562640" y="566628"/>
                    <a:pt x="562152" y="565825"/>
                  </a:cubicBezTo>
                  <a:cubicBezTo>
                    <a:pt x="561859" y="565423"/>
                    <a:pt x="561468" y="565021"/>
                    <a:pt x="561077" y="564753"/>
                  </a:cubicBezTo>
                  <a:cubicBezTo>
                    <a:pt x="560882" y="563413"/>
                    <a:pt x="560394" y="562208"/>
                    <a:pt x="559710" y="561270"/>
                  </a:cubicBezTo>
                  <a:cubicBezTo>
                    <a:pt x="559417" y="560868"/>
                    <a:pt x="559026" y="560466"/>
                    <a:pt x="558635" y="560198"/>
                  </a:cubicBezTo>
                  <a:cubicBezTo>
                    <a:pt x="558440" y="558859"/>
                    <a:pt x="557952" y="557653"/>
                    <a:pt x="557268" y="556716"/>
                  </a:cubicBezTo>
                  <a:cubicBezTo>
                    <a:pt x="556291" y="555376"/>
                    <a:pt x="554923" y="554572"/>
                    <a:pt x="553556" y="554572"/>
                  </a:cubicBezTo>
                  <a:lnTo>
                    <a:pt x="551114" y="554572"/>
                  </a:lnTo>
                  <a:cubicBezTo>
                    <a:pt x="550821" y="553635"/>
                    <a:pt x="550430" y="552697"/>
                    <a:pt x="549942" y="551893"/>
                  </a:cubicBezTo>
                  <a:cubicBezTo>
                    <a:pt x="548965" y="550554"/>
                    <a:pt x="547597" y="549750"/>
                    <a:pt x="546230" y="549750"/>
                  </a:cubicBezTo>
                  <a:lnTo>
                    <a:pt x="546230" y="549750"/>
                  </a:lnTo>
                  <a:cubicBezTo>
                    <a:pt x="545937" y="548812"/>
                    <a:pt x="545546" y="547875"/>
                    <a:pt x="545058" y="547205"/>
                  </a:cubicBezTo>
                  <a:cubicBezTo>
                    <a:pt x="544081" y="545865"/>
                    <a:pt x="542713" y="545062"/>
                    <a:pt x="541346" y="545062"/>
                  </a:cubicBezTo>
                  <a:lnTo>
                    <a:pt x="531578" y="545062"/>
                  </a:lnTo>
                  <a:cubicBezTo>
                    <a:pt x="531285" y="544124"/>
                    <a:pt x="530894" y="543186"/>
                    <a:pt x="530406" y="542382"/>
                  </a:cubicBezTo>
                  <a:cubicBezTo>
                    <a:pt x="530113" y="541981"/>
                    <a:pt x="529820" y="541713"/>
                    <a:pt x="529527" y="541311"/>
                  </a:cubicBezTo>
                  <a:lnTo>
                    <a:pt x="529527" y="538096"/>
                  </a:lnTo>
                  <a:cubicBezTo>
                    <a:pt x="529527" y="536221"/>
                    <a:pt x="528940" y="534345"/>
                    <a:pt x="527964" y="533006"/>
                  </a:cubicBezTo>
                  <a:cubicBezTo>
                    <a:pt x="526987" y="531666"/>
                    <a:pt x="525619" y="530862"/>
                    <a:pt x="524252" y="530862"/>
                  </a:cubicBezTo>
                  <a:lnTo>
                    <a:pt x="519758" y="530862"/>
                  </a:lnTo>
                  <a:lnTo>
                    <a:pt x="519758" y="528719"/>
                  </a:lnTo>
                  <a:cubicBezTo>
                    <a:pt x="519758" y="526844"/>
                    <a:pt x="519172" y="524968"/>
                    <a:pt x="518196" y="523629"/>
                  </a:cubicBezTo>
                  <a:cubicBezTo>
                    <a:pt x="517219" y="522289"/>
                    <a:pt x="515851" y="521486"/>
                    <a:pt x="514484" y="521486"/>
                  </a:cubicBezTo>
                  <a:lnTo>
                    <a:pt x="512335" y="521486"/>
                  </a:lnTo>
                  <a:lnTo>
                    <a:pt x="512335" y="519342"/>
                  </a:lnTo>
                  <a:cubicBezTo>
                    <a:pt x="512335" y="517467"/>
                    <a:pt x="511749" y="515592"/>
                    <a:pt x="510772" y="514252"/>
                  </a:cubicBezTo>
                  <a:cubicBezTo>
                    <a:pt x="510479" y="513850"/>
                    <a:pt x="510088" y="513448"/>
                    <a:pt x="509697" y="513180"/>
                  </a:cubicBezTo>
                  <a:cubicBezTo>
                    <a:pt x="509502" y="511841"/>
                    <a:pt x="509014" y="510635"/>
                    <a:pt x="508232" y="509698"/>
                  </a:cubicBezTo>
                  <a:cubicBezTo>
                    <a:pt x="507939" y="509296"/>
                    <a:pt x="507548" y="508894"/>
                    <a:pt x="507158" y="508626"/>
                  </a:cubicBezTo>
                  <a:cubicBezTo>
                    <a:pt x="506962" y="507286"/>
                    <a:pt x="506474" y="506081"/>
                    <a:pt x="505790" y="505009"/>
                  </a:cubicBezTo>
                  <a:cubicBezTo>
                    <a:pt x="504813" y="503670"/>
                    <a:pt x="503446" y="502866"/>
                    <a:pt x="502078" y="502866"/>
                  </a:cubicBezTo>
                  <a:lnTo>
                    <a:pt x="489771" y="502866"/>
                  </a:lnTo>
                  <a:cubicBezTo>
                    <a:pt x="489478" y="501928"/>
                    <a:pt x="489087" y="500990"/>
                    <a:pt x="488598" y="500321"/>
                  </a:cubicBezTo>
                  <a:cubicBezTo>
                    <a:pt x="487719" y="499115"/>
                    <a:pt x="486449" y="498311"/>
                    <a:pt x="485180" y="498177"/>
                  </a:cubicBezTo>
                  <a:lnTo>
                    <a:pt x="485180" y="496034"/>
                  </a:lnTo>
                  <a:cubicBezTo>
                    <a:pt x="485180" y="494159"/>
                    <a:pt x="484593" y="492283"/>
                    <a:pt x="483617" y="490944"/>
                  </a:cubicBezTo>
                  <a:cubicBezTo>
                    <a:pt x="483324" y="490542"/>
                    <a:pt x="482933" y="490140"/>
                    <a:pt x="482542" y="489872"/>
                  </a:cubicBezTo>
                  <a:cubicBezTo>
                    <a:pt x="482347" y="488533"/>
                    <a:pt x="481858" y="487327"/>
                    <a:pt x="481175" y="486255"/>
                  </a:cubicBezTo>
                  <a:cubicBezTo>
                    <a:pt x="480198" y="484916"/>
                    <a:pt x="478830" y="484112"/>
                    <a:pt x="477463" y="484112"/>
                  </a:cubicBezTo>
                  <a:lnTo>
                    <a:pt x="465253" y="484112"/>
                  </a:lnTo>
                  <a:cubicBezTo>
                    <a:pt x="464960" y="483175"/>
                    <a:pt x="464569" y="482237"/>
                    <a:pt x="464081" y="481567"/>
                  </a:cubicBezTo>
                  <a:cubicBezTo>
                    <a:pt x="463104" y="480227"/>
                    <a:pt x="461736" y="479424"/>
                    <a:pt x="460369" y="479424"/>
                  </a:cubicBezTo>
                  <a:lnTo>
                    <a:pt x="450894" y="479424"/>
                  </a:lnTo>
                  <a:lnTo>
                    <a:pt x="450894" y="477281"/>
                  </a:lnTo>
                  <a:cubicBezTo>
                    <a:pt x="450894" y="475405"/>
                    <a:pt x="450308" y="473530"/>
                    <a:pt x="449331" y="472190"/>
                  </a:cubicBezTo>
                  <a:cubicBezTo>
                    <a:pt x="449038" y="471788"/>
                    <a:pt x="448647" y="471386"/>
                    <a:pt x="448256" y="471119"/>
                  </a:cubicBezTo>
                  <a:cubicBezTo>
                    <a:pt x="448061" y="469779"/>
                    <a:pt x="447573" y="468573"/>
                    <a:pt x="446889" y="467636"/>
                  </a:cubicBezTo>
                  <a:cubicBezTo>
                    <a:pt x="446596" y="467234"/>
                    <a:pt x="446303" y="466966"/>
                    <a:pt x="445912" y="466564"/>
                  </a:cubicBezTo>
                  <a:lnTo>
                    <a:pt x="445912" y="463349"/>
                  </a:lnTo>
                  <a:cubicBezTo>
                    <a:pt x="445912" y="461474"/>
                    <a:pt x="445326" y="459598"/>
                    <a:pt x="444349" y="458259"/>
                  </a:cubicBezTo>
                  <a:cubicBezTo>
                    <a:pt x="444056" y="457857"/>
                    <a:pt x="443665" y="457455"/>
                    <a:pt x="443275" y="457187"/>
                  </a:cubicBezTo>
                  <a:cubicBezTo>
                    <a:pt x="443079" y="455848"/>
                    <a:pt x="442591" y="454642"/>
                    <a:pt x="441907" y="453571"/>
                  </a:cubicBezTo>
                  <a:cubicBezTo>
                    <a:pt x="440930" y="452231"/>
                    <a:pt x="439563" y="451427"/>
                    <a:pt x="438195" y="451427"/>
                  </a:cubicBezTo>
                  <a:lnTo>
                    <a:pt x="433311" y="451427"/>
                  </a:lnTo>
                  <a:cubicBezTo>
                    <a:pt x="433018" y="450490"/>
                    <a:pt x="432627" y="449552"/>
                    <a:pt x="432139" y="448748"/>
                  </a:cubicBezTo>
                  <a:cubicBezTo>
                    <a:pt x="431846" y="448346"/>
                    <a:pt x="431455" y="447944"/>
                    <a:pt x="431064" y="447676"/>
                  </a:cubicBezTo>
                  <a:cubicBezTo>
                    <a:pt x="430869" y="446337"/>
                    <a:pt x="430381" y="445131"/>
                    <a:pt x="429697" y="444060"/>
                  </a:cubicBezTo>
                  <a:cubicBezTo>
                    <a:pt x="429404" y="443658"/>
                    <a:pt x="429013" y="443256"/>
                    <a:pt x="428622" y="442988"/>
                  </a:cubicBezTo>
                  <a:cubicBezTo>
                    <a:pt x="428427" y="441649"/>
                    <a:pt x="427939" y="440443"/>
                    <a:pt x="427255" y="439371"/>
                  </a:cubicBezTo>
                  <a:cubicBezTo>
                    <a:pt x="426962" y="438969"/>
                    <a:pt x="426571" y="438568"/>
                    <a:pt x="426180" y="438300"/>
                  </a:cubicBezTo>
                  <a:cubicBezTo>
                    <a:pt x="425985" y="436960"/>
                    <a:pt x="425497" y="435755"/>
                    <a:pt x="424813" y="434817"/>
                  </a:cubicBezTo>
                  <a:cubicBezTo>
                    <a:pt x="424520" y="434415"/>
                    <a:pt x="424129" y="434013"/>
                    <a:pt x="423738" y="433745"/>
                  </a:cubicBezTo>
                  <a:cubicBezTo>
                    <a:pt x="423543" y="432406"/>
                    <a:pt x="423055" y="431200"/>
                    <a:pt x="422371" y="430262"/>
                  </a:cubicBezTo>
                  <a:cubicBezTo>
                    <a:pt x="422078" y="429861"/>
                    <a:pt x="421687" y="429459"/>
                    <a:pt x="421296" y="429191"/>
                  </a:cubicBezTo>
                  <a:cubicBezTo>
                    <a:pt x="421101" y="427851"/>
                    <a:pt x="420613" y="426646"/>
                    <a:pt x="419929" y="425708"/>
                  </a:cubicBezTo>
                  <a:cubicBezTo>
                    <a:pt x="418952" y="424368"/>
                    <a:pt x="417585" y="423565"/>
                    <a:pt x="416217" y="423565"/>
                  </a:cubicBezTo>
                  <a:lnTo>
                    <a:pt x="411333" y="423565"/>
                  </a:lnTo>
                  <a:cubicBezTo>
                    <a:pt x="411040" y="422627"/>
                    <a:pt x="410649" y="421689"/>
                    <a:pt x="410161" y="421020"/>
                  </a:cubicBezTo>
                  <a:cubicBezTo>
                    <a:pt x="409868" y="420618"/>
                    <a:pt x="409477" y="420216"/>
                    <a:pt x="409086" y="419948"/>
                  </a:cubicBezTo>
                  <a:cubicBezTo>
                    <a:pt x="408891" y="418608"/>
                    <a:pt x="408403" y="417403"/>
                    <a:pt x="407719" y="416465"/>
                  </a:cubicBezTo>
                  <a:cubicBezTo>
                    <a:pt x="407426" y="416063"/>
                    <a:pt x="407035" y="415661"/>
                    <a:pt x="406644" y="415393"/>
                  </a:cubicBezTo>
                  <a:cubicBezTo>
                    <a:pt x="406449" y="414054"/>
                    <a:pt x="405961" y="412848"/>
                    <a:pt x="405277" y="411911"/>
                  </a:cubicBezTo>
                  <a:cubicBezTo>
                    <a:pt x="404300" y="410571"/>
                    <a:pt x="402932" y="409767"/>
                    <a:pt x="401565" y="409767"/>
                  </a:cubicBezTo>
                  <a:lnTo>
                    <a:pt x="399123" y="409767"/>
                  </a:lnTo>
                  <a:cubicBezTo>
                    <a:pt x="398830" y="408830"/>
                    <a:pt x="398439" y="407892"/>
                    <a:pt x="397951" y="407222"/>
                  </a:cubicBezTo>
                  <a:cubicBezTo>
                    <a:pt x="396974" y="405883"/>
                    <a:pt x="395606" y="405079"/>
                    <a:pt x="394239" y="405079"/>
                  </a:cubicBezTo>
                  <a:lnTo>
                    <a:pt x="394239" y="405079"/>
                  </a:lnTo>
                  <a:cubicBezTo>
                    <a:pt x="393946" y="404141"/>
                    <a:pt x="393555" y="403204"/>
                    <a:pt x="393067" y="402534"/>
                  </a:cubicBezTo>
                  <a:cubicBezTo>
                    <a:pt x="392090" y="401194"/>
                    <a:pt x="390722" y="400391"/>
                    <a:pt x="389355" y="400391"/>
                  </a:cubicBezTo>
                  <a:lnTo>
                    <a:pt x="389355" y="400391"/>
                  </a:lnTo>
                  <a:cubicBezTo>
                    <a:pt x="389062" y="399453"/>
                    <a:pt x="388671" y="398515"/>
                    <a:pt x="388183" y="397845"/>
                  </a:cubicBezTo>
                  <a:cubicBezTo>
                    <a:pt x="387890" y="397444"/>
                    <a:pt x="387499" y="397042"/>
                    <a:pt x="387108" y="396774"/>
                  </a:cubicBezTo>
                  <a:cubicBezTo>
                    <a:pt x="386913" y="395434"/>
                    <a:pt x="386424" y="394229"/>
                    <a:pt x="385741" y="393291"/>
                  </a:cubicBezTo>
                  <a:cubicBezTo>
                    <a:pt x="384764" y="391951"/>
                    <a:pt x="383396" y="391148"/>
                    <a:pt x="382029" y="391148"/>
                  </a:cubicBezTo>
                  <a:lnTo>
                    <a:pt x="377047" y="391148"/>
                  </a:lnTo>
                  <a:cubicBezTo>
                    <a:pt x="376754" y="390210"/>
                    <a:pt x="376363" y="389272"/>
                    <a:pt x="375875" y="388603"/>
                  </a:cubicBezTo>
                  <a:cubicBezTo>
                    <a:pt x="375582" y="388201"/>
                    <a:pt x="375289" y="387933"/>
                    <a:pt x="374898" y="387531"/>
                  </a:cubicBezTo>
                  <a:lnTo>
                    <a:pt x="374898" y="384316"/>
                  </a:lnTo>
                  <a:cubicBezTo>
                    <a:pt x="374898" y="382441"/>
                    <a:pt x="374312" y="380565"/>
                    <a:pt x="373335" y="379226"/>
                  </a:cubicBezTo>
                  <a:cubicBezTo>
                    <a:pt x="373042" y="378824"/>
                    <a:pt x="372651" y="378422"/>
                    <a:pt x="372261" y="378154"/>
                  </a:cubicBezTo>
                  <a:cubicBezTo>
                    <a:pt x="372065" y="376814"/>
                    <a:pt x="371577" y="375475"/>
                    <a:pt x="370796" y="374537"/>
                  </a:cubicBezTo>
                  <a:cubicBezTo>
                    <a:pt x="369819" y="373198"/>
                    <a:pt x="368451" y="372394"/>
                    <a:pt x="367084" y="372394"/>
                  </a:cubicBezTo>
                  <a:lnTo>
                    <a:pt x="367084" y="372394"/>
                  </a:lnTo>
                  <a:cubicBezTo>
                    <a:pt x="366791" y="371456"/>
                    <a:pt x="366400" y="370519"/>
                    <a:pt x="365912" y="369849"/>
                  </a:cubicBezTo>
                  <a:cubicBezTo>
                    <a:pt x="365032" y="368643"/>
                    <a:pt x="363763" y="367840"/>
                    <a:pt x="362493" y="367706"/>
                  </a:cubicBezTo>
                  <a:lnTo>
                    <a:pt x="362493" y="365562"/>
                  </a:lnTo>
                  <a:cubicBezTo>
                    <a:pt x="362493" y="363687"/>
                    <a:pt x="361907" y="361812"/>
                    <a:pt x="360930" y="360472"/>
                  </a:cubicBezTo>
                  <a:cubicBezTo>
                    <a:pt x="360637" y="360070"/>
                    <a:pt x="360344" y="359802"/>
                    <a:pt x="360051" y="359534"/>
                  </a:cubicBezTo>
                  <a:lnTo>
                    <a:pt x="360051" y="356319"/>
                  </a:lnTo>
                  <a:cubicBezTo>
                    <a:pt x="360051" y="354444"/>
                    <a:pt x="359465" y="352569"/>
                    <a:pt x="358488" y="351229"/>
                  </a:cubicBezTo>
                  <a:cubicBezTo>
                    <a:pt x="357511" y="349890"/>
                    <a:pt x="356143" y="349086"/>
                    <a:pt x="354776" y="349086"/>
                  </a:cubicBezTo>
                  <a:lnTo>
                    <a:pt x="349892" y="349086"/>
                  </a:lnTo>
                  <a:cubicBezTo>
                    <a:pt x="349599" y="348148"/>
                    <a:pt x="349208" y="347211"/>
                    <a:pt x="348720" y="346541"/>
                  </a:cubicBezTo>
                  <a:cubicBezTo>
                    <a:pt x="348427" y="346139"/>
                    <a:pt x="348036" y="345737"/>
                    <a:pt x="347645" y="345469"/>
                  </a:cubicBezTo>
                  <a:cubicBezTo>
                    <a:pt x="347450" y="344130"/>
                    <a:pt x="346962" y="342924"/>
                    <a:pt x="346180" y="341852"/>
                  </a:cubicBezTo>
                  <a:cubicBezTo>
                    <a:pt x="345887" y="341450"/>
                    <a:pt x="345496" y="341049"/>
                    <a:pt x="345203" y="340781"/>
                  </a:cubicBezTo>
                  <a:cubicBezTo>
                    <a:pt x="345008" y="339441"/>
                    <a:pt x="344519" y="338236"/>
                    <a:pt x="343738" y="337164"/>
                  </a:cubicBezTo>
                  <a:cubicBezTo>
                    <a:pt x="343445" y="336762"/>
                    <a:pt x="343152" y="336494"/>
                    <a:pt x="342859" y="336092"/>
                  </a:cubicBezTo>
                  <a:lnTo>
                    <a:pt x="342859" y="332877"/>
                  </a:lnTo>
                  <a:cubicBezTo>
                    <a:pt x="342859" y="331002"/>
                    <a:pt x="342273" y="329127"/>
                    <a:pt x="341296" y="327787"/>
                  </a:cubicBezTo>
                  <a:cubicBezTo>
                    <a:pt x="340319" y="326448"/>
                    <a:pt x="338952" y="325644"/>
                    <a:pt x="337584" y="325644"/>
                  </a:cubicBezTo>
                  <a:lnTo>
                    <a:pt x="332602" y="325644"/>
                  </a:lnTo>
                  <a:cubicBezTo>
                    <a:pt x="332309" y="324706"/>
                    <a:pt x="331919" y="323768"/>
                    <a:pt x="331430" y="323099"/>
                  </a:cubicBezTo>
                  <a:cubicBezTo>
                    <a:pt x="330453" y="321759"/>
                    <a:pt x="329086" y="320955"/>
                    <a:pt x="327718" y="320955"/>
                  </a:cubicBezTo>
                  <a:lnTo>
                    <a:pt x="320295" y="320955"/>
                  </a:lnTo>
                  <a:cubicBezTo>
                    <a:pt x="320002" y="320018"/>
                    <a:pt x="319611" y="319080"/>
                    <a:pt x="319123" y="318410"/>
                  </a:cubicBezTo>
                  <a:cubicBezTo>
                    <a:pt x="318146" y="317071"/>
                    <a:pt x="316778" y="316267"/>
                    <a:pt x="315411" y="316267"/>
                  </a:cubicBezTo>
                  <a:lnTo>
                    <a:pt x="310820" y="316267"/>
                  </a:lnTo>
                  <a:lnTo>
                    <a:pt x="310820" y="314124"/>
                  </a:lnTo>
                  <a:cubicBezTo>
                    <a:pt x="310820" y="312248"/>
                    <a:pt x="310234" y="310373"/>
                    <a:pt x="309257" y="309033"/>
                  </a:cubicBezTo>
                  <a:cubicBezTo>
                    <a:pt x="308964" y="308632"/>
                    <a:pt x="308573" y="308230"/>
                    <a:pt x="308182" y="307962"/>
                  </a:cubicBezTo>
                  <a:cubicBezTo>
                    <a:pt x="307987" y="306622"/>
                    <a:pt x="307499" y="305417"/>
                    <a:pt x="306815" y="304479"/>
                  </a:cubicBezTo>
                  <a:cubicBezTo>
                    <a:pt x="305838" y="303139"/>
                    <a:pt x="304470" y="302336"/>
                    <a:pt x="303103" y="302336"/>
                  </a:cubicBezTo>
                  <a:lnTo>
                    <a:pt x="298219" y="302336"/>
                  </a:lnTo>
                  <a:cubicBezTo>
                    <a:pt x="297926" y="301398"/>
                    <a:pt x="297535" y="300460"/>
                    <a:pt x="297047" y="299791"/>
                  </a:cubicBezTo>
                  <a:cubicBezTo>
                    <a:pt x="296168" y="298585"/>
                    <a:pt x="294898" y="297781"/>
                    <a:pt x="293628" y="297647"/>
                  </a:cubicBezTo>
                  <a:lnTo>
                    <a:pt x="293628" y="295504"/>
                  </a:lnTo>
                  <a:cubicBezTo>
                    <a:pt x="293628" y="293629"/>
                    <a:pt x="293042" y="291753"/>
                    <a:pt x="292065" y="290414"/>
                  </a:cubicBezTo>
                  <a:cubicBezTo>
                    <a:pt x="291088" y="289074"/>
                    <a:pt x="289721" y="288270"/>
                    <a:pt x="288353" y="288270"/>
                  </a:cubicBezTo>
                  <a:lnTo>
                    <a:pt x="283469" y="288270"/>
                  </a:lnTo>
                  <a:cubicBezTo>
                    <a:pt x="283176" y="287333"/>
                    <a:pt x="282785" y="286395"/>
                    <a:pt x="282297" y="285725"/>
                  </a:cubicBezTo>
                  <a:cubicBezTo>
                    <a:pt x="281320" y="284386"/>
                    <a:pt x="279953" y="283582"/>
                    <a:pt x="278585" y="283582"/>
                  </a:cubicBezTo>
                  <a:lnTo>
                    <a:pt x="273994" y="283582"/>
                  </a:lnTo>
                  <a:lnTo>
                    <a:pt x="273994" y="276750"/>
                  </a:lnTo>
                  <a:cubicBezTo>
                    <a:pt x="273994" y="274875"/>
                    <a:pt x="273408" y="273000"/>
                    <a:pt x="272431" y="271660"/>
                  </a:cubicBezTo>
                  <a:cubicBezTo>
                    <a:pt x="271552" y="270454"/>
                    <a:pt x="270282" y="269651"/>
                    <a:pt x="269012" y="269517"/>
                  </a:cubicBezTo>
                  <a:lnTo>
                    <a:pt x="269012" y="267374"/>
                  </a:lnTo>
                  <a:cubicBezTo>
                    <a:pt x="269012" y="265498"/>
                    <a:pt x="268426" y="263623"/>
                    <a:pt x="267449" y="262283"/>
                  </a:cubicBezTo>
                  <a:cubicBezTo>
                    <a:pt x="267156" y="261881"/>
                    <a:pt x="266863" y="261613"/>
                    <a:pt x="266570" y="261346"/>
                  </a:cubicBezTo>
                  <a:lnTo>
                    <a:pt x="266570" y="258131"/>
                  </a:lnTo>
                  <a:cubicBezTo>
                    <a:pt x="266570" y="256255"/>
                    <a:pt x="265984" y="254380"/>
                    <a:pt x="265007" y="253040"/>
                  </a:cubicBezTo>
                  <a:cubicBezTo>
                    <a:pt x="264031" y="251701"/>
                    <a:pt x="262663" y="250897"/>
                    <a:pt x="261296" y="250897"/>
                  </a:cubicBezTo>
                  <a:lnTo>
                    <a:pt x="261296" y="250897"/>
                  </a:lnTo>
                  <a:cubicBezTo>
                    <a:pt x="261003" y="249959"/>
                    <a:pt x="260612" y="249156"/>
                    <a:pt x="260123" y="248352"/>
                  </a:cubicBezTo>
                  <a:cubicBezTo>
                    <a:pt x="259244" y="247146"/>
                    <a:pt x="257974" y="246343"/>
                    <a:pt x="256705" y="246209"/>
                  </a:cubicBezTo>
                  <a:lnTo>
                    <a:pt x="256705" y="239377"/>
                  </a:lnTo>
                  <a:cubicBezTo>
                    <a:pt x="256705" y="237502"/>
                    <a:pt x="256119" y="235626"/>
                    <a:pt x="255142" y="234287"/>
                  </a:cubicBezTo>
                  <a:cubicBezTo>
                    <a:pt x="254849" y="233885"/>
                    <a:pt x="254556" y="233617"/>
                    <a:pt x="254165" y="233215"/>
                  </a:cubicBezTo>
                  <a:lnTo>
                    <a:pt x="254165" y="230000"/>
                  </a:lnTo>
                  <a:cubicBezTo>
                    <a:pt x="254165" y="228125"/>
                    <a:pt x="253579" y="226249"/>
                    <a:pt x="252602" y="224910"/>
                  </a:cubicBezTo>
                  <a:cubicBezTo>
                    <a:pt x="252309" y="224508"/>
                    <a:pt x="251918" y="224106"/>
                    <a:pt x="251528" y="223838"/>
                  </a:cubicBezTo>
                  <a:cubicBezTo>
                    <a:pt x="251332" y="222499"/>
                    <a:pt x="250844" y="221293"/>
                    <a:pt x="250160" y="220355"/>
                  </a:cubicBezTo>
                  <a:cubicBezTo>
                    <a:pt x="249867" y="219954"/>
                    <a:pt x="249476" y="219552"/>
                    <a:pt x="249086" y="219284"/>
                  </a:cubicBezTo>
                  <a:cubicBezTo>
                    <a:pt x="248890" y="217944"/>
                    <a:pt x="248402" y="216739"/>
                    <a:pt x="247718" y="215801"/>
                  </a:cubicBezTo>
                  <a:cubicBezTo>
                    <a:pt x="246741" y="214461"/>
                    <a:pt x="245374" y="213658"/>
                    <a:pt x="244006" y="213658"/>
                  </a:cubicBezTo>
                  <a:cubicBezTo>
                    <a:pt x="243713" y="212720"/>
                    <a:pt x="243322" y="211782"/>
                    <a:pt x="242834" y="211113"/>
                  </a:cubicBezTo>
                  <a:cubicBezTo>
                    <a:pt x="242541" y="210711"/>
                    <a:pt x="242150" y="210309"/>
                    <a:pt x="241759" y="210041"/>
                  </a:cubicBezTo>
                  <a:cubicBezTo>
                    <a:pt x="241564" y="208701"/>
                    <a:pt x="241076" y="207496"/>
                    <a:pt x="240392" y="206558"/>
                  </a:cubicBezTo>
                  <a:cubicBezTo>
                    <a:pt x="239415" y="205219"/>
                    <a:pt x="238048" y="204415"/>
                    <a:pt x="236680" y="204415"/>
                  </a:cubicBezTo>
                  <a:lnTo>
                    <a:pt x="236680" y="204415"/>
                  </a:lnTo>
                  <a:cubicBezTo>
                    <a:pt x="236387" y="203477"/>
                    <a:pt x="235996" y="202539"/>
                    <a:pt x="235508" y="201870"/>
                  </a:cubicBezTo>
                  <a:cubicBezTo>
                    <a:pt x="234531" y="200530"/>
                    <a:pt x="233164" y="199726"/>
                    <a:pt x="231796" y="199726"/>
                  </a:cubicBezTo>
                  <a:lnTo>
                    <a:pt x="222321" y="199726"/>
                  </a:lnTo>
                  <a:lnTo>
                    <a:pt x="222321" y="197583"/>
                  </a:lnTo>
                  <a:cubicBezTo>
                    <a:pt x="222321" y="195708"/>
                    <a:pt x="221735" y="193832"/>
                    <a:pt x="220758" y="192493"/>
                  </a:cubicBezTo>
                  <a:cubicBezTo>
                    <a:pt x="219781" y="191153"/>
                    <a:pt x="218414" y="190350"/>
                    <a:pt x="217046" y="190350"/>
                  </a:cubicBezTo>
                  <a:lnTo>
                    <a:pt x="212162" y="190350"/>
                  </a:lnTo>
                  <a:cubicBezTo>
                    <a:pt x="211869" y="189412"/>
                    <a:pt x="211479" y="188474"/>
                    <a:pt x="210990" y="187804"/>
                  </a:cubicBezTo>
                  <a:cubicBezTo>
                    <a:pt x="210697" y="187403"/>
                    <a:pt x="210404" y="187135"/>
                    <a:pt x="210013" y="186733"/>
                  </a:cubicBezTo>
                  <a:lnTo>
                    <a:pt x="210013" y="183518"/>
                  </a:lnTo>
                  <a:cubicBezTo>
                    <a:pt x="210013" y="181643"/>
                    <a:pt x="209427" y="179767"/>
                    <a:pt x="208450" y="178428"/>
                  </a:cubicBezTo>
                  <a:cubicBezTo>
                    <a:pt x="208157" y="178026"/>
                    <a:pt x="207767" y="177624"/>
                    <a:pt x="207376" y="177356"/>
                  </a:cubicBezTo>
                  <a:cubicBezTo>
                    <a:pt x="207181" y="176016"/>
                    <a:pt x="206692" y="174811"/>
                    <a:pt x="206008" y="173873"/>
                  </a:cubicBezTo>
                  <a:cubicBezTo>
                    <a:pt x="205715" y="173471"/>
                    <a:pt x="205325" y="173069"/>
                    <a:pt x="204934" y="172802"/>
                  </a:cubicBezTo>
                  <a:cubicBezTo>
                    <a:pt x="204739" y="171462"/>
                    <a:pt x="204250" y="170256"/>
                    <a:pt x="203566" y="169319"/>
                  </a:cubicBezTo>
                  <a:cubicBezTo>
                    <a:pt x="203273" y="168917"/>
                    <a:pt x="202883" y="168515"/>
                    <a:pt x="202492" y="168247"/>
                  </a:cubicBezTo>
                  <a:cubicBezTo>
                    <a:pt x="202297" y="166908"/>
                    <a:pt x="201808" y="165702"/>
                    <a:pt x="201124" y="164764"/>
                  </a:cubicBezTo>
                  <a:cubicBezTo>
                    <a:pt x="200831" y="164362"/>
                    <a:pt x="200538" y="164094"/>
                    <a:pt x="200245" y="163693"/>
                  </a:cubicBezTo>
                  <a:lnTo>
                    <a:pt x="200245" y="155789"/>
                  </a:lnTo>
                  <a:cubicBezTo>
                    <a:pt x="200245" y="153914"/>
                    <a:pt x="199659" y="152039"/>
                    <a:pt x="198682" y="150699"/>
                  </a:cubicBezTo>
                  <a:cubicBezTo>
                    <a:pt x="197706" y="149359"/>
                    <a:pt x="196338" y="148556"/>
                    <a:pt x="194970" y="148556"/>
                  </a:cubicBezTo>
                  <a:lnTo>
                    <a:pt x="194970" y="148556"/>
                  </a:lnTo>
                  <a:cubicBezTo>
                    <a:pt x="194677" y="147618"/>
                    <a:pt x="194287" y="146680"/>
                    <a:pt x="193798" y="146011"/>
                  </a:cubicBezTo>
                  <a:cubicBezTo>
                    <a:pt x="193505" y="145609"/>
                    <a:pt x="193115" y="145207"/>
                    <a:pt x="192724" y="144939"/>
                  </a:cubicBezTo>
                  <a:cubicBezTo>
                    <a:pt x="192528" y="143599"/>
                    <a:pt x="192040" y="142394"/>
                    <a:pt x="191356" y="141456"/>
                  </a:cubicBezTo>
                  <a:cubicBezTo>
                    <a:pt x="191063" y="141054"/>
                    <a:pt x="190770" y="140786"/>
                    <a:pt x="190379" y="140385"/>
                  </a:cubicBezTo>
                  <a:lnTo>
                    <a:pt x="190379" y="137170"/>
                  </a:lnTo>
                  <a:cubicBezTo>
                    <a:pt x="190379" y="135294"/>
                    <a:pt x="189793" y="133419"/>
                    <a:pt x="188817" y="132079"/>
                  </a:cubicBezTo>
                  <a:cubicBezTo>
                    <a:pt x="188524" y="131677"/>
                    <a:pt x="188133" y="131276"/>
                    <a:pt x="187742" y="131008"/>
                  </a:cubicBezTo>
                  <a:cubicBezTo>
                    <a:pt x="187547" y="129668"/>
                    <a:pt x="187058" y="128463"/>
                    <a:pt x="186375" y="127525"/>
                  </a:cubicBezTo>
                  <a:cubicBezTo>
                    <a:pt x="185398" y="126185"/>
                    <a:pt x="184030" y="125382"/>
                    <a:pt x="182663" y="125382"/>
                  </a:cubicBezTo>
                  <a:lnTo>
                    <a:pt x="180514" y="125382"/>
                  </a:lnTo>
                  <a:lnTo>
                    <a:pt x="180514" y="123372"/>
                  </a:lnTo>
                  <a:cubicBezTo>
                    <a:pt x="180514" y="121497"/>
                    <a:pt x="179928" y="119622"/>
                    <a:pt x="178951" y="118282"/>
                  </a:cubicBezTo>
                  <a:cubicBezTo>
                    <a:pt x="178658" y="117880"/>
                    <a:pt x="178267" y="117478"/>
                    <a:pt x="177876" y="117210"/>
                  </a:cubicBezTo>
                  <a:cubicBezTo>
                    <a:pt x="177681" y="115871"/>
                    <a:pt x="177193" y="114665"/>
                    <a:pt x="176509" y="113728"/>
                  </a:cubicBezTo>
                  <a:cubicBezTo>
                    <a:pt x="175532" y="112388"/>
                    <a:pt x="174165" y="111584"/>
                    <a:pt x="172797" y="111584"/>
                  </a:cubicBezTo>
                  <a:lnTo>
                    <a:pt x="170355" y="111584"/>
                  </a:lnTo>
                  <a:cubicBezTo>
                    <a:pt x="170062" y="110647"/>
                    <a:pt x="169671" y="109709"/>
                    <a:pt x="169183" y="109039"/>
                  </a:cubicBezTo>
                  <a:cubicBezTo>
                    <a:pt x="168890" y="108637"/>
                    <a:pt x="168499" y="108235"/>
                    <a:pt x="168206" y="107967"/>
                  </a:cubicBezTo>
                  <a:cubicBezTo>
                    <a:pt x="168011" y="106628"/>
                    <a:pt x="167522" y="105288"/>
                    <a:pt x="166741" y="104351"/>
                  </a:cubicBezTo>
                  <a:cubicBezTo>
                    <a:pt x="166448" y="103949"/>
                    <a:pt x="166057" y="103547"/>
                    <a:pt x="165666" y="103279"/>
                  </a:cubicBezTo>
                  <a:cubicBezTo>
                    <a:pt x="165471" y="101940"/>
                    <a:pt x="164983" y="100734"/>
                    <a:pt x="164299" y="99662"/>
                  </a:cubicBezTo>
                  <a:cubicBezTo>
                    <a:pt x="163322" y="98323"/>
                    <a:pt x="161954" y="97519"/>
                    <a:pt x="160587" y="97519"/>
                  </a:cubicBezTo>
                  <a:lnTo>
                    <a:pt x="158145" y="97519"/>
                  </a:lnTo>
                  <a:cubicBezTo>
                    <a:pt x="157852" y="96581"/>
                    <a:pt x="157461" y="95778"/>
                    <a:pt x="156973" y="94974"/>
                  </a:cubicBezTo>
                  <a:cubicBezTo>
                    <a:pt x="155996" y="93634"/>
                    <a:pt x="154628" y="92831"/>
                    <a:pt x="153261" y="92831"/>
                  </a:cubicBezTo>
                  <a:lnTo>
                    <a:pt x="145837" y="92831"/>
                  </a:lnTo>
                  <a:cubicBezTo>
                    <a:pt x="145544" y="91893"/>
                    <a:pt x="145153" y="90955"/>
                    <a:pt x="144665" y="90285"/>
                  </a:cubicBezTo>
                  <a:cubicBezTo>
                    <a:pt x="143688" y="88946"/>
                    <a:pt x="142321" y="88142"/>
                    <a:pt x="140953" y="88142"/>
                  </a:cubicBezTo>
                  <a:lnTo>
                    <a:pt x="138511" y="88142"/>
                  </a:lnTo>
                  <a:cubicBezTo>
                    <a:pt x="138218" y="87204"/>
                    <a:pt x="137827" y="86267"/>
                    <a:pt x="137339" y="85597"/>
                  </a:cubicBezTo>
                  <a:cubicBezTo>
                    <a:pt x="137046" y="85195"/>
                    <a:pt x="136655" y="84793"/>
                    <a:pt x="136264" y="84525"/>
                  </a:cubicBezTo>
                  <a:cubicBezTo>
                    <a:pt x="136069" y="83186"/>
                    <a:pt x="135581" y="81980"/>
                    <a:pt x="134897" y="81043"/>
                  </a:cubicBezTo>
                  <a:cubicBezTo>
                    <a:pt x="133920" y="79703"/>
                    <a:pt x="132553" y="78899"/>
                    <a:pt x="131185" y="78899"/>
                  </a:cubicBezTo>
                  <a:lnTo>
                    <a:pt x="126301" y="78899"/>
                  </a:lnTo>
                  <a:cubicBezTo>
                    <a:pt x="126008" y="77962"/>
                    <a:pt x="125617" y="77024"/>
                    <a:pt x="125129" y="76354"/>
                  </a:cubicBezTo>
                  <a:cubicBezTo>
                    <a:pt x="124836" y="75952"/>
                    <a:pt x="124543" y="75684"/>
                    <a:pt x="124250" y="75283"/>
                  </a:cubicBezTo>
                  <a:lnTo>
                    <a:pt x="124250" y="72068"/>
                  </a:lnTo>
                  <a:cubicBezTo>
                    <a:pt x="124250" y="70192"/>
                    <a:pt x="123664" y="68317"/>
                    <a:pt x="122687" y="66977"/>
                  </a:cubicBezTo>
                  <a:cubicBezTo>
                    <a:pt x="121710" y="65638"/>
                    <a:pt x="120342" y="64834"/>
                    <a:pt x="118975" y="64834"/>
                  </a:cubicBezTo>
                  <a:lnTo>
                    <a:pt x="118975" y="64834"/>
                  </a:lnTo>
                  <a:cubicBezTo>
                    <a:pt x="118682" y="63896"/>
                    <a:pt x="118291" y="62959"/>
                    <a:pt x="117803" y="62289"/>
                  </a:cubicBezTo>
                  <a:cubicBezTo>
                    <a:pt x="116826" y="60949"/>
                    <a:pt x="115458" y="60146"/>
                    <a:pt x="114091" y="60146"/>
                  </a:cubicBezTo>
                  <a:lnTo>
                    <a:pt x="102174" y="60146"/>
                  </a:lnTo>
                  <a:lnTo>
                    <a:pt x="102174" y="58002"/>
                  </a:lnTo>
                  <a:cubicBezTo>
                    <a:pt x="102174" y="56127"/>
                    <a:pt x="101588" y="54252"/>
                    <a:pt x="100611" y="52912"/>
                  </a:cubicBezTo>
                  <a:cubicBezTo>
                    <a:pt x="100318" y="52510"/>
                    <a:pt x="99927" y="52108"/>
                    <a:pt x="99537" y="51840"/>
                  </a:cubicBezTo>
                  <a:cubicBezTo>
                    <a:pt x="99341" y="50501"/>
                    <a:pt x="98853" y="49161"/>
                    <a:pt x="98071" y="48224"/>
                  </a:cubicBezTo>
                  <a:cubicBezTo>
                    <a:pt x="97095" y="46884"/>
                    <a:pt x="95727" y="46080"/>
                    <a:pt x="94359" y="46080"/>
                  </a:cubicBezTo>
                  <a:lnTo>
                    <a:pt x="86936" y="46080"/>
                  </a:lnTo>
                  <a:cubicBezTo>
                    <a:pt x="86643" y="45143"/>
                    <a:pt x="86252" y="44205"/>
                    <a:pt x="85764" y="43535"/>
                  </a:cubicBezTo>
                  <a:cubicBezTo>
                    <a:pt x="85471" y="43133"/>
                    <a:pt x="85080" y="42732"/>
                    <a:pt x="84689" y="42464"/>
                  </a:cubicBezTo>
                  <a:cubicBezTo>
                    <a:pt x="84494" y="41124"/>
                    <a:pt x="84005" y="39918"/>
                    <a:pt x="83322" y="38981"/>
                  </a:cubicBezTo>
                  <a:cubicBezTo>
                    <a:pt x="83029" y="38579"/>
                    <a:pt x="82638" y="38177"/>
                    <a:pt x="82247" y="37909"/>
                  </a:cubicBezTo>
                  <a:cubicBezTo>
                    <a:pt x="82052" y="36570"/>
                    <a:pt x="81563" y="35364"/>
                    <a:pt x="80880" y="34426"/>
                  </a:cubicBezTo>
                  <a:cubicBezTo>
                    <a:pt x="79903" y="33087"/>
                    <a:pt x="78535" y="32283"/>
                    <a:pt x="77168" y="32283"/>
                  </a:cubicBezTo>
                  <a:lnTo>
                    <a:pt x="74726" y="32283"/>
                  </a:lnTo>
                  <a:cubicBezTo>
                    <a:pt x="74433" y="31345"/>
                    <a:pt x="74042" y="30408"/>
                    <a:pt x="73553" y="29738"/>
                  </a:cubicBezTo>
                  <a:cubicBezTo>
                    <a:pt x="72577" y="28398"/>
                    <a:pt x="71209" y="27595"/>
                    <a:pt x="69842" y="27595"/>
                  </a:cubicBezTo>
                  <a:lnTo>
                    <a:pt x="62809" y="27595"/>
                  </a:lnTo>
                  <a:lnTo>
                    <a:pt x="62809" y="25451"/>
                  </a:lnTo>
                  <a:cubicBezTo>
                    <a:pt x="62809" y="23576"/>
                    <a:pt x="62223" y="21701"/>
                    <a:pt x="61246" y="20361"/>
                  </a:cubicBezTo>
                  <a:cubicBezTo>
                    <a:pt x="60269" y="19022"/>
                    <a:pt x="58901" y="18218"/>
                    <a:pt x="57534" y="18218"/>
                  </a:cubicBezTo>
                  <a:lnTo>
                    <a:pt x="55092" y="18218"/>
                  </a:lnTo>
                  <a:cubicBezTo>
                    <a:pt x="54799" y="17280"/>
                    <a:pt x="54408" y="16342"/>
                    <a:pt x="53920" y="15673"/>
                  </a:cubicBezTo>
                  <a:cubicBezTo>
                    <a:pt x="53041" y="14467"/>
                    <a:pt x="51771" y="13663"/>
                    <a:pt x="50501" y="13529"/>
                  </a:cubicBezTo>
                  <a:lnTo>
                    <a:pt x="50501" y="11386"/>
                  </a:lnTo>
                  <a:cubicBezTo>
                    <a:pt x="50501" y="9511"/>
                    <a:pt x="49915" y="7635"/>
                    <a:pt x="48938" y="6296"/>
                  </a:cubicBezTo>
                  <a:cubicBezTo>
                    <a:pt x="47961" y="4956"/>
                    <a:pt x="46594" y="4153"/>
                    <a:pt x="45226" y="4153"/>
                  </a:cubicBezTo>
                  <a:lnTo>
                    <a:pt x="33309" y="4153"/>
                  </a:lnTo>
                  <a:lnTo>
                    <a:pt x="33309" y="0"/>
                  </a:lnTo>
                  <a:lnTo>
                    <a:pt x="50110" y="0"/>
                  </a:lnTo>
                  <a:lnTo>
                    <a:pt x="50110" y="1340"/>
                  </a:lnTo>
                  <a:lnTo>
                    <a:pt x="57436" y="1340"/>
                  </a:lnTo>
                  <a:lnTo>
                    <a:pt x="57436" y="7501"/>
                  </a:lnTo>
                  <a:lnTo>
                    <a:pt x="69744" y="7501"/>
                  </a:lnTo>
                  <a:lnTo>
                    <a:pt x="69744" y="10582"/>
                  </a:lnTo>
                  <a:lnTo>
                    <a:pt x="77070" y="10582"/>
                  </a:lnTo>
                  <a:lnTo>
                    <a:pt x="77070" y="13931"/>
                  </a:lnTo>
                  <a:lnTo>
                    <a:pt x="79512" y="13931"/>
                  </a:lnTo>
                  <a:lnTo>
                    <a:pt x="79512" y="17280"/>
                  </a:lnTo>
                  <a:lnTo>
                    <a:pt x="81954" y="17280"/>
                  </a:lnTo>
                  <a:lnTo>
                    <a:pt x="81954" y="20763"/>
                  </a:lnTo>
                  <a:lnTo>
                    <a:pt x="94262" y="20763"/>
                  </a:lnTo>
                  <a:lnTo>
                    <a:pt x="94262" y="24246"/>
                  </a:lnTo>
                  <a:lnTo>
                    <a:pt x="96704" y="24246"/>
                  </a:lnTo>
                  <a:lnTo>
                    <a:pt x="96704" y="31211"/>
                  </a:lnTo>
                  <a:lnTo>
                    <a:pt x="113896" y="31211"/>
                  </a:lnTo>
                  <a:lnTo>
                    <a:pt x="113896" y="34694"/>
                  </a:lnTo>
                  <a:lnTo>
                    <a:pt x="118780" y="34694"/>
                  </a:lnTo>
                  <a:lnTo>
                    <a:pt x="118780" y="41928"/>
                  </a:lnTo>
                  <a:lnTo>
                    <a:pt x="121222" y="41928"/>
                  </a:lnTo>
                  <a:lnTo>
                    <a:pt x="121222" y="45545"/>
                  </a:lnTo>
                  <a:lnTo>
                    <a:pt x="131087" y="45545"/>
                  </a:lnTo>
                  <a:lnTo>
                    <a:pt x="131087" y="49161"/>
                  </a:lnTo>
                  <a:lnTo>
                    <a:pt x="133529" y="49161"/>
                  </a:lnTo>
                  <a:lnTo>
                    <a:pt x="133529" y="52912"/>
                  </a:lnTo>
                  <a:lnTo>
                    <a:pt x="140855" y="52912"/>
                  </a:lnTo>
                  <a:lnTo>
                    <a:pt x="140855" y="56663"/>
                  </a:lnTo>
                  <a:lnTo>
                    <a:pt x="153163" y="56663"/>
                  </a:lnTo>
                  <a:lnTo>
                    <a:pt x="153163" y="60414"/>
                  </a:lnTo>
                  <a:lnTo>
                    <a:pt x="160489" y="60414"/>
                  </a:lnTo>
                  <a:lnTo>
                    <a:pt x="160489" y="64164"/>
                  </a:lnTo>
                  <a:lnTo>
                    <a:pt x="162931" y="64164"/>
                  </a:lnTo>
                  <a:lnTo>
                    <a:pt x="162931" y="67915"/>
                  </a:lnTo>
                  <a:lnTo>
                    <a:pt x="165373" y="67915"/>
                  </a:lnTo>
                  <a:lnTo>
                    <a:pt x="165373" y="71800"/>
                  </a:lnTo>
                  <a:lnTo>
                    <a:pt x="172699" y="71800"/>
                  </a:lnTo>
                  <a:lnTo>
                    <a:pt x="172699" y="75684"/>
                  </a:lnTo>
                  <a:lnTo>
                    <a:pt x="175141" y="75684"/>
                  </a:lnTo>
                  <a:lnTo>
                    <a:pt x="175141" y="83320"/>
                  </a:lnTo>
                  <a:lnTo>
                    <a:pt x="182467" y="83320"/>
                  </a:lnTo>
                  <a:lnTo>
                    <a:pt x="182467" y="87204"/>
                  </a:lnTo>
                  <a:lnTo>
                    <a:pt x="184909" y="87204"/>
                  </a:lnTo>
                  <a:lnTo>
                    <a:pt x="184909" y="94974"/>
                  </a:lnTo>
                  <a:lnTo>
                    <a:pt x="187351" y="94974"/>
                  </a:lnTo>
                  <a:lnTo>
                    <a:pt x="187351" y="98993"/>
                  </a:lnTo>
                  <a:lnTo>
                    <a:pt x="189793" y="98993"/>
                  </a:lnTo>
                  <a:lnTo>
                    <a:pt x="189793" y="102877"/>
                  </a:lnTo>
                  <a:lnTo>
                    <a:pt x="194677" y="102877"/>
                  </a:lnTo>
                  <a:lnTo>
                    <a:pt x="194677" y="114665"/>
                  </a:lnTo>
                  <a:lnTo>
                    <a:pt x="197119" y="114665"/>
                  </a:lnTo>
                  <a:lnTo>
                    <a:pt x="197119" y="118684"/>
                  </a:lnTo>
                  <a:lnTo>
                    <a:pt x="199561" y="118684"/>
                  </a:lnTo>
                  <a:lnTo>
                    <a:pt x="199561" y="122702"/>
                  </a:lnTo>
                  <a:lnTo>
                    <a:pt x="202003" y="122702"/>
                  </a:lnTo>
                  <a:lnTo>
                    <a:pt x="202003" y="126721"/>
                  </a:lnTo>
                  <a:lnTo>
                    <a:pt x="204445" y="126721"/>
                  </a:lnTo>
                  <a:lnTo>
                    <a:pt x="204445" y="134758"/>
                  </a:lnTo>
                  <a:lnTo>
                    <a:pt x="206888" y="134758"/>
                  </a:lnTo>
                  <a:lnTo>
                    <a:pt x="206888" y="138777"/>
                  </a:lnTo>
                  <a:lnTo>
                    <a:pt x="216656" y="138777"/>
                  </a:lnTo>
                  <a:lnTo>
                    <a:pt x="216656" y="146814"/>
                  </a:lnTo>
                  <a:lnTo>
                    <a:pt x="231308" y="146814"/>
                  </a:lnTo>
                  <a:lnTo>
                    <a:pt x="231308" y="150833"/>
                  </a:lnTo>
                  <a:lnTo>
                    <a:pt x="236192" y="150833"/>
                  </a:lnTo>
                  <a:lnTo>
                    <a:pt x="236192" y="154986"/>
                  </a:lnTo>
                  <a:lnTo>
                    <a:pt x="238634" y="154986"/>
                  </a:lnTo>
                  <a:lnTo>
                    <a:pt x="238634" y="159004"/>
                  </a:lnTo>
                  <a:lnTo>
                    <a:pt x="243518" y="159004"/>
                  </a:lnTo>
                  <a:lnTo>
                    <a:pt x="243518" y="163157"/>
                  </a:lnTo>
                  <a:lnTo>
                    <a:pt x="245960" y="163157"/>
                  </a:lnTo>
                  <a:lnTo>
                    <a:pt x="245960" y="167175"/>
                  </a:lnTo>
                  <a:lnTo>
                    <a:pt x="248402" y="167175"/>
                  </a:lnTo>
                  <a:lnTo>
                    <a:pt x="248402" y="175347"/>
                  </a:lnTo>
                  <a:lnTo>
                    <a:pt x="250844" y="175347"/>
                  </a:lnTo>
                  <a:lnTo>
                    <a:pt x="250844" y="187670"/>
                  </a:lnTo>
                  <a:lnTo>
                    <a:pt x="255728" y="187670"/>
                  </a:lnTo>
                  <a:lnTo>
                    <a:pt x="255728" y="191823"/>
                  </a:lnTo>
                  <a:lnTo>
                    <a:pt x="260612" y="191823"/>
                  </a:lnTo>
                  <a:lnTo>
                    <a:pt x="260612" y="200128"/>
                  </a:lnTo>
                  <a:lnTo>
                    <a:pt x="263054" y="200128"/>
                  </a:lnTo>
                  <a:lnTo>
                    <a:pt x="263054" y="208433"/>
                  </a:lnTo>
                  <a:lnTo>
                    <a:pt x="267938" y="208433"/>
                  </a:lnTo>
                  <a:lnTo>
                    <a:pt x="267938" y="220891"/>
                  </a:lnTo>
                  <a:lnTo>
                    <a:pt x="277804" y="220891"/>
                  </a:lnTo>
                  <a:lnTo>
                    <a:pt x="277804" y="225044"/>
                  </a:lnTo>
                  <a:lnTo>
                    <a:pt x="287572" y="225044"/>
                  </a:lnTo>
                  <a:lnTo>
                    <a:pt x="287572" y="233483"/>
                  </a:lnTo>
                  <a:lnTo>
                    <a:pt x="292456" y="233483"/>
                  </a:lnTo>
                  <a:lnTo>
                    <a:pt x="292456" y="237636"/>
                  </a:lnTo>
                  <a:lnTo>
                    <a:pt x="302321" y="237636"/>
                  </a:lnTo>
                  <a:lnTo>
                    <a:pt x="302321" y="241788"/>
                  </a:lnTo>
                  <a:lnTo>
                    <a:pt x="304763" y="241788"/>
                  </a:lnTo>
                  <a:lnTo>
                    <a:pt x="304763" y="250227"/>
                  </a:lnTo>
                  <a:lnTo>
                    <a:pt x="314532" y="250227"/>
                  </a:lnTo>
                  <a:lnTo>
                    <a:pt x="314532" y="254514"/>
                  </a:lnTo>
                  <a:lnTo>
                    <a:pt x="326839" y="254514"/>
                  </a:lnTo>
                  <a:lnTo>
                    <a:pt x="326839" y="258666"/>
                  </a:lnTo>
                  <a:lnTo>
                    <a:pt x="336705" y="258666"/>
                  </a:lnTo>
                  <a:lnTo>
                    <a:pt x="336705" y="267106"/>
                  </a:lnTo>
                  <a:lnTo>
                    <a:pt x="339147" y="267106"/>
                  </a:lnTo>
                  <a:lnTo>
                    <a:pt x="339147" y="271392"/>
                  </a:lnTo>
                  <a:lnTo>
                    <a:pt x="341589" y="271392"/>
                  </a:lnTo>
                  <a:lnTo>
                    <a:pt x="341589" y="275679"/>
                  </a:lnTo>
                  <a:lnTo>
                    <a:pt x="344031" y="275679"/>
                  </a:lnTo>
                  <a:lnTo>
                    <a:pt x="344031" y="279965"/>
                  </a:lnTo>
                  <a:lnTo>
                    <a:pt x="353897" y="279965"/>
                  </a:lnTo>
                  <a:lnTo>
                    <a:pt x="353897" y="288404"/>
                  </a:lnTo>
                  <a:lnTo>
                    <a:pt x="356339" y="288404"/>
                  </a:lnTo>
                  <a:lnTo>
                    <a:pt x="356339" y="296978"/>
                  </a:lnTo>
                  <a:lnTo>
                    <a:pt x="361223" y="296978"/>
                  </a:lnTo>
                  <a:lnTo>
                    <a:pt x="361223" y="301264"/>
                  </a:lnTo>
                  <a:lnTo>
                    <a:pt x="366107" y="301264"/>
                  </a:lnTo>
                  <a:lnTo>
                    <a:pt x="366107" y="305551"/>
                  </a:lnTo>
                  <a:lnTo>
                    <a:pt x="368549" y="305551"/>
                  </a:lnTo>
                  <a:lnTo>
                    <a:pt x="368549" y="314124"/>
                  </a:lnTo>
                  <a:lnTo>
                    <a:pt x="370991" y="314124"/>
                  </a:lnTo>
                  <a:lnTo>
                    <a:pt x="370991" y="318410"/>
                  </a:lnTo>
                  <a:lnTo>
                    <a:pt x="380857" y="318410"/>
                  </a:lnTo>
                  <a:lnTo>
                    <a:pt x="380857" y="322697"/>
                  </a:lnTo>
                  <a:lnTo>
                    <a:pt x="383299" y="322697"/>
                  </a:lnTo>
                  <a:lnTo>
                    <a:pt x="383299" y="326983"/>
                  </a:lnTo>
                  <a:lnTo>
                    <a:pt x="388183" y="326983"/>
                  </a:lnTo>
                  <a:lnTo>
                    <a:pt x="388183" y="331270"/>
                  </a:lnTo>
                  <a:lnTo>
                    <a:pt x="393067" y="331270"/>
                  </a:lnTo>
                  <a:lnTo>
                    <a:pt x="393067" y="335556"/>
                  </a:lnTo>
                  <a:lnTo>
                    <a:pt x="400393" y="335556"/>
                  </a:lnTo>
                  <a:lnTo>
                    <a:pt x="400393" y="339843"/>
                  </a:lnTo>
                  <a:lnTo>
                    <a:pt x="402835" y="339843"/>
                  </a:lnTo>
                  <a:lnTo>
                    <a:pt x="402835" y="344130"/>
                  </a:lnTo>
                  <a:lnTo>
                    <a:pt x="405277" y="344130"/>
                  </a:lnTo>
                  <a:lnTo>
                    <a:pt x="405277" y="348416"/>
                  </a:lnTo>
                  <a:lnTo>
                    <a:pt x="415143" y="348416"/>
                  </a:lnTo>
                  <a:lnTo>
                    <a:pt x="415143" y="352837"/>
                  </a:lnTo>
                  <a:lnTo>
                    <a:pt x="417585" y="352837"/>
                  </a:lnTo>
                  <a:lnTo>
                    <a:pt x="417585" y="357123"/>
                  </a:lnTo>
                  <a:lnTo>
                    <a:pt x="420027" y="357123"/>
                  </a:lnTo>
                  <a:lnTo>
                    <a:pt x="420027" y="361410"/>
                  </a:lnTo>
                  <a:lnTo>
                    <a:pt x="422469" y="361410"/>
                  </a:lnTo>
                  <a:lnTo>
                    <a:pt x="422469" y="365696"/>
                  </a:lnTo>
                  <a:lnTo>
                    <a:pt x="424911" y="365696"/>
                  </a:lnTo>
                  <a:lnTo>
                    <a:pt x="424911" y="369983"/>
                  </a:lnTo>
                  <a:lnTo>
                    <a:pt x="427353" y="369983"/>
                  </a:lnTo>
                  <a:lnTo>
                    <a:pt x="427353" y="374403"/>
                  </a:lnTo>
                  <a:lnTo>
                    <a:pt x="437121" y="374403"/>
                  </a:lnTo>
                  <a:lnTo>
                    <a:pt x="437121" y="378690"/>
                  </a:lnTo>
                  <a:lnTo>
                    <a:pt x="439563" y="378690"/>
                  </a:lnTo>
                  <a:lnTo>
                    <a:pt x="439563" y="387397"/>
                  </a:lnTo>
                  <a:lnTo>
                    <a:pt x="442005" y="387397"/>
                  </a:lnTo>
                  <a:lnTo>
                    <a:pt x="442005" y="391683"/>
                  </a:lnTo>
                  <a:lnTo>
                    <a:pt x="444447" y="391683"/>
                  </a:lnTo>
                  <a:lnTo>
                    <a:pt x="444447" y="400391"/>
                  </a:lnTo>
                  <a:lnTo>
                    <a:pt x="459196" y="400391"/>
                  </a:lnTo>
                  <a:lnTo>
                    <a:pt x="459196" y="404811"/>
                  </a:lnTo>
                  <a:lnTo>
                    <a:pt x="476388" y="404811"/>
                  </a:lnTo>
                  <a:lnTo>
                    <a:pt x="476388" y="409232"/>
                  </a:lnTo>
                  <a:lnTo>
                    <a:pt x="478830" y="409232"/>
                  </a:lnTo>
                  <a:lnTo>
                    <a:pt x="478830" y="417939"/>
                  </a:lnTo>
                  <a:lnTo>
                    <a:pt x="483714" y="417939"/>
                  </a:lnTo>
                  <a:lnTo>
                    <a:pt x="483714" y="422359"/>
                  </a:lnTo>
                  <a:lnTo>
                    <a:pt x="500906" y="422359"/>
                  </a:lnTo>
                  <a:lnTo>
                    <a:pt x="500906" y="426780"/>
                  </a:lnTo>
                  <a:lnTo>
                    <a:pt x="503348" y="426780"/>
                  </a:lnTo>
                  <a:lnTo>
                    <a:pt x="503348" y="431200"/>
                  </a:lnTo>
                  <a:lnTo>
                    <a:pt x="505790" y="431200"/>
                  </a:lnTo>
                  <a:lnTo>
                    <a:pt x="505790" y="439907"/>
                  </a:lnTo>
                  <a:lnTo>
                    <a:pt x="513116" y="439907"/>
                  </a:lnTo>
                  <a:lnTo>
                    <a:pt x="513116" y="448614"/>
                  </a:lnTo>
                  <a:lnTo>
                    <a:pt x="522884" y="448614"/>
                  </a:lnTo>
                  <a:lnTo>
                    <a:pt x="522884" y="457455"/>
                  </a:lnTo>
                  <a:lnTo>
                    <a:pt x="525326" y="457455"/>
                  </a:lnTo>
                  <a:lnTo>
                    <a:pt x="525326" y="461876"/>
                  </a:lnTo>
                  <a:lnTo>
                    <a:pt x="540076" y="461876"/>
                  </a:lnTo>
                  <a:lnTo>
                    <a:pt x="540076" y="466296"/>
                  </a:lnTo>
                  <a:lnTo>
                    <a:pt x="544960" y="466296"/>
                  </a:lnTo>
                  <a:lnTo>
                    <a:pt x="544960" y="470717"/>
                  </a:lnTo>
                  <a:lnTo>
                    <a:pt x="552286" y="470717"/>
                  </a:lnTo>
                  <a:lnTo>
                    <a:pt x="552286" y="475137"/>
                  </a:lnTo>
                  <a:lnTo>
                    <a:pt x="554728" y="475137"/>
                  </a:lnTo>
                  <a:lnTo>
                    <a:pt x="554728" y="479558"/>
                  </a:lnTo>
                  <a:lnTo>
                    <a:pt x="557170" y="479558"/>
                  </a:lnTo>
                  <a:lnTo>
                    <a:pt x="557170" y="483978"/>
                  </a:lnTo>
                  <a:lnTo>
                    <a:pt x="567036" y="483978"/>
                  </a:lnTo>
                  <a:lnTo>
                    <a:pt x="567036" y="488399"/>
                  </a:lnTo>
                  <a:lnTo>
                    <a:pt x="586670" y="488399"/>
                  </a:lnTo>
                  <a:lnTo>
                    <a:pt x="586670" y="492819"/>
                  </a:lnTo>
                  <a:lnTo>
                    <a:pt x="589112" y="492819"/>
                  </a:lnTo>
                  <a:lnTo>
                    <a:pt x="589112" y="497240"/>
                  </a:lnTo>
                  <a:lnTo>
                    <a:pt x="596438" y="497240"/>
                  </a:lnTo>
                  <a:lnTo>
                    <a:pt x="596438" y="501660"/>
                  </a:lnTo>
                  <a:lnTo>
                    <a:pt x="608746" y="501660"/>
                  </a:lnTo>
                  <a:lnTo>
                    <a:pt x="608746" y="514922"/>
                  </a:lnTo>
                  <a:lnTo>
                    <a:pt x="613630" y="514922"/>
                  </a:lnTo>
                  <a:lnTo>
                    <a:pt x="613630" y="519342"/>
                  </a:lnTo>
                  <a:lnTo>
                    <a:pt x="620956" y="519342"/>
                  </a:lnTo>
                  <a:lnTo>
                    <a:pt x="620956" y="532738"/>
                  </a:lnTo>
                  <a:lnTo>
                    <a:pt x="623398" y="532738"/>
                  </a:lnTo>
                  <a:lnTo>
                    <a:pt x="623398" y="537158"/>
                  </a:lnTo>
                  <a:lnTo>
                    <a:pt x="630821" y="537158"/>
                  </a:lnTo>
                  <a:lnTo>
                    <a:pt x="630821" y="541579"/>
                  </a:lnTo>
                  <a:lnTo>
                    <a:pt x="647915" y="541579"/>
                  </a:lnTo>
                  <a:lnTo>
                    <a:pt x="647915" y="545999"/>
                  </a:lnTo>
                  <a:lnTo>
                    <a:pt x="650357" y="545999"/>
                  </a:lnTo>
                  <a:lnTo>
                    <a:pt x="650357" y="550420"/>
                  </a:lnTo>
                  <a:lnTo>
                    <a:pt x="655242" y="550420"/>
                  </a:lnTo>
                  <a:lnTo>
                    <a:pt x="655242" y="554974"/>
                  </a:lnTo>
                  <a:lnTo>
                    <a:pt x="660126" y="554974"/>
                  </a:lnTo>
                  <a:lnTo>
                    <a:pt x="660126" y="559395"/>
                  </a:lnTo>
                  <a:lnTo>
                    <a:pt x="662568" y="559395"/>
                  </a:lnTo>
                  <a:lnTo>
                    <a:pt x="662568" y="572790"/>
                  </a:lnTo>
                  <a:lnTo>
                    <a:pt x="669894" y="572790"/>
                  </a:lnTo>
                  <a:lnTo>
                    <a:pt x="669894" y="577345"/>
                  </a:lnTo>
                  <a:lnTo>
                    <a:pt x="682201" y="577345"/>
                  </a:lnTo>
                  <a:lnTo>
                    <a:pt x="682201" y="581765"/>
                  </a:lnTo>
                  <a:lnTo>
                    <a:pt x="696951" y="581765"/>
                  </a:lnTo>
                  <a:lnTo>
                    <a:pt x="696951" y="586320"/>
                  </a:lnTo>
                  <a:lnTo>
                    <a:pt x="701835" y="586320"/>
                  </a:lnTo>
                  <a:lnTo>
                    <a:pt x="701835" y="590874"/>
                  </a:lnTo>
                  <a:lnTo>
                    <a:pt x="714045" y="590874"/>
                  </a:lnTo>
                  <a:lnTo>
                    <a:pt x="714045" y="595295"/>
                  </a:lnTo>
                  <a:lnTo>
                    <a:pt x="726353" y="595295"/>
                  </a:lnTo>
                  <a:lnTo>
                    <a:pt x="726353" y="604403"/>
                  </a:lnTo>
                  <a:lnTo>
                    <a:pt x="736219" y="604403"/>
                  </a:lnTo>
                  <a:lnTo>
                    <a:pt x="736219" y="608958"/>
                  </a:lnTo>
                  <a:lnTo>
                    <a:pt x="741103" y="608958"/>
                  </a:lnTo>
                  <a:lnTo>
                    <a:pt x="741103" y="613512"/>
                  </a:lnTo>
                  <a:lnTo>
                    <a:pt x="745987" y="613512"/>
                  </a:lnTo>
                  <a:lnTo>
                    <a:pt x="745987" y="618067"/>
                  </a:lnTo>
                  <a:lnTo>
                    <a:pt x="753410" y="618067"/>
                  </a:lnTo>
                  <a:lnTo>
                    <a:pt x="753410" y="622621"/>
                  </a:lnTo>
                  <a:lnTo>
                    <a:pt x="760737" y="622621"/>
                  </a:lnTo>
                  <a:lnTo>
                    <a:pt x="760737" y="627176"/>
                  </a:lnTo>
                  <a:lnTo>
                    <a:pt x="763179" y="627176"/>
                  </a:lnTo>
                  <a:lnTo>
                    <a:pt x="763179" y="631730"/>
                  </a:lnTo>
                  <a:lnTo>
                    <a:pt x="770602" y="631730"/>
                  </a:lnTo>
                  <a:lnTo>
                    <a:pt x="770602" y="636285"/>
                  </a:lnTo>
                  <a:lnTo>
                    <a:pt x="773044" y="636285"/>
                  </a:lnTo>
                  <a:lnTo>
                    <a:pt x="773044" y="645394"/>
                  </a:lnTo>
                  <a:lnTo>
                    <a:pt x="775486" y="645394"/>
                  </a:lnTo>
                  <a:lnTo>
                    <a:pt x="775486" y="649948"/>
                  </a:lnTo>
                  <a:lnTo>
                    <a:pt x="777928" y="649948"/>
                  </a:lnTo>
                  <a:lnTo>
                    <a:pt x="777928" y="654503"/>
                  </a:lnTo>
                  <a:lnTo>
                    <a:pt x="782812" y="654503"/>
                  </a:lnTo>
                  <a:lnTo>
                    <a:pt x="782812" y="659057"/>
                  </a:lnTo>
                  <a:lnTo>
                    <a:pt x="800004" y="659057"/>
                  </a:lnTo>
                  <a:lnTo>
                    <a:pt x="800004" y="663611"/>
                  </a:lnTo>
                  <a:lnTo>
                    <a:pt x="802446" y="663611"/>
                  </a:lnTo>
                  <a:lnTo>
                    <a:pt x="802446" y="672720"/>
                  </a:lnTo>
                  <a:lnTo>
                    <a:pt x="804888" y="672720"/>
                  </a:lnTo>
                  <a:lnTo>
                    <a:pt x="804888" y="677275"/>
                  </a:lnTo>
                  <a:lnTo>
                    <a:pt x="819638" y="677275"/>
                  </a:lnTo>
                  <a:lnTo>
                    <a:pt x="819638" y="681829"/>
                  </a:lnTo>
                  <a:lnTo>
                    <a:pt x="831848" y="681829"/>
                  </a:lnTo>
                  <a:lnTo>
                    <a:pt x="831848" y="686384"/>
                  </a:lnTo>
                  <a:lnTo>
                    <a:pt x="834290" y="686384"/>
                  </a:lnTo>
                  <a:lnTo>
                    <a:pt x="834290" y="690938"/>
                  </a:lnTo>
                  <a:lnTo>
                    <a:pt x="851482" y="690938"/>
                  </a:lnTo>
                  <a:lnTo>
                    <a:pt x="851482" y="695493"/>
                  </a:lnTo>
                  <a:lnTo>
                    <a:pt x="861348" y="695493"/>
                  </a:lnTo>
                  <a:lnTo>
                    <a:pt x="861348" y="704736"/>
                  </a:lnTo>
                  <a:lnTo>
                    <a:pt x="866232" y="704736"/>
                  </a:lnTo>
                  <a:lnTo>
                    <a:pt x="866232" y="709290"/>
                  </a:lnTo>
                  <a:lnTo>
                    <a:pt x="885865" y="709290"/>
                  </a:lnTo>
                  <a:lnTo>
                    <a:pt x="885865" y="713978"/>
                  </a:lnTo>
                  <a:lnTo>
                    <a:pt x="893289" y="713978"/>
                  </a:lnTo>
                  <a:lnTo>
                    <a:pt x="893289" y="718667"/>
                  </a:lnTo>
                  <a:lnTo>
                    <a:pt x="895731" y="718667"/>
                  </a:lnTo>
                  <a:lnTo>
                    <a:pt x="895731" y="728044"/>
                  </a:lnTo>
                  <a:lnTo>
                    <a:pt x="903155" y="728044"/>
                  </a:lnTo>
                  <a:lnTo>
                    <a:pt x="903155" y="732732"/>
                  </a:lnTo>
                  <a:lnTo>
                    <a:pt x="925231" y="732732"/>
                  </a:lnTo>
                  <a:lnTo>
                    <a:pt x="925231" y="737420"/>
                  </a:lnTo>
                  <a:lnTo>
                    <a:pt x="959517" y="737420"/>
                  </a:lnTo>
                  <a:lnTo>
                    <a:pt x="959517" y="742109"/>
                  </a:lnTo>
                  <a:lnTo>
                    <a:pt x="961959" y="742109"/>
                  </a:lnTo>
                  <a:lnTo>
                    <a:pt x="961959" y="746797"/>
                  </a:lnTo>
                  <a:lnTo>
                    <a:pt x="969382" y="746797"/>
                  </a:lnTo>
                  <a:lnTo>
                    <a:pt x="969382" y="751486"/>
                  </a:lnTo>
                  <a:lnTo>
                    <a:pt x="971824" y="751486"/>
                  </a:lnTo>
                  <a:lnTo>
                    <a:pt x="971824" y="756174"/>
                  </a:lnTo>
                  <a:lnTo>
                    <a:pt x="989016" y="756174"/>
                  </a:lnTo>
                  <a:lnTo>
                    <a:pt x="989016" y="760863"/>
                  </a:lnTo>
                  <a:lnTo>
                    <a:pt x="993900" y="760863"/>
                  </a:lnTo>
                  <a:lnTo>
                    <a:pt x="993900" y="765551"/>
                  </a:lnTo>
                  <a:lnTo>
                    <a:pt x="1001226" y="765551"/>
                  </a:lnTo>
                  <a:lnTo>
                    <a:pt x="1001226" y="770239"/>
                  </a:lnTo>
                  <a:lnTo>
                    <a:pt x="1003668" y="770239"/>
                  </a:lnTo>
                  <a:lnTo>
                    <a:pt x="1003668" y="774928"/>
                  </a:lnTo>
                  <a:lnTo>
                    <a:pt x="1006110" y="774928"/>
                  </a:lnTo>
                  <a:lnTo>
                    <a:pt x="1006110" y="779616"/>
                  </a:lnTo>
                  <a:lnTo>
                    <a:pt x="1028186" y="779616"/>
                  </a:lnTo>
                  <a:lnTo>
                    <a:pt x="1028186" y="784305"/>
                  </a:lnTo>
                  <a:lnTo>
                    <a:pt x="1030628" y="784305"/>
                  </a:lnTo>
                  <a:lnTo>
                    <a:pt x="1030628" y="788993"/>
                  </a:lnTo>
                  <a:lnTo>
                    <a:pt x="1050262" y="788993"/>
                  </a:lnTo>
                  <a:lnTo>
                    <a:pt x="1050262" y="793681"/>
                  </a:lnTo>
                  <a:lnTo>
                    <a:pt x="1052704" y="793681"/>
                  </a:lnTo>
                  <a:lnTo>
                    <a:pt x="1052704" y="798504"/>
                  </a:lnTo>
                  <a:lnTo>
                    <a:pt x="1057588" y="798504"/>
                  </a:lnTo>
                  <a:lnTo>
                    <a:pt x="1057588" y="803192"/>
                  </a:lnTo>
                  <a:lnTo>
                    <a:pt x="1084548" y="803192"/>
                  </a:lnTo>
                  <a:lnTo>
                    <a:pt x="1084548" y="808015"/>
                  </a:lnTo>
                  <a:lnTo>
                    <a:pt x="1116489" y="808015"/>
                  </a:lnTo>
                  <a:lnTo>
                    <a:pt x="1116489" y="817525"/>
                  </a:lnTo>
                  <a:lnTo>
                    <a:pt x="1131141" y="817525"/>
                  </a:lnTo>
                  <a:lnTo>
                    <a:pt x="1131141" y="822348"/>
                  </a:lnTo>
                  <a:lnTo>
                    <a:pt x="1165525" y="822348"/>
                  </a:lnTo>
                  <a:lnTo>
                    <a:pt x="1165525" y="827170"/>
                  </a:lnTo>
                  <a:lnTo>
                    <a:pt x="1167967" y="827170"/>
                  </a:lnTo>
                  <a:lnTo>
                    <a:pt x="1167967" y="831992"/>
                  </a:lnTo>
                  <a:lnTo>
                    <a:pt x="1172851" y="831992"/>
                  </a:lnTo>
                  <a:lnTo>
                    <a:pt x="1172851" y="836815"/>
                  </a:lnTo>
                  <a:lnTo>
                    <a:pt x="1185159" y="836815"/>
                  </a:lnTo>
                  <a:lnTo>
                    <a:pt x="1185159" y="841637"/>
                  </a:lnTo>
                  <a:lnTo>
                    <a:pt x="1187601" y="841637"/>
                  </a:lnTo>
                  <a:lnTo>
                    <a:pt x="1187601" y="846460"/>
                  </a:lnTo>
                  <a:lnTo>
                    <a:pt x="1197466" y="846460"/>
                  </a:lnTo>
                  <a:lnTo>
                    <a:pt x="1197466" y="851282"/>
                  </a:lnTo>
                  <a:lnTo>
                    <a:pt x="1217100" y="851282"/>
                  </a:lnTo>
                  <a:lnTo>
                    <a:pt x="1217100" y="856104"/>
                  </a:lnTo>
                  <a:lnTo>
                    <a:pt x="1231850" y="856104"/>
                  </a:lnTo>
                  <a:lnTo>
                    <a:pt x="1231850" y="860927"/>
                  </a:lnTo>
                  <a:lnTo>
                    <a:pt x="1236734" y="860927"/>
                  </a:lnTo>
                  <a:lnTo>
                    <a:pt x="1236734" y="870705"/>
                  </a:lnTo>
                  <a:lnTo>
                    <a:pt x="1253926" y="870705"/>
                  </a:lnTo>
                  <a:lnTo>
                    <a:pt x="1253926" y="875528"/>
                  </a:lnTo>
                  <a:lnTo>
                    <a:pt x="1310385" y="875528"/>
                  </a:lnTo>
                  <a:lnTo>
                    <a:pt x="1310385" y="880350"/>
                  </a:lnTo>
                  <a:lnTo>
                    <a:pt x="1327577" y="880350"/>
                  </a:lnTo>
                  <a:lnTo>
                    <a:pt x="1327577" y="885306"/>
                  </a:lnTo>
                  <a:lnTo>
                    <a:pt x="1334903" y="885306"/>
                  </a:lnTo>
                  <a:lnTo>
                    <a:pt x="1334903" y="890263"/>
                  </a:lnTo>
                  <a:lnTo>
                    <a:pt x="1347211" y="890263"/>
                  </a:lnTo>
                  <a:lnTo>
                    <a:pt x="1347211" y="895085"/>
                  </a:lnTo>
                  <a:lnTo>
                    <a:pt x="1366845" y="895085"/>
                  </a:lnTo>
                  <a:lnTo>
                    <a:pt x="1366845" y="904864"/>
                  </a:lnTo>
                  <a:lnTo>
                    <a:pt x="1381497" y="904864"/>
                  </a:lnTo>
                  <a:lnTo>
                    <a:pt x="1381497" y="909820"/>
                  </a:lnTo>
                  <a:lnTo>
                    <a:pt x="1428188" y="909820"/>
                  </a:lnTo>
                  <a:lnTo>
                    <a:pt x="1428188" y="914776"/>
                  </a:lnTo>
                  <a:lnTo>
                    <a:pt x="1433072" y="914776"/>
                  </a:lnTo>
                  <a:lnTo>
                    <a:pt x="1433072" y="919733"/>
                  </a:lnTo>
                  <a:lnTo>
                    <a:pt x="1442938" y="919733"/>
                  </a:lnTo>
                  <a:lnTo>
                    <a:pt x="1442938" y="924689"/>
                  </a:lnTo>
                  <a:lnTo>
                    <a:pt x="1445380" y="924689"/>
                  </a:lnTo>
                  <a:lnTo>
                    <a:pt x="1445380" y="929645"/>
                  </a:lnTo>
                  <a:lnTo>
                    <a:pt x="1452706" y="929645"/>
                  </a:lnTo>
                  <a:lnTo>
                    <a:pt x="1452706" y="934602"/>
                  </a:lnTo>
                  <a:lnTo>
                    <a:pt x="1467456" y="934602"/>
                  </a:lnTo>
                  <a:lnTo>
                    <a:pt x="1467456" y="944514"/>
                  </a:lnTo>
                  <a:lnTo>
                    <a:pt x="1533683" y="944514"/>
                  </a:lnTo>
                  <a:lnTo>
                    <a:pt x="1533683" y="949471"/>
                  </a:lnTo>
                  <a:lnTo>
                    <a:pt x="1553317" y="949471"/>
                  </a:lnTo>
                  <a:lnTo>
                    <a:pt x="1553317" y="954427"/>
                  </a:lnTo>
                  <a:lnTo>
                    <a:pt x="1570509" y="954427"/>
                  </a:lnTo>
                  <a:lnTo>
                    <a:pt x="1570509" y="959383"/>
                  </a:lnTo>
                  <a:lnTo>
                    <a:pt x="1600008" y="959383"/>
                  </a:lnTo>
                  <a:lnTo>
                    <a:pt x="1600008" y="964474"/>
                  </a:lnTo>
                  <a:lnTo>
                    <a:pt x="1654026" y="964474"/>
                  </a:lnTo>
                  <a:lnTo>
                    <a:pt x="1654026" y="969430"/>
                  </a:lnTo>
                  <a:lnTo>
                    <a:pt x="1705503" y="969430"/>
                  </a:lnTo>
                  <a:lnTo>
                    <a:pt x="1705503" y="974520"/>
                  </a:lnTo>
                  <a:lnTo>
                    <a:pt x="1710387" y="974520"/>
                  </a:lnTo>
                  <a:lnTo>
                    <a:pt x="1710387" y="979610"/>
                  </a:lnTo>
                  <a:lnTo>
                    <a:pt x="1786480" y="979610"/>
                  </a:lnTo>
                  <a:lnTo>
                    <a:pt x="1786480" y="984701"/>
                  </a:lnTo>
                  <a:lnTo>
                    <a:pt x="1796249" y="984701"/>
                  </a:lnTo>
                  <a:lnTo>
                    <a:pt x="1796249" y="989791"/>
                  </a:lnTo>
                  <a:lnTo>
                    <a:pt x="1823208" y="989791"/>
                  </a:lnTo>
                  <a:lnTo>
                    <a:pt x="1823208" y="994881"/>
                  </a:lnTo>
                  <a:lnTo>
                    <a:pt x="1840400" y="994881"/>
                  </a:lnTo>
                  <a:lnTo>
                    <a:pt x="1840400" y="999972"/>
                  </a:lnTo>
                  <a:lnTo>
                    <a:pt x="1850168" y="999972"/>
                  </a:lnTo>
                  <a:lnTo>
                    <a:pt x="1850168" y="1005062"/>
                  </a:lnTo>
                  <a:lnTo>
                    <a:pt x="2002257" y="1005062"/>
                  </a:lnTo>
                  <a:lnTo>
                    <a:pt x="2002257" y="1010152"/>
                  </a:lnTo>
                  <a:lnTo>
                    <a:pt x="2107752" y="1010152"/>
                  </a:lnTo>
                  <a:lnTo>
                    <a:pt x="2107752" y="1015376"/>
                  </a:lnTo>
                  <a:lnTo>
                    <a:pt x="2144578" y="1015376"/>
                  </a:lnTo>
                  <a:lnTo>
                    <a:pt x="2144578" y="1025825"/>
                  </a:lnTo>
                  <a:lnTo>
                    <a:pt x="2147020" y="1025825"/>
                  </a:lnTo>
                  <a:lnTo>
                    <a:pt x="2147020" y="1031049"/>
                  </a:lnTo>
                  <a:lnTo>
                    <a:pt x="2245189" y="1031049"/>
                  </a:lnTo>
                  <a:lnTo>
                    <a:pt x="2245189" y="1036407"/>
                  </a:lnTo>
                  <a:lnTo>
                    <a:pt x="2259938" y="1036407"/>
                  </a:lnTo>
                  <a:lnTo>
                    <a:pt x="2259938" y="1041765"/>
                  </a:lnTo>
                  <a:lnTo>
                    <a:pt x="2282014" y="1041765"/>
                  </a:lnTo>
                  <a:lnTo>
                    <a:pt x="2282014" y="1047124"/>
                  </a:lnTo>
                  <a:lnTo>
                    <a:pt x="2333590" y="1047124"/>
                  </a:lnTo>
                  <a:lnTo>
                    <a:pt x="2333590" y="1052482"/>
                  </a:lnTo>
                  <a:lnTo>
                    <a:pt x="2431759" y="1052482"/>
                  </a:lnTo>
                  <a:lnTo>
                    <a:pt x="2431759" y="1057974"/>
                  </a:lnTo>
                  <a:lnTo>
                    <a:pt x="2497986" y="1057974"/>
                  </a:lnTo>
                  <a:lnTo>
                    <a:pt x="2497986" y="1066011"/>
                  </a:lnTo>
                  <a:lnTo>
                    <a:pt x="2534812" y="1066011"/>
                  </a:lnTo>
                  <a:lnTo>
                    <a:pt x="2534812" y="1089185"/>
                  </a:lnTo>
                  <a:lnTo>
                    <a:pt x="2588829" y="1089185"/>
                  </a:lnTo>
                  <a:lnTo>
                    <a:pt x="2588829" y="1112627"/>
                  </a:lnTo>
                  <a:lnTo>
                    <a:pt x="2655057" y="1112627"/>
                  </a:lnTo>
                  <a:lnTo>
                    <a:pt x="2655057" y="1137007"/>
                  </a:lnTo>
                  <a:lnTo>
                    <a:pt x="2686998" y="1137007"/>
                  </a:lnTo>
                  <a:lnTo>
                    <a:pt x="2686998" y="1161253"/>
                  </a:lnTo>
                  <a:lnTo>
                    <a:pt x="2858721" y="1161253"/>
                  </a:lnTo>
                  <a:lnTo>
                    <a:pt x="2858721" y="1185633"/>
                  </a:lnTo>
                  <a:moveTo>
                    <a:pt x="3406220" y="1246582"/>
                  </a:moveTo>
                  <a:lnTo>
                    <a:pt x="3372227" y="1246582"/>
                  </a:lnTo>
                  <a:cubicBezTo>
                    <a:pt x="3372227" y="1244841"/>
                    <a:pt x="3371641" y="1243099"/>
                    <a:pt x="3370664" y="1241760"/>
                  </a:cubicBezTo>
                  <a:cubicBezTo>
                    <a:pt x="3369688" y="1240420"/>
                    <a:pt x="3368320" y="1239617"/>
                    <a:pt x="3366953" y="1239617"/>
                  </a:cubicBezTo>
                  <a:lnTo>
                    <a:pt x="3354938" y="1239617"/>
                  </a:lnTo>
                  <a:cubicBezTo>
                    <a:pt x="3354840" y="1237875"/>
                    <a:pt x="3354254" y="1236268"/>
                    <a:pt x="3353473" y="1235062"/>
                  </a:cubicBezTo>
                  <a:cubicBezTo>
                    <a:pt x="3352496" y="1233723"/>
                    <a:pt x="3351128" y="1232919"/>
                    <a:pt x="3349761" y="1232919"/>
                  </a:cubicBezTo>
                  <a:lnTo>
                    <a:pt x="3283826" y="1232919"/>
                  </a:lnTo>
                  <a:cubicBezTo>
                    <a:pt x="3283729" y="1231311"/>
                    <a:pt x="3283143" y="1229838"/>
                    <a:pt x="3282361" y="1228632"/>
                  </a:cubicBezTo>
                  <a:cubicBezTo>
                    <a:pt x="3281384" y="1227293"/>
                    <a:pt x="3280017" y="1226489"/>
                    <a:pt x="3278649" y="1226489"/>
                  </a:cubicBezTo>
                  <a:lnTo>
                    <a:pt x="3124314" y="1226489"/>
                  </a:lnTo>
                  <a:cubicBezTo>
                    <a:pt x="3124119" y="1225015"/>
                    <a:pt x="3123630" y="1223676"/>
                    <a:pt x="3122849" y="1222604"/>
                  </a:cubicBezTo>
                  <a:cubicBezTo>
                    <a:pt x="3121872" y="1221265"/>
                    <a:pt x="3120505" y="1220461"/>
                    <a:pt x="3119137" y="1220461"/>
                  </a:cubicBezTo>
                  <a:lnTo>
                    <a:pt x="3072739" y="1220461"/>
                  </a:lnTo>
                  <a:cubicBezTo>
                    <a:pt x="3072543" y="1218988"/>
                    <a:pt x="3072055" y="1217648"/>
                    <a:pt x="3071273" y="1216576"/>
                  </a:cubicBezTo>
                  <a:cubicBezTo>
                    <a:pt x="3070980" y="1216175"/>
                    <a:pt x="3070687" y="1215907"/>
                    <a:pt x="3070394" y="1215639"/>
                  </a:cubicBezTo>
                  <a:cubicBezTo>
                    <a:pt x="3070394" y="1213763"/>
                    <a:pt x="3069808" y="1212022"/>
                    <a:pt x="3068831" y="1210682"/>
                  </a:cubicBezTo>
                  <a:cubicBezTo>
                    <a:pt x="3067855" y="1209343"/>
                    <a:pt x="3066487" y="1208539"/>
                    <a:pt x="3065119" y="1208539"/>
                  </a:cubicBezTo>
                  <a:lnTo>
                    <a:pt x="3057989" y="1208539"/>
                  </a:lnTo>
                  <a:cubicBezTo>
                    <a:pt x="3057793" y="1207066"/>
                    <a:pt x="3057305" y="1205726"/>
                    <a:pt x="3056524" y="1204654"/>
                  </a:cubicBezTo>
                  <a:cubicBezTo>
                    <a:pt x="3055547" y="1203315"/>
                    <a:pt x="3054179" y="1202511"/>
                    <a:pt x="3052812" y="1202511"/>
                  </a:cubicBezTo>
                  <a:lnTo>
                    <a:pt x="2969588" y="1202511"/>
                  </a:lnTo>
                  <a:cubicBezTo>
                    <a:pt x="2969393" y="1201172"/>
                    <a:pt x="2968904" y="1199832"/>
                    <a:pt x="2968123" y="1198760"/>
                  </a:cubicBezTo>
                  <a:cubicBezTo>
                    <a:pt x="2967146" y="1197421"/>
                    <a:pt x="2965778" y="1196617"/>
                    <a:pt x="2964411" y="1196617"/>
                  </a:cubicBezTo>
                  <a:lnTo>
                    <a:pt x="2915571" y="1196617"/>
                  </a:lnTo>
                  <a:cubicBezTo>
                    <a:pt x="2915375" y="1195278"/>
                    <a:pt x="2914887" y="1193938"/>
                    <a:pt x="2914105" y="1193000"/>
                  </a:cubicBezTo>
                  <a:cubicBezTo>
                    <a:pt x="2913422" y="1192063"/>
                    <a:pt x="2912640" y="1191527"/>
                    <a:pt x="2911761" y="1191125"/>
                  </a:cubicBezTo>
                  <a:lnTo>
                    <a:pt x="3298186" y="1191125"/>
                  </a:lnTo>
                  <a:lnTo>
                    <a:pt x="3298186" y="1219523"/>
                  </a:lnTo>
                  <a:lnTo>
                    <a:pt x="3406122" y="1219523"/>
                  </a:lnTo>
                  <a:lnTo>
                    <a:pt x="3406122" y="1246180"/>
                  </a:lnTo>
                  <a:moveTo>
                    <a:pt x="4077579" y="1398755"/>
                  </a:moveTo>
                  <a:lnTo>
                    <a:pt x="3977945" y="1398755"/>
                  </a:lnTo>
                  <a:lnTo>
                    <a:pt x="3977945" y="1380403"/>
                  </a:lnTo>
                  <a:lnTo>
                    <a:pt x="3862584" y="1380403"/>
                  </a:lnTo>
                  <a:lnTo>
                    <a:pt x="3862584" y="1366606"/>
                  </a:lnTo>
                  <a:lnTo>
                    <a:pt x="3482216" y="1366606"/>
                  </a:lnTo>
                  <a:lnTo>
                    <a:pt x="3482216" y="1358702"/>
                  </a:lnTo>
                  <a:lnTo>
                    <a:pt x="3469908" y="1358702"/>
                  </a:lnTo>
                  <a:lnTo>
                    <a:pt x="3469908" y="1351067"/>
                  </a:lnTo>
                  <a:lnTo>
                    <a:pt x="3366855" y="1351067"/>
                  </a:lnTo>
                  <a:lnTo>
                    <a:pt x="3366855" y="1344101"/>
                  </a:lnTo>
                  <a:lnTo>
                    <a:pt x="3349663" y="1344101"/>
                  </a:lnTo>
                  <a:lnTo>
                    <a:pt x="3349663" y="1337403"/>
                  </a:lnTo>
                  <a:lnTo>
                    <a:pt x="3278454" y="1337403"/>
                  </a:lnTo>
                  <a:lnTo>
                    <a:pt x="3278454" y="1330974"/>
                  </a:lnTo>
                  <a:lnTo>
                    <a:pt x="3118942" y="1330974"/>
                  </a:lnTo>
                  <a:lnTo>
                    <a:pt x="3118942" y="1324946"/>
                  </a:lnTo>
                  <a:lnTo>
                    <a:pt x="3067366" y="1324946"/>
                  </a:lnTo>
                  <a:lnTo>
                    <a:pt x="3067366" y="1318918"/>
                  </a:lnTo>
                  <a:lnTo>
                    <a:pt x="3064924" y="1318918"/>
                  </a:lnTo>
                  <a:lnTo>
                    <a:pt x="3064924" y="1313024"/>
                  </a:lnTo>
                  <a:lnTo>
                    <a:pt x="3052714" y="1313024"/>
                  </a:lnTo>
                  <a:lnTo>
                    <a:pt x="3052714" y="1306996"/>
                  </a:lnTo>
                  <a:lnTo>
                    <a:pt x="2964313" y="1306996"/>
                  </a:lnTo>
                  <a:lnTo>
                    <a:pt x="2964313" y="1301236"/>
                  </a:lnTo>
                  <a:lnTo>
                    <a:pt x="2910296" y="1301236"/>
                  </a:lnTo>
                  <a:lnTo>
                    <a:pt x="2910296" y="1295342"/>
                  </a:lnTo>
                  <a:lnTo>
                    <a:pt x="2726266" y="1295342"/>
                  </a:lnTo>
                  <a:lnTo>
                    <a:pt x="2726266" y="1283956"/>
                  </a:lnTo>
                  <a:lnTo>
                    <a:pt x="2579061" y="1283956"/>
                  </a:lnTo>
                  <a:lnTo>
                    <a:pt x="2579061" y="1278329"/>
                  </a:lnTo>
                  <a:lnTo>
                    <a:pt x="2539793" y="1278329"/>
                  </a:lnTo>
                  <a:lnTo>
                    <a:pt x="2539793" y="1272703"/>
                  </a:lnTo>
                  <a:lnTo>
                    <a:pt x="2522602" y="1272703"/>
                  </a:lnTo>
                  <a:lnTo>
                    <a:pt x="2522602" y="1267077"/>
                  </a:lnTo>
                  <a:lnTo>
                    <a:pt x="2434298" y="1267077"/>
                  </a:lnTo>
                  <a:lnTo>
                    <a:pt x="2434298" y="1261585"/>
                  </a:lnTo>
                  <a:lnTo>
                    <a:pt x="2336129" y="1261585"/>
                  </a:lnTo>
                  <a:lnTo>
                    <a:pt x="2336129" y="1256093"/>
                  </a:lnTo>
                  <a:lnTo>
                    <a:pt x="2284554" y="1256093"/>
                  </a:lnTo>
                  <a:lnTo>
                    <a:pt x="2284554" y="1250735"/>
                  </a:lnTo>
                  <a:lnTo>
                    <a:pt x="2262478" y="1250735"/>
                  </a:lnTo>
                  <a:lnTo>
                    <a:pt x="2262478" y="1245243"/>
                  </a:lnTo>
                  <a:lnTo>
                    <a:pt x="2247728" y="1245243"/>
                  </a:lnTo>
                  <a:lnTo>
                    <a:pt x="2247728" y="1239751"/>
                  </a:lnTo>
                  <a:lnTo>
                    <a:pt x="2149559" y="1239751"/>
                  </a:lnTo>
                  <a:lnTo>
                    <a:pt x="2149559" y="1234392"/>
                  </a:lnTo>
                  <a:lnTo>
                    <a:pt x="2147117" y="1234392"/>
                  </a:lnTo>
                  <a:lnTo>
                    <a:pt x="2147117" y="1223810"/>
                  </a:lnTo>
                  <a:lnTo>
                    <a:pt x="2110292" y="1223810"/>
                  </a:lnTo>
                  <a:lnTo>
                    <a:pt x="2110292" y="1218452"/>
                  </a:lnTo>
                  <a:lnTo>
                    <a:pt x="2004797" y="1218452"/>
                  </a:lnTo>
                  <a:lnTo>
                    <a:pt x="2004797" y="1213227"/>
                  </a:lnTo>
                  <a:lnTo>
                    <a:pt x="1852708" y="1213227"/>
                  </a:lnTo>
                  <a:lnTo>
                    <a:pt x="1852708" y="1208137"/>
                  </a:lnTo>
                  <a:lnTo>
                    <a:pt x="1842940" y="1208137"/>
                  </a:lnTo>
                  <a:lnTo>
                    <a:pt x="1842940" y="1202913"/>
                  </a:lnTo>
                  <a:lnTo>
                    <a:pt x="1825748" y="1202913"/>
                  </a:lnTo>
                  <a:lnTo>
                    <a:pt x="1825748" y="1197823"/>
                  </a:lnTo>
                  <a:lnTo>
                    <a:pt x="1798788" y="1197823"/>
                  </a:lnTo>
                  <a:lnTo>
                    <a:pt x="1798788" y="1192598"/>
                  </a:lnTo>
                  <a:lnTo>
                    <a:pt x="1789020" y="1192598"/>
                  </a:lnTo>
                  <a:lnTo>
                    <a:pt x="1789020" y="1187508"/>
                  </a:lnTo>
                  <a:lnTo>
                    <a:pt x="1712927" y="1187508"/>
                  </a:lnTo>
                  <a:lnTo>
                    <a:pt x="1712927" y="1182418"/>
                  </a:lnTo>
                  <a:lnTo>
                    <a:pt x="1708043" y="1182418"/>
                  </a:lnTo>
                  <a:lnTo>
                    <a:pt x="1708043" y="1177328"/>
                  </a:lnTo>
                  <a:lnTo>
                    <a:pt x="1656565" y="1177328"/>
                  </a:lnTo>
                  <a:lnTo>
                    <a:pt x="1656565" y="1172237"/>
                  </a:lnTo>
                  <a:lnTo>
                    <a:pt x="1602548" y="1172237"/>
                  </a:lnTo>
                  <a:lnTo>
                    <a:pt x="1602548" y="1167147"/>
                  </a:lnTo>
                  <a:lnTo>
                    <a:pt x="1573048" y="1167147"/>
                  </a:lnTo>
                  <a:lnTo>
                    <a:pt x="1573048" y="1162057"/>
                  </a:lnTo>
                  <a:lnTo>
                    <a:pt x="1555857" y="1162057"/>
                  </a:lnTo>
                  <a:lnTo>
                    <a:pt x="1555857" y="1156967"/>
                  </a:lnTo>
                  <a:lnTo>
                    <a:pt x="1536223" y="1156967"/>
                  </a:lnTo>
                  <a:lnTo>
                    <a:pt x="1536223" y="1151876"/>
                  </a:lnTo>
                  <a:lnTo>
                    <a:pt x="1469995" y="1151876"/>
                  </a:lnTo>
                  <a:lnTo>
                    <a:pt x="1469995" y="1141696"/>
                  </a:lnTo>
                  <a:lnTo>
                    <a:pt x="1455246" y="1141696"/>
                  </a:lnTo>
                  <a:lnTo>
                    <a:pt x="1455246" y="1136739"/>
                  </a:lnTo>
                  <a:lnTo>
                    <a:pt x="1447920" y="1136739"/>
                  </a:lnTo>
                  <a:lnTo>
                    <a:pt x="1447920" y="1131649"/>
                  </a:lnTo>
                  <a:lnTo>
                    <a:pt x="1445478" y="1131649"/>
                  </a:lnTo>
                  <a:lnTo>
                    <a:pt x="1445478" y="1126559"/>
                  </a:lnTo>
                  <a:lnTo>
                    <a:pt x="1435612" y="1126559"/>
                  </a:lnTo>
                  <a:lnTo>
                    <a:pt x="1435612" y="1121469"/>
                  </a:lnTo>
                  <a:lnTo>
                    <a:pt x="1430728" y="1121469"/>
                  </a:lnTo>
                  <a:lnTo>
                    <a:pt x="1430728" y="1116378"/>
                  </a:lnTo>
                  <a:lnTo>
                    <a:pt x="1384036" y="1116378"/>
                  </a:lnTo>
                  <a:lnTo>
                    <a:pt x="1384036" y="1111288"/>
                  </a:lnTo>
                  <a:lnTo>
                    <a:pt x="1369384" y="1111288"/>
                  </a:lnTo>
                  <a:lnTo>
                    <a:pt x="1369384" y="1101241"/>
                  </a:lnTo>
                  <a:lnTo>
                    <a:pt x="1349751" y="1101241"/>
                  </a:lnTo>
                  <a:lnTo>
                    <a:pt x="1349751" y="1096151"/>
                  </a:lnTo>
                  <a:lnTo>
                    <a:pt x="1337443" y="1096151"/>
                  </a:lnTo>
                  <a:lnTo>
                    <a:pt x="1337443" y="1091195"/>
                  </a:lnTo>
                  <a:lnTo>
                    <a:pt x="1330117" y="1091195"/>
                  </a:lnTo>
                  <a:lnTo>
                    <a:pt x="1330117" y="1086105"/>
                  </a:lnTo>
                  <a:lnTo>
                    <a:pt x="1312925" y="1086105"/>
                  </a:lnTo>
                  <a:lnTo>
                    <a:pt x="1312925" y="1081014"/>
                  </a:lnTo>
                  <a:lnTo>
                    <a:pt x="1256466" y="1081014"/>
                  </a:lnTo>
                  <a:lnTo>
                    <a:pt x="1256466" y="1076058"/>
                  </a:lnTo>
                  <a:lnTo>
                    <a:pt x="1239274" y="1076058"/>
                  </a:lnTo>
                  <a:lnTo>
                    <a:pt x="1239274" y="1065877"/>
                  </a:lnTo>
                  <a:lnTo>
                    <a:pt x="1234390" y="1065877"/>
                  </a:lnTo>
                  <a:lnTo>
                    <a:pt x="1234390" y="1060921"/>
                  </a:lnTo>
                  <a:lnTo>
                    <a:pt x="1219640" y="1060921"/>
                  </a:lnTo>
                  <a:lnTo>
                    <a:pt x="1219640" y="1055965"/>
                  </a:lnTo>
                  <a:lnTo>
                    <a:pt x="1200006" y="1055965"/>
                  </a:lnTo>
                  <a:lnTo>
                    <a:pt x="1200006" y="1051008"/>
                  </a:lnTo>
                  <a:lnTo>
                    <a:pt x="1190140" y="1051008"/>
                  </a:lnTo>
                  <a:lnTo>
                    <a:pt x="1190140" y="1046052"/>
                  </a:lnTo>
                  <a:lnTo>
                    <a:pt x="1187698" y="1046052"/>
                  </a:lnTo>
                  <a:lnTo>
                    <a:pt x="1187698" y="1041096"/>
                  </a:lnTo>
                  <a:lnTo>
                    <a:pt x="1175391" y="1041096"/>
                  </a:lnTo>
                  <a:lnTo>
                    <a:pt x="1175391" y="1036139"/>
                  </a:lnTo>
                  <a:lnTo>
                    <a:pt x="1170507" y="1036139"/>
                  </a:lnTo>
                  <a:lnTo>
                    <a:pt x="1170507" y="1031183"/>
                  </a:lnTo>
                  <a:lnTo>
                    <a:pt x="1168065" y="1031183"/>
                  </a:lnTo>
                  <a:lnTo>
                    <a:pt x="1168065" y="1026227"/>
                  </a:lnTo>
                  <a:lnTo>
                    <a:pt x="1133681" y="1026227"/>
                  </a:lnTo>
                  <a:lnTo>
                    <a:pt x="1133681" y="1021270"/>
                  </a:lnTo>
                  <a:lnTo>
                    <a:pt x="1119029" y="1021270"/>
                  </a:lnTo>
                  <a:lnTo>
                    <a:pt x="1119029" y="1011358"/>
                  </a:lnTo>
                  <a:lnTo>
                    <a:pt x="1087087" y="1011358"/>
                  </a:lnTo>
                  <a:lnTo>
                    <a:pt x="1087087" y="1006401"/>
                  </a:lnTo>
                  <a:lnTo>
                    <a:pt x="1060128" y="1006401"/>
                  </a:lnTo>
                  <a:lnTo>
                    <a:pt x="1060128" y="1001445"/>
                  </a:lnTo>
                  <a:lnTo>
                    <a:pt x="1055244" y="1001445"/>
                  </a:lnTo>
                  <a:lnTo>
                    <a:pt x="1055244" y="996489"/>
                  </a:lnTo>
                  <a:lnTo>
                    <a:pt x="1052802" y="996489"/>
                  </a:lnTo>
                  <a:lnTo>
                    <a:pt x="1052802" y="991532"/>
                  </a:lnTo>
                  <a:lnTo>
                    <a:pt x="1033168" y="991532"/>
                  </a:lnTo>
                  <a:lnTo>
                    <a:pt x="1033168" y="986576"/>
                  </a:lnTo>
                  <a:lnTo>
                    <a:pt x="1030726" y="986576"/>
                  </a:lnTo>
                  <a:lnTo>
                    <a:pt x="1030726" y="981620"/>
                  </a:lnTo>
                  <a:lnTo>
                    <a:pt x="1008650" y="981620"/>
                  </a:lnTo>
                  <a:lnTo>
                    <a:pt x="1008650" y="976663"/>
                  </a:lnTo>
                  <a:lnTo>
                    <a:pt x="1006208" y="976663"/>
                  </a:lnTo>
                  <a:lnTo>
                    <a:pt x="1006208" y="971707"/>
                  </a:lnTo>
                  <a:lnTo>
                    <a:pt x="1003766" y="971707"/>
                  </a:lnTo>
                  <a:lnTo>
                    <a:pt x="1003766" y="966751"/>
                  </a:lnTo>
                  <a:lnTo>
                    <a:pt x="996440" y="966751"/>
                  </a:lnTo>
                  <a:lnTo>
                    <a:pt x="996440" y="961795"/>
                  </a:lnTo>
                  <a:lnTo>
                    <a:pt x="991556" y="961795"/>
                  </a:lnTo>
                  <a:lnTo>
                    <a:pt x="991556" y="956838"/>
                  </a:lnTo>
                  <a:lnTo>
                    <a:pt x="974364" y="956838"/>
                  </a:lnTo>
                  <a:lnTo>
                    <a:pt x="974364" y="951882"/>
                  </a:lnTo>
                  <a:lnTo>
                    <a:pt x="971922" y="951882"/>
                  </a:lnTo>
                  <a:lnTo>
                    <a:pt x="971922" y="946926"/>
                  </a:lnTo>
                  <a:lnTo>
                    <a:pt x="964498" y="946926"/>
                  </a:lnTo>
                  <a:lnTo>
                    <a:pt x="964498" y="941969"/>
                  </a:lnTo>
                  <a:lnTo>
                    <a:pt x="962056" y="941969"/>
                  </a:lnTo>
                  <a:lnTo>
                    <a:pt x="962056" y="937013"/>
                  </a:lnTo>
                  <a:lnTo>
                    <a:pt x="927770" y="937013"/>
                  </a:lnTo>
                  <a:lnTo>
                    <a:pt x="927770" y="932057"/>
                  </a:lnTo>
                  <a:lnTo>
                    <a:pt x="905695" y="932057"/>
                  </a:lnTo>
                  <a:lnTo>
                    <a:pt x="905695" y="927234"/>
                  </a:lnTo>
                  <a:lnTo>
                    <a:pt x="898271" y="927234"/>
                  </a:lnTo>
                  <a:lnTo>
                    <a:pt x="898271" y="917456"/>
                  </a:lnTo>
                  <a:lnTo>
                    <a:pt x="895829" y="917456"/>
                  </a:lnTo>
                  <a:lnTo>
                    <a:pt x="895829" y="912499"/>
                  </a:lnTo>
                  <a:lnTo>
                    <a:pt x="888405" y="912499"/>
                  </a:lnTo>
                  <a:lnTo>
                    <a:pt x="888405" y="907677"/>
                  </a:lnTo>
                  <a:lnTo>
                    <a:pt x="868771" y="907677"/>
                  </a:lnTo>
                  <a:lnTo>
                    <a:pt x="868771" y="902721"/>
                  </a:lnTo>
                  <a:lnTo>
                    <a:pt x="863887" y="902721"/>
                  </a:lnTo>
                  <a:lnTo>
                    <a:pt x="863887" y="892942"/>
                  </a:lnTo>
                  <a:lnTo>
                    <a:pt x="854022" y="892942"/>
                  </a:lnTo>
                  <a:lnTo>
                    <a:pt x="854022" y="888120"/>
                  </a:lnTo>
                  <a:lnTo>
                    <a:pt x="836830" y="888120"/>
                  </a:lnTo>
                  <a:lnTo>
                    <a:pt x="836830" y="883297"/>
                  </a:lnTo>
                  <a:lnTo>
                    <a:pt x="834388" y="883297"/>
                  </a:lnTo>
                  <a:lnTo>
                    <a:pt x="834388" y="878475"/>
                  </a:lnTo>
                  <a:lnTo>
                    <a:pt x="822178" y="878475"/>
                  </a:lnTo>
                  <a:lnTo>
                    <a:pt x="822178" y="873652"/>
                  </a:lnTo>
                  <a:lnTo>
                    <a:pt x="807428" y="873652"/>
                  </a:lnTo>
                  <a:lnTo>
                    <a:pt x="807428" y="868830"/>
                  </a:lnTo>
                  <a:lnTo>
                    <a:pt x="804986" y="868830"/>
                  </a:lnTo>
                  <a:lnTo>
                    <a:pt x="804986" y="859185"/>
                  </a:lnTo>
                  <a:lnTo>
                    <a:pt x="802544" y="859185"/>
                  </a:lnTo>
                  <a:lnTo>
                    <a:pt x="802544" y="854363"/>
                  </a:lnTo>
                  <a:lnTo>
                    <a:pt x="785352" y="854363"/>
                  </a:lnTo>
                  <a:lnTo>
                    <a:pt x="785352" y="849541"/>
                  </a:lnTo>
                  <a:lnTo>
                    <a:pt x="780468" y="849541"/>
                  </a:lnTo>
                  <a:lnTo>
                    <a:pt x="780468" y="844718"/>
                  </a:lnTo>
                  <a:lnTo>
                    <a:pt x="778026" y="844718"/>
                  </a:lnTo>
                  <a:lnTo>
                    <a:pt x="778026" y="839896"/>
                  </a:lnTo>
                  <a:lnTo>
                    <a:pt x="775584" y="839896"/>
                  </a:lnTo>
                  <a:lnTo>
                    <a:pt x="775584" y="830251"/>
                  </a:lnTo>
                  <a:lnTo>
                    <a:pt x="773142" y="830251"/>
                  </a:lnTo>
                  <a:lnTo>
                    <a:pt x="773142" y="825429"/>
                  </a:lnTo>
                  <a:lnTo>
                    <a:pt x="765718" y="825429"/>
                  </a:lnTo>
                  <a:lnTo>
                    <a:pt x="765718" y="820606"/>
                  </a:lnTo>
                  <a:lnTo>
                    <a:pt x="763276" y="820606"/>
                  </a:lnTo>
                  <a:lnTo>
                    <a:pt x="763276" y="815784"/>
                  </a:lnTo>
                  <a:lnTo>
                    <a:pt x="755950" y="815784"/>
                  </a:lnTo>
                  <a:lnTo>
                    <a:pt x="755950" y="810828"/>
                  </a:lnTo>
                  <a:lnTo>
                    <a:pt x="748526" y="810828"/>
                  </a:lnTo>
                  <a:lnTo>
                    <a:pt x="748526" y="806005"/>
                  </a:lnTo>
                  <a:lnTo>
                    <a:pt x="743642" y="806005"/>
                  </a:lnTo>
                  <a:lnTo>
                    <a:pt x="743642" y="801183"/>
                  </a:lnTo>
                  <a:lnTo>
                    <a:pt x="738758" y="801183"/>
                  </a:lnTo>
                  <a:lnTo>
                    <a:pt x="738758" y="796361"/>
                  </a:lnTo>
                  <a:lnTo>
                    <a:pt x="728893" y="796361"/>
                  </a:lnTo>
                  <a:lnTo>
                    <a:pt x="728893" y="786582"/>
                  </a:lnTo>
                  <a:lnTo>
                    <a:pt x="716585" y="786582"/>
                  </a:lnTo>
                  <a:lnTo>
                    <a:pt x="716585" y="781759"/>
                  </a:lnTo>
                  <a:lnTo>
                    <a:pt x="704375" y="781759"/>
                  </a:lnTo>
                  <a:lnTo>
                    <a:pt x="704375" y="776937"/>
                  </a:lnTo>
                  <a:lnTo>
                    <a:pt x="699491" y="776937"/>
                  </a:lnTo>
                  <a:lnTo>
                    <a:pt x="699491" y="771981"/>
                  </a:lnTo>
                  <a:lnTo>
                    <a:pt x="684741" y="771981"/>
                  </a:lnTo>
                  <a:lnTo>
                    <a:pt x="684741" y="767292"/>
                  </a:lnTo>
                  <a:lnTo>
                    <a:pt x="672433" y="767292"/>
                  </a:lnTo>
                  <a:lnTo>
                    <a:pt x="672433" y="762470"/>
                  </a:lnTo>
                  <a:lnTo>
                    <a:pt x="665107" y="762470"/>
                  </a:lnTo>
                  <a:lnTo>
                    <a:pt x="665107" y="748003"/>
                  </a:lnTo>
                  <a:lnTo>
                    <a:pt x="662665" y="748003"/>
                  </a:lnTo>
                  <a:lnTo>
                    <a:pt x="662665" y="743181"/>
                  </a:lnTo>
                  <a:lnTo>
                    <a:pt x="657781" y="743181"/>
                  </a:lnTo>
                  <a:lnTo>
                    <a:pt x="657781" y="738358"/>
                  </a:lnTo>
                  <a:lnTo>
                    <a:pt x="652897" y="738358"/>
                  </a:lnTo>
                  <a:lnTo>
                    <a:pt x="652897" y="733536"/>
                  </a:lnTo>
                  <a:lnTo>
                    <a:pt x="650455" y="733536"/>
                  </a:lnTo>
                  <a:lnTo>
                    <a:pt x="650455" y="728713"/>
                  </a:lnTo>
                  <a:lnTo>
                    <a:pt x="633361" y="728713"/>
                  </a:lnTo>
                  <a:lnTo>
                    <a:pt x="633361" y="723891"/>
                  </a:lnTo>
                  <a:lnTo>
                    <a:pt x="625937" y="723891"/>
                  </a:lnTo>
                  <a:lnTo>
                    <a:pt x="625937" y="719069"/>
                  </a:lnTo>
                  <a:lnTo>
                    <a:pt x="623495" y="719069"/>
                  </a:lnTo>
                  <a:lnTo>
                    <a:pt x="623495" y="704468"/>
                  </a:lnTo>
                  <a:lnTo>
                    <a:pt x="616169" y="704468"/>
                  </a:lnTo>
                  <a:lnTo>
                    <a:pt x="616169" y="699645"/>
                  </a:lnTo>
                  <a:lnTo>
                    <a:pt x="611285" y="699645"/>
                  </a:lnTo>
                  <a:lnTo>
                    <a:pt x="611285" y="684910"/>
                  </a:lnTo>
                  <a:lnTo>
                    <a:pt x="598977" y="684910"/>
                  </a:lnTo>
                  <a:lnTo>
                    <a:pt x="598977" y="680088"/>
                  </a:lnTo>
                  <a:lnTo>
                    <a:pt x="591651" y="680088"/>
                  </a:lnTo>
                  <a:lnTo>
                    <a:pt x="591651" y="675132"/>
                  </a:lnTo>
                  <a:lnTo>
                    <a:pt x="589209" y="675132"/>
                  </a:lnTo>
                  <a:lnTo>
                    <a:pt x="589209" y="670309"/>
                  </a:lnTo>
                  <a:lnTo>
                    <a:pt x="569576" y="670309"/>
                  </a:lnTo>
                  <a:lnTo>
                    <a:pt x="569576" y="665353"/>
                  </a:lnTo>
                  <a:lnTo>
                    <a:pt x="559710" y="665353"/>
                  </a:lnTo>
                  <a:lnTo>
                    <a:pt x="559710" y="660530"/>
                  </a:lnTo>
                  <a:lnTo>
                    <a:pt x="557268" y="660530"/>
                  </a:lnTo>
                  <a:lnTo>
                    <a:pt x="557268" y="655574"/>
                  </a:lnTo>
                  <a:lnTo>
                    <a:pt x="554826" y="655574"/>
                  </a:lnTo>
                  <a:lnTo>
                    <a:pt x="554826" y="650618"/>
                  </a:lnTo>
                  <a:lnTo>
                    <a:pt x="547500" y="650618"/>
                  </a:lnTo>
                  <a:lnTo>
                    <a:pt x="547500" y="645795"/>
                  </a:lnTo>
                  <a:lnTo>
                    <a:pt x="542616" y="645795"/>
                  </a:lnTo>
                  <a:lnTo>
                    <a:pt x="542616" y="640839"/>
                  </a:lnTo>
                  <a:lnTo>
                    <a:pt x="527866" y="640839"/>
                  </a:lnTo>
                  <a:lnTo>
                    <a:pt x="527866" y="635883"/>
                  </a:lnTo>
                  <a:lnTo>
                    <a:pt x="525424" y="635883"/>
                  </a:lnTo>
                  <a:lnTo>
                    <a:pt x="525424" y="626104"/>
                  </a:lnTo>
                  <a:lnTo>
                    <a:pt x="515656" y="626104"/>
                  </a:lnTo>
                  <a:lnTo>
                    <a:pt x="515656" y="616325"/>
                  </a:lnTo>
                  <a:lnTo>
                    <a:pt x="508330" y="616325"/>
                  </a:lnTo>
                  <a:lnTo>
                    <a:pt x="508330" y="606547"/>
                  </a:lnTo>
                  <a:lnTo>
                    <a:pt x="505888" y="606547"/>
                  </a:lnTo>
                  <a:lnTo>
                    <a:pt x="505888" y="601724"/>
                  </a:lnTo>
                  <a:lnTo>
                    <a:pt x="503446" y="601724"/>
                  </a:lnTo>
                  <a:lnTo>
                    <a:pt x="503446" y="596768"/>
                  </a:lnTo>
                  <a:lnTo>
                    <a:pt x="486254" y="596768"/>
                  </a:lnTo>
                  <a:lnTo>
                    <a:pt x="486254" y="591946"/>
                  </a:lnTo>
                  <a:lnTo>
                    <a:pt x="481370" y="591946"/>
                  </a:lnTo>
                  <a:lnTo>
                    <a:pt x="481370" y="582167"/>
                  </a:lnTo>
                  <a:lnTo>
                    <a:pt x="478928" y="582167"/>
                  </a:lnTo>
                  <a:lnTo>
                    <a:pt x="478928" y="577345"/>
                  </a:lnTo>
                  <a:lnTo>
                    <a:pt x="461736" y="577345"/>
                  </a:lnTo>
                  <a:lnTo>
                    <a:pt x="461736" y="572388"/>
                  </a:lnTo>
                  <a:lnTo>
                    <a:pt x="446986" y="572388"/>
                  </a:lnTo>
                  <a:lnTo>
                    <a:pt x="446986" y="562610"/>
                  </a:lnTo>
                  <a:lnTo>
                    <a:pt x="444544" y="562610"/>
                  </a:lnTo>
                  <a:lnTo>
                    <a:pt x="444544" y="557653"/>
                  </a:lnTo>
                  <a:lnTo>
                    <a:pt x="442102" y="557653"/>
                  </a:lnTo>
                  <a:lnTo>
                    <a:pt x="442102" y="547741"/>
                  </a:lnTo>
                  <a:lnTo>
                    <a:pt x="439660" y="547741"/>
                  </a:lnTo>
                  <a:lnTo>
                    <a:pt x="439660" y="542784"/>
                  </a:lnTo>
                  <a:lnTo>
                    <a:pt x="429892" y="542784"/>
                  </a:lnTo>
                  <a:lnTo>
                    <a:pt x="429892" y="537828"/>
                  </a:lnTo>
                  <a:lnTo>
                    <a:pt x="427450" y="537828"/>
                  </a:lnTo>
                  <a:lnTo>
                    <a:pt x="427450" y="532872"/>
                  </a:lnTo>
                  <a:lnTo>
                    <a:pt x="425008" y="532872"/>
                  </a:lnTo>
                  <a:lnTo>
                    <a:pt x="425008" y="527915"/>
                  </a:lnTo>
                  <a:lnTo>
                    <a:pt x="422566" y="527915"/>
                  </a:lnTo>
                  <a:lnTo>
                    <a:pt x="422566" y="522959"/>
                  </a:lnTo>
                  <a:lnTo>
                    <a:pt x="420124" y="522959"/>
                  </a:lnTo>
                  <a:lnTo>
                    <a:pt x="420124" y="518003"/>
                  </a:lnTo>
                  <a:lnTo>
                    <a:pt x="417682" y="518003"/>
                  </a:lnTo>
                  <a:lnTo>
                    <a:pt x="417682" y="513046"/>
                  </a:lnTo>
                  <a:lnTo>
                    <a:pt x="407817" y="513046"/>
                  </a:lnTo>
                  <a:lnTo>
                    <a:pt x="407817" y="508090"/>
                  </a:lnTo>
                  <a:lnTo>
                    <a:pt x="405375" y="508090"/>
                  </a:lnTo>
                  <a:lnTo>
                    <a:pt x="405375" y="503134"/>
                  </a:lnTo>
                  <a:lnTo>
                    <a:pt x="402932" y="503134"/>
                  </a:lnTo>
                  <a:lnTo>
                    <a:pt x="402932" y="498177"/>
                  </a:lnTo>
                  <a:lnTo>
                    <a:pt x="395606" y="498177"/>
                  </a:lnTo>
                  <a:lnTo>
                    <a:pt x="395606" y="493221"/>
                  </a:lnTo>
                  <a:lnTo>
                    <a:pt x="390722" y="493221"/>
                  </a:lnTo>
                  <a:lnTo>
                    <a:pt x="390722" y="488265"/>
                  </a:lnTo>
                  <a:lnTo>
                    <a:pt x="385838" y="488265"/>
                  </a:lnTo>
                  <a:lnTo>
                    <a:pt x="385838" y="483308"/>
                  </a:lnTo>
                  <a:lnTo>
                    <a:pt x="383396" y="483308"/>
                  </a:lnTo>
                  <a:lnTo>
                    <a:pt x="383396" y="478352"/>
                  </a:lnTo>
                  <a:lnTo>
                    <a:pt x="373531" y="478352"/>
                  </a:lnTo>
                  <a:lnTo>
                    <a:pt x="373531" y="473396"/>
                  </a:lnTo>
                  <a:lnTo>
                    <a:pt x="371089" y="473396"/>
                  </a:lnTo>
                  <a:lnTo>
                    <a:pt x="371089" y="463483"/>
                  </a:lnTo>
                  <a:lnTo>
                    <a:pt x="368647" y="463483"/>
                  </a:lnTo>
                  <a:lnTo>
                    <a:pt x="368647" y="458527"/>
                  </a:lnTo>
                  <a:lnTo>
                    <a:pt x="363763" y="458527"/>
                  </a:lnTo>
                  <a:lnTo>
                    <a:pt x="363763" y="453571"/>
                  </a:lnTo>
                  <a:lnTo>
                    <a:pt x="358879" y="453571"/>
                  </a:lnTo>
                  <a:lnTo>
                    <a:pt x="358879" y="443524"/>
                  </a:lnTo>
                  <a:lnTo>
                    <a:pt x="356437" y="443524"/>
                  </a:lnTo>
                  <a:lnTo>
                    <a:pt x="356437" y="433477"/>
                  </a:lnTo>
                  <a:lnTo>
                    <a:pt x="346571" y="433477"/>
                  </a:lnTo>
                  <a:lnTo>
                    <a:pt x="346571" y="428521"/>
                  </a:lnTo>
                  <a:lnTo>
                    <a:pt x="344129" y="428521"/>
                  </a:lnTo>
                  <a:lnTo>
                    <a:pt x="344129" y="423431"/>
                  </a:lnTo>
                  <a:lnTo>
                    <a:pt x="341687" y="423431"/>
                  </a:lnTo>
                  <a:lnTo>
                    <a:pt x="341687" y="418474"/>
                  </a:lnTo>
                  <a:lnTo>
                    <a:pt x="339245" y="418474"/>
                  </a:lnTo>
                  <a:lnTo>
                    <a:pt x="339245" y="408428"/>
                  </a:lnTo>
                  <a:lnTo>
                    <a:pt x="329379" y="408428"/>
                  </a:lnTo>
                  <a:lnTo>
                    <a:pt x="329379" y="403338"/>
                  </a:lnTo>
                  <a:lnTo>
                    <a:pt x="317071" y="403338"/>
                  </a:lnTo>
                  <a:lnTo>
                    <a:pt x="317071" y="398381"/>
                  </a:lnTo>
                  <a:lnTo>
                    <a:pt x="307303" y="398381"/>
                  </a:lnTo>
                  <a:lnTo>
                    <a:pt x="307303" y="388335"/>
                  </a:lnTo>
                  <a:lnTo>
                    <a:pt x="304861" y="388335"/>
                  </a:lnTo>
                  <a:lnTo>
                    <a:pt x="304861" y="383244"/>
                  </a:lnTo>
                  <a:lnTo>
                    <a:pt x="294995" y="383244"/>
                  </a:lnTo>
                  <a:lnTo>
                    <a:pt x="294995" y="378154"/>
                  </a:lnTo>
                  <a:lnTo>
                    <a:pt x="290111" y="378154"/>
                  </a:lnTo>
                  <a:lnTo>
                    <a:pt x="290111" y="367973"/>
                  </a:lnTo>
                  <a:lnTo>
                    <a:pt x="280343" y="367973"/>
                  </a:lnTo>
                  <a:lnTo>
                    <a:pt x="280343" y="362883"/>
                  </a:lnTo>
                  <a:lnTo>
                    <a:pt x="270478" y="362883"/>
                  </a:lnTo>
                  <a:lnTo>
                    <a:pt x="270478" y="347612"/>
                  </a:lnTo>
                  <a:lnTo>
                    <a:pt x="265594" y="347612"/>
                  </a:lnTo>
                  <a:lnTo>
                    <a:pt x="265594" y="337298"/>
                  </a:lnTo>
                  <a:lnTo>
                    <a:pt x="263152" y="337298"/>
                  </a:lnTo>
                  <a:lnTo>
                    <a:pt x="263152" y="327117"/>
                  </a:lnTo>
                  <a:lnTo>
                    <a:pt x="258268" y="327117"/>
                  </a:lnTo>
                  <a:lnTo>
                    <a:pt x="258268" y="322027"/>
                  </a:lnTo>
                  <a:lnTo>
                    <a:pt x="253383" y="322027"/>
                  </a:lnTo>
                  <a:lnTo>
                    <a:pt x="253383" y="306622"/>
                  </a:lnTo>
                  <a:lnTo>
                    <a:pt x="250941" y="306622"/>
                  </a:lnTo>
                  <a:lnTo>
                    <a:pt x="250941" y="296442"/>
                  </a:lnTo>
                  <a:lnTo>
                    <a:pt x="248499" y="296442"/>
                  </a:lnTo>
                  <a:lnTo>
                    <a:pt x="248499" y="291217"/>
                  </a:lnTo>
                  <a:lnTo>
                    <a:pt x="246057" y="291217"/>
                  </a:lnTo>
                  <a:lnTo>
                    <a:pt x="246057" y="285993"/>
                  </a:lnTo>
                  <a:lnTo>
                    <a:pt x="241173" y="285993"/>
                  </a:lnTo>
                  <a:lnTo>
                    <a:pt x="241173" y="280903"/>
                  </a:lnTo>
                  <a:lnTo>
                    <a:pt x="238731" y="280903"/>
                  </a:lnTo>
                  <a:lnTo>
                    <a:pt x="238731" y="275679"/>
                  </a:lnTo>
                  <a:lnTo>
                    <a:pt x="233847" y="275679"/>
                  </a:lnTo>
                  <a:lnTo>
                    <a:pt x="233847" y="270454"/>
                  </a:lnTo>
                  <a:lnTo>
                    <a:pt x="219195" y="270454"/>
                  </a:lnTo>
                  <a:lnTo>
                    <a:pt x="219195" y="260006"/>
                  </a:lnTo>
                  <a:lnTo>
                    <a:pt x="209427" y="260006"/>
                  </a:lnTo>
                  <a:lnTo>
                    <a:pt x="209427" y="254782"/>
                  </a:lnTo>
                  <a:lnTo>
                    <a:pt x="206985" y="254782"/>
                  </a:lnTo>
                  <a:lnTo>
                    <a:pt x="206985" y="244333"/>
                  </a:lnTo>
                  <a:lnTo>
                    <a:pt x="204543" y="244333"/>
                  </a:lnTo>
                  <a:lnTo>
                    <a:pt x="204543" y="239109"/>
                  </a:lnTo>
                  <a:lnTo>
                    <a:pt x="202101" y="239109"/>
                  </a:lnTo>
                  <a:lnTo>
                    <a:pt x="202101" y="233885"/>
                  </a:lnTo>
                  <a:lnTo>
                    <a:pt x="199659" y="233885"/>
                  </a:lnTo>
                  <a:lnTo>
                    <a:pt x="199659" y="228661"/>
                  </a:lnTo>
                  <a:lnTo>
                    <a:pt x="197217" y="228661"/>
                  </a:lnTo>
                  <a:lnTo>
                    <a:pt x="197217" y="212854"/>
                  </a:lnTo>
                  <a:lnTo>
                    <a:pt x="192333" y="212854"/>
                  </a:lnTo>
                  <a:lnTo>
                    <a:pt x="192333" y="207630"/>
                  </a:lnTo>
                  <a:lnTo>
                    <a:pt x="189891" y="207630"/>
                  </a:lnTo>
                  <a:lnTo>
                    <a:pt x="189891" y="202272"/>
                  </a:lnTo>
                  <a:lnTo>
                    <a:pt x="187449" y="202272"/>
                  </a:lnTo>
                  <a:lnTo>
                    <a:pt x="187449" y="191555"/>
                  </a:lnTo>
                  <a:lnTo>
                    <a:pt x="185007" y="191555"/>
                  </a:lnTo>
                  <a:lnTo>
                    <a:pt x="185007" y="186197"/>
                  </a:lnTo>
                  <a:lnTo>
                    <a:pt x="177681" y="186197"/>
                  </a:lnTo>
                  <a:lnTo>
                    <a:pt x="177681" y="175481"/>
                  </a:lnTo>
                  <a:lnTo>
                    <a:pt x="175239" y="175481"/>
                  </a:lnTo>
                  <a:lnTo>
                    <a:pt x="175239" y="170122"/>
                  </a:lnTo>
                  <a:lnTo>
                    <a:pt x="167913" y="170122"/>
                  </a:lnTo>
                  <a:lnTo>
                    <a:pt x="167913" y="164630"/>
                  </a:lnTo>
                  <a:lnTo>
                    <a:pt x="165471" y="164630"/>
                  </a:lnTo>
                  <a:lnTo>
                    <a:pt x="165471" y="159138"/>
                  </a:lnTo>
                  <a:lnTo>
                    <a:pt x="163029" y="159138"/>
                  </a:lnTo>
                  <a:lnTo>
                    <a:pt x="163029" y="153646"/>
                  </a:lnTo>
                  <a:lnTo>
                    <a:pt x="155703" y="153646"/>
                  </a:lnTo>
                  <a:lnTo>
                    <a:pt x="155703" y="148154"/>
                  </a:lnTo>
                  <a:lnTo>
                    <a:pt x="143395" y="148154"/>
                  </a:lnTo>
                  <a:lnTo>
                    <a:pt x="143395" y="142662"/>
                  </a:lnTo>
                  <a:lnTo>
                    <a:pt x="136069" y="142662"/>
                  </a:lnTo>
                  <a:lnTo>
                    <a:pt x="136069" y="137170"/>
                  </a:lnTo>
                  <a:lnTo>
                    <a:pt x="133627" y="137170"/>
                  </a:lnTo>
                  <a:lnTo>
                    <a:pt x="133627" y="131543"/>
                  </a:lnTo>
                  <a:lnTo>
                    <a:pt x="123761" y="131543"/>
                  </a:lnTo>
                  <a:lnTo>
                    <a:pt x="123761" y="125917"/>
                  </a:lnTo>
                  <a:lnTo>
                    <a:pt x="121319" y="125917"/>
                  </a:lnTo>
                  <a:lnTo>
                    <a:pt x="121319" y="114665"/>
                  </a:lnTo>
                  <a:lnTo>
                    <a:pt x="116435" y="114665"/>
                  </a:lnTo>
                  <a:lnTo>
                    <a:pt x="116435" y="109039"/>
                  </a:lnTo>
                  <a:lnTo>
                    <a:pt x="99243" y="109039"/>
                  </a:lnTo>
                  <a:lnTo>
                    <a:pt x="99243" y="97519"/>
                  </a:lnTo>
                  <a:lnTo>
                    <a:pt x="96801" y="97519"/>
                  </a:lnTo>
                  <a:lnTo>
                    <a:pt x="96801" y="91759"/>
                  </a:lnTo>
                  <a:lnTo>
                    <a:pt x="84494" y="91759"/>
                  </a:lnTo>
                  <a:lnTo>
                    <a:pt x="84494" y="85865"/>
                  </a:lnTo>
                  <a:lnTo>
                    <a:pt x="82052" y="85865"/>
                  </a:lnTo>
                  <a:lnTo>
                    <a:pt x="82052" y="79971"/>
                  </a:lnTo>
                  <a:lnTo>
                    <a:pt x="79610" y="79971"/>
                  </a:lnTo>
                  <a:lnTo>
                    <a:pt x="79610" y="73943"/>
                  </a:lnTo>
                  <a:lnTo>
                    <a:pt x="72284" y="73943"/>
                  </a:lnTo>
                  <a:lnTo>
                    <a:pt x="72284" y="67915"/>
                  </a:lnTo>
                  <a:lnTo>
                    <a:pt x="59976" y="67915"/>
                  </a:lnTo>
                  <a:lnTo>
                    <a:pt x="59976" y="55591"/>
                  </a:lnTo>
                  <a:lnTo>
                    <a:pt x="52650" y="55591"/>
                  </a:lnTo>
                  <a:lnTo>
                    <a:pt x="52650" y="49161"/>
                  </a:lnTo>
                  <a:lnTo>
                    <a:pt x="47766" y="49161"/>
                  </a:lnTo>
                  <a:lnTo>
                    <a:pt x="47766" y="35900"/>
                  </a:lnTo>
                  <a:lnTo>
                    <a:pt x="30672" y="35900"/>
                  </a:lnTo>
                  <a:lnTo>
                    <a:pt x="30672" y="25050"/>
                  </a:lnTo>
                  <a:lnTo>
                    <a:pt x="42589" y="25050"/>
                  </a:lnTo>
                  <a:lnTo>
                    <a:pt x="42589" y="27193"/>
                  </a:lnTo>
                  <a:cubicBezTo>
                    <a:pt x="42589" y="29068"/>
                    <a:pt x="43175" y="30944"/>
                    <a:pt x="44152" y="32283"/>
                  </a:cubicBezTo>
                  <a:cubicBezTo>
                    <a:pt x="45128" y="33623"/>
                    <a:pt x="46496" y="34426"/>
                    <a:pt x="47863" y="34426"/>
                  </a:cubicBezTo>
                  <a:lnTo>
                    <a:pt x="47863" y="34426"/>
                  </a:lnTo>
                  <a:cubicBezTo>
                    <a:pt x="48157" y="35364"/>
                    <a:pt x="48547" y="36302"/>
                    <a:pt x="49036" y="36971"/>
                  </a:cubicBezTo>
                  <a:cubicBezTo>
                    <a:pt x="50012" y="38311"/>
                    <a:pt x="51380" y="39115"/>
                    <a:pt x="52748" y="39115"/>
                  </a:cubicBezTo>
                  <a:lnTo>
                    <a:pt x="54896" y="39115"/>
                  </a:lnTo>
                  <a:lnTo>
                    <a:pt x="54896" y="41258"/>
                  </a:lnTo>
                  <a:cubicBezTo>
                    <a:pt x="54896" y="43133"/>
                    <a:pt x="55483" y="45009"/>
                    <a:pt x="56459" y="46348"/>
                  </a:cubicBezTo>
                  <a:cubicBezTo>
                    <a:pt x="57436" y="47688"/>
                    <a:pt x="58804" y="48492"/>
                    <a:pt x="60171" y="48492"/>
                  </a:cubicBezTo>
                  <a:lnTo>
                    <a:pt x="67595" y="48492"/>
                  </a:lnTo>
                  <a:cubicBezTo>
                    <a:pt x="67888" y="49429"/>
                    <a:pt x="68279" y="50367"/>
                    <a:pt x="68767" y="51037"/>
                  </a:cubicBezTo>
                  <a:cubicBezTo>
                    <a:pt x="69744" y="52376"/>
                    <a:pt x="71111" y="53180"/>
                    <a:pt x="72479" y="53180"/>
                  </a:cubicBezTo>
                  <a:lnTo>
                    <a:pt x="74921" y="53180"/>
                  </a:lnTo>
                  <a:cubicBezTo>
                    <a:pt x="75214" y="54118"/>
                    <a:pt x="75605" y="55055"/>
                    <a:pt x="76093" y="55725"/>
                  </a:cubicBezTo>
                  <a:cubicBezTo>
                    <a:pt x="76386" y="56127"/>
                    <a:pt x="76777" y="56529"/>
                    <a:pt x="77168" y="56797"/>
                  </a:cubicBezTo>
                  <a:cubicBezTo>
                    <a:pt x="77363" y="58136"/>
                    <a:pt x="77851" y="59342"/>
                    <a:pt x="78535" y="60280"/>
                  </a:cubicBezTo>
                  <a:cubicBezTo>
                    <a:pt x="78828" y="60681"/>
                    <a:pt x="79219" y="61083"/>
                    <a:pt x="79610" y="61351"/>
                  </a:cubicBezTo>
                  <a:cubicBezTo>
                    <a:pt x="79805" y="62691"/>
                    <a:pt x="80293" y="63896"/>
                    <a:pt x="80977" y="64834"/>
                  </a:cubicBezTo>
                  <a:cubicBezTo>
                    <a:pt x="81954" y="66174"/>
                    <a:pt x="83322" y="66977"/>
                    <a:pt x="84689" y="66977"/>
                  </a:cubicBezTo>
                  <a:lnTo>
                    <a:pt x="92015" y="66977"/>
                  </a:lnTo>
                  <a:cubicBezTo>
                    <a:pt x="92308" y="67915"/>
                    <a:pt x="92699" y="68853"/>
                    <a:pt x="93187" y="69522"/>
                  </a:cubicBezTo>
                  <a:cubicBezTo>
                    <a:pt x="93480" y="69924"/>
                    <a:pt x="93773" y="70192"/>
                    <a:pt x="94066" y="70594"/>
                  </a:cubicBezTo>
                  <a:lnTo>
                    <a:pt x="94066" y="73809"/>
                  </a:lnTo>
                  <a:cubicBezTo>
                    <a:pt x="94066" y="75684"/>
                    <a:pt x="94652" y="77560"/>
                    <a:pt x="95629" y="78899"/>
                  </a:cubicBezTo>
                  <a:cubicBezTo>
                    <a:pt x="96606" y="80239"/>
                    <a:pt x="97974" y="81043"/>
                    <a:pt x="99341" y="81043"/>
                  </a:cubicBezTo>
                  <a:lnTo>
                    <a:pt x="111551" y="81043"/>
                  </a:lnTo>
                  <a:cubicBezTo>
                    <a:pt x="111844" y="81980"/>
                    <a:pt x="112235" y="82918"/>
                    <a:pt x="112723" y="83588"/>
                  </a:cubicBezTo>
                  <a:cubicBezTo>
                    <a:pt x="113603" y="84793"/>
                    <a:pt x="114872" y="85597"/>
                    <a:pt x="116142" y="85731"/>
                  </a:cubicBezTo>
                  <a:lnTo>
                    <a:pt x="116142" y="87874"/>
                  </a:lnTo>
                  <a:cubicBezTo>
                    <a:pt x="116142" y="89750"/>
                    <a:pt x="116728" y="91625"/>
                    <a:pt x="117705" y="92965"/>
                  </a:cubicBezTo>
                  <a:cubicBezTo>
                    <a:pt x="117998" y="93366"/>
                    <a:pt x="118389" y="93768"/>
                    <a:pt x="118780" y="94036"/>
                  </a:cubicBezTo>
                  <a:cubicBezTo>
                    <a:pt x="118975" y="95376"/>
                    <a:pt x="119463" y="96581"/>
                    <a:pt x="120147" y="97519"/>
                  </a:cubicBezTo>
                  <a:cubicBezTo>
                    <a:pt x="121124" y="98859"/>
                    <a:pt x="122491" y="99662"/>
                    <a:pt x="123859" y="99662"/>
                  </a:cubicBezTo>
                  <a:lnTo>
                    <a:pt x="128841" y="99662"/>
                  </a:lnTo>
                  <a:cubicBezTo>
                    <a:pt x="129134" y="100600"/>
                    <a:pt x="129524" y="101404"/>
                    <a:pt x="130013" y="102073"/>
                  </a:cubicBezTo>
                  <a:cubicBezTo>
                    <a:pt x="130306" y="102475"/>
                    <a:pt x="130697" y="102877"/>
                    <a:pt x="131087" y="103145"/>
                  </a:cubicBezTo>
                  <a:cubicBezTo>
                    <a:pt x="131283" y="104485"/>
                    <a:pt x="131771" y="105690"/>
                    <a:pt x="132553" y="106628"/>
                  </a:cubicBezTo>
                  <a:cubicBezTo>
                    <a:pt x="133529" y="107967"/>
                    <a:pt x="134897" y="108771"/>
                    <a:pt x="136264" y="108771"/>
                  </a:cubicBezTo>
                  <a:lnTo>
                    <a:pt x="138706" y="108771"/>
                  </a:lnTo>
                  <a:cubicBezTo>
                    <a:pt x="139000" y="109709"/>
                    <a:pt x="139390" y="110647"/>
                    <a:pt x="139879" y="111316"/>
                  </a:cubicBezTo>
                  <a:cubicBezTo>
                    <a:pt x="140855" y="112656"/>
                    <a:pt x="142223" y="113460"/>
                    <a:pt x="143590" y="113460"/>
                  </a:cubicBezTo>
                  <a:lnTo>
                    <a:pt x="151014" y="113460"/>
                  </a:lnTo>
                  <a:cubicBezTo>
                    <a:pt x="151307" y="114397"/>
                    <a:pt x="151698" y="115201"/>
                    <a:pt x="152186" y="116005"/>
                  </a:cubicBezTo>
                  <a:cubicBezTo>
                    <a:pt x="153163" y="117344"/>
                    <a:pt x="154531" y="118148"/>
                    <a:pt x="155898" y="118148"/>
                  </a:cubicBezTo>
                  <a:lnTo>
                    <a:pt x="158340" y="118148"/>
                  </a:lnTo>
                  <a:cubicBezTo>
                    <a:pt x="158633" y="119086"/>
                    <a:pt x="159024" y="120023"/>
                    <a:pt x="159512" y="120693"/>
                  </a:cubicBezTo>
                  <a:cubicBezTo>
                    <a:pt x="159805" y="121095"/>
                    <a:pt x="160196" y="121497"/>
                    <a:pt x="160587" y="121765"/>
                  </a:cubicBezTo>
                  <a:cubicBezTo>
                    <a:pt x="160782" y="123104"/>
                    <a:pt x="161271" y="124310"/>
                    <a:pt x="161954" y="125382"/>
                  </a:cubicBezTo>
                  <a:cubicBezTo>
                    <a:pt x="162247" y="125783"/>
                    <a:pt x="162638" y="126185"/>
                    <a:pt x="163029" y="126453"/>
                  </a:cubicBezTo>
                  <a:cubicBezTo>
                    <a:pt x="163224" y="127793"/>
                    <a:pt x="163713" y="128998"/>
                    <a:pt x="164396" y="129936"/>
                  </a:cubicBezTo>
                  <a:cubicBezTo>
                    <a:pt x="165373" y="131276"/>
                    <a:pt x="166741" y="132079"/>
                    <a:pt x="168108" y="132079"/>
                  </a:cubicBezTo>
                  <a:lnTo>
                    <a:pt x="170550" y="132079"/>
                  </a:lnTo>
                  <a:cubicBezTo>
                    <a:pt x="170843" y="133017"/>
                    <a:pt x="171234" y="133821"/>
                    <a:pt x="171723" y="134624"/>
                  </a:cubicBezTo>
                  <a:cubicBezTo>
                    <a:pt x="172016" y="135026"/>
                    <a:pt x="172309" y="135294"/>
                    <a:pt x="172602" y="135696"/>
                  </a:cubicBezTo>
                  <a:lnTo>
                    <a:pt x="172602" y="138911"/>
                  </a:lnTo>
                  <a:cubicBezTo>
                    <a:pt x="172602" y="140786"/>
                    <a:pt x="173188" y="142662"/>
                    <a:pt x="174165" y="144001"/>
                  </a:cubicBezTo>
                  <a:cubicBezTo>
                    <a:pt x="175141" y="145341"/>
                    <a:pt x="176509" y="146145"/>
                    <a:pt x="177876" y="146145"/>
                  </a:cubicBezTo>
                  <a:lnTo>
                    <a:pt x="180318" y="146145"/>
                  </a:lnTo>
                  <a:cubicBezTo>
                    <a:pt x="180611" y="147082"/>
                    <a:pt x="181002" y="148020"/>
                    <a:pt x="181491" y="148690"/>
                  </a:cubicBezTo>
                  <a:cubicBezTo>
                    <a:pt x="181784" y="149092"/>
                    <a:pt x="182077" y="149359"/>
                    <a:pt x="182370" y="149761"/>
                  </a:cubicBezTo>
                  <a:lnTo>
                    <a:pt x="182370" y="152976"/>
                  </a:lnTo>
                  <a:cubicBezTo>
                    <a:pt x="182370" y="154852"/>
                    <a:pt x="182956" y="156727"/>
                    <a:pt x="183933" y="158067"/>
                  </a:cubicBezTo>
                  <a:cubicBezTo>
                    <a:pt x="184226" y="158468"/>
                    <a:pt x="184616" y="158870"/>
                    <a:pt x="185007" y="159138"/>
                  </a:cubicBezTo>
                  <a:cubicBezTo>
                    <a:pt x="185202" y="160478"/>
                    <a:pt x="185691" y="161683"/>
                    <a:pt x="186375" y="162621"/>
                  </a:cubicBezTo>
                  <a:cubicBezTo>
                    <a:pt x="186668" y="163023"/>
                    <a:pt x="187058" y="163425"/>
                    <a:pt x="187449" y="163693"/>
                  </a:cubicBezTo>
                  <a:cubicBezTo>
                    <a:pt x="187644" y="165032"/>
                    <a:pt x="188133" y="166238"/>
                    <a:pt x="188817" y="167175"/>
                  </a:cubicBezTo>
                  <a:cubicBezTo>
                    <a:pt x="189696" y="168381"/>
                    <a:pt x="190966" y="169185"/>
                    <a:pt x="192235" y="169319"/>
                  </a:cubicBezTo>
                  <a:lnTo>
                    <a:pt x="192235" y="176150"/>
                  </a:lnTo>
                  <a:cubicBezTo>
                    <a:pt x="192235" y="178026"/>
                    <a:pt x="192822" y="179901"/>
                    <a:pt x="193798" y="181241"/>
                  </a:cubicBezTo>
                  <a:cubicBezTo>
                    <a:pt x="194091" y="181643"/>
                    <a:pt x="194482" y="182044"/>
                    <a:pt x="194873" y="182312"/>
                  </a:cubicBezTo>
                  <a:cubicBezTo>
                    <a:pt x="195068" y="183652"/>
                    <a:pt x="195557" y="184857"/>
                    <a:pt x="196240" y="185795"/>
                  </a:cubicBezTo>
                  <a:cubicBezTo>
                    <a:pt x="196533" y="186197"/>
                    <a:pt x="196924" y="186599"/>
                    <a:pt x="197315" y="186867"/>
                  </a:cubicBezTo>
                  <a:cubicBezTo>
                    <a:pt x="197510" y="188206"/>
                    <a:pt x="197999" y="189412"/>
                    <a:pt x="198682" y="190350"/>
                  </a:cubicBezTo>
                  <a:cubicBezTo>
                    <a:pt x="198975" y="190751"/>
                    <a:pt x="199366" y="191153"/>
                    <a:pt x="199757" y="191421"/>
                  </a:cubicBezTo>
                  <a:cubicBezTo>
                    <a:pt x="199952" y="192761"/>
                    <a:pt x="200441" y="193966"/>
                    <a:pt x="201124" y="194904"/>
                  </a:cubicBezTo>
                  <a:cubicBezTo>
                    <a:pt x="201417" y="195306"/>
                    <a:pt x="201710" y="195574"/>
                    <a:pt x="202101" y="195976"/>
                  </a:cubicBezTo>
                  <a:lnTo>
                    <a:pt x="202101" y="199191"/>
                  </a:lnTo>
                  <a:cubicBezTo>
                    <a:pt x="202101" y="201066"/>
                    <a:pt x="202687" y="202941"/>
                    <a:pt x="203664" y="204281"/>
                  </a:cubicBezTo>
                  <a:cubicBezTo>
                    <a:pt x="203957" y="204683"/>
                    <a:pt x="204348" y="205085"/>
                    <a:pt x="204739" y="205353"/>
                  </a:cubicBezTo>
                  <a:cubicBezTo>
                    <a:pt x="204934" y="206692"/>
                    <a:pt x="205422" y="207898"/>
                    <a:pt x="206106" y="208969"/>
                  </a:cubicBezTo>
                  <a:cubicBezTo>
                    <a:pt x="207083" y="210309"/>
                    <a:pt x="208450" y="211113"/>
                    <a:pt x="209818" y="211113"/>
                  </a:cubicBezTo>
                  <a:lnTo>
                    <a:pt x="214409" y="211113"/>
                  </a:lnTo>
                  <a:lnTo>
                    <a:pt x="214409" y="213256"/>
                  </a:lnTo>
                  <a:cubicBezTo>
                    <a:pt x="214409" y="215131"/>
                    <a:pt x="214995" y="217007"/>
                    <a:pt x="215972" y="218346"/>
                  </a:cubicBezTo>
                  <a:cubicBezTo>
                    <a:pt x="216949" y="219686"/>
                    <a:pt x="218316" y="220489"/>
                    <a:pt x="219684" y="220489"/>
                  </a:cubicBezTo>
                  <a:lnTo>
                    <a:pt x="229452" y="220489"/>
                  </a:lnTo>
                  <a:cubicBezTo>
                    <a:pt x="229745" y="221427"/>
                    <a:pt x="230136" y="222365"/>
                    <a:pt x="230624" y="223035"/>
                  </a:cubicBezTo>
                  <a:cubicBezTo>
                    <a:pt x="231601" y="224374"/>
                    <a:pt x="232968" y="225178"/>
                    <a:pt x="234336" y="225178"/>
                  </a:cubicBezTo>
                  <a:lnTo>
                    <a:pt x="234336" y="225178"/>
                  </a:lnTo>
                  <a:cubicBezTo>
                    <a:pt x="234629" y="226115"/>
                    <a:pt x="235020" y="226919"/>
                    <a:pt x="235508" y="227589"/>
                  </a:cubicBezTo>
                  <a:cubicBezTo>
                    <a:pt x="235801" y="227991"/>
                    <a:pt x="236192" y="228393"/>
                    <a:pt x="236582" y="228661"/>
                  </a:cubicBezTo>
                  <a:cubicBezTo>
                    <a:pt x="236778" y="230000"/>
                    <a:pt x="237266" y="231206"/>
                    <a:pt x="237950" y="232277"/>
                  </a:cubicBezTo>
                  <a:cubicBezTo>
                    <a:pt x="238927" y="233617"/>
                    <a:pt x="240294" y="234421"/>
                    <a:pt x="241662" y="234421"/>
                  </a:cubicBezTo>
                  <a:lnTo>
                    <a:pt x="241662" y="234421"/>
                  </a:lnTo>
                  <a:cubicBezTo>
                    <a:pt x="241955" y="235358"/>
                    <a:pt x="242346" y="236296"/>
                    <a:pt x="242834" y="236966"/>
                  </a:cubicBezTo>
                  <a:cubicBezTo>
                    <a:pt x="243127" y="237368"/>
                    <a:pt x="243518" y="237770"/>
                    <a:pt x="243908" y="238037"/>
                  </a:cubicBezTo>
                  <a:cubicBezTo>
                    <a:pt x="244104" y="239377"/>
                    <a:pt x="244592" y="240583"/>
                    <a:pt x="245276" y="241520"/>
                  </a:cubicBezTo>
                  <a:cubicBezTo>
                    <a:pt x="245569" y="241922"/>
                    <a:pt x="245862" y="242190"/>
                    <a:pt x="246253" y="242592"/>
                  </a:cubicBezTo>
                  <a:lnTo>
                    <a:pt x="246253" y="245807"/>
                  </a:lnTo>
                  <a:cubicBezTo>
                    <a:pt x="246253" y="247682"/>
                    <a:pt x="246839" y="249558"/>
                    <a:pt x="247816" y="250897"/>
                  </a:cubicBezTo>
                  <a:cubicBezTo>
                    <a:pt x="248109" y="251299"/>
                    <a:pt x="248402" y="251567"/>
                    <a:pt x="248695" y="251835"/>
                  </a:cubicBezTo>
                  <a:lnTo>
                    <a:pt x="248695" y="259738"/>
                  </a:lnTo>
                  <a:cubicBezTo>
                    <a:pt x="248695" y="261613"/>
                    <a:pt x="249281" y="263489"/>
                    <a:pt x="250258" y="264828"/>
                  </a:cubicBezTo>
                  <a:cubicBezTo>
                    <a:pt x="251235" y="266168"/>
                    <a:pt x="252602" y="266972"/>
                    <a:pt x="253970" y="266972"/>
                  </a:cubicBezTo>
                  <a:lnTo>
                    <a:pt x="253970" y="266972"/>
                  </a:lnTo>
                  <a:cubicBezTo>
                    <a:pt x="254263" y="267909"/>
                    <a:pt x="254653" y="268713"/>
                    <a:pt x="255142" y="269517"/>
                  </a:cubicBezTo>
                  <a:cubicBezTo>
                    <a:pt x="256021" y="270722"/>
                    <a:pt x="257291" y="271526"/>
                    <a:pt x="258561" y="271660"/>
                  </a:cubicBezTo>
                  <a:lnTo>
                    <a:pt x="258561" y="273803"/>
                  </a:lnTo>
                  <a:cubicBezTo>
                    <a:pt x="258561" y="275679"/>
                    <a:pt x="259147" y="277554"/>
                    <a:pt x="260123" y="278894"/>
                  </a:cubicBezTo>
                  <a:cubicBezTo>
                    <a:pt x="260416" y="279295"/>
                    <a:pt x="260710" y="279563"/>
                    <a:pt x="261003" y="279965"/>
                  </a:cubicBezTo>
                  <a:lnTo>
                    <a:pt x="261003" y="283180"/>
                  </a:lnTo>
                  <a:cubicBezTo>
                    <a:pt x="261003" y="285056"/>
                    <a:pt x="261589" y="286931"/>
                    <a:pt x="262565" y="288270"/>
                  </a:cubicBezTo>
                  <a:cubicBezTo>
                    <a:pt x="263445" y="289476"/>
                    <a:pt x="264714" y="290280"/>
                    <a:pt x="265984" y="290414"/>
                  </a:cubicBezTo>
                  <a:lnTo>
                    <a:pt x="265984" y="297245"/>
                  </a:lnTo>
                  <a:cubicBezTo>
                    <a:pt x="265984" y="299121"/>
                    <a:pt x="266570" y="300996"/>
                    <a:pt x="267547" y="302336"/>
                  </a:cubicBezTo>
                  <a:cubicBezTo>
                    <a:pt x="268524" y="303675"/>
                    <a:pt x="269892" y="304479"/>
                    <a:pt x="271259" y="304479"/>
                  </a:cubicBezTo>
                  <a:lnTo>
                    <a:pt x="276241" y="304479"/>
                  </a:lnTo>
                  <a:cubicBezTo>
                    <a:pt x="276534" y="305417"/>
                    <a:pt x="276925" y="306354"/>
                    <a:pt x="277413" y="307024"/>
                  </a:cubicBezTo>
                  <a:cubicBezTo>
                    <a:pt x="278390" y="308364"/>
                    <a:pt x="279757" y="309167"/>
                    <a:pt x="281125" y="309167"/>
                  </a:cubicBezTo>
                  <a:lnTo>
                    <a:pt x="285618" y="309167"/>
                  </a:lnTo>
                  <a:lnTo>
                    <a:pt x="285618" y="311177"/>
                  </a:lnTo>
                  <a:cubicBezTo>
                    <a:pt x="285618" y="313052"/>
                    <a:pt x="286204" y="314927"/>
                    <a:pt x="287181" y="316267"/>
                  </a:cubicBezTo>
                  <a:cubicBezTo>
                    <a:pt x="288158" y="317607"/>
                    <a:pt x="289525" y="318410"/>
                    <a:pt x="290893" y="318410"/>
                  </a:cubicBezTo>
                  <a:lnTo>
                    <a:pt x="290893" y="318410"/>
                  </a:lnTo>
                  <a:cubicBezTo>
                    <a:pt x="291186" y="319348"/>
                    <a:pt x="291577" y="320286"/>
                    <a:pt x="292065" y="320955"/>
                  </a:cubicBezTo>
                  <a:cubicBezTo>
                    <a:pt x="293042" y="322295"/>
                    <a:pt x="294409" y="323099"/>
                    <a:pt x="295777" y="323099"/>
                  </a:cubicBezTo>
                  <a:lnTo>
                    <a:pt x="300759" y="323099"/>
                  </a:lnTo>
                  <a:cubicBezTo>
                    <a:pt x="301052" y="324036"/>
                    <a:pt x="301442" y="324974"/>
                    <a:pt x="301931" y="325644"/>
                  </a:cubicBezTo>
                  <a:cubicBezTo>
                    <a:pt x="302224" y="326046"/>
                    <a:pt x="302517" y="326314"/>
                    <a:pt x="302810" y="326715"/>
                  </a:cubicBezTo>
                  <a:lnTo>
                    <a:pt x="302810" y="329930"/>
                  </a:lnTo>
                  <a:cubicBezTo>
                    <a:pt x="302810" y="331806"/>
                    <a:pt x="303396" y="333681"/>
                    <a:pt x="304373" y="335021"/>
                  </a:cubicBezTo>
                  <a:cubicBezTo>
                    <a:pt x="305350" y="336360"/>
                    <a:pt x="306717" y="337164"/>
                    <a:pt x="308085" y="337164"/>
                  </a:cubicBezTo>
                  <a:lnTo>
                    <a:pt x="312969" y="337164"/>
                  </a:lnTo>
                  <a:cubicBezTo>
                    <a:pt x="313262" y="338102"/>
                    <a:pt x="313652" y="339039"/>
                    <a:pt x="314141" y="339709"/>
                  </a:cubicBezTo>
                  <a:cubicBezTo>
                    <a:pt x="315118" y="341049"/>
                    <a:pt x="316485" y="341852"/>
                    <a:pt x="317853" y="341852"/>
                  </a:cubicBezTo>
                  <a:lnTo>
                    <a:pt x="325276" y="341852"/>
                  </a:lnTo>
                  <a:cubicBezTo>
                    <a:pt x="325569" y="342790"/>
                    <a:pt x="325960" y="343728"/>
                    <a:pt x="326449" y="344397"/>
                  </a:cubicBezTo>
                  <a:cubicBezTo>
                    <a:pt x="327425" y="345737"/>
                    <a:pt x="328793" y="346541"/>
                    <a:pt x="330160" y="346541"/>
                  </a:cubicBezTo>
                  <a:lnTo>
                    <a:pt x="334751" y="346541"/>
                  </a:lnTo>
                  <a:lnTo>
                    <a:pt x="334751" y="348684"/>
                  </a:lnTo>
                  <a:cubicBezTo>
                    <a:pt x="334751" y="350559"/>
                    <a:pt x="335337" y="352435"/>
                    <a:pt x="336314" y="353774"/>
                  </a:cubicBezTo>
                  <a:cubicBezTo>
                    <a:pt x="336607" y="354176"/>
                    <a:pt x="336998" y="354578"/>
                    <a:pt x="337389" y="354846"/>
                  </a:cubicBezTo>
                  <a:cubicBezTo>
                    <a:pt x="337584" y="356185"/>
                    <a:pt x="338073" y="357391"/>
                    <a:pt x="338756" y="358329"/>
                  </a:cubicBezTo>
                  <a:cubicBezTo>
                    <a:pt x="339049" y="358731"/>
                    <a:pt x="339440" y="359132"/>
                    <a:pt x="339733" y="359400"/>
                  </a:cubicBezTo>
                  <a:cubicBezTo>
                    <a:pt x="339928" y="360740"/>
                    <a:pt x="340417" y="361946"/>
                    <a:pt x="341198" y="363017"/>
                  </a:cubicBezTo>
                  <a:cubicBezTo>
                    <a:pt x="341491" y="363419"/>
                    <a:pt x="341882" y="363821"/>
                    <a:pt x="342273" y="364089"/>
                  </a:cubicBezTo>
                  <a:cubicBezTo>
                    <a:pt x="342468" y="365428"/>
                    <a:pt x="342957" y="366634"/>
                    <a:pt x="343738" y="367706"/>
                  </a:cubicBezTo>
                  <a:cubicBezTo>
                    <a:pt x="344715" y="369045"/>
                    <a:pt x="346082" y="369849"/>
                    <a:pt x="347450" y="369849"/>
                  </a:cubicBezTo>
                  <a:lnTo>
                    <a:pt x="352041" y="369849"/>
                  </a:lnTo>
                  <a:lnTo>
                    <a:pt x="352041" y="371992"/>
                  </a:lnTo>
                  <a:cubicBezTo>
                    <a:pt x="352041" y="373867"/>
                    <a:pt x="352627" y="375743"/>
                    <a:pt x="353604" y="377082"/>
                  </a:cubicBezTo>
                  <a:cubicBezTo>
                    <a:pt x="353897" y="377484"/>
                    <a:pt x="354190" y="377752"/>
                    <a:pt x="354483" y="378020"/>
                  </a:cubicBezTo>
                  <a:lnTo>
                    <a:pt x="354483" y="381235"/>
                  </a:lnTo>
                  <a:cubicBezTo>
                    <a:pt x="354483" y="383110"/>
                    <a:pt x="355069" y="384986"/>
                    <a:pt x="356046" y="386325"/>
                  </a:cubicBezTo>
                  <a:cubicBezTo>
                    <a:pt x="357023" y="387665"/>
                    <a:pt x="358390" y="388469"/>
                    <a:pt x="359758" y="388469"/>
                  </a:cubicBezTo>
                  <a:lnTo>
                    <a:pt x="359758" y="388469"/>
                  </a:lnTo>
                  <a:cubicBezTo>
                    <a:pt x="360051" y="389406"/>
                    <a:pt x="360441" y="390344"/>
                    <a:pt x="360930" y="391014"/>
                  </a:cubicBezTo>
                  <a:cubicBezTo>
                    <a:pt x="361907" y="392353"/>
                    <a:pt x="363274" y="393157"/>
                    <a:pt x="364642" y="393157"/>
                  </a:cubicBezTo>
                  <a:lnTo>
                    <a:pt x="364642" y="393157"/>
                  </a:lnTo>
                  <a:cubicBezTo>
                    <a:pt x="364935" y="394095"/>
                    <a:pt x="365325" y="395032"/>
                    <a:pt x="365814" y="395702"/>
                  </a:cubicBezTo>
                  <a:cubicBezTo>
                    <a:pt x="366107" y="396104"/>
                    <a:pt x="366400" y="396372"/>
                    <a:pt x="366693" y="396774"/>
                  </a:cubicBezTo>
                  <a:lnTo>
                    <a:pt x="366693" y="399989"/>
                  </a:lnTo>
                  <a:cubicBezTo>
                    <a:pt x="366693" y="401864"/>
                    <a:pt x="367279" y="403739"/>
                    <a:pt x="368256" y="405079"/>
                  </a:cubicBezTo>
                  <a:cubicBezTo>
                    <a:pt x="368549" y="405481"/>
                    <a:pt x="368940" y="405883"/>
                    <a:pt x="369330" y="406151"/>
                  </a:cubicBezTo>
                  <a:cubicBezTo>
                    <a:pt x="369526" y="407490"/>
                    <a:pt x="370014" y="408696"/>
                    <a:pt x="370796" y="409767"/>
                  </a:cubicBezTo>
                  <a:cubicBezTo>
                    <a:pt x="371772" y="411107"/>
                    <a:pt x="373140" y="411911"/>
                    <a:pt x="374507" y="411911"/>
                  </a:cubicBezTo>
                  <a:lnTo>
                    <a:pt x="379489" y="411911"/>
                  </a:lnTo>
                  <a:cubicBezTo>
                    <a:pt x="379782" y="412848"/>
                    <a:pt x="380173" y="413786"/>
                    <a:pt x="380661" y="414456"/>
                  </a:cubicBezTo>
                  <a:cubicBezTo>
                    <a:pt x="380954" y="414858"/>
                    <a:pt x="381345" y="415259"/>
                    <a:pt x="381736" y="415527"/>
                  </a:cubicBezTo>
                  <a:cubicBezTo>
                    <a:pt x="381931" y="416867"/>
                    <a:pt x="382420" y="418073"/>
                    <a:pt x="383103" y="419144"/>
                  </a:cubicBezTo>
                  <a:cubicBezTo>
                    <a:pt x="384080" y="420484"/>
                    <a:pt x="385448" y="421287"/>
                    <a:pt x="386815" y="421287"/>
                  </a:cubicBezTo>
                  <a:lnTo>
                    <a:pt x="386815" y="421287"/>
                  </a:lnTo>
                  <a:cubicBezTo>
                    <a:pt x="387108" y="422225"/>
                    <a:pt x="387499" y="423163"/>
                    <a:pt x="387987" y="423833"/>
                  </a:cubicBezTo>
                  <a:cubicBezTo>
                    <a:pt x="388964" y="425172"/>
                    <a:pt x="390332" y="425976"/>
                    <a:pt x="391699" y="425976"/>
                  </a:cubicBezTo>
                  <a:lnTo>
                    <a:pt x="391699" y="425976"/>
                  </a:lnTo>
                  <a:cubicBezTo>
                    <a:pt x="391992" y="426914"/>
                    <a:pt x="392383" y="427851"/>
                    <a:pt x="392871" y="428521"/>
                  </a:cubicBezTo>
                  <a:cubicBezTo>
                    <a:pt x="393848" y="429861"/>
                    <a:pt x="395216" y="430664"/>
                    <a:pt x="396583" y="430664"/>
                  </a:cubicBezTo>
                  <a:lnTo>
                    <a:pt x="399025" y="430664"/>
                  </a:lnTo>
                  <a:cubicBezTo>
                    <a:pt x="399318" y="431602"/>
                    <a:pt x="399709" y="432540"/>
                    <a:pt x="400197" y="433209"/>
                  </a:cubicBezTo>
                  <a:cubicBezTo>
                    <a:pt x="400490" y="433611"/>
                    <a:pt x="400881" y="434013"/>
                    <a:pt x="401272" y="434281"/>
                  </a:cubicBezTo>
                  <a:cubicBezTo>
                    <a:pt x="401467" y="435621"/>
                    <a:pt x="401956" y="436826"/>
                    <a:pt x="402737" y="437764"/>
                  </a:cubicBezTo>
                  <a:cubicBezTo>
                    <a:pt x="403030" y="438166"/>
                    <a:pt x="403421" y="438568"/>
                    <a:pt x="403812" y="438835"/>
                  </a:cubicBezTo>
                  <a:cubicBezTo>
                    <a:pt x="404007" y="440175"/>
                    <a:pt x="404495" y="441381"/>
                    <a:pt x="405277" y="442452"/>
                  </a:cubicBezTo>
                  <a:cubicBezTo>
                    <a:pt x="406254" y="443792"/>
                    <a:pt x="407621" y="444596"/>
                    <a:pt x="408989" y="444596"/>
                  </a:cubicBezTo>
                  <a:lnTo>
                    <a:pt x="413873" y="444596"/>
                  </a:lnTo>
                  <a:cubicBezTo>
                    <a:pt x="414166" y="445533"/>
                    <a:pt x="414556" y="446471"/>
                    <a:pt x="415045" y="447141"/>
                  </a:cubicBezTo>
                  <a:cubicBezTo>
                    <a:pt x="415338" y="447543"/>
                    <a:pt x="415729" y="447944"/>
                    <a:pt x="416119" y="448212"/>
                  </a:cubicBezTo>
                  <a:cubicBezTo>
                    <a:pt x="416315" y="449552"/>
                    <a:pt x="416803" y="450757"/>
                    <a:pt x="417487" y="451695"/>
                  </a:cubicBezTo>
                  <a:cubicBezTo>
                    <a:pt x="417780" y="452097"/>
                    <a:pt x="418171" y="452499"/>
                    <a:pt x="418561" y="452767"/>
                  </a:cubicBezTo>
                  <a:cubicBezTo>
                    <a:pt x="418757" y="454106"/>
                    <a:pt x="419245" y="455312"/>
                    <a:pt x="419929" y="456250"/>
                  </a:cubicBezTo>
                  <a:cubicBezTo>
                    <a:pt x="420222" y="456651"/>
                    <a:pt x="420613" y="457053"/>
                    <a:pt x="421003" y="457321"/>
                  </a:cubicBezTo>
                  <a:cubicBezTo>
                    <a:pt x="421199" y="458661"/>
                    <a:pt x="421687" y="459866"/>
                    <a:pt x="422469" y="460938"/>
                  </a:cubicBezTo>
                  <a:cubicBezTo>
                    <a:pt x="422762" y="461340"/>
                    <a:pt x="423152" y="461742"/>
                    <a:pt x="423543" y="462010"/>
                  </a:cubicBezTo>
                  <a:cubicBezTo>
                    <a:pt x="423738" y="463349"/>
                    <a:pt x="424227" y="464555"/>
                    <a:pt x="424911" y="465626"/>
                  </a:cubicBezTo>
                  <a:cubicBezTo>
                    <a:pt x="425204" y="466028"/>
                    <a:pt x="425594" y="466430"/>
                    <a:pt x="425985" y="466698"/>
                  </a:cubicBezTo>
                  <a:cubicBezTo>
                    <a:pt x="426180" y="468038"/>
                    <a:pt x="426669" y="469377"/>
                    <a:pt x="427450" y="470315"/>
                  </a:cubicBezTo>
                  <a:cubicBezTo>
                    <a:pt x="428427" y="471654"/>
                    <a:pt x="429795" y="472458"/>
                    <a:pt x="431162" y="472458"/>
                  </a:cubicBezTo>
                  <a:lnTo>
                    <a:pt x="436046" y="472458"/>
                  </a:lnTo>
                  <a:cubicBezTo>
                    <a:pt x="436339" y="473396"/>
                    <a:pt x="436730" y="474333"/>
                    <a:pt x="437218" y="475003"/>
                  </a:cubicBezTo>
                  <a:cubicBezTo>
                    <a:pt x="437511" y="475405"/>
                    <a:pt x="437804" y="475673"/>
                    <a:pt x="438097" y="475941"/>
                  </a:cubicBezTo>
                  <a:lnTo>
                    <a:pt x="438097" y="479156"/>
                  </a:lnTo>
                  <a:cubicBezTo>
                    <a:pt x="438097" y="481031"/>
                    <a:pt x="438684" y="482907"/>
                    <a:pt x="439660" y="484246"/>
                  </a:cubicBezTo>
                  <a:cubicBezTo>
                    <a:pt x="439953" y="484648"/>
                    <a:pt x="440344" y="485050"/>
                    <a:pt x="440735" y="485318"/>
                  </a:cubicBezTo>
                  <a:cubicBezTo>
                    <a:pt x="440930" y="486657"/>
                    <a:pt x="441419" y="487863"/>
                    <a:pt x="442102" y="488801"/>
                  </a:cubicBezTo>
                  <a:cubicBezTo>
                    <a:pt x="442395" y="489202"/>
                    <a:pt x="442688" y="489470"/>
                    <a:pt x="442982" y="489738"/>
                  </a:cubicBezTo>
                  <a:lnTo>
                    <a:pt x="442982" y="492953"/>
                  </a:lnTo>
                  <a:cubicBezTo>
                    <a:pt x="442982" y="494829"/>
                    <a:pt x="443568" y="496704"/>
                    <a:pt x="444544" y="498043"/>
                  </a:cubicBezTo>
                  <a:cubicBezTo>
                    <a:pt x="445521" y="499383"/>
                    <a:pt x="446889" y="500187"/>
                    <a:pt x="448256" y="500187"/>
                  </a:cubicBezTo>
                  <a:lnTo>
                    <a:pt x="458122" y="500187"/>
                  </a:lnTo>
                  <a:cubicBezTo>
                    <a:pt x="458415" y="501124"/>
                    <a:pt x="458806" y="502062"/>
                    <a:pt x="459294" y="502732"/>
                  </a:cubicBezTo>
                  <a:cubicBezTo>
                    <a:pt x="460271" y="504071"/>
                    <a:pt x="461639" y="504875"/>
                    <a:pt x="463006" y="504875"/>
                  </a:cubicBezTo>
                  <a:lnTo>
                    <a:pt x="475314" y="504875"/>
                  </a:lnTo>
                  <a:cubicBezTo>
                    <a:pt x="475607" y="505813"/>
                    <a:pt x="475998" y="506751"/>
                    <a:pt x="476486" y="507420"/>
                  </a:cubicBezTo>
                  <a:cubicBezTo>
                    <a:pt x="476779" y="507822"/>
                    <a:pt x="477072" y="508090"/>
                    <a:pt x="477365" y="508358"/>
                  </a:cubicBezTo>
                  <a:lnTo>
                    <a:pt x="477365" y="511573"/>
                  </a:lnTo>
                  <a:cubicBezTo>
                    <a:pt x="477365" y="513448"/>
                    <a:pt x="477951" y="515324"/>
                    <a:pt x="478928" y="516663"/>
                  </a:cubicBezTo>
                  <a:cubicBezTo>
                    <a:pt x="479905" y="518003"/>
                    <a:pt x="481272" y="518806"/>
                    <a:pt x="482640" y="518806"/>
                  </a:cubicBezTo>
                  <a:lnTo>
                    <a:pt x="482640" y="518806"/>
                  </a:lnTo>
                  <a:cubicBezTo>
                    <a:pt x="482933" y="519744"/>
                    <a:pt x="483324" y="520682"/>
                    <a:pt x="483812" y="521352"/>
                  </a:cubicBezTo>
                  <a:cubicBezTo>
                    <a:pt x="484789" y="522691"/>
                    <a:pt x="486156" y="523495"/>
                    <a:pt x="487524" y="523495"/>
                  </a:cubicBezTo>
                  <a:lnTo>
                    <a:pt x="499832" y="523495"/>
                  </a:lnTo>
                  <a:cubicBezTo>
                    <a:pt x="500125" y="524433"/>
                    <a:pt x="500515" y="525370"/>
                    <a:pt x="501004" y="526040"/>
                  </a:cubicBezTo>
                  <a:cubicBezTo>
                    <a:pt x="501297" y="526442"/>
                    <a:pt x="501688" y="526844"/>
                    <a:pt x="502078" y="527112"/>
                  </a:cubicBezTo>
                  <a:cubicBezTo>
                    <a:pt x="502274" y="528451"/>
                    <a:pt x="502762" y="529657"/>
                    <a:pt x="503446" y="530594"/>
                  </a:cubicBezTo>
                  <a:cubicBezTo>
                    <a:pt x="503739" y="530996"/>
                    <a:pt x="504032" y="531264"/>
                    <a:pt x="504325" y="531666"/>
                  </a:cubicBezTo>
                  <a:lnTo>
                    <a:pt x="504325" y="534881"/>
                  </a:lnTo>
                  <a:cubicBezTo>
                    <a:pt x="504325" y="536756"/>
                    <a:pt x="504911" y="538632"/>
                    <a:pt x="505888" y="539971"/>
                  </a:cubicBezTo>
                  <a:cubicBezTo>
                    <a:pt x="506865" y="541311"/>
                    <a:pt x="508232" y="542115"/>
                    <a:pt x="509600" y="542115"/>
                  </a:cubicBezTo>
                  <a:lnTo>
                    <a:pt x="511749" y="542115"/>
                  </a:lnTo>
                  <a:lnTo>
                    <a:pt x="511749" y="544258"/>
                  </a:lnTo>
                  <a:cubicBezTo>
                    <a:pt x="511749" y="546133"/>
                    <a:pt x="512335" y="548009"/>
                    <a:pt x="513312" y="549348"/>
                  </a:cubicBezTo>
                  <a:cubicBezTo>
                    <a:pt x="514288" y="550688"/>
                    <a:pt x="515656" y="551491"/>
                    <a:pt x="517023" y="551491"/>
                  </a:cubicBezTo>
                  <a:lnTo>
                    <a:pt x="521517" y="551491"/>
                  </a:lnTo>
                  <a:lnTo>
                    <a:pt x="521517" y="553635"/>
                  </a:lnTo>
                  <a:cubicBezTo>
                    <a:pt x="521517" y="555510"/>
                    <a:pt x="522103" y="557385"/>
                    <a:pt x="523080" y="558725"/>
                  </a:cubicBezTo>
                  <a:cubicBezTo>
                    <a:pt x="523373" y="559127"/>
                    <a:pt x="523763" y="559529"/>
                    <a:pt x="524154" y="559797"/>
                  </a:cubicBezTo>
                  <a:cubicBezTo>
                    <a:pt x="524349" y="561136"/>
                    <a:pt x="524838" y="562476"/>
                    <a:pt x="525619" y="563413"/>
                  </a:cubicBezTo>
                  <a:cubicBezTo>
                    <a:pt x="526596" y="564753"/>
                    <a:pt x="527964" y="565557"/>
                    <a:pt x="529331" y="565557"/>
                  </a:cubicBezTo>
                  <a:lnTo>
                    <a:pt x="539197" y="565557"/>
                  </a:lnTo>
                  <a:cubicBezTo>
                    <a:pt x="539490" y="566494"/>
                    <a:pt x="539881" y="567432"/>
                    <a:pt x="540369" y="568102"/>
                  </a:cubicBezTo>
                  <a:cubicBezTo>
                    <a:pt x="541346" y="569441"/>
                    <a:pt x="542713" y="570245"/>
                    <a:pt x="544081" y="570245"/>
                  </a:cubicBezTo>
                  <a:cubicBezTo>
                    <a:pt x="544374" y="571183"/>
                    <a:pt x="544765" y="572120"/>
                    <a:pt x="545253" y="572924"/>
                  </a:cubicBezTo>
                  <a:cubicBezTo>
                    <a:pt x="546230" y="574264"/>
                    <a:pt x="547597" y="575067"/>
                    <a:pt x="548965" y="575067"/>
                  </a:cubicBezTo>
                  <a:lnTo>
                    <a:pt x="551407" y="575067"/>
                  </a:lnTo>
                  <a:cubicBezTo>
                    <a:pt x="551700" y="576005"/>
                    <a:pt x="552091" y="576943"/>
                    <a:pt x="552579" y="577613"/>
                  </a:cubicBezTo>
                  <a:cubicBezTo>
                    <a:pt x="552872" y="578014"/>
                    <a:pt x="553263" y="578416"/>
                    <a:pt x="553654" y="578684"/>
                  </a:cubicBezTo>
                  <a:cubicBezTo>
                    <a:pt x="553849" y="580024"/>
                    <a:pt x="554337" y="581229"/>
                    <a:pt x="555119" y="582301"/>
                  </a:cubicBezTo>
                  <a:cubicBezTo>
                    <a:pt x="555412" y="582703"/>
                    <a:pt x="555803" y="583105"/>
                    <a:pt x="556193" y="583373"/>
                  </a:cubicBezTo>
                  <a:cubicBezTo>
                    <a:pt x="556389" y="584712"/>
                    <a:pt x="556877" y="586052"/>
                    <a:pt x="557659" y="586989"/>
                  </a:cubicBezTo>
                  <a:cubicBezTo>
                    <a:pt x="558635" y="588329"/>
                    <a:pt x="560003" y="589133"/>
                    <a:pt x="561370" y="589133"/>
                  </a:cubicBezTo>
                  <a:lnTo>
                    <a:pt x="566254" y="589133"/>
                  </a:lnTo>
                  <a:cubicBezTo>
                    <a:pt x="566548" y="590070"/>
                    <a:pt x="566938" y="591008"/>
                    <a:pt x="567427" y="591678"/>
                  </a:cubicBezTo>
                  <a:cubicBezTo>
                    <a:pt x="568403" y="593017"/>
                    <a:pt x="569771" y="593821"/>
                    <a:pt x="571138" y="593821"/>
                  </a:cubicBezTo>
                  <a:lnTo>
                    <a:pt x="585791" y="593821"/>
                  </a:lnTo>
                  <a:cubicBezTo>
                    <a:pt x="586084" y="594759"/>
                    <a:pt x="586474" y="595696"/>
                    <a:pt x="586963" y="596500"/>
                  </a:cubicBezTo>
                  <a:cubicBezTo>
                    <a:pt x="587256" y="596902"/>
                    <a:pt x="587647" y="597304"/>
                    <a:pt x="588037" y="597572"/>
                  </a:cubicBezTo>
                  <a:cubicBezTo>
                    <a:pt x="588233" y="598911"/>
                    <a:pt x="588721" y="600117"/>
                    <a:pt x="589405" y="601055"/>
                  </a:cubicBezTo>
                  <a:cubicBezTo>
                    <a:pt x="590382" y="602394"/>
                    <a:pt x="591749" y="603198"/>
                    <a:pt x="593117" y="603198"/>
                  </a:cubicBezTo>
                  <a:lnTo>
                    <a:pt x="595559" y="603198"/>
                  </a:lnTo>
                  <a:cubicBezTo>
                    <a:pt x="595852" y="604136"/>
                    <a:pt x="596242" y="605073"/>
                    <a:pt x="596731" y="605877"/>
                  </a:cubicBezTo>
                  <a:cubicBezTo>
                    <a:pt x="597708" y="607217"/>
                    <a:pt x="599075" y="608020"/>
                    <a:pt x="600443" y="608020"/>
                  </a:cubicBezTo>
                  <a:lnTo>
                    <a:pt x="607476" y="608020"/>
                  </a:lnTo>
                  <a:lnTo>
                    <a:pt x="607476" y="614852"/>
                  </a:lnTo>
                  <a:cubicBezTo>
                    <a:pt x="607476" y="616727"/>
                    <a:pt x="608062" y="618603"/>
                    <a:pt x="609039" y="619942"/>
                  </a:cubicBezTo>
                  <a:cubicBezTo>
                    <a:pt x="610015" y="621282"/>
                    <a:pt x="611383" y="622085"/>
                    <a:pt x="612750" y="622085"/>
                  </a:cubicBezTo>
                  <a:lnTo>
                    <a:pt x="612750" y="622085"/>
                  </a:lnTo>
                  <a:cubicBezTo>
                    <a:pt x="613043" y="623023"/>
                    <a:pt x="613434" y="623961"/>
                    <a:pt x="613923" y="624631"/>
                  </a:cubicBezTo>
                  <a:cubicBezTo>
                    <a:pt x="614899" y="625970"/>
                    <a:pt x="616267" y="626774"/>
                    <a:pt x="617634" y="626774"/>
                  </a:cubicBezTo>
                  <a:lnTo>
                    <a:pt x="619783" y="626774"/>
                  </a:lnTo>
                  <a:lnTo>
                    <a:pt x="619783" y="633740"/>
                  </a:lnTo>
                  <a:cubicBezTo>
                    <a:pt x="619783" y="635615"/>
                    <a:pt x="620370" y="637490"/>
                    <a:pt x="621346" y="638830"/>
                  </a:cubicBezTo>
                  <a:cubicBezTo>
                    <a:pt x="621639" y="639232"/>
                    <a:pt x="622030" y="639634"/>
                    <a:pt x="622421" y="639901"/>
                  </a:cubicBezTo>
                  <a:cubicBezTo>
                    <a:pt x="622616" y="641241"/>
                    <a:pt x="623105" y="642447"/>
                    <a:pt x="623788" y="643518"/>
                  </a:cubicBezTo>
                  <a:cubicBezTo>
                    <a:pt x="624765" y="644858"/>
                    <a:pt x="626133" y="645662"/>
                    <a:pt x="627500" y="645662"/>
                  </a:cubicBezTo>
                  <a:lnTo>
                    <a:pt x="629942" y="645662"/>
                  </a:lnTo>
                  <a:cubicBezTo>
                    <a:pt x="630235" y="646599"/>
                    <a:pt x="630626" y="647537"/>
                    <a:pt x="631114" y="648341"/>
                  </a:cubicBezTo>
                  <a:cubicBezTo>
                    <a:pt x="632091" y="649680"/>
                    <a:pt x="633459" y="650484"/>
                    <a:pt x="634826" y="650484"/>
                  </a:cubicBezTo>
                  <a:lnTo>
                    <a:pt x="647036" y="650484"/>
                  </a:lnTo>
                  <a:cubicBezTo>
                    <a:pt x="647329" y="651422"/>
                    <a:pt x="647720" y="652359"/>
                    <a:pt x="648208" y="653029"/>
                  </a:cubicBezTo>
                  <a:cubicBezTo>
                    <a:pt x="648502" y="653431"/>
                    <a:pt x="648892" y="653833"/>
                    <a:pt x="649185" y="654101"/>
                  </a:cubicBezTo>
                  <a:cubicBezTo>
                    <a:pt x="649381" y="655440"/>
                    <a:pt x="649869" y="656780"/>
                    <a:pt x="650651" y="657717"/>
                  </a:cubicBezTo>
                  <a:cubicBezTo>
                    <a:pt x="651627" y="659057"/>
                    <a:pt x="652995" y="659861"/>
                    <a:pt x="654362" y="659861"/>
                  </a:cubicBezTo>
                  <a:lnTo>
                    <a:pt x="654362" y="659861"/>
                  </a:lnTo>
                  <a:cubicBezTo>
                    <a:pt x="654655" y="660798"/>
                    <a:pt x="655046" y="661602"/>
                    <a:pt x="655535" y="662406"/>
                  </a:cubicBezTo>
                  <a:cubicBezTo>
                    <a:pt x="656511" y="663745"/>
                    <a:pt x="657879" y="664549"/>
                    <a:pt x="659246" y="664549"/>
                  </a:cubicBezTo>
                  <a:lnTo>
                    <a:pt x="659246" y="664549"/>
                  </a:lnTo>
                  <a:cubicBezTo>
                    <a:pt x="659539" y="665487"/>
                    <a:pt x="659930" y="666425"/>
                    <a:pt x="660419" y="667094"/>
                  </a:cubicBezTo>
                  <a:cubicBezTo>
                    <a:pt x="660712" y="667496"/>
                    <a:pt x="661005" y="667764"/>
                    <a:pt x="661395" y="668166"/>
                  </a:cubicBezTo>
                  <a:lnTo>
                    <a:pt x="661395" y="676203"/>
                  </a:lnTo>
                  <a:cubicBezTo>
                    <a:pt x="661395" y="678079"/>
                    <a:pt x="661981" y="679954"/>
                    <a:pt x="662958" y="681293"/>
                  </a:cubicBezTo>
                  <a:cubicBezTo>
                    <a:pt x="663935" y="682633"/>
                    <a:pt x="665303" y="683437"/>
                    <a:pt x="666670" y="683437"/>
                  </a:cubicBezTo>
                  <a:lnTo>
                    <a:pt x="669112" y="683437"/>
                  </a:lnTo>
                  <a:cubicBezTo>
                    <a:pt x="669405" y="684374"/>
                    <a:pt x="669796" y="685312"/>
                    <a:pt x="670284" y="685982"/>
                  </a:cubicBezTo>
                  <a:cubicBezTo>
                    <a:pt x="671261" y="687321"/>
                    <a:pt x="672629" y="688125"/>
                    <a:pt x="673996" y="688125"/>
                  </a:cubicBezTo>
                  <a:lnTo>
                    <a:pt x="681420" y="688125"/>
                  </a:lnTo>
                  <a:cubicBezTo>
                    <a:pt x="681713" y="689063"/>
                    <a:pt x="682104" y="690001"/>
                    <a:pt x="682592" y="690804"/>
                  </a:cubicBezTo>
                  <a:cubicBezTo>
                    <a:pt x="683569" y="692144"/>
                    <a:pt x="684936" y="692948"/>
                    <a:pt x="686304" y="692948"/>
                  </a:cubicBezTo>
                  <a:lnTo>
                    <a:pt x="696170" y="692948"/>
                  </a:lnTo>
                  <a:cubicBezTo>
                    <a:pt x="696463" y="693885"/>
                    <a:pt x="696853" y="694823"/>
                    <a:pt x="697342" y="695493"/>
                  </a:cubicBezTo>
                  <a:cubicBezTo>
                    <a:pt x="698319" y="696832"/>
                    <a:pt x="699686" y="697636"/>
                    <a:pt x="701054" y="697636"/>
                  </a:cubicBezTo>
                  <a:cubicBezTo>
                    <a:pt x="701347" y="698574"/>
                    <a:pt x="701737" y="699511"/>
                    <a:pt x="702226" y="700181"/>
                  </a:cubicBezTo>
                  <a:cubicBezTo>
                    <a:pt x="703203" y="701521"/>
                    <a:pt x="704570" y="702324"/>
                    <a:pt x="705938" y="702324"/>
                  </a:cubicBezTo>
                  <a:lnTo>
                    <a:pt x="713264" y="702324"/>
                  </a:lnTo>
                  <a:cubicBezTo>
                    <a:pt x="713557" y="703262"/>
                    <a:pt x="713947" y="704200"/>
                    <a:pt x="714436" y="704869"/>
                  </a:cubicBezTo>
                  <a:cubicBezTo>
                    <a:pt x="715413" y="706209"/>
                    <a:pt x="716780" y="707013"/>
                    <a:pt x="718148" y="707013"/>
                  </a:cubicBezTo>
                  <a:lnTo>
                    <a:pt x="725181" y="707013"/>
                  </a:lnTo>
                  <a:lnTo>
                    <a:pt x="725181" y="709156"/>
                  </a:lnTo>
                  <a:cubicBezTo>
                    <a:pt x="725181" y="711031"/>
                    <a:pt x="725767" y="712907"/>
                    <a:pt x="726744" y="714246"/>
                  </a:cubicBezTo>
                  <a:cubicBezTo>
                    <a:pt x="727720" y="715586"/>
                    <a:pt x="729088" y="716390"/>
                    <a:pt x="730456" y="716390"/>
                  </a:cubicBezTo>
                  <a:lnTo>
                    <a:pt x="735340" y="716390"/>
                  </a:lnTo>
                  <a:cubicBezTo>
                    <a:pt x="735633" y="717327"/>
                    <a:pt x="736023" y="718265"/>
                    <a:pt x="736512" y="718935"/>
                  </a:cubicBezTo>
                  <a:cubicBezTo>
                    <a:pt x="737489" y="720274"/>
                    <a:pt x="738856" y="721078"/>
                    <a:pt x="740224" y="721078"/>
                  </a:cubicBezTo>
                  <a:cubicBezTo>
                    <a:pt x="740517" y="722016"/>
                    <a:pt x="740907" y="722953"/>
                    <a:pt x="741396" y="723757"/>
                  </a:cubicBezTo>
                  <a:cubicBezTo>
                    <a:pt x="742373" y="725097"/>
                    <a:pt x="743740" y="725900"/>
                    <a:pt x="745108" y="725900"/>
                  </a:cubicBezTo>
                  <a:cubicBezTo>
                    <a:pt x="745401" y="726838"/>
                    <a:pt x="745791" y="727776"/>
                    <a:pt x="746280" y="728579"/>
                  </a:cubicBezTo>
                  <a:cubicBezTo>
                    <a:pt x="747257" y="729919"/>
                    <a:pt x="748624" y="730723"/>
                    <a:pt x="749992" y="730723"/>
                  </a:cubicBezTo>
                  <a:lnTo>
                    <a:pt x="752434" y="730723"/>
                  </a:lnTo>
                  <a:cubicBezTo>
                    <a:pt x="752727" y="731660"/>
                    <a:pt x="753117" y="732598"/>
                    <a:pt x="753703" y="733402"/>
                  </a:cubicBezTo>
                  <a:cubicBezTo>
                    <a:pt x="754680" y="734741"/>
                    <a:pt x="756048" y="735545"/>
                    <a:pt x="757415" y="735545"/>
                  </a:cubicBezTo>
                  <a:lnTo>
                    <a:pt x="759857" y="735545"/>
                  </a:lnTo>
                  <a:cubicBezTo>
                    <a:pt x="760150" y="736483"/>
                    <a:pt x="760541" y="737420"/>
                    <a:pt x="761030" y="738224"/>
                  </a:cubicBezTo>
                  <a:cubicBezTo>
                    <a:pt x="761323" y="738626"/>
                    <a:pt x="761616" y="739028"/>
                    <a:pt x="762006" y="739296"/>
                  </a:cubicBezTo>
                  <a:cubicBezTo>
                    <a:pt x="762202" y="740635"/>
                    <a:pt x="762690" y="741975"/>
                    <a:pt x="763472" y="743047"/>
                  </a:cubicBezTo>
                  <a:cubicBezTo>
                    <a:pt x="764448" y="744386"/>
                    <a:pt x="765816" y="745190"/>
                    <a:pt x="767183" y="745190"/>
                  </a:cubicBezTo>
                  <a:lnTo>
                    <a:pt x="769625" y="745190"/>
                  </a:lnTo>
                  <a:cubicBezTo>
                    <a:pt x="769919" y="746128"/>
                    <a:pt x="770309" y="747065"/>
                    <a:pt x="770798" y="747735"/>
                  </a:cubicBezTo>
                  <a:cubicBezTo>
                    <a:pt x="771091" y="748137"/>
                    <a:pt x="771384" y="748405"/>
                    <a:pt x="771677" y="748807"/>
                  </a:cubicBezTo>
                  <a:lnTo>
                    <a:pt x="771677" y="752155"/>
                  </a:lnTo>
                  <a:cubicBezTo>
                    <a:pt x="771677" y="754031"/>
                    <a:pt x="772263" y="755906"/>
                    <a:pt x="773240" y="757246"/>
                  </a:cubicBezTo>
                  <a:cubicBezTo>
                    <a:pt x="773533" y="757648"/>
                    <a:pt x="773923" y="758049"/>
                    <a:pt x="774314" y="758317"/>
                  </a:cubicBezTo>
                  <a:cubicBezTo>
                    <a:pt x="774510" y="759657"/>
                    <a:pt x="774998" y="760996"/>
                    <a:pt x="775779" y="761934"/>
                  </a:cubicBezTo>
                  <a:cubicBezTo>
                    <a:pt x="776072" y="762336"/>
                    <a:pt x="776463" y="762738"/>
                    <a:pt x="776854" y="763006"/>
                  </a:cubicBezTo>
                  <a:cubicBezTo>
                    <a:pt x="777049" y="764345"/>
                    <a:pt x="777538" y="765685"/>
                    <a:pt x="778221" y="766623"/>
                  </a:cubicBezTo>
                  <a:cubicBezTo>
                    <a:pt x="779198" y="767962"/>
                    <a:pt x="780566" y="768766"/>
                    <a:pt x="781933" y="768766"/>
                  </a:cubicBezTo>
                  <a:cubicBezTo>
                    <a:pt x="782226" y="769704"/>
                    <a:pt x="782617" y="770641"/>
                    <a:pt x="783105" y="771445"/>
                  </a:cubicBezTo>
                  <a:cubicBezTo>
                    <a:pt x="784082" y="772784"/>
                    <a:pt x="785450" y="773588"/>
                    <a:pt x="786817" y="773588"/>
                  </a:cubicBezTo>
                  <a:lnTo>
                    <a:pt x="799125" y="773588"/>
                  </a:lnTo>
                  <a:cubicBezTo>
                    <a:pt x="799418" y="774526"/>
                    <a:pt x="799809" y="775464"/>
                    <a:pt x="800297" y="776267"/>
                  </a:cubicBezTo>
                  <a:cubicBezTo>
                    <a:pt x="800590" y="776669"/>
                    <a:pt x="800883" y="776937"/>
                    <a:pt x="801274" y="777339"/>
                  </a:cubicBezTo>
                  <a:lnTo>
                    <a:pt x="801274" y="780822"/>
                  </a:lnTo>
                  <a:cubicBezTo>
                    <a:pt x="801274" y="782697"/>
                    <a:pt x="801860" y="784573"/>
                    <a:pt x="802837" y="785912"/>
                  </a:cubicBezTo>
                  <a:cubicBezTo>
                    <a:pt x="803130" y="786314"/>
                    <a:pt x="803521" y="786716"/>
                    <a:pt x="803911" y="786984"/>
                  </a:cubicBezTo>
                  <a:cubicBezTo>
                    <a:pt x="804107" y="788323"/>
                    <a:pt x="804595" y="789663"/>
                    <a:pt x="805377" y="790600"/>
                  </a:cubicBezTo>
                  <a:cubicBezTo>
                    <a:pt x="806353" y="791940"/>
                    <a:pt x="807721" y="792744"/>
                    <a:pt x="809088" y="792744"/>
                  </a:cubicBezTo>
                  <a:lnTo>
                    <a:pt x="818954" y="792744"/>
                  </a:lnTo>
                  <a:cubicBezTo>
                    <a:pt x="819247" y="793681"/>
                    <a:pt x="819638" y="794619"/>
                    <a:pt x="820126" y="795423"/>
                  </a:cubicBezTo>
                  <a:cubicBezTo>
                    <a:pt x="821103" y="796762"/>
                    <a:pt x="822471" y="797566"/>
                    <a:pt x="823838" y="797566"/>
                  </a:cubicBezTo>
                  <a:lnTo>
                    <a:pt x="831164" y="797566"/>
                  </a:lnTo>
                  <a:cubicBezTo>
                    <a:pt x="831457" y="798504"/>
                    <a:pt x="831848" y="799441"/>
                    <a:pt x="832336" y="800245"/>
                  </a:cubicBezTo>
                  <a:cubicBezTo>
                    <a:pt x="832629" y="800647"/>
                    <a:pt x="833020" y="801049"/>
                    <a:pt x="833411" y="801317"/>
                  </a:cubicBezTo>
                  <a:cubicBezTo>
                    <a:pt x="833606" y="802656"/>
                    <a:pt x="834095" y="803862"/>
                    <a:pt x="834778" y="804934"/>
                  </a:cubicBezTo>
                  <a:cubicBezTo>
                    <a:pt x="835755" y="806273"/>
                    <a:pt x="837123" y="807077"/>
                    <a:pt x="838490" y="807077"/>
                  </a:cubicBezTo>
                  <a:lnTo>
                    <a:pt x="850798" y="807077"/>
                  </a:lnTo>
                  <a:cubicBezTo>
                    <a:pt x="851091" y="808149"/>
                    <a:pt x="851482" y="808952"/>
                    <a:pt x="852068" y="809756"/>
                  </a:cubicBezTo>
                  <a:cubicBezTo>
                    <a:pt x="853045" y="811096"/>
                    <a:pt x="854412" y="811899"/>
                    <a:pt x="855780" y="811899"/>
                  </a:cubicBezTo>
                  <a:lnTo>
                    <a:pt x="860371" y="811899"/>
                  </a:lnTo>
                  <a:lnTo>
                    <a:pt x="860371" y="814176"/>
                  </a:lnTo>
                  <a:cubicBezTo>
                    <a:pt x="860371" y="816052"/>
                    <a:pt x="860957" y="817927"/>
                    <a:pt x="861934" y="819267"/>
                  </a:cubicBezTo>
                  <a:cubicBezTo>
                    <a:pt x="862910" y="820606"/>
                    <a:pt x="864278" y="821410"/>
                    <a:pt x="865646" y="821410"/>
                  </a:cubicBezTo>
                  <a:cubicBezTo>
                    <a:pt x="865939" y="822348"/>
                    <a:pt x="866329" y="823285"/>
                    <a:pt x="866818" y="824089"/>
                  </a:cubicBezTo>
                  <a:cubicBezTo>
                    <a:pt x="867794" y="825429"/>
                    <a:pt x="869162" y="826232"/>
                    <a:pt x="870530" y="826232"/>
                  </a:cubicBezTo>
                  <a:lnTo>
                    <a:pt x="885182" y="826232"/>
                  </a:lnTo>
                  <a:cubicBezTo>
                    <a:pt x="885475" y="827170"/>
                    <a:pt x="885865" y="828108"/>
                    <a:pt x="886451" y="828912"/>
                  </a:cubicBezTo>
                  <a:cubicBezTo>
                    <a:pt x="887428" y="830251"/>
                    <a:pt x="888796" y="831055"/>
                    <a:pt x="890163" y="831055"/>
                  </a:cubicBezTo>
                  <a:lnTo>
                    <a:pt x="892605" y="831055"/>
                  </a:lnTo>
                  <a:cubicBezTo>
                    <a:pt x="892898" y="831992"/>
                    <a:pt x="893289" y="832930"/>
                    <a:pt x="893778" y="833734"/>
                  </a:cubicBezTo>
                  <a:cubicBezTo>
                    <a:pt x="894071" y="834136"/>
                    <a:pt x="894364" y="834404"/>
                    <a:pt x="894657" y="834672"/>
                  </a:cubicBezTo>
                  <a:lnTo>
                    <a:pt x="894657" y="838154"/>
                  </a:lnTo>
                  <a:cubicBezTo>
                    <a:pt x="894657" y="840030"/>
                    <a:pt x="895243" y="841905"/>
                    <a:pt x="896220" y="843245"/>
                  </a:cubicBezTo>
                  <a:cubicBezTo>
                    <a:pt x="897196" y="844584"/>
                    <a:pt x="898564" y="845388"/>
                    <a:pt x="899931" y="845388"/>
                  </a:cubicBezTo>
                  <a:lnTo>
                    <a:pt x="902373" y="845388"/>
                  </a:lnTo>
                  <a:cubicBezTo>
                    <a:pt x="902666" y="846460"/>
                    <a:pt x="903057" y="847263"/>
                    <a:pt x="903643" y="848067"/>
                  </a:cubicBezTo>
                  <a:cubicBezTo>
                    <a:pt x="904620" y="849407"/>
                    <a:pt x="905988" y="850210"/>
                    <a:pt x="907355" y="850210"/>
                  </a:cubicBezTo>
                  <a:lnTo>
                    <a:pt x="924547" y="850210"/>
                  </a:lnTo>
                  <a:cubicBezTo>
                    <a:pt x="924840" y="851282"/>
                    <a:pt x="925231" y="852220"/>
                    <a:pt x="925817" y="853023"/>
                  </a:cubicBezTo>
                  <a:cubicBezTo>
                    <a:pt x="926794" y="854363"/>
                    <a:pt x="928161" y="855167"/>
                    <a:pt x="929529" y="855167"/>
                  </a:cubicBezTo>
                  <a:lnTo>
                    <a:pt x="958930" y="855167"/>
                  </a:lnTo>
                  <a:cubicBezTo>
                    <a:pt x="959223" y="856238"/>
                    <a:pt x="959614" y="857042"/>
                    <a:pt x="960200" y="857846"/>
                  </a:cubicBezTo>
                  <a:cubicBezTo>
                    <a:pt x="960493" y="858248"/>
                    <a:pt x="960884" y="858649"/>
                    <a:pt x="961177" y="858917"/>
                  </a:cubicBezTo>
                  <a:cubicBezTo>
                    <a:pt x="961372" y="860257"/>
                    <a:pt x="961861" y="861596"/>
                    <a:pt x="962642" y="862668"/>
                  </a:cubicBezTo>
                  <a:cubicBezTo>
                    <a:pt x="963619" y="864008"/>
                    <a:pt x="964987" y="864811"/>
                    <a:pt x="966354" y="864811"/>
                  </a:cubicBezTo>
                  <a:lnTo>
                    <a:pt x="968796" y="864811"/>
                  </a:lnTo>
                  <a:cubicBezTo>
                    <a:pt x="969089" y="865883"/>
                    <a:pt x="969480" y="866821"/>
                    <a:pt x="970066" y="867490"/>
                  </a:cubicBezTo>
                  <a:cubicBezTo>
                    <a:pt x="970359" y="867892"/>
                    <a:pt x="970750" y="868294"/>
                    <a:pt x="971043" y="868562"/>
                  </a:cubicBezTo>
                  <a:cubicBezTo>
                    <a:pt x="971238" y="869902"/>
                    <a:pt x="971727" y="871241"/>
                    <a:pt x="972508" y="872313"/>
                  </a:cubicBezTo>
                  <a:cubicBezTo>
                    <a:pt x="973485" y="873652"/>
                    <a:pt x="974852" y="874456"/>
                    <a:pt x="976220" y="874456"/>
                  </a:cubicBezTo>
                  <a:lnTo>
                    <a:pt x="988430" y="874456"/>
                  </a:lnTo>
                  <a:cubicBezTo>
                    <a:pt x="988723" y="875528"/>
                    <a:pt x="989114" y="876465"/>
                    <a:pt x="989700" y="877135"/>
                  </a:cubicBezTo>
                  <a:cubicBezTo>
                    <a:pt x="990677" y="878475"/>
                    <a:pt x="992044" y="879278"/>
                    <a:pt x="993412" y="879278"/>
                  </a:cubicBezTo>
                  <a:cubicBezTo>
                    <a:pt x="993705" y="880350"/>
                    <a:pt x="994095" y="881288"/>
                    <a:pt x="994682" y="882091"/>
                  </a:cubicBezTo>
                  <a:cubicBezTo>
                    <a:pt x="995658" y="883431"/>
                    <a:pt x="997026" y="884235"/>
                    <a:pt x="998393" y="884235"/>
                  </a:cubicBezTo>
                  <a:lnTo>
                    <a:pt x="1000835" y="884235"/>
                  </a:lnTo>
                  <a:cubicBezTo>
                    <a:pt x="1001128" y="885306"/>
                    <a:pt x="1001519" y="886244"/>
                    <a:pt x="1002105" y="887048"/>
                  </a:cubicBezTo>
                  <a:cubicBezTo>
                    <a:pt x="1002398" y="887450"/>
                    <a:pt x="1002789" y="887852"/>
                    <a:pt x="1003082" y="888120"/>
                  </a:cubicBezTo>
                  <a:cubicBezTo>
                    <a:pt x="1003277" y="889593"/>
                    <a:pt x="1003766" y="890933"/>
                    <a:pt x="1004547" y="891870"/>
                  </a:cubicBezTo>
                  <a:cubicBezTo>
                    <a:pt x="1004840" y="892272"/>
                    <a:pt x="1005133" y="892674"/>
                    <a:pt x="1005524" y="892942"/>
                  </a:cubicBezTo>
                  <a:cubicBezTo>
                    <a:pt x="1005719" y="894415"/>
                    <a:pt x="1006208" y="895621"/>
                    <a:pt x="1006989" y="896693"/>
                  </a:cubicBezTo>
                  <a:cubicBezTo>
                    <a:pt x="1007966" y="898032"/>
                    <a:pt x="1009334" y="898836"/>
                    <a:pt x="1010701" y="898836"/>
                  </a:cubicBezTo>
                  <a:lnTo>
                    <a:pt x="1027893" y="898836"/>
                  </a:lnTo>
                  <a:cubicBezTo>
                    <a:pt x="1028186" y="899907"/>
                    <a:pt x="1028577" y="900845"/>
                    <a:pt x="1029163" y="901649"/>
                  </a:cubicBezTo>
                  <a:cubicBezTo>
                    <a:pt x="1029456" y="902051"/>
                    <a:pt x="1029847" y="902453"/>
                    <a:pt x="1030140" y="902721"/>
                  </a:cubicBezTo>
                  <a:cubicBezTo>
                    <a:pt x="1030335" y="904194"/>
                    <a:pt x="1030823" y="905534"/>
                    <a:pt x="1031605" y="906605"/>
                  </a:cubicBezTo>
                  <a:cubicBezTo>
                    <a:pt x="1032582" y="907945"/>
                    <a:pt x="1033949" y="908748"/>
                    <a:pt x="1035317" y="908748"/>
                  </a:cubicBezTo>
                  <a:lnTo>
                    <a:pt x="1049969" y="908748"/>
                  </a:lnTo>
                  <a:cubicBezTo>
                    <a:pt x="1050262" y="909820"/>
                    <a:pt x="1050653" y="910758"/>
                    <a:pt x="1051239" y="911428"/>
                  </a:cubicBezTo>
                  <a:cubicBezTo>
                    <a:pt x="1051532" y="911829"/>
                    <a:pt x="1051922" y="912231"/>
                    <a:pt x="1052215" y="912499"/>
                  </a:cubicBezTo>
                  <a:cubicBezTo>
                    <a:pt x="1052411" y="913839"/>
                    <a:pt x="1052899" y="915178"/>
                    <a:pt x="1053681" y="916250"/>
                  </a:cubicBezTo>
                  <a:cubicBezTo>
                    <a:pt x="1054658" y="917590"/>
                    <a:pt x="1056025" y="918393"/>
                    <a:pt x="1057393" y="918393"/>
                  </a:cubicBezTo>
                  <a:cubicBezTo>
                    <a:pt x="1057686" y="919465"/>
                    <a:pt x="1058076" y="920403"/>
                    <a:pt x="1058662" y="921072"/>
                  </a:cubicBezTo>
                  <a:cubicBezTo>
                    <a:pt x="1059639" y="922412"/>
                    <a:pt x="1061007" y="923216"/>
                    <a:pt x="1062374" y="923216"/>
                  </a:cubicBezTo>
                  <a:lnTo>
                    <a:pt x="1084352" y="923216"/>
                  </a:lnTo>
                  <a:cubicBezTo>
                    <a:pt x="1084645" y="924287"/>
                    <a:pt x="1085036" y="925225"/>
                    <a:pt x="1085622" y="926029"/>
                  </a:cubicBezTo>
                  <a:cubicBezTo>
                    <a:pt x="1086599" y="927368"/>
                    <a:pt x="1087967" y="928172"/>
                    <a:pt x="1089334" y="928172"/>
                  </a:cubicBezTo>
                  <a:lnTo>
                    <a:pt x="1116001" y="928172"/>
                  </a:lnTo>
                  <a:lnTo>
                    <a:pt x="1116001" y="930851"/>
                  </a:lnTo>
                  <a:cubicBezTo>
                    <a:pt x="1116001" y="932726"/>
                    <a:pt x="1116587" y="934602"/>
                    <a:pt x="1117564" y="935941"/>
                  </a:cubicBezTo>
                  <a:cubicBezTo>
                    <a:pt x="1118541" y="937281"/>
                    <a:pt x="1119908" y="938085"/>
                    <a:pt x="1121276" y="938085"/>
                  </a:cubicBezTo>
                  <a:lnTo>
                    <a:pt x="1131044" y="938085"/>
                  </a:lnTo>
                  <a:cubicBezTo>
                    <a:pt x="1131337" y="939156"/>
                    <a:pt x="1131727" y="940094"/>
                    <a:pt x="1132314" y="940898"/>
                  </a:cubicBezTo>
                  <a:cubicBezTo>
                    <a:pt x="1133290" y="942237"/>
                    <a:pt x="1134658" y="943041"/>
                    <a:pt x="1136025" y="943041"/>
                  </a:cubicBezTo>
                  <a:lnTo>
                    <a:pt x="1165427" y="943041"/>
                  </a:lnTo>
                  <a:cubicBezTo>
                    <a:pt x="1165720" y="944112"/>
                    <a:pt x="1166111" y="945050"/>
                    <a:pt x="1166697" y="945854"/>
                  </a:cubicBezTo>
                  <a:cubicBezTo>
                    <a:pt x="1166990" y="946256"/>
                    <a:pt x="1167381" y="946658"/>
                    <a:pt x="1167674" y="946926"/>
                  </a:cubicBezTo>
                  <a:cubicBezTo>
                    <a:pt x="1167869" y="948399"/>
                    <a:pt x="1168358" y="949739"/>
                    <a:pt x="1169139" y="950810"/>
                  </a:cubicBezTo>
                  <a:cubicBezTo>
                    <a:pt x="1170116" y="952150"/>
                    <a:pt x="1171386" y="952954"/>
                    <a:pt x="1172753" y="952954"/>
                  </a:cubicBezTo>
                  <a:cubicBezTo>
                    <a:pt x="1173046" y="954025"/>
                    <a:pt x="1173437" y="954963"/>
                    <a:pt x="1174023" y="955767"/>
                  </a:cubicBezTo>
                  <a:cubicBezTo>
                    <a:pt x="1175000" y="957106"/>
                    <a:pt x="1176368" y="957910"/>
                    <a:pt x="1177735" y="957910"/>
                  </a:cubicBezTo>
                  <a:lnTo>
                    <a:pt x="1185061" y="957910"/>
                  </a:lnTo>
                  <a:cubicBezTo>
                    <a:pt x="1185354" y="958981"/>
                    <a:pt x="1185745" y="959919"/>
                    <a:pt x="1186331" y="960723"/>
                  </a:cubicBezTo>
                  <a:cubicBezTo>
                    <a:pt x="1186624" y="961125"/>
                    <a:pt x="1186917" y="961527"/>
                    <a:pt x="1187308" y="961795"/>
                  </a:cubicBezTo>
                  <a:cubicBezTo>
                    <a:pt x="1187503" y="963268"/>
                    <a:pt x="1187992" y="964608"/>
                    <a:pt x="1188773" y="965679"/>
                  </a:cubicBezTo>
                  <a:cubicBezTo>
                    <a:pt x="1189750" y="967019"/>
                    <a:pt x="1191117" y="967823"/>
                    <a:pt x="1192485" y="967823"/>
                  </a:cubicBezTo>
                  <a:lnTo>
                    <a:pt x="1197369" y="967823"/>
                  </a:lnTo>
                  <a:cubicBezTo>
                    <a:pt x="1197662" y="968894"/>
                    <a:pt x="1198053" y="969832"/>
                    <a:pt x="1198639" y="970636"/>
                  </a:cubicBezTo>
                  <a:cubicBezTo>
                    <a:pt x="1199615" y="971975"/>
                    <a:pt x="1200983" y="972779"/>
                    <a:pt x="1202351" y="972779"/>
                  </a:cubicBezTo>
                  <a:lnTo>
                    <a:pt x="1217003" y="972779"/>
                  </a:lnTo>
                  <a:cubicBezTo>
                    <a:pt x="1217296" y="973850"/>
                    <a:pt x="1217686" y="974788"/>
                    <a:pt x="1218273" y="975592"/>
                  </a:cubicBezTo>
                  <a:cubicBezTo>
                    <a:pt x="1219249" y="976931"/>
                    <a:pt x="1220617" y="977735"/>
                    <a:pt x="1221984" y="977735"/>
                  </a:cubicBezTo>
                  <a:lnTo>
                    <a:pt x="1231752" y="977735"/>
                  </a:lnTo>
                  <a:cubicBezTo>
                    <a:pt x="1232045" y="978807"/>
                    <a:pt x="1232436" y="979744"/>
                    <a:pt x="1233022" y="980548"/>
                  </a:cubicBezTo>
                  <a:cubicBezTo>
                    <a:pt x="1233901" y="981754"/>
                    <a:pt x="1235171" y="982557"/>
                    <a:pt x="1236441" y="982691"/>
                  </a:cubicBezTo>
                  <a:lnTo>
                    <a:pt x="1236441" y="985505"/>
                  </a:lnTo>
                  <a:cubicBezTo>
                    <a:pt x="1236441" y="987380"/>
                    <a:pt x="1237027" y="989255"/>
                    <a:pt x="1238004" y="990595"/>
                  </a:cubicBezTo>
                  <a:cubicBezTo>
                    <a:pt x="1238981" y="991934"/>
                    <a:pt x="1240348" y="992738"/>
                    <a:pt x="1241716" y="992738"/>
                  </a:cubicBezTo>
                  <a:lnTo>
                    <a:pt x="1253926" y="992738"/>
                  </a:lnTo>
                  <a:cubicBezTo>
                    <a:pt x="1254219" y="993810"/>
                    <a:pt x="1254610" y="994747"/>
                    <a:pt x="1255196" y="995685"/>
                  </a:cubicBezTo>
                  <a:cubicBezTo>
                    <a:pt x="1256173" y="997025"/>
                    <a:pt x="1257540" y="997828"/>
                    <a:pt x="1258908" y="997828"/>
                  </a:cubicBezTo>
                  <a:lnTo>
                    <a:pt x="1310385" y="997828"/>
                  </a:lnTo>
                  <a:cubicBezTo>
                    <a:pt x="1310678" y="998900"/>
                    <a:pt x="1311069" y="999972"/>
                    <a:pt x="1311655" y="1000775"/>
                  </a:cubicBezTo>
                  <a:cubicBezTo>
                    <a:pt x="1312632" y="1002115"/>
                    <a:pt x="1313999" y="1002919"/>
                    <a:pt x="1315367" y="1002919"/>
                  </a:cubicBezTo>
                  <a:lnTo>
                    <a:pt x="1327577" y="1002919"/>
                  </a:lnTo>
                  <a:cubicBezTo>
                    <a:pt x="1327870" y="1003990"/>
                    <a:pt x="1328261" y="1005062"/>
                    <a:pt x="1328847" y="1005866"/>
                  </a:cubicBezTo>
                  <a:cubicBezTo>
                    <a:pt x="1329824" y="1007205"/>
                    <a:pt x="1331191" y="1008009"/>
                    <a:pt x="1332559" y="1008009"/>
                  </a:cubicBezTo>
                  <a:lnTo>
                    <a:pt x="1334903" y="1008009"/>
                  </a:lnTo>
                  <a:cubicBezTo>
                    <a:pt x="1335196" y="1009081"/>
                    <a:pt x="1335587" y="1010152"/>
                    <a:pt x="1336173" y="1010956"/>
                  </a:cubicBezTo>
                  <a:cubicBezTo>
                    <a:pt x="1337150" y="1012295"/>
                    <a:pt x="1338517" y="1013099"/>
                    <a:pt x="1339885" y="1013099"/>
                  </a:cubicBezTo>
                  <a:lnTo>
                    <a:pt x="1347211" y="1013099"/>
                  </a:lnTo>
                  <a:cubicBezTo>
                    <a:pt x="1347504" y="1014171"/>
                    <a:pt x="1347895" y="1015108"/>
                    <a:pt x="1348481" y="1016046"/>
                  </a:cubicBezTo>
                  <a:cubicBezTo>
                    <a:pt x="1349458" y="1017386"/>
                    <a:pt x="1350825" y="1018189"/>
                    <a:pt x="1352193" y="1018189"/>
                  </a:cubicBezTo>
                  <a:lnTo>
                    <a:pt x="1366649" y="1018189"/>
                  </a:lnTo>
                  <a:lnTo>
                    <a:pt x="1366649" y="1021003"/>
                  </a:lnTo>
                  <a:cubicBezTo>
                    <a:pt x="1366649" y="1022878"/>
                    <a:pt x="1367235" y="1024753"/>
                    <a:pt x="1368212" y="1026093"/>
                  </a:cubicBezTo>
                  <a:cubicBezTo>
                    <a:pt x="1369189" y="1027432"/>
                    <a:pt x="1370557" y="1028236"/>
                    <a:pt x="1371924" y="1028236"/>
                  </a:cubicBezTo>
                  <a:lnTo>
                    <a:pt x="1381594" y="1028236"/>
                  </a:lnTo>
                  <a:cubicBezTo>
                    <a:pt x="1381887" y="1029308"/>
                    <a:pt x="1382278" y="1030379"/>
                    <a:pt x="1382864" y="1031183"/>
                  </a:cubicBezTo>
                  <a:cubicBezTo>
                    <a:pt x="1383841" y="1032523"/>
                    <a:pt x="1385209" y="1033326"/>
                    <a:pt x="1386576" y="1033326"/>
                  </a:cubicBezTo>
                  <a:lnTo>
                    <a:pt x="1428286" y="1033326"/>
                  </a:lnTo>
                  <a:cubicBezTo>
                    <a:pt x="1428579" y="1034398"/>
                    <a:pt x="1428970" y="1035336"/>
                    <a:pt x="1429556" y="1036139"/>
                  </a:cubicBezTo>
                  <a:cubicBezTo>
                    <a:pt x="1430532" y="1037479"/>
                    <a:pt x="1431802" y="1038149"/>
                    <a:pt x="1433170" y="1038283"/>
                  </a:cubicBezTo>
                  <a:cubicBezTo>
                    <a:pt x="1433463" y="1039354"/>
                    <a:pt x="1433854" y="1040426"/>
                    <a:pt x="1434440" y="1041230"/>
                  </a:cubicBezTo>
                  <a:cubicBezTo>
                    <a:pt x="1435417" y="1042569"/>
                    <a:pt x="1436784" y="1043373"/>
                    <a:pt x="1438152" y="1043373"/>
                  </a:cubicBezTo>
                  <a:lnTo>
                    <a:pt x="1443036" y="1043373"/>
                  </a:lnTo>
                  <a:cubicBezTo>
                    <a:pt x="1443329" y="1044445"/>
                    <a:pt x="1443719" y="1045382"/>
                    <a:pt x="1444305" y="1046186"/>
                  </a:cubicBezTo>
                  <a:cubicBezTo>
                    <a:pt x="1444598" y="1046588"/>
                    <a:pt x="1444892" y="1046990"/>
                    <a:pt x="1445282" y="1047258"/>
                  </a:cubicBezTo>
                  <a:cubicBezTo>
                    <a:pt x="1445478" y="1048731"/>
                    <a:pt x="1445966" y="1050071"/>
                    <a:pt x="1446747" y="1051142"/>
                  </a:cubicBezTo>
                  <a:cubicBezTo>
                    <a:pt x="1447724" y="1052482"/>
                    <a:pt x="1449092" y="1053286"/>
                    <a:pt x="1450459" y="1053286"/>
                  </a:cubicBezTo>
                  <a:lnTo>
                    <a:pt x="1452804" y="1053286"/>
                  </a:lnTo>
                  <a:cubicBezTo>
                    <a:pt x="1453097" y="1054357"/>
                    <a:pt x="1453487" y="1055429"/>
                    <a:pt x="1454073" y="1056233"/>
                  </a:cubicBezTo>
                  <a:cubicBezTo>
                    <a:pt x="1455050" y="1057572"/>
                    <a:pt x="1456418" y="1058376"/>
                    <a:pt x="1457785" y="1058376"/>
                  </a:cubicBezTo>
                  <a:lnTo>
                    <a:pt x="1467260" y="1058376"/>
                  </a:lnTo>
                  <a:lnTo>
                    <a:pt x="1467260" y="1061189"/>
                  </a:lnTo>
                  <a:cubicBezTo>
                    <a:pt x="1467260" y="1063064"/>
                    <a:pt x="1467846" y="1064940"/>
                    <a:pt x="1468823" y="1066279"/>
                  </a:cubicBezTo>
                  <a:cubicBezTo>
                    <a:pt x="1469800" y="1067619"/>
                    <a:pt x="1471167" y="1068423"/>
                    <a:pt x="1472535" y="1068423"/>
                  </a:cubicBezTo>
                  <a:lnTo>
                    <a:pt x="1533781" y="1068423"/>
                  </a:lnTo>
                  <a:cubicBezTo>
                    <a:pt x="1534074" y="1069494"/>
                    <a:pt x="1534465" y="1070566"/>
                    <a:pt x="1535051" y="1071369"/>
                  </a:cubicBezTo>
                  <a:cubicBezTo>
                    <a:pt x="1536027" y="1072709"/>
                    <a:pt x="1537395" y="1073513"/>
                    <a:pt x="1538763" y="1073513"/>
                  </a:cubicBezTo>
                  <a:lnTo>
                    <a:pt x="1553415" y="1073513"/>
                  </a:lnTo>
                  <a:cubicBezTo>
                    <a:pt x="1553708" y="1074584"/>
                    <a:pt x="1554098" y="1075656"/>
                    <a:pt x="1554684" y="1076460"/>
                  </a:cubicBezTo>
                  <a:cubicBezTo>
                    <a:pt x="1555661" y="1077799"/>
                    <a:pt x="1557029" y="1078603"/>
                    <a:pt x="1558396" y="1078603"/>
                  </a:cubicBezTo>
                  <a:lnTo>
                    <a:pt x="1570606" y="1078603"/>
                  </a:lnTo>
                  <a:cubicBezTo>
                    <a:pt x="1570802" y="1079809"/>
                    <a:pt x="1571290" y="1080746"/>
                    <a:pt x="1571876" y="1081684"/>
                  </a:cubicBezTo>
                  <a:cubicBezTo>
                    <a:pt x="1572853" y="1083024"/>
                    <a:pt x="1574221" y="1083827"/>
                    <a:pt x="1575588" y="1083827"/>
                  </a:cubicBezTo>
                  <a:lnTo>
                    <a:pt x="1600008" y="1083827"/>
                  </a:lnTo>
                  <a:cubicBezTo>
                    <a:pt x="1600204" y="1084899"/>
                    <a:pt x="1600692" y="1085971"/>
                    <a:pt x="1601278" y="1086908"/>
                  </a:cubicBezTo>
                  <a:cubicBezTo>
                    <a:pt x="1602255" y="1088248"/>
                    <a:pt x="1603623" y="1089052"/>
                    <a:pt x="1604990" y="1089052"/>
                  </a:cubicBezTo>
                  <a:lnTo>
                    <a:pt x="1654026" y="1089052"/>
                  </a:lnTo>
                  <a:cubicBezTo>
                    <a:pt x="1654221" y="1090123"/>
                    <a:pt x="1654709" y="1091195"/>
                    <a:pt x="1655295" y="1091998"/>
                  </a:cubicBezTo>
                  <a:cubicBezTo>
                    <a:pt x="1656272" y="1093338"/>
                    <a:pt x="1657640" y="1094142"/>
                    <a:pt x="1659007" y="1094142"/>
                  </a:cubicBezTo>
                  <a:lnTo>
                    <a:pt x="1705503" y="1094142"/>
                  </a:lnTo>
                  <a:cubicBezTo>
                    <a:pt x="1705699" y="1095213"/>
                    <a:pt x="1706187" y="1096285"/>
                    <a:pt x="1706773" y="1097089"/>
                  </a:cubicBezTo>
                  <a:cubicBezTo>
                    <a:pt x="1707750" y="1098428"/>
                    <a:pt x="1709020" y="1099098"/>
                    <a:pt x="1710387" y="1099232"/>
                  </a:cubicBezTo>
                  <a:cubicBezTo>
                    <a:pt x="1710583" y="1100304"/>
                    <a:pt x="1711071" y="1101375"/>
                    <a:pt x="1711657" y="1102313"/>
                  </a:cubicBezTo>
                  <a:cubicBezTo>
                    <a:pt x="1712634" y="1103653"/>
                    <a:pt x="1714001" y="1104456"/>
                    <a:pt x="1715369" y="1104456"/>
                  </a:cubicBezTo>
                  <a:lnTo>
                    <a:pt x="1786480" y="1104456"/>
                  </a:lnTo>
                  <a:cubicBezTo>
                    <a:pt x="1786774" y="1105662"/>
                    <a:pt x="1787164" y="1106600"/>
                    <a:pt x="1787848" y="1107537"/>
                  </a:cubicBezTo>
                  <a:cubicBezTo>
                    <a:pt x="1788825" y="1108877"/>
                    <a:pt x="1790192" y="1109680"/>
                    <a:pt x="1791560" y="1109680"/>
                  </a:cubicBezTo>
                  <a:lnTo>
                    <a:pt x="1796346" y="1109680"/>
                  </a:lnTo>
                  <a:cubicBezTo>
                    <a:pt x="1796542" y="1110752"/>
                    <a:pt x="1797030" y="1111824"/>
                    <a:pt x="1797616" y="1112761"/>
                  </a:cubicBezTo>
                  <a:cubicBezTo>
                    <a:pt x="1798593" y="1114101"/>
                    <a:pt x="1799960" y="1114905"/>
                    <a:pt x="1801328" y="1114905"/>
                  </a:cubicBezTo>
                  <a:lnTo>
                    <a:pt x="1823306" y="1114905"/>
                  </a:lnTo>
                  <a:cubicBezTo>
                    <a:pt x="1823599" y="1116110"/>
                    <a:pt x="1823990" y="1117048"/>
                    <a:pt x="1824674" y="1117986"/>
                  </a:cubicBezTo>
                  <a:cubicBezTo>
                    <a:pt x="1825650" y="1119325"/>
                    <a:pt x="1827018" y="1120129"/>
                    <a:pt x="1828386" y="1120129"/>
                  </a:cubicBezTo>
                  <a:lnTo>
                    <a:pt x="1840596" y="1120129"/>
                  </a:lnTo>
                  <a:cubicBezTo>
                    <a:pt x="1840791" y="1121201"/>
                    <a:pt x="1841279" y="1122272"/>
                    <a:pt x="1841865" y="1123210"/>
                  </a:cubicBezTo>
                  <a:cubicBezTo>
                    <a:pt x="1842842" y="1124549"/>
                    <a:pt x="1844210" y="1125353"/>
                    <a:pt x="1845577" y="1125353"/>
                  </a:cubicBezTo>
                  <a:lnTo>
                    <a:pt x="1850364" y="1125353"/>
                  </a:lnTo>
                  <a:cubicBezTo>
                    <a:pt x="1850657" y="1126559"/>
                    <a:pt x="1851047" y="1127496"/>
                    <a:pt x="1851634" y="1128434"/>
                  </a:cubicBezTo>
                  <a:cubicBezTo>
                    <a:pt x="1852610" y="1129774"/>
                    <a:pt x="1853978" y="1130577"/>
                    <a:pt x="1855345" y="1130577"/>
                  </a:cubicBezTo>
                  <a:lnTo>
                    <a:pt x="2002452" y="1130577"/>
                  </a:lnTo>
                  <a:cubicBezTo>
                    <a:pt x="2002648" y="1131783"/>
                    <a:pt x="2003136" y="1132855"/>
                    <a:pt x="2003820" y="1133658"/>
                  </a:cubicBezTo>
                  <a:cubicBezTo>
                    <a:pt x="2004797" y="1134998"/>
                    <a:pt x="2006164" y="1135802"/>
                    <a:pt x="2007532" y="1135802"/>
                  </a:cubicBezTo>
                  <a:lnTo>
                    <a:pt x="2107947" y="1135802"/>
                  </a:lnTo>
                  <a:cubicBezTo>
                    <a:pt x="2108143" y="1137007"/>
                    <a:pt x="2108631" y="1138079"/>
                    <a:pt x="2109315" y="1139017"/>
                  </a:cubicBezTo>
                  <a:cubicBezTo>
                    <a:pt x="2110292" y="1140356"/>
                    <a:pt x="2111659" y="1141160"/>
                    <a:pt x="2113027" y="1141160"/>
                  </a:cubicBezTo>
                  <a:lnTo>
                    <a:pt x="2144675" y="1141160"/>
                  </a:lnTo>
                  <a:lnTo>
                    <a:pt x="2144675" y="1144643"/>
                  </a:lnTo>
                  <a:cubicBezTo>
                    <a:pt x="2144675" y="1146518"/>
                    <a:pt x="2145261" y="1148393"/>
                    <a:pt x="2146238" y="1149733"/>
                  </a:cubicBezTo>
                  <a:cubicBezTo>
                    <a:pt x="2146531" y="1150135"/>
                    <a:pt x="2146824" y="1150537"/>
                    <a:pt x="2147215" y="1150805"/>
                  </a:cubicBezTo>
                  <a:cubicBezTo>
                    <a:pt x="2147313" y="1152412"/>
                    <a:pt x="2147899" y="1153886"/>
                    <a:pt x="2148680" y="1155091"/>
                  </a:cubicBezTo>
                  <a:cubicBezTo>
                    <a:pt x="2149657" y="1156431"/>
                    <a:pt x="2151025" y="1157234"/>
                    <a:pt x="2152392" y="1157234"/>
                  </a:cubicBezTo>
                  <a:lnTo>
                    <a:pt x="2245482" y="1157234"/>
                  </a:lnTo>
                  <a:cubicBezTo>
                    <a:pt x="2245677" y="1158440"/>
                    <a:pt x="2246166" y="1159646"/>
                    <a:pt x="2246849" y="1160583"/>
                  </a:cubicBezTo>
                  <a:cubicBezTo>
                    <a:pt x="2247826" y="1161923"/>
                    <a:pt x="2249194" y="1162727"/>
                    <a:pt x="2250561" y="1162727"/>
                  </a:cubicBezTo>
                  <a:lnTo>
                    <a:pt x="2260231" y="1162727"/>
                  </a:lnTo>
                  <a:cubicBezTo>
                    <a:pt x="2260427" y="1163932"/>
                    <a:pt x="2260915" y="1165138"/>
                    <a:pt x="2261599" y="1166075"/>
                  </a:cubicBezTo>
                  <a:cubicBezTo>
                    <a:pt x="2262576" y="1167415"/>
                    <a:pt x="2263943" y="1168219"/>
                    <a:pt x="2265311" y="1168219"/>
                  </a:cubicBezTo>
                  <a:lnTo>
                    <a:pt x="2282307" y="1168219"/>
                  </a:lnTo>
                  <a:cubicBezTo>
                    <a:pt x="2282503" y="1169424"/>
                    <a:pt x="2282991" y="1170630"/>
                    <a:pt x="2283675" y="1171434"/>
                  </a:cubicBezTo>
                  <a:cubicBezTo>
                    <a:pt x="2284652" y="1172773"/>
                    <a:pt x="2286019" y="1173577"/>
                    <a:pt x="2287387" y="1173577"/>
                  </a:cubicBezTo>
                  <a:lnTo>
                    <a:pt x="2333883" y="1173577"/>
                  </a:lnTo>
                  <a:cubicBezTo>
                    <a:pt x="2334078" y="1174782"/>
                    <a:pt x="2334566" y="1175988"/>
                    <a:pt x="2335250" y="1176926"/>
                  </a:cubicBezTo>
                  <a:cubicBezTo>
                    <a:pt x="2336227" y="1178265"/>
                    <a:pt x="2337595" y="1179069"/>
                    <a:pt x="2338962" y="1179069"/>
                  </a:cubicBezTo>
                  <a:lnTo>
                    <a:pt x="2431954" y="1179069"/>
                  </a:lnTo>
                  <a:cubicBezTo>
                    <a:pt x="2432149" y="1180409"/>
                    <a:pt x="2432638" y="1181480"/>
                    <a:pt x="2433321" y="1182418"/>
                  </a:cubicBezTo>
                  <a:cubicBezTo>
                    <a:pt x="2434298" y="1183757"/>
                    <a:pt x="2435666" y="1184561"/>
                    <a:pt x="2437033" y="1184561"/>
                  </a:cubicBezTo>
                  <a:lnTo>
                    <a:pt x="2520257" y="1184561"/>
                  </a:lnTo>
                  <a:cubicBezTo>
                    <a:pt x="2520453" y="1185901"/>
                    <a:pt x="2520941" y="1187106"/>
                    <a:pt x="2521625" y="1188044"/>
                  </a:cubicBezTo>
                  <a:cubicBezTo>
                    <a:pt x="2522602" y="1189384"/>
                    <a:pt x="2523969" y="1190187"/>
                    <a:pt x="2525337" y="1190187"/>
                  </a:cubicBezTo>
                  <a:lnTo>
                    <a:pt x="2537449" y="1190187"/>
                  </a:lnTo>
                  <a:cubicBezTo>
                    <a:pt x="2537644" y="1191527"/>
                    <a:pt x="2538133" y="1192732"/>
                    <a:pt x="2538817" y="1193670"/>
                  </a:cubicBezTo>
                  <a:cubicBezTo>
                    <a:pt x="2539793" y="1195010"/>
                    <a:pt x="2541161" y="1195813"/>
                    <a:pt x="2542528" y="1195813"/>
                  </a:cubicBezTo>
                  <a:lnTo>
                    <a:pt x="2576716" y="1195813"/>
                  </a:lnTo>
                  <a:cubicBezTo>
                    <a:pt x="2576912" y="1197153"/>
                    <a:pt x="2577400" y="1198359"/>
                    <a:pt x="2578084" y="1199296"/>
                  </a:cubicBezTo>
                  <a:cubicBezTo>
                    <a:pt x="2579061" y="1200636"/>
                    <a:pt x="2580428" y="1201440"/>
                    <a:pt x="2581796" y="1201440"/>
                  </a:cubicBezTo>
                  <a:lnTo>
                    <a:pt x="2723824" y="1201440"/>
                  </a:lnTo>
                  <a:lnTo>
                    <a:pt x="2723824" y="1205592"/>
                  </a:lnTo>
                  <a:cubicBezTo>
                    <a:pt x="2723824" y="1207467"/>
                    <a:pt x="2724410" y="1209343"/>
                    <a:pt x="2725386" y="1210682"/>
                  </a:cubicBezTo>
                  <a:cubicBezTo>
                    <a:pt x="2726363" y="1212022"/>
                    <a:pt x="2727731" y="1212826"/>
                    <a:pt x="2729098" y="1212826"/>
                  </a:cubicBezTo>
                  <a:lnTo>
                    <a:pt x="2908049" y="1212826"/>
                  </a:lnTo>
                  <a:cubicBezTo>
                    <a:pt x="2908244" y="1214165"/>
                    <a:pt x="2908733" y="1215505"/>
                    <a:pt x="2909514" y="1216576"/>
                  </a:cubicBezTo>
                  <a:cubicBezTo>
                    <a:pt x="2910491" y="1217916"/>
                    <a:pt x="2911859" y="1218720"/>
                    <a:pt x="2913226" y="1218720"/>
                  </a:cubicBezTo>
                  <a:lnTo>
                    <a:pt x="2962067" y="1218720"/>
                  </a:lnTo>
                  <a:cubicBezTo>
                    <a:pt x="2962262" y="1220059"/>
                    <a:pt x="2962750" y="1221399"/>
                    <a:pt x="2963532" y="1222470"/>
                  </a:cubicBezTo>
                  <a:cubicBezTo>
                    <a:pt x="2964509" y="1223810"/>
                    <a:pt x="2965876" y="1224614"/>
                    <a:pt x="2967244" y="1224614"/>
                  </a:cubicBezTo>
                  <a:lnTo>
                    <a:pt x="3050467" y="1224614"/>
                  </a:lnTo>
                  <a:cubicBezTo>
                    <a:pt x="3050663" y="1226087"/>
                    <a:pt x="3051151" y="1227427"/>
                    <a:pt x="3051933" y="1228498"/>
                  </a:cubicBezTo>
                  <a:cubicBezTo>
                    <a:pt x="3052909" y="1229838"/>
                    <a:pt x="3054277" y="1230642"/>
                    <a:pt x="3055644" y="1230642"/>
                  </a:cubicBezTo>
                  <a:lnTo>
                    <a:pt x="3062775" y="1230642"/>
                  </a:lnTo>
                  <a:cubicBezTo>
                    <a:pt x="3062970" y="1232115"/>
                    <a:pt x="3063459" y="1233455"/>
                    <a:pt x="3064240" y="1234392"/>
                  </a:cubicBezTo>
                  <a:cubicBezTo>
                    <a:pt x="3064533" y="1234794"/>
                    <a:pt x="3064826" y="1235062"/>
                    <a:pt x="3065119" y="1235330"/>
                  </a:cubicBezTo>
                  <a:cubicBezTo>
                    <a:pt x="3065119" y="1237205"/>
                    <a:pt x="3065706" y="1239081"/>
                    <a:pt x="3066682" y="1240420"/>
                  </a:cubicBezTo>
                  <a:cubicBezTo>
                    <a:pt x="3067659" y="1241760"/>
                    <a:pt x="3069027" y="1242564"/>
                    <a:pt x="3070394" y="1242564"/>
                  </a:cubicBezTo>
                  <a:lnTo>
                    <a:pt x="3116793" y="1242564"/>
                  </a:lnTo>
                  <a:cubicBezTo>
                    <a:pt x="3116988" y="1244037"/>
                    <a:pt x="3117476" y="1245377"/>
                    <a:pt x="3118258" y="1246448"/>
                  </a:cubicBezTo>
                  <a:cubicBezTo>
                    <a:pt x="3119235" y="1247788"/>
                    <a:pt x="3120602" y="1248592"/>
                    <a:pt x="3121970" y="1248592"/>
                  </a:cubicBezTo>
                  <a:lnTo>
                    <a:pt x="3276305" y="1248592"/>
                  </a:lnTo>
                  <a:cubicBezTo>
                    <a:pt x="3276403" y="1250199"/>
                    <a:pt x="3276989" y="1251673"/>
                    <a:pt x="3277770" y="1252878"/>
                  </a:cubicBezTo>
                  <a:cubicBezTo>
                    <a:pt x="3278747" y="1254218"/>
                    <a:pt x="3280115" y="1255021"/>
                    <a:pt x="3281482" y="1255021"/>
                  </a:cubicBezTo>
                  <a:lnTo>
                    <a:pt x="3347417" y="1255021"/>
                  </a:lnTo>
                  <a:cubicBezTo>
                    <a:pt x="3347514" y="1256763"/>
                    <a:pt x="3348100" y="1258370"/>
                    <a:pt x="3348882" y="1259576"/>
                  </a:cubicBezTo>
                  <a:cubicBezTo>
                    <a:pt x="3349859" y="1260915"/>
                    <a:pt x="3351226" y="1261719"/>
                    <a:pt x="3352594" y="1261719"/>
                  </a:cubicBezTo>
                  <a:lnTo>
                    <a:pt x="3364511" y="1261719"/>
                  </a:lnTo>
                  <a:cubicBezTo>
                    <a:pt x="3364511" y="1263460"/>
                    <a:pt x="3365097" y="1265202"/>
                    <a:pt x="3366074" y="1266541"/>
                  </a:cubicBezTo>
                  <a:cubicBezTo>
                    <a:pt x="3367050" y="1267881"/>
                    <a:pt x="3368418" y="1268685"/>
                    <a:pt x="3369785" y="1268685"/>
                  </a:cubicBezTo>
                  <a:lnTo>
                    <a:pt x="3467661" y="1268685"/>
                  </a:lnTo>
                  <a:lnTo>
                    <a:pt x="3467661" y="1268953"/>
                  </a:lnTo>
                  <a:cubicBezTo>
                    <a:pt x="3467661" y="1270828"/>
                    <a:pt x="3468248" y="1272703"/>
                    <a:pt x="3469224" y="1274043"/>
                  </a:cubicBezTo>
                  <a:cubicBezTo>
                    <a:pt x="3470201" y="1275382"/>
                    <a:pt x="3471569" y="1276186"/>
                    <a:pt x="3472936" y="1276186"/>
                  </a:cubicBezTo>
                  <a:lnTo>
                    <a:pt x="3479969" y="1276186"/>
                  </a:lnTo>
                  <a:lnTo>
                    <a:pt x="3479969" y="1276722"/>
                  </a:lnTo>
                  <a:cubicBezTo>
                    <a:pt x="3479969" y="1278597"/>
                    <a:pt x="3480555" y="1280473"/>
                    <a:pt x="3481532" y="1281812"/>
                  </a:cubicBezTo>
                  <a:cubicBezTo>
                    <a:pt x="3482509" y="1283152"/>
                    <a:pt x="3483876" y="1283956"/>
                    <a:pt x="3485244" y="1283956"/>
                  </a:cubicBezTo>
                  <a:lnTo>
                    <a:pt x="3860337" y="1283956"/>
                  </a:lnTo>
                  <a:lnTo>
                    <a:pt x="3860337" y="1289314"/>
                  </a:lnTo>
                  <a:cubicBezTo>
                    <a:pt x="3860337" y="1291189"/>
                    <a:pt x="3860923" y="1293064"/>
                    <a:pt x="3861900" y="1294404"/>
                  </a:cubicBezTo>
                  <a:cubicBezTo>
                    <a:pt x="3862877" y="1295744"/>
                    <a:pt x="3864245" y="1296547"/>
                    <a:pt x="3865612" y="1296547"/>
                  </a:cubicBezTo>
                  <a:lnTo>
                    <a:pt x="3975698" y="1296547"/>
                  </a:lnTo>
                  <a:lnTo>
                    <a:pt x="3975698" y="1305254"/>
                  </a:lnTo>
                  <a:cubicBezTo>
                    <a:pt x="3975698" y="1307130"/>
                    <a:pt x="3976284" y="1309005"/>
                    <a:pt x="3977261" y="1310345"/>
                  </a:cubicBezTo>
                  <a:cubicBezTo>
                    <a:pt x="3978238" y="1311684"/>
                    <a:pt x="3979605" y="1312488"/>
                    <a:pt x="3980973" y="1312488"/>
                  </a:cubicBezTo>
                  <a:lnTo>
                    <a:pt x="4080607" y="1312488"/>
                  </a:lnTo>
                  <a:lnTo>
                    <a:pt x="4080607" y="1298155"/>
                  </a:lnTo>
                  <a:lnTo>
                    <a:pt x="3986248" y="1298155"/>
                  </a:lnTo>
                  <a:lnTo>
                    <a:pt x="3986248" y="1289448"/>
                  </a:lnTo>
                  <a:cubicBezTo>
                    <a:pt x="3986248" y="1287572"/>
                    <a:pt x="3985662" y="1285697"/>
                    <a:pt x="3984685" y="1284357"/>
                  </a:cubicBezTo>
                  <a:cubicBezTo>
                    <a:pt x="3983708" y="1283018"/>
                    <a:pt x="3982341" y="1282214"/>
                    <a:pt x="3980973" y="1282214"/>
                  </a:cubicBezTo>
                  <a:lnTo>
                    <a:pt x="3870887" y="1282214"/>
                  </a:lnTo>
                  <a:lnTo>
                    <a:pt x="3870887" y="1276856"/>
                  </a:lnTo>
                  <a:cubicBezTo>
                    <a:pt x="3870887" y="1274981"/>
                    <a:pt x="3870301" y="1273105"/>
                    <a:pt x="3869324" y="1271766"/>
                  </a:cubicBezTo>
                  <a:cubicBezTo>
                    <a:pt x="3868347" y="1270426"/>
                    <a:pt x="3866980" y="1269622"/>
                    <a:pt x="3865612" y="1269622"/>
                  </a:cubicBezTo>
                  <a:lnTo>
                    <a:pt x="3490519" y="1269622"/>
                  </a:lnTo>
                  <a:lnTo>
                    <a:pt x="3490519" y="1269087"/>
                  </a:lnTo>
                  <a:cubicBezTo>
                    <a:pt x="3490519" y="1267211"/>
                    <a:pt x="3489933" y="1265336"/>
                    <a:pt x="3488956" y="1263996"/>
                  </a:cubicBezTo>
                  <a:cubicBezTo>
                    <a:pt x="3487979" y="1262657"/>
                    <a:pt x="3486612" y="1261853"/>
                    <a:pt x="3485244" y="1261853"/>
                  </a:cubicBezTo>
                  <a:lnTo>
                    <a:pt x="3478211" y="1261853"/>
                  </a:lnTo>
                  <a:lnTo>
                    <a:pt x="3478211" y="1261585"/>
                  </a:lnTo>
                  <a:cubicBezTo>
                    <a:pt x="3478211" y="1261585"/>
                    <a:pt x="3478211" y="1260781"/>
                    <a:pt x="3478211" y="1260246"/>
                  </a:cubicBezTo>
                  <a:lnTo>
                    <a:pt x="4080607" y="1260246"/>
                  </a:lnTo>
                  <a:lnTo>
                    <a:pt x="4080607" y="1406658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36" name="Freihandform: Form 735">
              <a:extLst>
                <a:ext uri="{FF2B5EF4-FFF2-40B4-BE49-F238E27FC236}">
                  <a16:creationId xmlns:a16="http://schemas.microsoft.com/office/drawing/2014/main" id="{A584F567-6293-48A0-B5F2-512F57202342}"/>
                </a:ext>
              </a:extLst>
            </p:cNvPr>
            <p:cNvSpPr/>
            <p:nvPr/>
          </p:nvSpPr>
          <p:spPr>
            <a:xfrm>
              <a:off x="1568743" y="1572375"/>
              <a:ext cx="56459" cy="7233"/>
            </a:xfrm>
            <a:custGeom>
              <a:avLst/>
              <a:gdLst>
                <a:gd name="connsiteX0" fmla="*/ 4982 w 56459"/>
                <a:gd name="connsiteY0" fmla="*/ 0 h 7233"/>
                <a:gd name="connsiteX1" fmla="*/ 0 w 56459"/>
                <a:gd name="connsiteY1" fmla="*/ 0 h 7233"/>
                <a:gd name="connsiteX2" fmla="*/ 4884 w 56459"/>
                <a:gd name="connsiteY2" fmla="*/ 0 h 7233"/>
                <a:gd name="connsiteX3" fmla="*/ 56459 w 56459"/>
                <a:gd name="connsiteY3" fmla="*/ 7234 h 7233"/>
                <a:gd name="connsiteX4" fmla="*/ 4982 w 56459"/>
                <a:gd name="connsiteY4" fmla="*/ 7234 h 7233"/>
                <a:gd name="connsiteX5" fmla="*/ 4982 w 56459"/>
                <a:gd name="connsiteY5" fmla="*/ 0 h 7233"/>
                <a:gd name="connsiteX6" fmla="*/ 34481 w 56459"/>
                <a:gd name="connsiteY6" fmla="*/ 0 h 7233"/>
                <a:gd name="connsiteX7" fmla="*/ 34481 w 56459"/>
                <a:gd name="connsiteY7" fmla="*/ 402 h 7233"/>
                <a:gd name="connsiteX8" fmla="*/ 51575 w 56459"/>
                <a:gd name="connsiteY8" fmla="*/ 402 h 7233"/>
                <a:gd name="connsiteX9" fmla="*/ 51575 w 56459"/>
                <a:gd name="connsiteY9" fmla="*/ 5626 h 7233"/>
                <a:gd name="connsiteX10" fmla="*/ 56459 w 56459"/>
                <a:gd name="connsiteY10" fmla="*/ 5626 h 7233"/>
                <a:gd name="connsiteX11" fmla="*/ 56459 w 56459"/>
                <a:gd name="connsiteY11" fmla="*/ 7234 h 7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6459" h="7233">
                  <a:moveTo>
                    <a:pt x="4982" y="0"/>
                  </a:moveTo>
                  <a:lnTo>
                    <a:pt x="0" y="0"/>
                  </a:lnTo>
                  <a:lnTo>
                    <a:pt x="4884" y="0"/>
                  </a:lnTo>
                  <a:moveTo>
                    <a:pt x="56459" y="7234"/>
                  </a:moveTo>
                  <a:lnTo>
                    <a:pt x="4982" y="7234"/>
                  </a:lnTo>
                  <a:lnTo>
                    <a:pt x="4982" y="0"/>
                  </a:lnTo>
                  <a:lnTo>
                    <a:pt x="34481" y="0"/>
                  </a:lnTo>
                  <a:lnTo>
                    <a:pt x="34481" y="402"/>
                  </a:lnTo>
                  <a:lnTo>
                    <a:pt x="51575" y="402"/>
                  </a:lnTo>
                  <a:lnTo>
                    <a:pt x="51575" y="5626"/>
                  </a:lnTo>
                  <a:lnTo>
                    <a:pt x="56459" y="5626"/>
                  </a:lnTo>
                  <a:lnTo>
                    <a:pt x="56459" y="7234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37" name="Freihandform: Form 736">
              <a:extLst>
                <a:ext uri="{FF2B5EF4-FFF2-40B4-BE49-F238E27FC236}">
                  <a16:creationId xmlns:a16="http://schemas.microsoft.com/office/drawing/2014/main" id="{A7768909-7FE9-1908-E433-5A5A661C0955}"/>
                </a:ext>
              </a:extLst>
            </p:cNvPr>
            <p:cNvSpPr/>
            <p:nvPr/>
          </p:nvSpPr>
          <p:spPr>
            <a:xfrm>
              <a:off x="4074445" y="2637047"/>
              <a:ext cx="1577053" cy="188876"/>
            </a:xfrm>
            <a:custGeom>
              <a:avLst/>
              <a:gdLst>
                <a:gd name="connsiteX0" fmla="*/ 1576858 w 1577053"/>
                <a:gd name="connsiteY0" fmla="*/ 188876 h 188876"/>
                <a:gd name="connsiteX1" fmla="*/ 974462 w 1577053"/>
                <a:gd name="connsiteY1" fmla="*/ 188876 h 188876"/>
                <a:gd name="connsiteX2" fmla="*/ 972997 w 1577053"/>
                <a:gd name="connsiteY2" fmla="*/ 185125 h 188876"/>
                <a:gd name="connsiteX3" fmla="*/ 969285 w 1577053"/>
                <a:gd name="connsiteY3" fmla="*/ 182982 h 188876"/>
                <a:gd name="connsiteX4" fmla="*/ 905499 w 1577053"/>
                <a:gd name="connsiteY4" fmla="*/ 182982 h 188876"/>
                <a:gd name="connsiteX5" fmla="*/ 905499 w 1577053"/>
                <a:gd name="connsiteY5" fmla="*/ 156325 h 188876"/>
                <a:gd name="connsiteX6" fmla="*/ 797562 w 1577053"/>
                <a:gd name="connsiteY6" fmla="*/ 156325 h 188876"/>
                <a:gd name="connsiteX7" fmla="*/ 797562 w 1577053"/>
                <a:gd name="connsiteY7" fmla="*/ 127927 h 188876"/>
                <a:gd name="connsiteX8" fmla="*/ 411138 w 1577053"/>
                <a:gd name="connsiteY8" fmla="*/ 127927 h 188876"/>
                <a:gd name="connsiteX9" fmla="*/ 409770 w 1577053"/>
                <a:gd name="connsiteY9" fmla="*/ 127659 h 188876"/>
                <a:gd name="connsiteX10" fmla="*/ 360735 w 1577053"/>
                <a:gd name="connsiteY10" fmla="*/ 127659 h 188876"/>
                <a:gd name="connsiteX11" fmla="*/ 360735 w 1577053"/>
                <a:gd name="connsiteY11" fmla="*/ 103279 h 188876"/>
                <a:gd name="connsiteX12" fmla="*/ 189012 w 1577053"/>
                <a:gd name="connsiteY12" fmla="*/ 103279 h 188876"/>
                <a:gd name="connsiteX13" fmla="*/ 189012 w 1577053"/>
                <a:gd name="connsiteY13" fmla="*/ 79033 h 188876"/>
                <a:gd name="connsiteX14" fmla="*/ 157071 w 1577053"/>
                <a:gd name="connsiteY14" fmla="*/ 79033 h 188876"/>
                <a:gd name="connsiteX15" fmla="*/ 157071 w 1577053"/>
                <a:gd name="connsiteY15" fmla="*/ 54653 h 188876"/>
                <a:gd name="connsiteX16" fmla="*/ 90843 w 1577053"/>
                <a:gd name="connsiteY16" fmla="*/ 54653 h 188876"/>
                <a:gd name="connsiteX17" fmla="*/ 90843 w 1577053"/>
                <a:gd name="connsiteY17" fmla="*/ 31211 h 188876"/>
                <a:gd name="connsiteX18" fmla="*/ 36826 w 1577053"/>
                <a:gd name="connsiteY18" fmla="*/ 31211 h 188876"/>
                <a:gd name="connsiteX19" fmla="*/ 36826 w 1577053"/>
                <a:gd name="connsiteY19" fmla="*/ 8037 h 188876"/>
                <a:gd name="connsiteX20" fmla="*/ 0 w 1577053"/>
                <a:gd name="connsiteY20" fmla="*/ 8037 h 188876"/>
                <a:gd name="connsiteX21" fmla="*/ 0 w 1577053"/>
                <a:gd name="connsiteY21" fmla="*/ 0 h 188876"/>
                <a:gd name="connsiteX22" fmla="*/ 22076 w 1577053"/>
                <a:gd name="connsiteY22" fmla="*/ 0 h 188876"/>
                <a:gd name="connsiteX23" fmla="*/ 22076 w 1577053"/>
                <a:gd name="connsiteY23" fmla="*/ 5492 h 188876"/>
                <a:gd name="connsiteX24" fmla="*/ 39268 w 1577053"/>
                <a:gd name="connsiteY24" fmla="*/ 5492 h 188876"/>
                <a:gd name="connsiteX25" fmla="*/ 39268 w 1577053"/>
                <a:gd name="connsiteY25" fmla="*/ 10984 h 188876"/>
                <a:gd name="connsiteX26" fmla="*/ 78535 w 1577053"/>
                <a:gd name="connsiteY26" fmla="*/ 10984 h 188876"/>
                <a:gd name="connsiteX27" fmla="*/ 78535 w 1577053"/>
                <a:gd name="connsiteY27" fmla="*/ 16476 h 188876"/>
                <a:gd name="connsiteX28" fmla="*/ 225740 w 1577053"/>
                <a:gd name="connsiteY28" fmla="*/ 16476 h 188876"/>
                <a:gd name="connsiteX29" fmla="*/ 225740 w 1577053"/>
                <a:gd name="connsiteY29" fmla="*/ 27729 h 188876"/>
                <a:gd name="connsiteX30" fmla="*/ 409770 w 1577053"/>
                <a:gd name="connsiteY30" fmla="*/ 27729 h 188876"/>
                <a:gd name="connsiteX31" fmla="*/ 409770 w 1577053"/>
                <a:gd name="connsiteY31" fmla="*/ 33355 h 188876"/>
                <a:gd name="connsiteX32" fmla="*/ 463788 w 1577053"/>
                <a:gd name="connsiteY32" fmla="*/ 33355 h 188876"/>
                <a:gd name="connsiteX33" fmla="*/ 463788 w 1577053"/>
                <a:gd name="connsiteY33" fmla="*/ 39115 h 188876"/>
                <a:gd name="connsiteX34" fmla="*/ 552188 w 1577053"/>
                <a:gd name="connsiteY34" fmla="*/ 39115 h 188876"/>
                <a:gd name="connsiteX35" fmla="*/ 552188 w 1577053"/>
                <a:gd name="connsiteY35" fmla="*/ 45009 h 188876"/>
                <a:gd name="connsiteX36" fmla="*/ 564399 w 1577053"/>
                <a:gd name="connsiteY36" fmla="*/ 45009 h 188876"/>
                <a:gd name="connsiteX37" fmla="*/ 564399 w 1577053"/>
                <a:gd name="connsiteY37" fmla="*/ 50769 h 188876"/>
                <a:gd name="connsiteX38" fmla="*/ 566841 w 1577053"/>
                <a:gd name="connsiteY38" fmla="*/ 50769 h 188876"/>
                <a:gd name="connsiteX39" fmla="*/ 566841 w 1577053"/>
                <a:gd name="connsiteY39" fmla="*/ 56663 h 188876"/>
                <a:gd name="connsiteX40" fmla="*/ 618416 w 1577053"/>
                <a:gd name="connsiteY40" fmla="*/ 56663 h 188876"/>
                <a:gd name="connsiteX41" fmla="*/ 618416 w 1577053"/>
                <a:gd name="connsiteY41" fmla="*/ 62557 h 188876"/>
                <a:gd name="connsiteX42" fmla="*/ 777928 w 1577053"/>
                <a:gd name="connsiteY42" fmla="*/ 62557 h 188876"/>
                <a:gd name="connsiteX43" fmla="*/ 777928 w 1577053"/>
                <a:gd name="connsiteY43" fmla="*/ 68853 h 188876"/>
                <a:gd name="connsiteX44" fmla="*/ 849138 w 1577053"/>
                <a:gd name="connsiteY44" fmla="*/ 68853 h 188876"/>
                <a:gd name="connsiteX45" fmla="*/ 849138 w 1577053"/>
                <a:gd name="connsiteY45" fmla="*/ 75282 h 188876"/>
                <a:gd name="connsiteX46" fmla="*/ 866329 w 1577053"/>
                <a:gd name="connsiteY46" fmla="*/ 75282 h 188876"/>
                <a:gd name="connsiteX47" fmla="*/ 866329 w 1577053"/>
                <a:gd name="connsiteY47" fmla="*/ 81980 h 188876"/>
                <a:gd name="connsiteX48" fmla="*/ 969382 w 1577053"/>
                <a:gd name="connsiteY48" fmla="*/ 81980 h 188876"/>
                <a:gd name="connsiteX49" fmla="*/ 969382 w 1577053"/>
                <a:gd name="connsiteY49" fmla="*/ 89214 h 188876"/>
                <a:gd name="connsiteX50" fmla="*/ 981690 w 1577053"/>
                <a:gd name="connsiteY50" fmla="*/ 89214 h 188876"/>
                <a:gd name="connsiteX51" fmla="*/ 981690 w 1577053"/>
                <a:gd name="connsiteY51" fmla="*/ 96447 h 188876"/>
                <a:gd name="connsiteX52" fmla="*/ 1362058 w 1577053"/>
                <a:gd name="connsiteY52" fmla="*/ 96447 h 188876"/>
                <a:gd name="connsiteX53" fmla="*/ 1362058 w 1577053"/>
                <a:gd name="connsiteY53" fmla="*/ 107164 h 188876"/>
                <a:gd name="connsiteX54" fmla="*/ 1477419 w 1577053"/>
                <a:gd name="connsiteY54" fmla="*/ 107164 h 188876"/>
                <a:gd name="connsiteX55" fmla="*/ 1477419 w 1577053"/>
                <a:gd name="connsiteY55" fmla="*/ 119889 h 188876"/>
                <a:gd name="connsiteX56" fmla="*/ 1577053 w 1577053"/>
                <a:gd name="connsiteY56" fmla="*/ 119889 h 188876"/>
                <a:gd name="connsiteX57" fmla="*/ 1577053 w 1577053"/>
                <a:gd name="connsiteY57" fmla="*/ 188742 h 188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577053" h="188876">
                  <a:moveTo>
                    <a:pt x="1576858" y="188876"/>
                  </a:moveTo>
                  <a:lnTo>
                    <a:pt x="974462" y="188876"/>
                  </a:lnTo>
                  <a:cubicBezTo>
                    <a:pt x="974267" y="187403"/>
                    <a:pt x="973778" y="186063"/>
                    <a:pt x="972997" y="185125"/>
                  </a:cubicBezTo>
                  <a:cubicBezTo>
                    <a:pt x="972020" y="183786"/>
                    <a:pt x="970652" y="182982"/>
                    <a:pt x="969285" y="182982"/>
                  </a:cubicBezTo>
                  <a:lnTo>
                    <a:pt x="905499" y="182982"/>
                  </a:lnTo>
                  <a:lnTo>
                    <a:pt x="905499" y="156325"/>
                  </a:lnTo>
                  <a:lnTo>
                    <a:pt x="797562" y="156325"/>
                  </a:lnTo>
                  <a:lnTo>
                    <a:pt x="797562" y="127927"/>
                  </a:lnTo>
                  <a:lnTo>
                    <a:pt x="411138" y="127927"/>
                  </a:lnTo>
                  <a:cubicBezTo>
                    <a:pt x="411138" y="127927"/>
                    <a:pt x="410259" y="127659"/>
                    <a:pt x="409770" y="127659"/>
                  </a:cubicBezTo>
                  <a:lnTo>
                    <a:pt x="360735" y="127659"/>
                  </a:lnTo>
                  <a:lnTo>
                    <a:pt x="360735" y="103279"/>
                  </a:lnTo>
                  <a:lnTo>
                    <a:pt x="189012" y="103279"/>
                  </a:lnTo>
                  <a:lnTo>
                    <a:pt x="189012" y="79033"/>
                  </a:lnTo>
                  <a:lnTo>
                    <a:pt x="157071" y="79033"/>
                  </a:lnTo>
                  <a:lnTo>
                    <a:pt x="157071" y="54653"/>
                  </a:lnTo>
                  <a:lnTo>
                    <a:pt x="90843" y="54653"/>
                  </a:lnTo>
                  <a:lnTo>
                    <a:pt x="90843" y="31211"/>
                  </a:lnTo>
                  <a:lnTo>
                    <a:pt x="36826" y="31211"/>
                  </a:lnTo>
                  <a:lnTo>
                    <a:pt x="36826" y="8037"/>
                  </a:lnTo>
                  <a:lnTo>
                    <a:pt x="0" y="8037"/>
                  </a:lnTo>
                  <a:lnTo>
                    <a:pt x="0" y="0"/>
                  </a:lnTo>
                  <a:lnTo>
                    <a:pt x="22076" y="0"/>
                  </a:lnTo>
                  <a:lnTo>
                    <a:pt x="22076" y="5492"/>
                  </a:lnTo>
                  <a:lnTo>
                    <a:pt x="39268" y="5492"/>
                  </a:lnTo>
                  <a:lnTo>
                    <a:pt x="39268" y="10984"/>
                  </a:lnTo>
                  <a:lnTo>
                    <a:pt x="78535" y="10984"/>
                  </a:lnTo>
                  <a:lnTo>
                    <a:pt x="78535" y="16476"/>
                  </a:lnTo>
                  <a:lnTo>
                    <a:pt x="225740" y="16476"/>
                  </a:lnTo>
                  <a:lnTo>
                    <a:pt x="225740" y="27729"/>
                  </a:lnTo>
                  <a:lnTo>
                    <a:pt x="409770" y="27729"/>
                  </a:lnTo>
                  <a:lnTo>
                    <a:pt x="409770" y="33355"/>
                  </a:lnTo>
                  <a:lnTo>
                    <a:pt x="463788" y="33355"/>
                  </a:lnTo>
                  <a:lnTo>
                    <a:pt x="463788" y="39115"/>
                  </a:lnTo>
                  <a:lnTo>
                    <a:pt x="552188" y="39115"/>
                  </a:lnTo>
                  <a:lnTo>
                    <a:pt x="552188" y="45009"/>
                  </a:lnTo>
                  <a:lnTo>
                    <a:pt x="564399" y="45009"/>
                  </a:lnTo>
                  <a:lnTo>
                    <a:pt x="564399" y="50769"/>
                  </a:lnTo>
                  <a:lnTo>
                    <a:pt x="566841" y="50769"/>
                  </a:lnTo>
                  <a:lnTo>
                    <a:pt x="566841" y="56663"/>
                  </a:lnTo>
                  <a:lnTo>
                    <a:pt x="618416" y="56663"/>
                  </a:lnTo>
                  <a:lnTo>
                    <a:pt x="618416" y="62557"/>
                  </a:lnTo>
                  <a:lnTo>
                    <a:pt x="777928" y="62557"/>
                  </a:lnTo>
                  <a:lnTo>
                    <a:pt x="777928" y="68853"/>
                  </a:lnTo>
                  <a:lnTo>
                    <a:pt x="849138" y="68853"/>
                  </a:lnTo>
                  <a:lnTo>
                    <a:pt x="849138" y="75282"/>
                  </a:lnTo>
                  <a:lnTo>
                    <a:pt x="866329" y="75282"/>
                  </a:lnTo>
                  <a:lnTo>
                    <a:pt x="866329" y="81980"/>
                  </a:lnTo>
                  <a:lnTo>
                    <a:pt x="969382" y="81980"/>
                  </a:lnTo>
                  <a:lnTo>
                    <a:pt x="969382" y="89214"/>
                  </a:lnTo>
                  <a:lnTo>
                    <a:pt x="981690" y="89214"/>
                  </a:lnTo>
                  <a:lnTo>
                    <a:pt x="981690" y="96447"/>
                  </a:lnTo>
                  <a:lnTo>
                    <a:pt x="1362058" y="96447"/>
                  </a:lnTo>
                  <a:lnTo>
                    <a:pt x="1362058" y="107164"/>
                  </a:lnTo>
                  <a:lnTo>
                    <a:pt x="1477419" y="107164"/>
                  </a:lnTo>
                  <a:lnTo>
                    <a:pt x="1477419" y="119889"/>
                  </a:lnTo>
                  <a:lnTo>
                    <a:pt x="1577053" y="119889"/>
                  </a:lnTo>
                  <a:lnTo>
                    <a:pt x="1577053" y="188742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738" name="Freihandform: Form 737">
            <a:extLst>
              <a:ext uri="{FF2B5EF4-FFF2-40B4-BE49-F238E27FC236}">
                <a16:creationId xmlns:a16="http://schemas.microsoft.com/office/drawing/2014/main" id="{8BD06A13-9F56-D0C3-3304-A41EE843580B}"/>
              </a:ext>
            </a:extLst>
          </p:cNvPr>
          <p:cNvSpPr/>
          <p:nvPr/>
        </p:nvSpPr>
        <p:spPr>
          <a:xfrm>
            <a:off x="1498472" y="1375569"/>
            <a:ext cx="4082658" cy="1064403"/>
          </a:xfrm>
          <a:custGeom>
            <a:avLst/>
            <a:gdLst>
              <a:gd name="connsiteX0" fmla="*/ 4982 w 4082658"/>
              <a:gd name="connsiteY0" fmla="*/ 0 h 1064403"/>
              <a:gd name="connsiteX1" fmla="*/ 0 w 4082658"/>
              <a:gd name="connsiteY1" fmla="*/ 0 h 1064403"/>
              <a:gd name="connsiteX2" fmla="*/ 4884 w 4082658"/>
              <a:gd name="connsiteY2" fmla="*/ 0 h 1064403"/>
              <a:gd name="connsiteX3" fmla="*/ 201320 w 4082658"/>
              <a:gd name="connsiteY3" fmla="*/ 0 h 1064403"/>
              <a:gd name="connsiteX4" fmla="*/ 34384 w 4082658"/>
              <a:gd name="connsiteY4" fmla="*/ 0 h 1064403"/>
              <a:gd name="connsiteX5" fmla="*/ 201222 w 4082658"/>
              <a:gd name="connsiteY5" fmla="*/ 0 h 1064403"/>
              <a:gd name="connsiteX6" fmla="*/ 4082658 w 4082658"/>
              <a:gd name="connsiteY6" fmla="*/ 1061859 h 1064403"/>
              <a:gd name="connsiteX7" fmla="*/ 3411202 w 4082658"/>
              <a:gd name="connsiteY7" fmla="*/ 1061859 h 1064403"/>
              <a:gd name="connsiteX8" fmla="*/ 3407490 w 4082658"/>
              <a:gd name="connsiteY8" fmla="*/ 1059715 h 1064403"/>
              <a:gd name="connsiteX9" fmla="*/ 3405927 w 4082658"/>
              <a:gd name="connsiteY9" fmla="*/ 1054625 h 1064403"/>
              <a:gd name="connsiteX10" fmla="*/ 3405927 w 4082658"/>
              <a:gd name="connsiteY10" fmla="*/ 1031049 h 1064403"/>
              <a:gd name="connsiteX11" fmla="*/ 3303167 w 4082658"/>
              <a:gd name="connsiteY11" fmla="*/ 1031049 h 1064403"/>
              <a:gd name="connsiteX12" fmla="*/ 3299455 w 4082658"/>
              <a:gd name="connsiteY12" fmla="*/ 1028906 h 1064403"/>
              <a:gd name="connsiteX13" fmla="*/ 3297892 w 4082658"/>
              <a:gd name="connsiteY13" fmla="*/ 1023816 h 1064403"/>
              <a:gd name="connsiteX14" fmla="*/ 3297892 w 4082658"/>
              <a:gd name="connsiteY14" fmla="*/ 1003722 h 1064403"/>
              <a:gd name="connsiteX15" fmla="*/ 2866242 w 4082658"/>
              <a:gd name="connsiteY15" fmla="*/ 1003722 h 1064403"/>
              <a:gd name="connsiteX16" fmla="*/ 2862530 w 4082658"/>
              <a:gd name="connsiteY16" fmla="*/ 1001579 h 1064403"/>
              <a:gd name="connsiteX17" fmla="*/ 2860967 w 4082658"/>
              <a:gd name="connsiteY17" fmla="*/ 996489 h 1064403"/>
              <a:gd name="connsiteX18" fmla="*/ 2860967 w 4082658"/>
              <a:gd name="connsiteY18" fmla="*/ 979611 h 1064403"/>
              <a:gd name="connsiteX19" fmla="*/ 2694422 w 4082658"/>
              <a:gd name="connsiteY19" fmla="*/ 979611 h 1064403"/>
              <a:gd name="connsiteX20" fmla="*/ 2690710 w 4082658"/>
              <a:gd name="connsiteY20" fmla="*/ 977467 h 1064403"/>
              <a:gd name="connsiteX21" fmla="*/ 2689147 w 4082658"/>
              <a:gd name="connsiteY21" fmla="*/ 972377 h 1064403"/>
              <a:gd name="connsiteX22" fmla="*/ 2689147 w 4082658"/>
              <a:gd name="connsiteY22" fmla="*/ 956035 h 1064403"/>
              <a:gd name="connsiteX23" fmla="*/ 2662480 w 4082658"/>
              <a:gd name="connsiteY23" fmla="*/ 956035 h 1064403"/>
              <a:gd name="connsiteX24" fmla="*/ 2658768 w 4082658"/>
              <a:gd name="connsiteY24" fmla="*/ 953891 h 1064403"/>
              <a:gd name="connsiteX25" fmla="*/ 2657205 w 4082658"/>
              <a:gd name="connsiteY25" fmla="*/ 948801 h 1064403"/>
              <a:gd name="connsiteX26" fmla="*/ 2657205 w 4082658"/>
              <a:gd name="connsiteY26" fmla="*/ 932458 h 1064403"/>
              <a:gd name="connsiteX27" fmla="*/ 2596155 w 4082658"/>
              <a:gd name="connsiteY27" fmla="*/ 932458 h 1064403"/>
              <a:gd name="connsiteX28" fmla="*/ 2592443 w 4082658"/>
              <a:gd name="connsiteY28" fmla="*/ 930315 h 1064403"/>
              <a:gd name="connsiteX29" fmla="*/ 2590880 w 4082658"/>
              <a:gd name="connsiteY29" fmla="*/ 925225 h 1064403"/>
              <a:gd name="connsiteX30" fmla="*/ 2590880 w 4082658"/>
              <a:gd name="connsiteY30" fmla="*/ 909686 h 1064403"/>
              <a:gd name="connsiteX31" fmla="*/ 2542138 w 4082658"/>
              <a:gd name="connsiteY31" fmla="*/ 909686 h 1064403"/>
              <a:gd name="connsiteX32" fmla="*/ 2538426 w 4082658"/>
              <a:gd name="connsiteY32" fmla="*/ 907543 h 1064403"/>
              <a:gd name="connsiteX33" fmla="*/ 2536863 w 4082658"/>
              <a:gd name="connsiteY33" fmla="*/ 902453 h 1064403"/>
              <a:gd name="connsiteX34" fmla="*/ 2536863 w 4082658"/>
              <a:gd name="connsiteY34" fmla="*/ 887182 h 1064403"/>
              <a:gd name="connsiteX35" fmla="*/ 2505312 w 4082658"/>
              <a:gd name="connsiteY35" fmla="*/ 887182 h 1064403"/>
              <a:gd name="connsiteX36" fmla="*/ 2501600 w 4082658"/>
              <a:gd name="connsiteY36" fmla="*/ 885038 h 1064403"/>
              <a:gd name="connsiteX37" fmla="*/ 2500037 w 4082658"/>
              <a:gd name="connsiteY37" fmla="*/ 879948 h 1064403"/>
              <a:gd name="connsiteX38" fmla="*/ 2500037 w 4082658"/>
              <a:gd name="connsiteY38" fmla="*/ 864811 h 1064403"/>
              <a:gd name="connsiteX39" fmla="*/ 2345702 w 4082658"/>
              <a:gd name="connsiteY39" fmla="*/ 864811 h 1064403"/>
              <a:gd name="connsiteX40" fmla="*/ 2341990 w 4082658"/>
              <a:gd name="connsiteY40" fmla="*/ 862668 h 1064403"/>
              <a:gd name="connsiteX41" fmla="*/ 2340427 w 4082658"/>
              <a:gd name="connsiteY41" fmla="*/ 857578 h 1064403"/>
              <a:gd name="connsiteX42" fmla="*/ 2340427 w 4082658"/>
              <a:gd name="connsiteY42" fmla="*/ 842307 h 1064403"/>
              <a:gd name="connsiteX43" fmla="*/ 2333394 w 4082658"/>
              <a:gd name="connsiteY43" fmla="*/ 842307 h 1064403"/>
              <a:gd name="connsiteX44" fmla="*/ 2329682 w 4082658"/>
              <a:gd name="connsiteY44" fmla="*/ 840164 h 1064403"/>
              <a:gd name="connsiteX45" fmla="*/ 2328119 w 4082658"/>
              <a:gd name="connsiteY45" fmla="*/ 835073 h 1064403"/>
              <a:gd name="connsiteX46" fmla="*/ 2328119 w 4082658"/>
              <a:gd name="connsiteY46" fmla="*/ 819937 h 1064403"/>
              <a:gd name="connsiteX47" fmla="*/ 2301453 w 4082658"/>
              <a:gd name="connsiteY47" fmla="*/ 819937 h 1064403"/>
              <a:gd name="connsiteX48" fmla="*/ 2297741 w 4082658"/>
              <a:gd name="connsiteY48" fmla="*/ 817793 h 1064403"/>
              <a:gd name="connsiteX49" fmla="*/ 2296178 w 4082658"/>
              <a:gd name="connsiteY49" fmla="*/ 812703 h 1064403"/>
              <a:gd name="connsiteX50" fmla="*/ 2296178 w 4082658"/>
              <a:gd name="connsiteY50" fmla="*/ 797566 h 1064403"/>
              <a:gd name="connsiteX51" fmla="*/ 2279377 w 4082658"/>
              <a:gd name="connsiteY51" fmla="*/ 797566 h 1064403"/>
              <a:gd name="connsiteX52" fmla="*/ 2275665 w 4082658"/>
              <a:gd name="connsiteY52" fmla="*/ 795423 h 1064403"/>
              <a:gd name="connsiteX53" fmla="*/ 2274102 w 4082658"/>
              <a:gd name="connsiteY53" fmla="*/ 790333 h 1064403"/>
              <a:gd name="connsiteX54" fmla="*/ 2274102 w 4082658"/>
              <a:gd name="connsiteY54" fmla="*/ 775196 h 1064403"/>
              <a:gd name="connsiteX55" fmla="*/ 2001964 w 4082658"/>
              <a:gd name="connsiteY55" fmla="*/ 775196 h 1064403"/>
              <a:gd name="connsiteX56" fmla="*/ 1998252 w 4082658"/>
              <a:gd name="connsiteY56" fmla="*/ 773052 h 1064403"/>
              <a:gd name="connsiteX57" fmla="*/ 1996689 w 4082658"/>
              <a:gd name="connsiteY57" fmla="*/ 767962 h 1064403"/>
              <a:gd name="connsiteX58" fmla="*/ 1996689 w 4082658"/>
              <a:gd name="connsiteY58" fmla="*/ 754031 h 1064403"/>
              <a:gd name="connsiteX59" fmla="*/ 1977446 w 4082658"/>
              <a:gd name="connsiteY59" fmla="*/ 754031 h 1064403"/>
              <a:gd name="connsiteX60" fmla="*/ 1973734 w 4082658"/>
              <a:gd name="connsiteY60" fmla="*/ 751888 h 1064403"/>
              <a:gd name="connsiteX61" fmla="*/ 1972171 w 4082658"/>
              <a:gd name="connsiteY61" fmla="*/ 746797 h 1064403"/>
              <a:gd name="connsiteX62" fmla="*/ 1972171 w 4082658"/>
              <a:gd name="connsiteY62" fmla="*/ 732866 h 1064403"/>
              <a:gd name="connsiteX63" fmla="*/ 1928313 w 4082658"/>
              <a:gd name="connsiteY63" fmla="*/ 732866 h 1064403"/>
              <a:gd name="connsiteX64" fmla="*/ 1924601 w 4082658"/>
              <a:gd name="connsiteY64" fmla="*/ 730723 h 1064403"/>
              <a:gd name="connsiteX65" fmla="*/ 1923038 w 4082658"/>
              <a:gd name="connsiteY65" fmla="*/ 725632 h 1064403"/>
              <a:gd name="connsiteX66" fmla="*/ 1923038 w 4082658"/>
              <a:gd name="connsiteY66" fmla="*/ 711701 h 1064403"/>
              <a:gd name="connsiteX67" fmla="*/ 1830144 w 4082658"/>
              <a:gd name="connsiteY67" fmla="*/ 711701 h 1064403"/>
              <a:gd name="connsiteX68" fmla="*/ 1826432 w 4082658"/>
              <a:gd name="connsiteY68" fmla="*/ 709558 h 1064403"/>
              <a:gd name="connsiteX69" fmla="*/ 1824869 w 4082658"/>
              <a:gd name="connsiteY69" fmla="*/ 704468 h 1064403"/>
              <a:gd name="connsiteX70" fmla="*/ 1824869 w 4082658"/>
              <a:gd name="connsiteY70" fmla="*/ 690536 h 1064403"/>
              <a:gd name="connsiteX71" fmla="*/ 1783452 w 4082658"/>
              <a:gd name="connsiteY71" fmla="*/ 690536 h 1064403"/>
              <a:gd name="connsiteX72" fmla="*/ 1779741 w 4082658"/>
              <a:gd name="connsiteY72" fmla="*/ 688393 h 1064403"/>
              <a:gd name="connsiteX73" fmla="*/ 1778178 w 4082658"/>
              <a:gd name="connsiteY73" fmla="*/ 683303 h 1064403"/>
              <a:gd name="connsiteX74" fmla="*/ 1778178 w 4082658"/>
              <a:gd name="connsiteY74" fmla="*/ 669372 h 1064403"/>
              <a:gd name="connsiteX75" fmla="*/ 1768703 w 4082658"/>
              <a:gd name="connsiteY75" fmla="*/ 669372 h 1064403"/>
              <a:gd name="connsiteX76" fmla="*/ 1764991 w 4082658"/>
              <a:gd name="connsiteY76" fmla="*/ 667228 h 1064403"/>
              <a:gd name="connsiteX77" fmla="*/ 1763428 w 4082658"/>
              <a:gd name="connsiteY77" fmla="*/ 662138 h 1064403"/>
              <a:gd name="connsiteX78" fmla="*/ 1763428 w 4082658"/>
              <a:gd name="connsiteY78" fmla="*/ 648207 h 1064403"/>
              <a:gd name="connsiteX79" fmla="*/ 1587017 w 4082658"/>
              <a:gd name="connsiteY79" fmla="*/ 648207 h 1064403"/>
              <a:gd name="connsiteX80" fmla="*/ 1583305 w 4082658"/>
              <a:gd name="connsiteY80" fmla="*/ 646063 h 1064403"/>
              <a:gd name="connsiteX81" fmla="*/ 1581742 w 4082658"/>
              <a:gd name="connsiteY81" fmla="*/ 640973 h 1064403"/>
              <a:gd name="connsiteX82" fmla="*/ 1581742 w 4082658"/>
              <a:gd name="connsiteY82" fmla="*/ 627042 h 1064403"/>
              <a:gd name="connsiteX83" fmla="*/ 1491290 w 4082658"/>
              <a:gd name="connsiteY83" fmla="*/ 627042 h 1064403"/>
              <a:gd name="connsiteX84" fmla="*/ 1487578 w 4082658"/>
              <a:gd name="connsiteY84" fmla="*/ 624899 h 1064403"/>
              <a:gd name="connsiteX85" fmla="*/ 1486015 w 4082658"/>
              <a:gd name="connsiteY85" fmla="*/ 619808 h 1064403"/>
              <a:gd name="connsiteX86" fmla="*/ 1486015 w 4082658"/>
              <a:gd name="connsiteY86" fmla="*/ 604805 h 1064403"/>
              <a:gd name="connsiteX87" fmla="*/ 1485136 w 4082658"/>
              <a:gd name="connsiteY87" fmla="*/ 603734 h 1064403"/>
              <a:gd name="connsiteX88" fmla="*/ 1483573 w 4082658"/>
              <a:gd name="connsiteY88" fmla="*/ 598643 h 1064403"/>
              <a:gd name="connsiteX89" fmla="*/ 1483573 w 4082658"/>
              <a:gd name="connsiteY89" fmla="*/ 584712 h 1064403"/>
              <a:gd name="connsiteX90" fmla="*/ 1461790 w 4082658"/>
              <a:gd name="connsiteY90" fmla="*/ 584712 h 1064403"/>
              <a:gd name="connsiteX91" fmla="*/ 1458078 w 4082658"/>
              <a:gd name="connsiteY91" fmla="*/ 582569 h 1064403"/>
              <a:gd name="connsiteX92" fmla="*/ 1456515 w 4082658"/>
              <a:gd name="connsiteY92" fmla="*/ 577479 h 1064403"/>
              <a:gd name="connsiteX93" fmla="*/ 1456515 w 4082658"/>
              <a:gd name="connsiteY93" fmla="*/ 563547 h 1064403"/>
              <a:gd name="connsiteX94" fmla="*/ 1339006 w 4082658"/>
              <a:gd name="connsiteY94" fmla="*/ 563547 h 1064403"/>
              <a:gd name="connsiteX95" fmla="*/ 1335294 w 4082658"/>
              <a:gd name="connsiteY95" fmla="*/ 561404 h 1064403"/>
              <a:gd name="connsiteX96" fmla="*/ 1333731 w 4082658"/>
              <a:gd name="connsiteY96" fmla="*/ 556314 h 1064403"/>
              <a:gd name="connsiteX97" fmla="*/ 1333731 w 4082658"/>
              <a:gd name="connsiteY97" fmla="*/ 521887 h 1064403"/>
              <a:gd name="connsiteX98" fmla="*/ 1329140 w 4082658"/>
              <a:gd name="connsiteY98" fmla="*/ 521887 h 1064403"/>
              <a:gd name="connsiteX99" fmla="*/ 1325428 w 4082658"/>
              <a:gd name="connsiteY99" fmla="*/ 519744 h 1064403"/>
              <a:gd name="connsiteX100" fmla="*/ 1323865 w 4082658"/>
              <a:gd name="connsiteY100" fmla="*/ 514654 h 1064403"/>
              <a:gd name="connsiteX101" fmla="*/ 1323865 w 4082658"/>
              <a:gd name="connsiteY101" fmla="*/ 500990 h 1064403"/>
              <a:gd name="connsiteX102" fmla="*/ 1316832 w 4082658"/>
              <a:gd name="connsiteY102" fmla="*/ 500990 h 1064403"/>
              <a:gd name="connsiteX103" fmla="*/ 1313120 w 4082658"/>
              <a:gd name="connsiteY103" fmla="*/ 498847 h 1064403"/>
              <a:gd name="connsiteX104" fmla="*/ 1311557 w 4082658"/>
              <a:gd name="connsiteY104" fmla="*/ 493757 h 1064403"/>
              <a:gd name="connsiteX105" fmla="*/ 1311557 w 4082658"/>
              <a:gd name="connsiteY105" fmla="*/ 480094 h 1064403"/>
              <a:gd name="connsiteX106" fmla="*/ 1308236 w 4082658"/>
              <a:gd name="connsiteY106" fmla="*/ 477950 h 1064403"/>
              <a:gd name="connsiteX107" fmla="*/ 1306673 w 4082658"/>
              <a:gd name="connsiteY107" fmla="*/ 472860 h 1064403"/>
              <a:gd name="connsiteX108" fmla="*/ 1306673 w 4082658"/>
              <a:gd name="connsiteY108" fmla="*/ 438434 h 1064403"/>
              <a:gd name="connsiteX109" fmla="*/ 1292217 w 4082658"/>
              <a:gd name="connsiteY109" fmla="*/ 438434 h 1064403"/>
              <a:gd name="connsiteX110" fmla="*/ 1288505 w 4082658"/>
              <a:gd name="connsiteY110" fmla="*/ 436290 h 1064403"/>
              <a:gd name="connsiteX111" fmla="*/ 1286942 w 4082658"/>
              <a:gd name="connsiteY111" fmla="*/ 431200 h 1064403"/>
              <a:gd name="connsiteX112" fmla="*/ 1286942 w 4082658"/>
              <a:gd name="connsiteY112" fmla="*/ 417537 h 1064403"/>
              <a:gd name="connsiteX113" fmla="*/ 1233315 w 4082658"/>
              <a:gd name="connsiteY113" fmla="*/ 417537 h 1064403"/>
              <a:gd name="connsiteX114" fmla="*/ 1229603 w 4082658"/>
              <a:gd name="connsiteY114" fmla="*/ 415393 h 1064403"/>
              <a:gd name="connsiteX115" fmla="*/ 1228041 w 4082658"/>
              <a:gd name="connsiteY115" fmla="*/ 410303 h 1064403"/>
              <a:gd name="connsiteX116" fmla="*/ 1228041 w 4082658"/>
              <a:gd name="connsiteY116" fmla="*/ 375877 h 1064403"/>
              <a:gd name="connsiteX117" fmla="*/ 1213584 w 4082658"/>
              <a:gd name="connsiteY117" fmla="*/ 375877 h 1064403"/>
              <a:gd name="connsiteX118" fmla="*/ 1209872 w 4082658"/>
              <a:gd name="connsiteY118" fmla="*/ 373734 h 1064403"/>
              <a:gd name="connsiteX119" fmla="*/ 1208309 w 4082658"/>
              <a:gd name="connsiteY119" fmla="*/ 368643 h 1064403"/>
              <a:gd name="connsiteX120" fmla="*/ 1208309 w 4082658"/>
              <a:gd name="connsiteY120" fmla="*/ 354980 h 1064403"/>
              <a:gd name="connsiteX121" fmla="*/ 1201276 w 4082658"/>
              <a:gd name="connsiteY121" fmla="*/ 354980 h 1064403"/>
              <a:gd name="connsiteX122" fmla="*/ 1197564 w 4082658"/>
              <a:gd name="connsiteY122" fmla="*/ 352837 h 1064403"/>
              <a:gd name="connsiteX123" fmla="*/ 1196001 w 4082658"/>
              <a:gd name="connsiteY123" fmla="*/ 347746 h 1064403"/>
              <a:gd name="connsiteX124" fmla="*/ 1196001 w 4082658"/>
              <a:gd name="connsiteY124" fmla="*/ 334083 h 1064403"/>
              <a:gd name="connsiteX125" fmla="*/ 1098125 w 4082658"/>
              <a:gd name="connsiteY125" fmla="*/ 334083 h 1064403"/>
              <a:gd name="connsiteX126" fmla="*/ 1094413 w 4082658"/>
              <a:gd name="connsiteY126" fmla="*/ 331940 h 1064403"/>
              <a:gd name="connsiteX127" fmla="*/ 1092851 w 4082658"/>
              <a:gd name="connsiteY127" fmla="*/ 326849 h 1064403"/>
              <a:gd name="connsiteX128" fmla="*/ 1092851 w 4082658"/>
              <a:gd name="connsiteY128" fmla="*/ 313186 h 1064403"/>
              <a:gd name="connsiteX129" fmla="*/ 1024474 w 4082658"/>
              <a:gd name="connsiteY129" fmla="*/ 313186 h 1064403"/>
              <a:gd name="connsiteX130" fmla="*/ 1020762 w 4082658"/>
              <a:gd name="connsiteY130" fmla="*/ 311043 h 1064403"/>
              <a:gd name="connsiteX131" fmla="*/ 1019199 w 4082658"/>
              <a:gd name="connsiteY131" fmla="*/ 305952 h 1064403"/>
              <a:gd name="connsiteX132" fmla="*/ 1019199 w 4082658"/>
              <a:gd name="connsiteY132" fmla="*/ 292289 h 1064403"/>
              <a:gd name="connsiteX133" fmla="*/ 992533 w 4082658"/>
              <a:gd name="connsiteY133" fmla="*/ 292289 h 1064403"/>
              <a:gd name="connsiteX134" fmla="*/ 988821 w 4082658"/>
              <a:gd name="connsiteY134" fmla="*/ 290146 h 1064403"/>
              <a:gd name="connsiteX135" fmla="*/ 987258 w 4082658"/>
              <a:gd name="connsiteY135" fmla="*/ 285056 h 1064403"/>
              <a:gd name="connsiteX136" fmla="*/ 987258 w 4082658"/>
              <a:gd name="connsiteY136" fmla="*/ 271392 h 1064403"/>
              <a:gd name="connsiteX137" fmla="*/ 967917 w 4082658"/>
              <a:gd name="connsiteY137" fmla="*/ 271392 h 1064403"/>
              <a:gd name="connsiteX138" fmla="*/ 964205 w 4082658"/>
              <a:gd name="connsiteY138" fmla="*/ 269249 h 1064403"/>
              <a:gd name="connsiteX139" fmla="*/ 962642 w 4082658"/>
              <a:gd name="connsiteY139" fmla="*/ 264159 h 1064403"/>
              <a:gd name="connsiteX140" fmla="*/ 962642 w 4082658"/>
              <a:gd name="connsiteY140" fmla="*/ 250629 h 1064403"/>
              <a:gd name="connsiteX141" fmla="*/ 945841 w 4082658"/>
              <a:gd name="connsiteY141" fmla="*/ 250629 h 1064403"/>
              <a:gd name="connsiteX142" fmla="*/ 942129 w 4082658"/>
              <a:gd name="connsiteY142" fmla="*/ 248486 h 1064403"/>
              <a:gd name="connsiteX143" fmla="*/ 940567 w 4082658"/>
              <a:gd name="connsiteY143" fmla="*/ 243396 h 1064403"/>
              <a:gd name="connsiteX144" fmla="*/ 940567 w 4082658"/>
              <a:gd name="connsiteY144" fmla="*/ 230000 h 1064403"/>
              <a:gd name="connsiteX145" fmla="*/ 904034 w 4082658"/>
              <a:gd name="connsiteY145" fmla="*/ 230000 h 1064403"/>
              <a:gd name="connsiteX146" fmla="*/ 900322 w 4082658"/>
              <a:gd name="connsiteY146" fmla="*/ 227857 h 1064403"/>
              <a:gd name="connsiteX147" fmla="*/ 898759 w 4082658"/>
              <a:gd name="connsiteY147" fmla="*/ 222767 h 1064403"/>
              <a:gd name="connsiteX148" fmla="*/ 898759 w 4082658"/>
              <a:gd name="connsiteY148" fmla="*/ 209371 h 1064403"/>
              <a:gd name="connsiteX149" fmla="*/ 884400 w 4082658"/>
              <a:gd name="connsiteY149" fmla="*/ 209371 h 1064403"/>
              <a:gd name="connsiteX150" fmla="*/ 880688 w 4082658"/>
              <a:gd name="connsiteY150" fmla="*/ 207228 h 1064403"/>
              <a:gd name="connsiteX151" fmla="*/ 879125 w 4082658"/>
              <a:gd name="connsiteY151" fmla="*/ 202138 h 1064403"/>
              <a:gd name="connsiteX152" fmla="*/ 879125 w 4082658"/>
              <a:gd name="connsiteY152" fmla="*/ 188608 h 1064403"/>
              <a:gd name="connsiteX153" fmla="*/ 869650 w 4082658"/>
              <a:gd name="connsiteY153" fmla="*/ 188608 h 1064403"/>
              <a:gd name="connsiteX154" fmla="*/ 865939 w 4082658"/>
              <a:gd name="connsiteY154" fmla="*/ 186465 h 1064403"/>
              <a:gd name="connsiteX155" fmla="*/ 864376 w 4082658"/>
              <a:gd name="connsiteY155" fmla="*/ 181375 h 1064403"/>
              <a:gd name="connsiteX156" fmla="*/ 864376 w 4082658"/>
              <a:gd name="connsiteY156" fmla="*/ 167979 h 1064403"/>
              <a:gd name="connsiteX157" fmla="*/ 837709 w 4082658"/>
              <a:gd name="connsiteY157" fmla="*/ 167979 h 1064403"/>
              <a:gd name="connsiteX158" fmla="*/ 833997 w 4082658"/>
              <a:gd name="connsiteY158" fmla="*/ 165836 h 1064403"/>
              <a:gd name="connsiteX159" fmla="*/ 832434 w 4082658"/>
              <a:gd name="connsiteY159" fmla="*/ 160746 h 1064403"/>
              <a:gd name="connsiteX160" fmla="*/ 832434 w 4082658"/>
              <a:gd name="connsiteY160" fmla="*/ 147350 h 1064403"/>
              <a:gd name="connsiteX161" fmla="*/ 808209 w 4082658"/>
              <a:gd name="connsiteY161" fmla="*/ 147350 h 1064403"/>
              <a:gd name="connsiteX162" fmla="*/ 804497 w 4082658"/>
              <a:gd name="connsiteY162" fmla="*/ 145207 h 1064403"/>
              <a:gd name="connsiteX163" fmla="*/ 802935 w 4082658"/>
              <a:gd name="connsiteY163" fmla="*/ 140117 h 1064403"/>
              <a:gd name="connsiteX164" fmla="*/ 802935 w 4082658"/>
              <a:gd name="connsiteY164" fmla="*/ 126721 h 1064403"/>
              <a:gd name="connsiteX165" fmla="*/ 754192 w 4082658"/>
              <a:gd name="connsiteY165" fmla="*/ 126721 h 1064403"/>
              <a:gd name="connsiteX166" fmla="*/ 750480 w 4082658"/>
              <a:gd name="connsiteY166" fmla="*/ 124578 h 1064403"/>
              <a:gd name="connsiteX167" fmla="*/ 748917 w 4082658"/>
              <a:gd name="connsiteY167" fmla="*/ 119488 h 1064403"/>
              <a:gd name="connsiteX168" fmla="*/ 748917 w 4082658"/>
              <a:gd name="connsiteY168" fmla="*/ 106226 h 1064403"/>
              <a:gd name="connsiteX169" fmla="*/ 705059 w 4082658"/>
              <a:gd name="connsiteY169" fmla="*/ 106226 h 1064403"/>
              <a:gd name="connsiteX170" fmla="*/ 701347 w 4082658"/>
              <a:gd name="connsiteY170" fmla="*/ 104083 h 1064403"/>
              <a:gd name="connsiteX171" fmla="*/ 699784 w 4082658"/>
              <a:gd name="connsiteY171" fmla="*/ 98993 h 1064403"/>
              <a:gd name="connsiteX172" fmla="*/ 699784 w 4082658"/>
              <a:gd name="connsiteY172" fmla="*/ 85731 h 1064403"/>
              <a:gd name="connsiteX173" fmla="*/ 628868 w 4082658"/>
              <a:gd name="connsiteY173" fmla="*/ 85731 h 1064403"/>
              <a:gd name="connsiteX174" fmla="*/ 625156 w 4082658"/>
              <a:gd name="connsiteY174" fmla="*/ 83588 h 1064403"/>
              <a:gd name="connsiteX175" fmla="*/ 623593 w 4082658"/>
              <a:gd name="connsiteY175" fmla="*/ 78497 h 1064403"/>
              <a:gd name="connsiteX176" fmla="*/ 623593 w 4082658"/>
              <a:gd name="connsiteY176" fmla="*/ 65236 h 1064403"/>
              <a:gd name="connsiteX177" fmla="*/ 564985 w 4082658"/>
              <a:gd name="connsiteY177" fmla="*/ 65236 h 1064403"/>
              <a:gd name="connsiteX178" fmla="*/ 561273 w 4082658"/>
              <a:gd name="connsiteY178" fmla="*/ 63093 h 1064403"/>
              <a:gd name="connsiteX179" fmla="*/ 559710 w 4082658"/>
              <a:gd name="connsiteY179" fmla="*/ 58002 h 1064403"/>
              <a:gd name="connsiteX180" fmla="*/ 559710 w 4082658"/>
              <a:gd name="connsiteY180" fmla="*/ 44875 h 1064403"/>
              <a:gd name="connsiteX181" fmla="*/ 358781 w 4082658"/>
              <a:gd name="connsiteY181" fmla="*/ 44875 h 1064403"/>
              <a:gd name="connsiteX182" fmla="*/ 355069 w 4082658"/>
              <a:gd name="connsiteY182" fmla="*/ 42732 h 1064403"/>
              <a:gd name="connsiteX183" fmla="*/ 353506 w 4082658"/>
              <a:gd name="connsiteY183" fmla="*/ 37641 h 1064403"/>
              <a:gd name="connsiteX184" fmla="*/ 353506 w 4082658"/>
              <a:gd name="connsiteY184" fmla="*/ 24648 h 1064403"/>
              <a:gd name="connsiteX185" fmla="*/ 199268 w 4082658"/>
              <a:gd name="connsiteY185" fmla="*/ 24648 h 1064403"/>
              <a:gd name="connsiteX186" fmla="*/ 199268 w 4082658"/>
              <a:gd name="connsiteY186" fmla="*/ 0 h 1064403"/>
              <a:gd name="connsiteX187" fmla="*/ 204543 w 4082658"/>
              <a:gd name="connsiteY187" fmla="*/ 0 h 1064403"/>
              <a:gd name="connsiteX188" fmla="*/ 204543 w 4082658"/>
              <a:gd name="connsiteY188" fmla="*/ 13128 h 1064403"/>
              <a:gd name="connsiteX189" fmla="*/ 358781 w 4082658"/>
              <a:gd name="connsiteY189" fmla="*/ 13128 h 1064403"/>
              <a:gd name="connsiteX190" fmla="*/ 362493 w 4082658"/>
              <a:gd name="connsiteY190" fmla="*/ 15271 h 1064403"/>
              <a:gd name="connsiteX191" fmla="*/ 364056 w 4082658"/>
              <a:gd name="connsiteY191" fmla="*/ 20361 h 1064403"/>
              <a:gd name="connsiteX192" fmla="*/ 364056 w 4082658"/>
              <a:gd name="connsiteY192" fmla="*/ 33355 h 1064403"/>
              <a:gd name="connsiteX193" fmla="*/ 564985 w 4082658"/>
              <a:gd name="connsiteY193" fmla="*/ 33355 h 1064403"/>
              <a:gd name="connsiteX194" fmla="*/ 568696 w 4082658"/>
              <a:gd name="connsiteY194" fmla="*/ 35498 h 1064403"/>
              <a:gd name="connsiteX195" fmla="*/ 570259 w 4082658"/>
              <a:gd name="connsiteY195" fmla="*/ 40588 h 1064403"/>
              <a:gd name="connsiteX196" fmla="*/ 570259 w 4082658"/>
              <a:gd name="connsiteY196" fmla="*/ 53716 h 1064403"/>
              <a:gd name="connsiteX197" fmla="*/ 628868 w 4082658"/>
              <a:gd name="connsiteY197" fmla="*/ 53716 h 1064403"/>
              <a:gd name="connsiteX198" fmla="*/ 632580 w 4082658"/>
              <a:gd name="connsiteY198" fmla="*/ 55859 h 1064403"/>
              <a:gd name="connsiteX199" fmla="*/ 634142 w 4082658"/>
              <a:gd name="connsiteY199" fmla="*/ 60949 h 1064403"/>
              <a:gd name="connsiteX200" fmla="*/ 634142 w 4082658"/>
              <a:gd name="connsiteY200" fmla="*/ 74211 h 1064403"/>
              <a:gd name="connsiteX201" fmla="*/ 704961 w 4082658"/>
              <a:gd name="connsiteY201" fmla="*/ 74211 h 1064403"/>
              <a:gd name="connsiteX202" fmla="*/ 708673 w 4082658"/>
              <a:gd name="connsiteY202" fmla="*/ 76354 h 1064403"/>
              <a:gd name="connsiteX203" fmla="*/ 710236 w 4082658"/>
              <a:gd name="connsiteY203" fmla="*/ 81444 h 1064403"/>
              <a:gd name="connsiteX204" fmla="*/ 710236 w 4082658"/>
              <a:gd name="connsiteY204" fmla="*/ 94706 h 1064403"/>
              <a:gd name="connsiteX205" fmla="*/ 754094 w 4082658"/>
              <a:gd name="connsiteY205" fmla="*/ 94706 h 1064403"/>
              <a:gd name="connsiteX206" fmla="*/ 757806 w 4082658"/>
              <a:gd name="connsiteY206" fmla="*/ 96849 h 1064403"/>
              <a:gd name="connsiteX207" fmla="*/ 759369 w 4082658"/>
              <a:gd name="connsiteY207" fmla="*/ 101940 h 1064403"/>
              <a:gd name="connsiteX208" fmla="*/ 759369 w 4082658"/>
              <a:gd name="connsiteY208" fmla="*/ 115201 h 1064403"/>
              <a:gd name="connsiteX209" fmla="*/ 808112 w 4082658"/>
              <a:gd name="connsiteY209" fmla="*/ 115201 h 1064403"/>
              <a:gd name="connsiteX210" fmla="*/ 811823 w 4082658"/>
              <a:gd name="connsiteY210" fmla="*/ 117344 h 1064403"/>
              <a:gd name="connsiteX211" fmla="*/ 813386 w 4082658"/>
              <a:gd name="connsiteY211" fmla="*/ 122435 h 1064403"/>
              <a:gd name="connsiteX212" fmla="*/ 813386 w 4082658"/>
              <a:gd name="connsiteY212" fmla="*/ 135830 h 1064403"/>
              <a:gd name="connsiteX213" fmla="*/ 837611 w 4082658"/>
              <a:gd name="connsiteY213" fmla="*/ 135830 h 1064403"/>
              <a:gd name="connsiteX214" fmla="*/ 841323 w 4082658"/>
              <a:gd name="connsiteY214" fmla="*/ 137973 h 1064403"/>
              <a:gd name="connsiteX215" fmla="*/ 842886 w 4082658"/>
              <a:gd name="connsiteY215" fmla="*/ 143064 h 1064403"/>
              <a:gd name="connsiteX216" fmla="*/ 842886 w 4082658"/>
              <a:gd name="connsiteY216" fmla="*/ 156459 h 1064403"/>
              <a:gd name="connsiteX217" fmla="*/ 869553 w 4082658"/>
              <a:gd name="connsiteY217" fmla="*/ 156459 h 1064403"/>
              <a:gd name="connsiteX218" fmla="*/ 873265 w 4082658"/>
              <a:gd name="connsiteY218" fmla="*/ 158602 h 1064403"/>
              <a:gd name="connsiteX219" fmla="*/ 874827 w 4082658"/>
              <a:gd name="connsiteY219" fmla="*/ 163693 h 1064403"/>
              <a:gd name="connsiteX220" fmla="*/ 874827 w 4082658"/>
              <a:gd name="connsiteY220" fmla="*/ 177088 h 1064403"/>
              <a:gd name="connsiteX221" fmla="*/ 884302 w 4082658"/>
              <a:gd name="connsiteY221" fmla="*/ 177088 h 1064403"/>
              <a:gd name="connsiteX222" fmla="*/ 888014 w 4082658"/>
              <a:gd name="connsiteY222" fmla="*/ 179231 h 1064403"/>
              <a:gd name="connsiteX223" fmla="*/ 889577 w 4082658"/>
              <a:gd name="connsiteY223" fmla="*/ 184322 h 1064403"/>
              <a:gd name="connsiteX224" fmla="*/ 889577 w 4082658"/>
              <a:gd name="connsiteY224" fmla="*/ 197717 h 1064403"/>
              <a:gd name="connsiteX225" fmla="*/ 903936 w 4082658"/>
              <a:gd name="connsiteY225" fmla="*/ 197717 h 1064403"/>
              <a:gd name="connsiteX226" fmla="*/ 907648 w 4082658"/>
              <a:gd name="connsiteY226" fmla="*/ 199860 h 1064403"/>
              <a:gd name="connsiteX227" fmla="*/ 909211 w 4082658"/>
              <a:gd name="connsiteY227" fmla="*/ 204951 h 1064403"/>
              <a:gd name="connsiteX228" fmla="*/ 909211 w 4082658"/>
              <a:gd name="connsiteY228" fmla="*/ 218346 h 1064403"/>
              <a:gd name="connsiteX229" fmla="*/ 945744 w 4082658"/>
              <a:gd name="connsiteY229" fmla="*/ 218346 h 1064403"/>
              <a:gd name="connsiteX230" fmla="*/ 949455 w 4082658"/>
              <a:gd name="connsiteY230" fmla="*/ 220489 h 1064403"/>
              <a:gd name="connsiteX231" fmla="*/ 951018 w 4082658"/>
              <a:gd name="connsiteY231" fmla="*/ 225580 h 1064403"/>
              <a:gd name="connsiteX232" fmla="*/ 951018 w 4082658"/>
              <a:gd name="connsiteY232" fmla="*/ 238975 h 1064403"/>
              <a:gd name="connsiteX233" fmla="*/ 967819 w 4082658"/>
              <a:gd name="connsiteY233" fmla="*/ 238975 h 1064403"/>
              <a:gd name="connsiteX234" fmla="*/ 971531 w 4082658"/>
              <a:gd name="connsiteY234" fmla="*/ 241118 h 1064403"/>
              <a:gd name="connsiteX235" fmla="*/ 973094 w 4082658"/>
              <a:gd name="connsiteY235" fmla="*/ 246209 h 1064403"/>
              <a:gd name="connsiteX236" fmla="*/ 973094 w 4082658"/>
              <a:gd name="connsiteY236" fmla="*/ 259738 h 1064403"/>
              <a:gd name="connsiteX237" fmla="*/ 992435 w 4082658"/>
              <a:gd name="connsiteY237" fmla="*/ 259738 h 1064403"/>
              <a:gd name="connsiteX238" fmla="*/ 996147 w 4082658"/>
              <a:gd name="connsiteY238" fmla="*/ 261881 h 1064403"/>
              <a:gd name="connsiteX239" fmla="*/ 997710 w 4082658"/>
              <a:gd name="connsiteY239" fmla="*/ 266972 h 1064403"/>
              <a:gd name="connsiteX240" fmla="*/ 997710 w 4082658"/>
              <a:gd name="connsiteY240" fmla="*/ 280635 h 1064403"/>
              <a:gd name="connsiteX241" fmla="*/ 1024376 w 4082658"/>
              <a:gd name="connsiteY241" fmla="*/ 280635 h 1064403"/>
              <a:gd name="connsiteX242" fmla="*/ 1028088 w 4082658"/>
              <a:gd name="connsiteY242" fmla="*/ 282778 h 1064403"/>
              <a:gd name="connsiteX243" fmla="*/ 1029651 w 4082658"/>
              <a:gd name="connsiteY243" fmla="*/ 287869 h 1064403"/>
              <a:gd name="connsiteX244" fmla="*/ 1029651 w 4082658"/>
              <a:gd name="connsiteY244" fmla="*/ 301532 h 1064403"/>
              <a:gd name="connsiteX245" fmla="*/ 1098028 w 4082658"/>
              <a:gd name="connsiteY245" fmla="*/ 301532 h 1064403"/>
              <a:gd name="connsiteX246" fmla="*/ 1101740 w 4082658"/>
              <a:gd name="connsiteY246" fmla="*/ 303675 h 1064403"/>
              <a:gd name="connsiteX247" fmla="*/ 1103302 w 4082658"/>
              <a:gd name="connsiteY247" fmla="*/ 308766 h 1064403"/>
              <a:gd name="connsiteX248" fmla="*/ 1103302 w 4082658"/>
              <a:gd name="connsiteY248" fmla="*/ 322429 h 1064403"/>
              <a:gd name="connsiteX249" fmla="*/ 1201178 w 4082658"/>
              <a:gd name="connsiteY249" fmla="*/ 322429 h 1064403"/>
              <a:gd name="connsiteX250" fmla="*/ 1204890 w 4082658"/>
              <a:gd name="connsiteY250" fmla="*/ 324572 h 1064403"/>
              <a:gd name="connsiteX251" fmla="*/ 1206453 w 4082658"/>
              <a:gd name="connsiteY251" fmla="*/ 329662 h 1064403"/>
              <a:gd name="connsiteX252" fmla="*/ 1206453 w 4082658"/>
              <a:gd name="connsiteY252" fmla="*/ 343326 h 1064403"/>
              <a:gd name="connsiteX253" fmla="*/ 1213486 w 4082658"/>
              <a:gd name="connsiteY253" fmla="*/ 343326 h 1064403"/>
              <a:gd name="connsiteX254" fmla="*/ 1217198 w 4082658"/>
              <a:gd name="connsiteY254" fmla="*/ 345469 h 1064403"/>
              <a:gd name="connsiteX255" fmla="*/ 1218761 w 4082658"/>
              <a:gd name="connsiteY255" fmla="*/ 350559 h 1064403"/>
              <a:gd name="connsiteX256" fmla="*/ 1218761 w 4082658"/>
              <a:gd name="connsiteY256" fmla="*/ 364223 h 1064403"/>
              <a:gd name="connsiteX257" fmla="*/ 1233218 w 4082658"/>
              <a:gd name="connsiteY257" fmla="*/ 364223 h 1064403"/>
              <a:gd name="connsiteX258" fmla="*/ 1236930 w 4082658"/>
              <a:gd name="connsiteY258" fmla="*/ 366366 h 1064403"/>
              <a:gd name="connsiteX259" fmla="*/ 1238492 w 4082658"/>
              <a:gd name="connsiteY259" fmla="*/ 371456 h 1064403"/>
              <a:gd name="connsiteX260" fmla="*/ 1238492 w 4082658"/>
              <a:gd name="connsiteY260" fmla="*/ 405883 h 1064403"/>
              <a:gd name="connsiteX261" fmla="*/ 1292119 w 4082658"/>
              <a:gd name="connsiteY261" fmla="*/ 405883 h 1064403"/>
              <a:gd name="connsiteX262" fmla="*/ 1295831 w 4082658"/>
              <a:gd name="connsiteY262" fmla="*/ 408026 h 1064403"/>
              <a:gd name="connsiteX263" fmla="*/ 1297394 w 4082658"/>
              <a:gd name="connsiteY263" fmla="*/ 413116 h 1064403"/>
              <a:gd name="connsiteX264" fmla="*/ 1297394 w 4082658"/>
              <a:gd name="connsiteY264" fmla="*/ 426780 h 1064403"/>
              <a:gd name="connsiteX265" fmla="*/ 1311851 w 4082658"/>
              <a:gd name="connsiteY265" fmla="*/ 426780 h 1064403"/>
              <a:gd name="connsiteX266" fmla="*/ 1315562 w 4082658"/>
              <a:gd name="connsiteY266" fmla="*/ 428923 h 1064403"/>
              <a:gd name="connsiteX267" fmla="*/ 1317125 w 4082658"/>
              <a:gd name="connsiteY267" fmla="*/ 434013 h 1064403"/>
              <a:gd name="connsiteX268" fmla="*/ 1317125 w 4082658"/>
              <a:gd name="connsiteY268" fmla="*/ 468439 h 1064403"/>
              <a:gd name="connsiteX269" fmla="*/ 1320446 w 4082658"/>
              <a:gd name="connsiteY269" fmla="*/ 470583 h 1064403"/>
              <a:gd name="connsiteX270" fmla="*/ 1322009 w 4082658"/>
              <a:gd name="connsiteY270" fmla="*/ 475673 h 1064403"/>
              <a:gd name="connsiteX271" fmla="*/ 1322009 w 4082658"/>
              <a:gd name="connsiteY271" fmla="*/ 489336 h 1064403"/>
              <a:gd name="connsiteX272" fmla="*/ 1329042 w 4082658"/>
              <a:gd name="connsiteY272" fmla="*/ 489336 h 1064403"/>
              <a:gd name="connsiteX273" fmla="*/ 1332754 w 4082658"/>
              <a:gd name="connsiteY273" fmla="*/ 491480 h 1064403"/>
              <a:gd name="connsiteX274" fmla="*/ 1334317 w 4082658"/>
              <a:gd name="connsiteY274" fmla="*/ 496570 h 1064403"/>
              <a:gd name="connsiteX275" fmla="*/ 1334317 w 4082658"/>
              <a:gd name="connsiteY275" fmla="*/ 510233 h 1064403"/>
              <a:gd name="connsiteX276" fmla="*/ 1338908 w 4082658"/>
              <a:gd name="connsiteY276" fmla="*/ 510233 h 1064403"/>
              <a:gd name="connsiteX277" fmla="*/ 1342620 w 4082658"/>
              <a:gd name="connsiteY277" fmla="*/ 512377 h 1064403"/>
              <a:gd name="connsiteX278" fmla="*/ 1344183 w 4082658"/>
              <a:gd name="connsiteY278" fmla="*/ 517467 h 1064403"/>
              <a:gd name="connsiteX279" fmla="*/ 1344183 w 4082658"/>
              <a:gd name="connsiteY279" fmla="*/ 551893 h 1064403"/>
              <a:gd name="connsiteX280" fmla="*/ 1461693 w 4082658"/>
              <a:gd name="connsiteY280" fmla="*/ 551893 h 1064403"/>
              <a:gd name="connsiteX281" fmla="*/ 1465404 w 4082658"/>
              <a:gd name="connsiteY281" fmla="*/ 554037 h 1064403"/>
              <a:gd name="connsiteX282" fmla="*/ 1466967 w 4082658"/>
              <a:gd name="connsiteY282" fmla="*/ 559127 h 1064403"/>
              <a:gd name="connsiteX283" fmla="*/ 1466967 w 4082658"/>
              <a:gd name="connsiteY283" fmla="*/ 573058 h 1064403"/>
              <a:gd name="connsiteX284" fmla="*/ 1488750 w 4082658"/>
              <a:gd name="connsiteY284" fmla="*/ 573058 h 1064403"/>
              <a:gd name="connsiteX285" fmla="*/ 1492462 w 4082658"/>
              <a:gd name="connsiteY285" fmla="*/ 575201 h 1064403"/>
              <a:gd name="connsiteX286" fmla="*/ 1494025 w 4082658"/>
              <a:gd name="connsiteY286" fmla="*/ 580292 h 1064403"/>
              <a:gd name="connsiteX287" fmla="*/ 1494025 w 4082658"/>
              <a:gd name="connsiteY287" fmla="*/ 595295 h 1064403"/>
              <a:gd name="connsiteX288" fmla="*/ 1494904 w 4082658"/>
              <a:gd name="connsiteY288" fmla="*/ 596232 h 1064403"/>
              <a:gd name="connsiteX289" fmla="*/ 1496467 w 4082658"/>
              <a:gd name="connsiteY289" fmla="*/ 601323 h 1064403"/>
              <a:gd name="connsiteX290" fmla="*/ 1496467 w 4082658"/>
              <a:gd name="connsiteY290" fmla="*/ 615254 h 1064403"/>
              <a:gd name="connsiteX291" fmla="*/ 1586919 w 4082658"/>
              <a:gd name="connsiteY291" fmla="*/ 615254 h 1064403"/>
              <a:gd name="connsiteX292" fmla="*/ 1590631 w 4082658"/>
              <a:gd name="connsiteY292" fmla="*/ 617397 h 1064403"/>
              <a:gd name="connsiteX293" fmla="*/ 1592194 w 4082658"/>
              <a:gd name="connsiteY293" fmla="*/ 622487 h 1064403"/>
              <a:gd name="connsiteX294" fmla="*/ 1592194 w 4082658"/>
              <a:gd name="connsiteY294" fmla="*/ 636419 h 1064403"/>
              <a:gd name="connsiteX295" fmla="*/ 1768605 w 4082658"/>
              <a:gd name="connsiteY295" fmla="*/ 636419 h 1064403"/>
              <a:gd name="connsiteX296" fmla="*/ 1772317 w 4082658"/>
              <a:gd name="connsiteY296" fmla="*/ 638562 h 1064403"/>
              <a:gd name="connsiteX297" fmla="*/ 1773880 w 4082658"/>
              <a:gd name="connsiteY297" fmla="*/ 643652 h 1064403"/>
              <a:gd name="connsiteX298" fmla="*/ 1773880 w 4082658"/>
              <a:gd name="connsiteY298" fmla="*/ 657583 h 1064403"/>
              <a:gd name="connsiteX299" fmla="*/ 1783355 w 4082658"/>
              <a:gd name="connsiteY299" fmla="*/ 657583 h 1064403"/>
              <a:gd name="connsiteX300" fmla="*/ 1787067 w 4082658"/>
              <a:gd name="connsiteY300" fmla="*/ 659727 h 1064403"/>
              <a:gd name="connsiteX301" fmla="*/ 1788629 w 4082658"/>
              <a:gd name="connsiteY301" fmla="*/ 664817 h 1064403"/>
              <a:gd name="connsiteX302" fmla="*/ 1788629 w 4082658"/>
              <a:gd name="connsiteY302" fmla="*/ 678748 h 1064403"/>
              <a:gd name="connsiteX303" fmla="*/ 1830046 w 4082658"/>
              <a:gd name="connsiteY303" fmla="*/ 678748 h 1064403"/>
              <a:gd name="connsiteX304" fmla="*/ 1833758 w 4082658"/>
              <a:gd name="connsiteY304" fmla="*/ 680892 h 1064403"/>
              <a:gd name="connsiteX305" fmla="*/ 1835321 w 4082658"/>
              <a:gd name="connsiteY305" fmla="*/ 685982 h 1064403"/>
              <a:gd name="connsiteX306" fmla="*/ 1835321 w 4082658"/>
              <a:gd name="connsiteY306" fmla="*/ 699913 h 1064403"/>
              <a:gd name="connsiteX307" fmla="*/ 1928215 w 4082658"/>
              <a:gd name="connsiteY307" fmla="*/ 699913 h 1064403"/>
              <a:gd name="connsiteX308" fmla="*/ 1931927 w 4082658"/>
              <a:gd name="connsiteY308" fmla="*/ 702056 h 1064403"/>
              <a:gd name="connsiteX309" fmla="*/ 1933490 w 4082658"/>
              <a:gd name="connsiteY309" fmla="*/ 707147 h 1064403"/>
              <a:gd name="connsiteX310" fmla="*/ 1933490 w 4082658"/>
              <a:gd name="connsiteY310" fmla="*/ 721078 h 1064403"/>
              <a:gd name="connsiteX311" fmla="*/ 1977348 w 4082658"/>
              <a:gd name="connsiteY311" fmla="*/ 721078 h 1064403"/>
              <a:gd name="connsiteX312" fmla="*/ 1981060 w 4082658"/>
              <a:gd name="connsiteY312" fmla="*/ 723221 h 1064403"/>
              <a:gd name="connsiteX313" fmla="*/ 1982623 w 4082658"/>
              <a:gd name="connsiteY313" fmla="*/ 728312 h 1064403"/>
              <a:gd name="connsiteX314" fmla="*/ 1982623 w 4082658"/>
              <a:gd name="connsiteY314" fmla="*/ 742243 h 1064403"/>
              <a:gd name="connsiteX315" fmla="*/ 2001866 w 4082658"/>
              <a:gd name="connsiteY315" fmla="*/ 742243 h 1064403"/>
              <a:gd name="connsiteX316" fmla="*/ 2005578 w 4082658"/>
              <a:gd name="connsiteY316" fmla="*/ 744386 h 1064403"/>
              <a:gd name="connsiteX317" fmla="*/ 2007141 w 4082658"/>
              <a:gd name="connsiteY317" fmla="*/ 749476 h 1064403"/>
              <a:gd name="connsiteX318" fmla="*/ 2007141 w 4082658"/>
              <a:gd name="connsiteY318" fmla="*/ 763408 h 1064403"/>
              <a:gd name="connsiteX319" fmla="*/ 2279279 w 4082658"/>
              <a:gd name="connsiteY319" fmla="*/ 763408 h 1064403"/>
              <a:gd name="connsiteX320" fmla="*/ 2282991 w 4082658"/>
              <a:gd name="connsiteY320" fmla="*/ 765551 h 1064403"/>
              <a:gd name="connsiteX321" fmla="*/ 2284554 w 4082658"/>
              <a:gd name="connsiteY321" fmla="*/ 770641 h 1064403"/>
              <a:gd name="connsiteX322" fmla="*/ 2284554 w 4082658"/>
              <a:gd name="connsiteY322" fmla="*/ 785778 h 1064403"/>
              <a:gd name="connsiteX323" fmla="*/ 2301355 w 4082658"/>
              <a:gd name="connsiteY323" fmla="*/ 785778 h 1064403"/>
              <a:gd name="connsiteX324" fmla="*/ 2305067 w 4082658"/>
              <a:gd name="connsiteY324" fmla="*/ 787921 h 1064403"/>
              <a:gd name="connsiteX325" fmla="*/ 2306630 w 4082658"/>
              <a:gd name="connsiteY325" fmla="*/ 793012 h 1064403"/>
              <a:gd name="connsiteX326" fmla="*/ 2306630 w 4082658"/>
              <a:gd name="connsiteY326" fmla="*/ 808149 h 1064403"/>
              <a:gd name="connsiteX327" fmla="*/ 2333297 w 4082658"/>
              <a:gd name="connsiteY327" fmla="*/ 808149 h 1064403"/>
              <a:gd name="connsiteX328" fmla="*/ 2337008 w 4082658"/>
              <a:gd name="connsiteY328" fmla="*/ 810292 h 1064403"/>
              <a:gd name="connsiteX329" fmla="*/ 2338571 w 4082658"/>
              <a:gd name="connsiteY329" fmla="*/ 815382 h 1064403"/>
              <a:gd name="connsiteX330" fmla="*/ 2338571 w 4082658"/>
              <a:gd name="connsiteY330" fmla="*/ 830519 h 1064403"/>
              <a:gd name="connsiteX331" fmla="*/ 2345507 w 4082658"/>
              <a:gd name="connsiteY331" fmla="*/ 830519 h 1064403"/>
              <a:gd name="connsiteX332" fmla="*/ 2349218 w 4082658"/>
              <a:gd name="connsiteY332" fmla="*/ 832662 h 1064403"/>
              <a:gd name="connsiteX333" fmla="*/ 2350781 w 4082658"/>
              <a:gd name="connsiteY333" fmla="*/ 837753 h 1064403"/>
              <a:gd name="connsiteX334" fmla="*/ 2350781 w 4082658"/>
              <a:gd name="connsiteY334" fmla="*/ 853023 h 1064403"/>
              <a:gd name="connsiteX335" fmla="*/ 2505117 w 4082658"/>
              <a:gd name="connsiteY335" fmla="*/ 853023 h 1064403"/>
              <a:gd name="connsiteX336" fmla="*/ 2508829 w 4082658"/>
              <a:gd name="connsiteY336" fmla="*/ 855167 h 1064403"/>
              <a:gd name="connsiteX337" fmla="*/ 2510391 w 4082658"/>
              <a:gd name="connsiteY337" fmla="*/ 860257 h 1064403"/>
              <a:gd name="connsiteX338" fmla="*/ 2510391 w 4082658"/>
              <a:gd name="connsiteY338" fmla="*/ 875394 h 1064403"/>
              <a:gd name="connsiteX339" fmla="*/ 2541942 w 4082658"/>
              <a:gd name="connsiteY339" fmla="*/ 875394 h 1064403"/>
              <a:gd name="connsiteX340" fmla="*/ 2545654 w 4082658"/>
              <a:gd name="connsiteY340" fmla="*/ 877537 h 1064403"/>
              <a:gd name="connsiteX341" fmla="*/ 2547217 w 4082658"/>
              <a:gd name="connsiteY341" fmla="*/ 882627 h 1064403"/>
              <a:gd name="connsiteX342" fmla="*/ 2547217 w 4082658"/>
              <a:gd name="connsiteY342" fmla="*/ 897898 h 1064403"/>
              <a:gd name="connsiteX343" fmla="*/ 2595960 w 4082658"/>
              <a:gd name="connsiteY343" fmla="*/ 897898 h 1064403"/>
              <a:gd name="connsiteX344" fmla="*/ 2599672 w 4082658"/>
              <a:gd name="connsiteY344" fmla="*/ 900041 h 1064403"/>
              <a:gd name="connsiteX345" fmla="*/ 2601234 w 4082658"/>
              <a:gd name="connsiteY345" fmla="*/ 905132 h 1064403"/>
              <a:gd name="connsiteX346" fmla="*/ 2601234 w 4082658"/>
              <a:gd name="connsiteY346" fmla="*/ 920670 h 1064403"/>
              <a:gd name="connsiteX347" fmla="*/ 2662285 w 4082658"/>
              <a:gd name="connsiteY347" fmla="*/ 920670 h 1064403"/>
              <a:gd name="connsiteX348" fmla="*/ 2665997 w 4082658"/>
              <a:gd name="connsiteY348" fmla="*/ 922814 h 1064403"/>
              <a:gd name="connsiteX349" fmla="*/ 2667560 w 4082658"/>
              <a:gd name="connsiteY349" fmla="*/ 927904 h 1064403"/>
              <a:gd name="connsiteX350" fmla="*/ 2667560 w 4082658"/>
              <a:gd name="connsiteY350" fmla="*/ 944246 h 1064403"/>
              <a:gd name="connsiteX351" fmla="*/ 2694226 w 4082658"/>
              <a:gd name="connsiteY351" fmla="*/ 944246 h 1064403"/>
              <a:gd name="connsiteX352" fmla="*/ 2697938 w 4082658"/>
              <a:gd name="connsiteY352" fmla="*/ 946390 h 1064403"/>
              <a:gd name="connsiteX353" fmla="*/ 2699501 w 4082658"/>
              <a:gd name="connsiteY353" fmla="*/ 951480 h 1064403"/>
              <a:gd name="connsiteX354" fmla="*/ 2699501 w 4082658"/>
              <a:gd name="connsiteY354" fmla="*/ 967822 h 1064403"/>
              <a:gd name="connsiteX355" fmla="*/ 2866047 w 4082658"/>
              <a:gd name="connsiteY355" fmla="*/ 967822 h 1064403"/>
              <a:gd name="connsiteX356" fmla="*/ 2869758 w 4082658"/>
              <a:gd name="connsiteY356" fmla="*/ 969966 h 1064403"/>
              <a:gd name="connsiteX357" fmla="*/ 2871321 w 4082658"/>
              <a:gd name="connsiteY357" fmla="*/ 975056 h 1064403"/>
              <a:gd name="connsiteX358" fmla="*/ 2871321 w 4082658"/>
              <a:gd name="connsiteY358" fmla="*/ 991934 h 1064403"/>
              <a:gd name="connsiteX359" fmla="*/ 3302972 w 4082658"/>
              <a:gd name="connsiteY359" fmla="*/ 991934 h 1064403"/>
              <a:gd name="connsiteX360" fmla="*/ 3306684 w 4082658"/>
              <a:gd name="connsiteY360" fmla="*/ 994078 h 1064403"/>
              <a:gd name="connsiteX361" fmla="*/ 3308247 w 4082658"/>
              <a:gd name="connsiteY361" fmla="*/ 999168 h 1064403"/>
              <a:gd name="connsiteX362" fmla="*/ 3308247 w 4082658"/>
              <a:gd name="connsiteY362" fmla="*/ 1019261 h 1064403"/>
              <a:gd name="connsiteX363" fmla="*/ 3411007 w 4082658"/>
              <a:gd name="connsiteY363" fmla="*/ 1019261 h 1064403"/>
              <a:gd name="connsiteX364" fmla="*/ 3414718 w 4082658"/>
              <a:gd name="connsiteY364" fmla="*/ 1021404 h 1064403"/>
              <a:gd name="connsiteX365" fmla="*/ 3416281 w 4082658"/>
              <a:gd name="connsiteY365" fmla="*/ 1026495 h 1064403"/>
              <a:gd name="connsiteX366" fmla="*/ 3416281 w 4082658"/>
              <a:gd name="connsiteY366" fmla="*/ 1050071 h 1064403"/>
              <a:gd name="connsiteX367" fmla="*/ 4082463 w 4082658"/>
              <a:gd name="connsiteY367" fmla="*/ 1050071 h 1064403"/>
              <a:gd name="connsiteX368" fmla="*/ 4082463 w 4082658"/>
              <a:gd name="connsiteY368" fmla="*/ 1064404 h 10644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</a:cxnLst>
            <a:rect l="l" t="t" r="r" b="b"/>
            <a:pathLst>
              <a:path w="4082658" h="1064403">
                <a:moveTo>
                  <a:pt x="4982" y="0"/>
                </a:moveTo>
                <a:lnTo>
                  <a:pt x="0" y="0"/>
                </a:lnTo>
                <a:lnTo>
                  <a:pt x="4884" y="0"/>
                </a:lnTo>
                <a:moveTo>
                  <a:pt x="201320" y="0"/>
                </a:moveTo>
                <a:lnTo>
                  <a:pt x="34384" y="0"/>
                </a:lnTo>
                <a:lnTo>
                  <a:pt x="201222" y="0"/>
                </a:lnTo>
                <a:moveTo>
                  <a:pt x="4082658" y="1061859"/>
                </a:moveTo>
                <a:lnTo>
                  <a:pt x="3411202" y="1061859"/>
                </a:lnTo>
                <a:cubicBezTo>
                  <a:pt x="3409834" y="1061859"/>
                  <a:pt x="3408467" y="1061055"/>
                  <a:pt x="3407490" y="1059715"/>
                </a:cubicBezTo>
                <a:cubicBezTo>
                  <a:pt x="3406513" y="1058376"/>
                  <a:pt x="3405927" y="1056501"/>
                  <a:pt x="3405927" y="1054625"/>
                </a:cubicBezTo>
                <a:lnTo>
                  <a:pt x="3405927" y="1031049"/>
                </a:lnTo>
                <a:lnTo>
                  <a:pt x="3303167" y="1031049"/>
                </a:lnTo>
                <a:cubicBezTo>
                  <a:pt x="3301800" y="1031049"/>
                  <a:pt x="3300432" y="1030245"/>
                  <a:pt x="3299455" y="1028906"/>
                </a:cubicBezTo>
                <a:cubicBezTo>
                  <a:pt x="3298478" y="1027566"/>
                  <a:pt x="3297892" y="1025691"/>
                  <a:pt x="3297892" y="1023816"/>
                </a:cubicBezTo>
                <a:lnTo>
                  <a:pt x="3297892" y="1003722"/>
                </a:lnTo>
                <a:lnTo>
                  <a:pt x="2866242" y="1003722"/>
                </a:lnTo>
                <a:cubicBezTo>
                  <a:pt x="2864874" y="1003722"/>
                  <a:pt x="2863507" y="1002919"/>
                  <a:pt x="2862530" y="1001579"/>
                </a:cubicBezTo>
                <a:cubicBezTo>
                  <a:pt x="2861553" y="1000239"/>
                  <a:pt x="2860967" y="998364"/>
                  <a:pt x="2860967" y="996489"/>
                </a:cubicBezTo>
                <a:lnTo>
                  <a:pt x="2860967" y="979611"/>
                </a:lnTo>
                <a:lnTo>
                  <a:pt x="2694422" y="979611"/>
                </a:lnTo>
                <a:cubicBezTo>
                  <a:pt x="2693054" y="979611"/>
                  <a:pt x="2691687" y="978807"/>
                  <a:pt x="2690710" y="977467"/>
                </a:cubicBezTo>
                <a:cubicBezTo>
                  <a:pt x="2689733" y="976128"/>
                  <a:pt x="2689147" y="974252"/>
                  <a:pt x="2689147" y="972377"/>
                </a:cubicBezTo>
                <a:lnTo>
                  <a:pt x="2689147" y="956035"/>
                </a:lnTo>
                <a:lnTo>
                  <a:pt x="2662480" y="956035"/>
                </a:lnTo>
                <a:cubicBezTo>
                  <a:pt x="2661113" y="956035"/>
                  <a:pt x="2659745" y="955231"/>
                  <a:pt x="2658768" y="953891"/>
                </a:cubicBezTo>
                <a:cubicBezTo>
                  <a:pt x="2657791" y="952552"/>
                  <a:pt x="2657205" y="950676"/>
                  <a:pt x="2657205" y="948801"/>
                </a:cubicBezTo>
                <a:lnTo>
                  <a:pt x="2657205" y="932458"/>
                </a:lnTo>
                <a:lnTo>
                  <a:pt x="2596155" y="932458"/>
                </a:lnTo>
                <a:cubicBezTo>
                  <a:pt x="2594788" y="932458"/>
                  <a:pt x="2593420" y="931655"/>
                  <a:pt x="2592443" y="930315"/>
                </a:cubicBezTo>
                <a:cubicBezTo>
                  <a:pt x="2591466" y="928976"/>
                  <a:pt x="2590880" y="927100"/>
                  <a:pt x="2590880" y="925225"/>
                </a:cubicBezTo>
                <a:lnTo>
                  <a:pt x="2590880" y="909686"/>
                </a:lnTo>
                <a:lnTo>
                  <a:pt x="2542138" y="909686"/>
                </a:lnTo>
                <a:cubicBezTo>
                  <a:pt x="2540770" y="909686"/>
                  <a:pt x="2539403" y="908882"/>
                  <a:pt x="2538426" y="907543"/>
                </a:cubicBezTo>
                <a:cubicBezTo>
                  <a:pt x="2537449" y="906203"/>
                  <a:pt x="2536863" y="904328"/>
                  <a:pt x="2536863" y="902453"/>
                </a:cubicBezTo>
                <a:lnTo>
                  <a:pt x="2536863" y="887182"/>
                </a:lnTo>
                <a:lnTo>
                  <a:pt x="2505312" y="887182"/>
                </a:lnTo>
                <a:cubicBezTo>
                  <a:pt x="2503945" y="887182"/>
                  <a:pt x="2502577" y="886378"/>
                  <a:pt x="2501600" y="885038"/>
                </a:cubicBezTo>
                <a:cubicBezTo>
                  <a:pt x="2500623" y="883699"/>
                  <a:pt x="2500037" y="881824"/>
                  <a:pt x="2500037" y="879948"/>
                </a:cubicBezTo>
                <a:lnTo>
                  <a:pt x="2500037" y="864811"/>
                </a:lnTo>
                <a:lnTo>
                  <a:pt x="2345702" y="864811"/>
                </a:lnTo>
                <a:cubicBezTo>
                  <a:pt x="2344334" y="864811"/>
                  <a:pt x="2342967" y="864008"/>
                  <a:pt x="2341990" y="862668"/>
                </a:cubicBezTo>
                <a:cubicBezTo>
                  <a:pt x="2341013" y="861329"/>
                  <a:pt x="2340427" y="859453"/>
                  <a:pt x="2340427" y="857578"/>
                </a:cubicBezTo>
                <a:lnTo>
                  <a:pt x="2340427" y="842307"/>
                </a:lnTo>
                <a:lnTo>
                  <a:pt x="2333394" y="842307"/>
                </a:lnTo>
                <a:cubicBezTo>
                  <a:pt x="2332027" y="842307"/>
                  <a:pt x="2330659" y="841503"/>
                  <a:pt x="2329682" y="840164"/>
                </a:cubicBezTo>
                <a:cubicBezTo>
                  <a:pt x="2328706" y="838824"/>
                  <a:pt x="2328119" y="836949"/>
                  <a:pt x="2328119" y="835073"/>
                </a:cubicBezTo>
                <a:lnTo>
                  <a:pt x="2328119" y="819937"/>
                </a:lnTo>
                <a:lnTo>
                  <a:pt x="2301453" y="819937"/>
                </a:lnTo>
                <a:cubicBezTo>
                  <a:pt x="2300085" y="819937"/>
                  <a:pt x="2298718" y="819133"/>
                  <a:pt x="2297741" y="817793"/>
                </a:cubicBezTo>
                <a:cubicBezTo>
                  <a:pt x="2296764" y="816454"/>
                  <a:pt x="2296178" y="814578"/>
                  <a:pt x="2296178" y="812703"/>
                </a:cubicBezTo>
                <a:lnTo>
                  <a:pt x="2296178" y="797566"/>
                </a:lnTo>
                <a:lnTo>
                  <a:pt x="2279377" y="797566"/>
                </a:lnTo>
                <a:cubicBezTo>
                  <a:pt x="2278009" y="797566"/>
                  <a:pt x="2276642" y="796762"/>
                  <a:pt x="2275665" y="795423"/>
                </a:cubicBezTo>
                <a:cubicBezTo>
                  <a:pt x="2274688" y="794083"/>
                  <a:pt x="2274102" y="792208"/>
                  <a:pt x="2274102" y="790333"/>
                </a:cubicBezTo>
                <a:lnTo>
                  <a:pt x="2274102" y="775196"/>
                </a:lnTo>
                <a:lnTo>
                  <a:pt x="2001964" y="775196"/>
                </a:lnTo>
                <a:cubicBezTo>
                  <a:pt x="2000596" y="775196"/>
                  <a:pt x="1999229" y="774392"/>
                  <a:pt x="1998252" y="773052"/>
                </a:cubicBezTo>
                <a:cubicBezTo>
                  <a:pt x="1997275" y="771713"/>
                  <a:pt x="1996689" y="769838"/>
                  <a:pt x="1996689" y="767962"/>
                </a:cubicBezTo>
                <a:lnTo>
                  <a:pt x="1996689" y="754031"/>
                </a:lnTo>
                <a:lnTo>
                  <a:pt x="1977446" y="754031"/>
                </a:lnTo>
                <a:cubicBezTo>
                  <a:pt x="1976079" y="754031"/>
                  <a:pt x="1974711" y="753227"/>
                  <a:pt x="1973734" y="751888"/>
                </a:cubicBezTo>
                <a:cubicBezTo>
                  <a:pt x="1972757" y="750548"/>
                  <a:pt x="1972171" y="748673"/>
                  <a:pt x="1972171" y="746797"/>
                </a:cubicBezTo>
                <a:lnTo>
                  <a:pt x="1972171" y="732866"/>
                </a:lnTo>
                <a:lnTo>
                  <a:pt x="1928313" y="732866"/>
                </a:lnTo>
                <a:cubicBezTo>
                  <a:pt x="1926945" y="732866"/>
                  <a:pt x="1925578" y="732062"/>
                  <a:pt x="1924601" y="730723"/>
                </a:cubicBezTo>
                <a:cubicBezTo>
                  <a:pt x="1923624" y="729383"/>
                  <a:pt x="1923038" y="727508"/>
                  <a:pt x="1923038" y="725632"/>
                </a:cubicBezTo>
                <a:lnTo>
                  <a:pt x="1923038" y="711701"/>
                </a:lnTo>
                <a:lnTo>
                  <a:pt x="1830144" y="711701"/>
                </a:lnTo>
                <a:cubicBezTo>
                  <a:pt x="1828776" y="711701"/>
                  <a:pt x="1827409" y="710897"/>
                  <a:pt x="1826432" y="709558"/>
                </a:cubicBezTo>
                <a:cubicBezTo>
                  <a:pt x="1825455" y="708218"/>
                  <a:pt x="1824869" y="706343"/>
                  <a:pt x="1824869" y="704468"/>
                </a:cubicBezTo>
                <a:lnTo>
                  <a:pt x="1824869" y="690536"/>
                </a:lnTo>
                <a:lnTo>
                  <a:pt x="1783452" y="690536"/>
                </a:lnTo>
                <a:cubicBezTo>
                  <a:pt x="1782085" y="690536"/>
                  <a:pt x="1780717" y="689733"/>
                  <a:pt x="1779741" y="688393"/>
                </a:cubicBezTo>
                <a:cubicBezTo>
                  <a:pt x="1778764" y="687054"/>
                  <a:pt x="1778178" y="685178"/>
                  <a:pt x="1778178" y="683303"/>
                </a:cubicBezTo>
                <a:lnTo>
                  <a:pt x="1778178" y="669372"/>
                </a:lnTo>
                <a:lnTo>
                  <a:pt x="1768703" y="669372"/>
                </a:lnTo>
                <a:cubicBezTo>
                  <a:pt x="1767335" y="669372"/>
                  <a:pt x="1765968" y="668568"/>
                  <a:pt x="1764991" y="667228"/>
                </a:cubicBezTo>
                <a:cubicBezTo>
                  <a:pt x="1764014" y="665889"/>
                  <a:pt x="1763428" y="664013"/>
                  <a:pt x="1763428" y="662138"/>
                </a:cubicBezTo>
                <a:lnTo>
                  <a:pt x="1763428" y="648207"/>
                </a:lnTo>
                <a:lnTo>
                  <a:pt x="1587017" y="648207"/>
                </a:lnTo>
                <a:cubicBezTo>
                  <a:pt x="1585649" y="648207"/>
                  <a:pt x="1584282" y="647403"/>
                  <a:pt x="1583305" y="646063"/>
                </a:cubicBezTo>
                <a:cubicBezTo>
                  <a:pt x="1582328" y="644724"/>
                  <a:pt x="1581742" y="642848"/>
                  <a:pt x="1581742" y="640973"/>
                </a:cubicBezTo>
                <a:lnTo>
                  <a:pt x="1581742" y="627042"/>
                </a:lnTo>
                <a:lnTo>
                  <a:pt x="1491290" y="627042"/>
                </a:lnTo>
                <a:cubicBezTo>
                  <a:pt x="1489922" y="627042"/>
                  <a:pt x="1488555" y="626238"/>
                  <a:pt x="1487578" y="624899"/>
                </a:cubicBezTo>
                <a:cubicBezTo>
                  <a:pt x="1486601" y="623559"/>
                  <a:pt x="1486015" y="621684"/>
                  <a:pt x="1486015" y="619808"/>
                </a:cubicBezTo>
                <a:lnTo>
                  <a:pt x="1486015" y="604805"/>
                </a:lnTo>
                <a:cubicBezTo>
                  <a:pt x="1486015" y="604805"/>
                  <a:pt x="1485331" y="604136"/>
                  <a:pt x="1485136" y="603734"/>
                </a:cubicBezTo>
                <a:cubicBezTo>
                  <a:pt x="1484159" y="602394"/>
                  <a:pt x="1483573" y="600519"/>
                  <a:pt x="1483573" y="598643"/>
                </a:cubicBezTo>
                <a:lnTo>
                  <a:pt x="1483573" y="584712"/>
                </a:lnTo>
                <a:lnTo>
                  <a:pt x="1461790" y="584712"/>
                </a:lnTo>
                <a:cubicBezTo>
                  <a:pt x="1460423" y="584712"/>
                  <a:pt x="1459055" y="583908"/>
                  <a:pt x="1458078" y="582569"/>
                </a:cubicBezTo>
                <a:cubicBezTo>
                  <a:pt x="1457102" y="581229"/>
                  <a:pt x="1456515" y="579354"/>
                  <a:pt x="1456515" y="577479"/>
                </a:cubicBezTo>
                <a:lnTo>
                  <a:pt x="1456515" y="563547"/>
                </a:lnTo>
                <a:lnTo>
                  <a:pt x="1339006" y="563547"/>
                </a:lnTo>
                <a:cubicBezTo>
                  <a:pt x="1337638" y="563547"/>
                  <a:pt x="1336271" y="562744"/>
                  <a:pt x="1335294" y="561404"/>
                </a:cubicBezTo>
                <a:cubicBezTo>
                  <a:pt x="1334317" y="560064"/>
                  <a:pt x="1333731" y="558189"/>
                  <a:pt x="1333731" y="556314"/>
                </a:cubicBezTo>
                <a:lnTo>
                  <a:pt x="1333731" y="521887"/>
                </a:lnTo>
                <a:lnTo>
                  <a:pt x="1329140" y="521887"/>
                </a:lnTo>
                <a:cubicBezTo>
                  <a:pt x="1327772" y="521887"/>
                  <a:pt x="1326405" y="521084"/>
                  <a:pt x="1325428" y="519744"/>
                </a:cubicBezTo>
                <a:cubicBezTo>
                  <a:pt x="1324451" y="518405"/>
                  <a:pt x="1323865" y="516529"/>
                  <a:pt x="1323865" y="514654"/>
                </a:cubicBezTo>
                <a:lnTo>
                  <a:pt x="1323865" y="500990"/>
                </a:lnTo>
                <a:lnTo>
                  <a:pt x="1316832" y="500990"/>
                </a:lnTo>
                <a:cubicBezTo>
                  <a:pt x="1315465" y="500990"/>
                  <a:pt x="1314097" y="500187"/>
                  <a:pt x="1313120" y="498847"/>
                </a:cubicBezTo>
                <a:cubicBezTo>
                  <a:pt x="1312144" y="497508"/>
                  <a:pt x="1311557" y="495632"/>
                  <a:pt x="1311557" y="493757"/>
                </a:cubicBezTo>
                <a:lnTo>
                  <a:pt x="1311557" y="480094"/>
                </a:lnTo>
                <a:cubicBezTo>
                  <a:pt x="1310288" y="480094"/>
                  <a:pt x="1309115" y="479156"/>
                  <a:pt x="1308236" y="477950"/>
                </a:cubicBezTo>
                <a:cubicBezTo>
                  <a:pt x="1307260" y="476611"/>
                  <a:pt x="1306673" y="474735"/>
                  <a:pt x="1306673" y="472860"/>
                </a:cubicBezTo>
                <a:lnTo>
                  <a:pt x="1306673" y="438434"/>
                </a:lnTo>
                <a:lnTo>
                  <a:pt x="1292217" y="438434"/>
                </a:lnTo>
                <a:cubicBezTo>
                  <a:pt x="1290849" y="438434"/>
                  <a:pt x="1289482" y="437630"/>
                  <a:pt x="1288505" y="436290"/>
                </a:cubicBezTo>
                <a:cubicBezTo>
                  <a:pt x="1287528" y="434951"/>
                  <a:pt x="1286942" y="433075"/>
                  <a:pt x="1286942" y="431200"/>
                </a:cubicBezTo>
                <a:lnTo>
                  <a:pt x="1286942" y="417537"/>
                </a:lnTo>
                <a:lnTo>
                  <a:pt x="1233315" y="417537"/>
                </a:lnTo>
                <a:cubicBezTo>
                  <a:pt x="1231948" y="417537"/>
                  <a:pt x="1230580" y="416733"/>
                  <a:pt x="1229603" y="415393"/>
                </a:cubicBezTo>
                <a:cubicBezTo>
                  <a:pt x="1228627" y="414054"/>
                  <a:pt x="1228041" y="412179"/>
                  <a:pt x="1228041" y="410303"/>
                </a:cubicBezTo>
                <a:lnTo>
                  <a:pt x="1228041" y="375877"/>
                </a:lnTo>
                <a:lnTo>
                  <a:pt x="1213584" y="375877"/>
                </a:lnTo>
                <a:cubicBezTo>
                  <a:pt x="1212216" y="375877"/>
                  <a:pt x="1210849" y="375073"/>
                  <a:pt x="1209872" y="373734"/>
                </a:cubicBezTo>
                <a:cubicBezTo>
                  <a:pt x="1208895" y="372394"/>
                  <a:pt x="1208309" y="370519"/>
                  <a:pt x="1208309" y="368643"/>
                </a:cubicBezTo>
                <a:lnTo>
                  <a:pt x="1208309" y="354980"/>
                </a:lnTo>
                <a:lnTo>
                  <a:pt x="1201276" y="354980"/>
                </a:lnTo>
                <a:cubicBezTo>
                  <a:pt x="1199909" y="354980"/>
                  <a:pt x="1198541" y="354176"/>
                  <a:pt x="1197564" y="352837"/>
                </a:cubicBezTo>
                <a:cubicBezTo>
                  <a:pt x="1196587" y="351497"/>
                  <a:pt x="1196001" y="349622"/>
                  <a:pt x="1196001" y="347746"/>
                </a:cubicBezTo>
                <a:lnTo>
                  <a:pt x="1196001" y="334083"/>
                </a:lnTo>
                <a:lnTo>
                  <a:pt x="1098125" y="334083"/>
                </a:lnTo>
                <a:cubicBezTo>
                  <a:pt x="1096758" y="334083"/>
                  <a:pt x="1095390" y="333279"/>
                  <a:pt x="1094413" y="331940"/>
                </a:cubicBezTo>
                <a:cubicBezTo>
                  <a:pt x="1093437" y="330600"/>
                  <a:pt x="1092851" y="328725"/>
                  <a:pt x="1092851" y="326849"/>
                </a:cubicBezTo>
                <a:lnTo>
                  <a:pt x="1092851" y="313186"/>
                </a:lnTo>
                <a:lnTo>
                  <a:pt x="1024474" y="313186"/>
                </a:lnTo>
                <a:cubicBezTo>
                  <a:pt x="1023107" y="313186"/>
                  <a:pt x="1021739" y="312382"/>
                  <a:pt x="1020762" y="311043"/>
                </a:cubicBezTo>
                <a:cubicBezTo>
                  <a:pt x="1019785" y="309703"/>
                  <a:pt x="1019199" y="307828"/>
                  <a:pt x="1019199" y="305952"/>
                </a:cubicBezTo>
                <a:lnTo>
                  <a:pt x="1019199" y="292289"/>
                </a:lnTo>
                <a:lnTo>
                  <a:pt x="992533" y="292289"/>
                </a:lnTo>
                <a:cubicBezTo>
                  <a:pt x="991165" y="292289"/>
                  <a:pt x="989798" y="291485"/>
                  <a:pt x="988821" y="290146"/>
                </a:cubicBezTo>
                <a:cubicBezTo>
                  <a:pt x="987844" y="288806"/>
                  <a:pt x="987258" y="286931"/>
                  <a:pt x="987258" y="285056"/>
                </a:cubicBezTo>
                <a:lnTo>
                  <a:pt x="987258" y="271392"/>
                </a:lnTo>
                <a:lnTo>
                  <a:pt x="967917" y="271392"/>
                </a:lnTo>
                <a:cubicBezTo>
                  <a:pt x="966550" y="271392"/>
                  <a:pt x="965182" y="270588"/>
                  <a:pt x="964205" y="269249"/>
                </a:cubicBezTo>
                <a:cubicBezTo>
                  <a:pt x="963228" y="267909"/>
                  <a:pt x="962642" y="266034"/>
                  <a:pt x="962642" y="264159"/>
                </a:cubicBezTo>
                <a:lnTo>
                  <a:pt x="962642" y="250629"/>
                </a:lnTo>
                <a:lnTo>
                  <a:pt x="945841" y="250629"/>
                </a:lnTo>
                <a:cubicBezTo>
                  <a:pt x="944474" y="250629"/>
                  <a:pt x="943106" y="249825"/>
                  <a:pt x="942129" y="248486"/>
                </a:cubicBezTo>
                <a:cubicBezTo>
                  <a:pt x="941153" y="247146"/>
                  <a:pt x="940567" y="245271"/>
                  <a:pt x="940567" y="243396"/>
                </a:cubicBezTo>
                <a:lnTo>
                  <a:pt x="940567" y="230000"/>
                </a:lnTo>
                <a:lnTo>
                  <a:pt x="904034" y="230000"/>
                </a:lnTo>
                <a:cubicBezTo>
                  <a:pt x="902666" y="230000"/>
                  <a:pt x="901299" y="229196"/>
                  <a:pt x="900322" y="227857"/>
                </a:cubicBezTo>
                <a:cubicBezTo>
                  <a:pt x="899345" y="226517"/>
                  <a:pt x="898759" y="224642"/>
                  <a:pt x="898759" y="222767"/>
                </a:cubicBezTo>
                <a:lnTo>
                  <a:pt x="898759" y="209371"/>
                </a:lnTo>
                <a:lnTo>
                  <a:pt x="884400" y="209371"/>
                </a:lnTo>
                <a:cubicBezTo>
                  <a:pt x="883033" y="209371"/>
                  <a:pt x="881665" y="208567"/>
                  <a:pt x="880688" y="207228"/>
                </a:cubicBezTo>
                <a:cubicBezTo>
                  <a:pt x="879711" y="205888"/>
                  <a:pt x="879125" y="204013"/>
                  <a:pt x="879125" y="202138"/>
                </a:cubicBezTo>
                <a:lnTo>
                  <a:pt x="879125" y="188608"/>
                </a:lnTo>
                <a:lnTo>
                  <a:pt x="869650" y="188608"/>
                </a:lnTo>
                <a:cubicBezTo>
                  <a:pt x="868283" y="188608"/>
                  <a:pt x="866915" y="187804"/>
                  <a:pt x="865939" y="186465"/>
                </a:cubicBezTo>
                <a:cubicBezTo>
                  <a:pt x="864962" y="185125"/>
                  <a:pt x="864376" y="183250"/>
                  <a:pt x="864376" y="181375"/>
                </a:cubicBezTo>
                <a:lnTo>
                  <a:pt x="864376" y="167979"/>
                </a:lnTo>
                <a:lnTo>
                  <a:pt x="837709" y="167979"/>
                </a:lnTo>
                <a:cubicBezTo>
                  <a:pt x="836341" y="167979"/>
                  <a:pt x="834974" y="167175"/>
                  <a:pt x="833997" y="165836"/>
                </a:cubicBezTo>
                <a:cubicBezTo>
                  <a:pt x="833020" y="164496"/>
                  <a:pt x="832434" y="162621"/>
                  <a:pt x="832434" y="160746"/>
                </a:cubicBezTo>
                <a:lnTo>
                  <a:pt x="832434" y="147350"/>
                </a:lnTo>
                <a:lnTo>
                  <a:pt x="808209" y="147350"/>
                </a:lnTo>
                <a:cubicBezTo>
                  <a:pt x="806842" y="147350"/>
                  <a:pt x="805474" y="146546"/>
                  <a:pt x="804497" y="145207"/>
                </a:cubicBezTo>
                <a:cubicBezTo>
                  <a:pt x="803521" y="143867"/>
                  <a:pt x="802935" y="141992"/>
                  <a:pt x="802935" y="140117"/>
                </a:cubicBezTo>
                <a:lnTo>
                  <a:pt x="802935" y="126721"/>
                </a:lnTo>
                <a:lnTo>
                  <a:pt x="754192" y="126721"/>
                </a:lnTo>
                <a:cubicBezTo>
                  <a:pt x="752824" y="126721"/>
                  <a:pt x="751457" y="125917"/>
                  <a:pt x="750480" y="124578"/>
                </a:cubicBezTo>
                <a:cubicBezTo>
                  <a:pt x="749503" y="123238"/>
                  <a:pt x="748917" y="121363"/>
                  <a:pt x="748917" y="119488"/>
                </a:cubicBezTo>
                <a:lnTo>
                  <a:pt x="748917" y="106226"/>
                </a:lnTo>
                <a:lnTo>
                  <a:pt x="705059" y="106226"/>
                </a:lnTo>
                <a:cubicBezTo>
                  <a:pt x="703691" y="106226"/>
                  <a:pt x="702324" y="105422"/>
                  <a:pt x="701347" y="104083"/>
                </a:cubicBezTo>
                <a:cubicBezTo>
                  <a:pt x="700370" y="102743"/>
                  <a:pt x="699784" y="100868"/>
                  <a:pt x="699784" y="98993"/>
                </a:cubicBezTo>
                <a:lnTo>
                  <a:pt x="699784" y="85731"/>
                </a:lnTo>
                <a:lnTo>
                  <a:pt x="628868" y="85731"/>
                </a:lnTo>
                <a:cubicBezTo>
                  <a:pt x="627500" y="85731"/>
                  <a:pt x="626133" y="84927"/>
                  <a:pt x="625156" y="83588"/>
                </a:cubicBezTo>
                <a:cubicBezTo>
                  <a:pt x="624179" y="82248"/>
                  <a:pt x="623593" y="80373"/>
                  <a:pt x="623593" y="78497"/>
                </a:cubicBezTo>
                <a:lnTo>
                  <a:pt x="623593" y="65236"/>
                </a:lnTo>
                <a:lnTo>
                  <a:pt x="564985" y="65236"/>
                </a:lnTo>
                <a:cubicBezTo>
                  <a:pt x="563617" y="65236"/>
                  <a:pt x="562250" y="64432"/>
                  <a:pt x="561273" y="63093"/>
                </a:cubicBezTo>
                <a:cubicBezTo>
                  <a:pt x="560296" y="61753"/>
                  <a:pt x="559710" y="59878"/>
                  <a:pt x="559710" y="58002"/>
                </a:cubicBezTo>
                <a:lnTo>
                  <a:pt x="559710" y="44875"/>
                </a:lnTo>
                <a:lnTo>
                  <a:pt x="358781" y="44875"/>
                </a:lnTo>
                <a:cubicBezTo>
                  <a:pt x="357413" y="44875"/>
                  <a:pt x="356046" y="44071"/>
                  <a:pt x="355069" y="42732"/>
                </a:cubicBezTo>
                <a:cubicBezTo>
                  <a:pt x="354092" y="41392"/>
                  <a:pt x="353506" y="39517"/>
                  <a:pt x="353506" y="37641"/>
                </a:cubicBezTo>
                <a:lnTo>
                  <a:pt x="353506" y="24648"/>
                </a:lnTo>
                <a:lnTo>
                  <a:pt x="199268" y="24648"/>
                </a:lnTo>
                <a:lnTo>
                  <a:pt x="199268" y="0"/>
                </a:lnTo>
                <a:lnTo>
                  <a:pt x="204543" y="0"/>
                </a:lnTo>
                <a:lnTo>
                  <a:pt x="204543" y="13128"/>
                </a:lnTo>
                <a:lnTo>
                  <a:pt x="358781" y="13128"/>
                </a:lnTo>
                <a:cubicBezTo>
                  <a:pt x="360148" y="13128"/>
                  <a:pt x="361516" y="13931"/>
                  <a:pt x="362493" y="15271"/>
                </a:cubicBezTo>
                <a:cubicBezTo>
                  <a:pt x="363470" y="16610"/>
                  <a:pt x="364056" y="18486"/>
                  <a:pt x="364056" y="20361"/>
                </a:cubicBezTo>
                <a:lnTo>
                  <a:pt x="364056" y="33355"/>
                </a:lnTo>
                <a:lnTo>
                  <a:pt x="564985" y="33355"/>
                </a:lnTo>
                <a:cubicBezTo>
                  <a:pt x="566352" y="33355"/>
                  <a:pt x="567720" y="34158"/>
                  <a:pt x="568696" y="35498"/>
                </a:cubicBezTo>
                <a:cubicBezTo>
                  <a:pt x="569673" y="36838"/>
                  <a:pt x="570259" y="38713"/>
                  <a:pt x="570259" y="40588"/>
                </a:cubicBezTo>
                <a:lnTo>
                  <a:pt x="570259" y="53716"/>
                </a:lnTo>
                <a:lnTo>
                  <a:pt x="628868" y="53716"/>
                </a:lnTo>
                <a:cubicBezTo>
                  <a:pt x="630235" y="53716"/>
                  <a:pt x="631603" y="54520"/>
                  <a:pt x="632580" y="55859"/>
                </a:cubicBezTo>
                <a:cubicBezTo>
                  <a:pt x="633556" y="57199"/>
                  <a:pt x="634142" y="59074"/>
                  <a:pt x="634142" y="60949"/>
                </a:cubicBezTo>
                <a:lnTo>
                  <a:pt x="634142" y="74211"/>
                </a:lnTo>
                <a:lnTo>
                  <a:pt x="704961" y="74211"/>
                </a:lnTo>
                <a:cubicBezTo>
                  <a:pt x="706328" y="74211"/>
                  <a:pt x="707696" y="75015"/>
                  <a:pt x="708673" y="76354"/>
                </a:cubicBezTo>
                <a:cubicBezTo>
                  <a:pt x="709650" y="77694"/>
                  <a:pt x="710236" y="79569"/>
                  <a:pt x="710236" y="81444"/>
                </a:cubicBezTo>
                <a:lnTo>
                  <a:pt x="710236" y="94706"/>
                </a:lnTo>
                <a:lnTo>
                  <a:pt x="754094" y="94706"/>
                </a:lnTo>
                <a:cubicBezTo>
                  <a:pt x="755462" y="94706"/>
                  <a:pt x="756829" y="95510"/>
                  <a:pt x="757806" y="96849"/>
                </a:cubicBezTo>
                <a:cubicBezTo>
                  <a:pt x="758783" y="98189"/>
                  <a:pt x="759369" y="100064"/>
                  <a:pt x="759369" y="101940"/>
                </a:cubicBezTo>
                <a:lnTo>
                  <a:pt x="759369" y="115201"/>
                </a:lnTo>
                <a:lnTo>
                  <a:pt x="808112" y="115201"/>
                </a:lnTo>
                <a:cubicBezTo>
                  <a:pt x="809479" y="115201"/>
                  <a:pt x="810847" y="116005"/>
                  <a:pt x="811823" y="117344"/>
                </a:cubicBezTo>
                <a:cubicBezTo>
                  <a:pt x="812800" y="118684"/>
                  <a:pt x="813386" y="120559"/>
                  <a:pt x="813386" y="122435"/>
                </a:cubicBezTo>
                <a:lnTo>
                  <a:pt x="813386" y="135830"/>
                </a:lnTo>
                <a:lnTo>
                  <a:pt x="837611" y="135830"/>
                </a:lnTo>
                <a:cubicBezTo>
                  <a:pt x="838979" y="135830"/>
                  <a:pt x="840346" y="136634"/>
                  <a:pt x="841323" y="137973"/>
                </a:cubicBezTo>
                <a:cubicBezTo>
                  <a:pt x="842300" y="139313"/>
                  <a:pt x="842886" y="141188"/>
                  <a:pt x="842886" y="143064"/>
                </a:cubicBezTo>
                <a:lnTo>
                  <a:pt x="842886" y="156459"/>
                </a:lnTo>
                <a:lnTo>
                  <a:pt x="869553" y="156459"/>
                </a:lnTo>
                <a:cubicBezTo>
                  <a:pt x="870920" y="156459"/>
                  <a:pt x="872288" y="157263"/>
                  <a:pt x="873265" y="158602"/>
                </a:cubicBezTo>
                <a:cubicBezTo>
                  <a:pt x="874241" y="159942"/>
                  <a:pt x="874827" y="161817"/>
                  <a:pt x="874827" y="163693"/>
                </a:cubicBezTo>
                <a:lnTo>
                  <a:pt x="874827" y="177088"/>
                </a:lnTo>
                <a:lnTo>
                  <a:pt x="884302" y="177088"/>
                </a:lnTo>
                <a:cubicBezTo>
                  <a:pt x="885670" y="177088"/>
                  <a:pt x="887038" y="177892"/>
                  <a:pt x="888014" y="179231"/>
                </a:cubicBezTo>
                <a:cubicBezTo>
                  <a:pt x="888991" y="180571"/>
                  <a:pt x="889577" y="182446"/>
                  <a:pt x="889577" y="184322"/>
                </a:cubicBezTo>
                <a:lnTo>
                  <a:pt x="889577" y="197717"/>
                </a:lnTo>
                <a:lnTo>
                  <a:pt x="903936" y="197717"/>
                </a:lnTo>
                <a:cubicBezTo>
                  <a:pt x="905304" y="197717"/>
                  <a:pt x="906671" y="198521"/>
                  <a:pt x="907648" y="199860"/>
                </a:cubicBezTo>
                <a:cubicBezTo>
                  <a:pt x="908625" y="201200"/>
                  <a:pt x="909211" y="203075"/>
                  <a:pt x="909211" y="204951"/>
                </a:cubicBezTo>
                <a:lnTo>
                  <a:pt x="909211" y="218346"/>
                </a:lnTo>
                <a:lnTo>
                  <a:pt x="945744" y="218346"/>
                </a:lnTo>
                <a:cubicBezTo>
                  <a:pt x="947111" y="218346"/>
                  <a:pt x="948479" y="219150"/>
                  <a:pt x="949455" y="220489"/>
                </a:cubicBezTo>
                <a:cubicBezTo>
                  <a:pt x="950432" y="221829"/>
                  <a:pt x="951018" y="223704"/>
                  <a:pt x="951018" y="225580"/>
                </a:cubicBezTo>
                <a:lnTo>
                  <a:pt x="951018" y="238975"/>
                </a:lnTo>
                <a:lnTo>
                  <a:pt x="967819" y="238975"/>
                </a:lnTo>
                <a:cubicBezTo>
                  <a:pt x="969187" y="238975"/>
                  <a:pt x="970554" y="239779"/>
                  <a:pt x="971531" y="241118"/>
                </a:cubicBezTo>
                <a:cubicBezTo>
                  <a:pt x="972508" y="242458"/>
                  <a:pt x="973094" y="244333"/>
                  <a:pt x="973094" y="246209"/>
                </a:cubicBezTo>
                <a:lnTo>
                  <a:pt x="973094" y="259738"/>
                </a:lnTo>
                <a:lnTo>
                  <a:pt x="992435" y="259738"/>
                </a:lnTo>
                <a:cubicBezTo>
                  <a:pt x="993802" y="259738"/>
                  <a:pt x="995170" y="260542"/>
                  <a:pt x="996147" y="261881"/>
                </a:cubicBezTo>
                <a:cubicBezTo>
                  <a:pt x="997124" y="263221"/>
                  <a:pt x="997710" y="265096"/>
                  <a:pt x="997710" y="266972"/>
                </a:cubicBezTo>
                <a:lnTo>
                  <a:pt x="997710" y="280635"/>
                </a:lnTo>
                <a:lnTo>
                  <a:pt x="1024376" y="280635"/>
                </a:lnTo>
                <a:cubicBezTo>
                  <a:pt x="1025744" y="280635"/>
                  <a:pt x="1027112" y="281439"/>
                  <a:pt x="1028088" y="282778"/>
                </a:cubicBezTo>
                <a:cubicBezTo>
                  <a:pt x="1029065" y="284118"/>
                  <a:pt x="1029651" y="285993"/>
                  <a:pt x="1029651" y="287869"/>
                </a:cubicBezTo>
                <a:lnTo>
                  <a:pt x="1029651" y="301532"/>
                </a:lnTo>
                <a:lnTo>
                  <a:pt x="1098028" y="301532"/>
                </a:lnTo>
                <a:cubicBezTo>
                  <a:pt x="1099395" y="301532"/>
                  <a:pt x="1100763" y="302336"/>
                  <a:pt x="1101740" y="303675"/>
                </a:cubicBezTo>
                <a:cubicBezTo>
                  <a:pt x="1102716" y="305015"/>
                  <a:pt x="1103302" y="306890"/>
                  <a:pt x="1103302" y="308766"/>
                </a:cubicBezTo>
                <a:lnTo>
                  <a:pt x="1103302" y="322429"/>
                </a:lnTo>
                <a:lnTo>
                  <a:pt x="1201178" y="322429"/>
                </a:lnTo>
                <a:cubicBezTo>
                  <a:pt x="1202546" y="322429"/>
                  <a:pt x="1203913" y="323233"/>
                  <a:pt x="1204890" y="324572"/>
                </a:cubicBezTo>
                <a:cubicBezTo>
                  <a:pt x="1205867" y="325912"/>
                  <a:pt x="1206453" y="327787"/>
                  <a:pt x="1206453" y="329662"/>
                </a:cubicBezTo>
                <a:lnTo>
                  <a:pt x="1206453" y="343326"/>
                </a:lnTo>
                <a:lnTo>
                  <a:pt x="1213486" y="343326"/>
                </a:lnTo>
                <a:cubicBezTo>
                  <a:pt x="1214854" y="343326"/>
                  <a:pt x="1216221" y="344130"/>
                  <a:pt x="1217198" y="345469"/>
                </a:cubicBezTo>
                <a:cubicBezTo>
                  <a:pt x="1218175" y="346809"/>
                  <a:pt x="1218761" y="348684"/>
                  <a:pt x="1218761" y="350559"/>
                </a:cubicBezTo>
                <a:lnTo>
                  <a:pt x="1218761" y="364223"/>
                </a:lnTo>
                <a:lnTo>
                  <a:pt x="1233218" y="364223"/>
                </a:lnTo>
                <a:cubicBezTo>
                  <a:pt x="1234585" y="364223"/>
                  <a:pt x="1235953" y="365026"/>
                  <a:pt x="1236930" y="366366"/>
                </a:cubicBezTo>
                <a:cubicBezTo>
                  <a:pt x="1237906" y="367706"/>
                  <a:pt x="1238492" y="369581"/>
                  <a:pt x="1238492" y="371456"/>
                </a:cubicBezTo>
                <a:lnTo>
                  <a:pt x="1238492" y="405883"/>
                </a:lnTo>
                <a:lnTo>
                  <a:pt x="1292119" y="405883"/>
                </a:lnTo>
                <a:cubicBezTo>
                  <a:pt x="1293487" y="405883"/>
                  <a:pt x="1294854" y="406686"/>
                  <a:pt x="1295831" y="408026"/>
                </a:cubicBezTo>
                <a:cubicBezTo>
                  <a:pt x="1296808" y="409365"/>
                  <a:pt x="1297394" y="411241"/>
                  <a:pt x="1297394" y="413116"/>
                </a:cubicBezTo>
                <a:lnTo>
                  <a:pt x="1297394" y="426780"/>
                </a:lnTo>
                <a:lnTo>
                  <a:pt x="1311851" y="426780"/>
                </a:lnTo>
                <a:cubicBezTo>
                  <a:pt x="1313218" y="426780"/>
                  <a:pt x="1314586" y="427583"/>
                  <a:pt x="1315562" y="428923"/>
                </a:cubicBezTo>
                <a:cubicBezTo>
                  <a:pt x="1316539" y="430262"/>
                  <a:pt x="1317125" y="432138"/>
                  <a:pt x="1317125" y="434013"/>
                </a:cubicBezTo>
                <a:lnTo>
                  <a:pt x="1317125" y="468439"/>
                </a:lnTo>
                <a:cubicBezTo>
                  <a:pt x="1318395" y="468439"/>
                  <a:pt x="1319567" y="469377"/>
                  <a:pt x="1320446" y="470583"/>
                </a:cubicBezTo>
                <a:cubicBezTo>
                  <a:pt x="1321423" y="471922"/>
                  <a:pt x="1322009" y="473798"/>
                  <a:pt x="1322009" y="475673"/>
                </a:cubicBezTo>
                <a:lnTo>
                  <a:pt x="1322009" y="489336"/>
                </a:lnTo>
                <a:lnTo>
                  <a:pt x="1329042" y="489336"/>
                </a:lnTo>
                <a:cubicBezTo>
                  <a:pt x="1330410" y="489336"/>
                  <a:pt x="1331777" y="490140"/>
                  <a:pt x="1332754" y="491480"/>
                </a:cubicBezTo>
                <a:cubicBezTo>
                  <a:pt x="1333731" y="492819"/>
                  <a:pt x="1334317" y="494695"/>
                  <a:pt x="1334317" y="496570"/>
                </a:cubicBezTo>
                <a:lnTo>
                  <a:pt x="1334317" y="510233"/>
                </a:lnTo>
                <a:lnTo>
                  <a:pt x="1338908" y="510233"/>
                </a:lnTo>
                <a:cubicBezTo>
                  <a:pt x="1340276" y="510233"/>
                  <a:pt x="1341643" y="511037"/>
                  <a:pt x="1342620" y="512377"/>
                </a:cubicBezTo>
                <a:cubicBezTo>
                  <a:pt x="1343597" y="513716"/>
                  <a:pt x="1344183" y="515592"/>
                  <a:pt x="1344183" y="517467"/>
                </a:cubicBezTo>
                <a:lnTo>
                  <a:pt x="1344183" y="551893"/>
                </a:lnTo>
                <a:lnTo>
                  <a:pt x="1461693" y="551893"/>
                </a:lnTo>
                <a:cubicBezTo>
                  <a:pt x="1463060" y="551893"/>
                  <a:pt x="1464428" y="552697"/>
                  <a:pt x="1465404" y="554037"/>
                </a:cubicBezTo>
                <a:cubicBezTo>
                  <a:pt x="1466381" y="555376"/>
                  <a:pt x="1466967" y="557251"/>
                  <a:pt x="1466967" y="559127"/>
                </a:cubicBezTo>
                <a:lnTo>
                  <a:pt x="1466967" y="573058"/>
                </a:lnTo>
                <a:lnTo>
                  <a:pt x="1488750" y="573058"/>
                </a:lnTo>
                <a:cubicBezTo>
                  <a:pt x="1490118" y="573058"/>
                  <a:pt x="1491485" y="573862"/>
                  <a:pt x="1492462" y="575201"/>
                </a:cubicBezTo>
                <a:cubicBezTo>
                  <a:pt x="1493439" y="576541"/>
                  <a:pt x="1494025" y="578416"/>
                  <a:pt x="1494025" y="580292"/>
                </a:cubicBezTo>
                <a:lnTo>
                  <a:pt x="1494025" y="595295"/>
                </a:lnTo>
                <a:cubicBezTo>
                  <a:pt x="1494025" y="595295"/>
                  <a:pt x="1494709" y="595964"/>
                  <a:pt x="1494904" y="596232"/>
                </a:cubicBezTo>
                <a:cubicBezTo>
                  <a:pt x="1495881" y="597572"/>
                  <a:pt x="1496467" y="599447"/>
                  <a:pt x="1496467" y="601323"/>
                </a:cubicBezTo>
                <a:lnTo>
                  <a:pt x="1496467" y="615254"/>
                </a:lnTo>
                <a:lnTo>
                  <a:pt x="1586919" y="615254"/>
                </a:lnTo>
                <a:cubicBezTo>
                  <a:pt x="1588287" y="615254"/>
                  <a:pt x="1589654" y="616058"/>
                  <a:pt x="1590631" y="617397"/>
                </a:cubicBezTo>
                <a:cubicBezTo>
                  <a:pt x="1591608" y="618737"/>
                  <a:pt x="1592194" y="620612"/>
                  <a:pt x="1592194" y="622487"/>
                </a:cubicBezTo>
                <a:lnTo>
                  <a:pt x="1592194" y="636419"/>
                </a:lnTo>
                <a:lnTo>
                  <a:pt x="1768605" y="636419"/>
                </a:lnTo>
                <a:cubicBezTo>
                  <a:pt x="1769972" y="636419"/>
                  <a:pt x="1771340" y="637222"/>
                  <a:pt x="1772317" y="638562"/>
                </a:cubicBezTo>
                <a:cubicBezTo>
                  <a:pt x="1773294" y="639901"/>
                  <a:pt x="1773880" y="641777"/>
                  <a:pt x="1773880" y="643652"/>
                </a:cubicBezTo>
                <a:lnTo>
                  <a:pt x="1773880" y="657583"/>
                </a:lnTo>
                <a:lnTo>
                  <a:pt x="1783355" y="657583"/>
                </a:lnTo>
                <a:cubicBezTo>
                  <a:pt x="1784722" y="657583"/>
                  <a:pt x="1786090" y="658387"/>
                  <a:pt x="1787067" y="659727"/>
                </a:cubicBezTo>
                <a:cubicBezTo>
                  <a:pt x="1788043" y="661066"/>
                  <a:pt x="1788629" y="662942"/>
                  <a:pt x="1788629" y="664817"/>
                </a:cubicBezTo>
                <a:lnTo>
                  <a:pt x="1788629" y="678748"/>
                </a:lnTo>
                <a:lnTo>
                  <a:pt x="1830046" y="678748"/>
                </a:lnTo>
                <a:cubicBezTo>
                  <a:pt x="1831414" y="678748"/>
                  <a:pt x="1832781" y="679552"/>
                  <a:pt x="1833758" y="680892"/>
                </a:cubicBezTo>
                <a:cubicBezTo>
                  <a:pt x="1834735" y="682231"/>
                  <a:pt x="1835321" y="684106"/>
                  <a:pt x="1835321" y="685982"/>
                </a:cubicBezTo>
                <a:lnTo>
                  <a:pt x="1835321" y="699913"/>
                </a:lnTo>
                <a:lnTo>
                  <a:pt x="1928215" y="699913"/>
                </a:lnTo>
                <a:cubicBezTo>
                  <a:pt x="1929583" y="699913"/>
                  <a:pt x="1930950" y="700717"/>
                  <a:pt x="1931927" y="702056"/>
                </a:cubicBezTo>
                <a:cubicBezTo>
                  <a:pt x="1932904" y="703396"/>
                  <a:pt x="1933490" y="705271"/>
                  <a:pt x="1933490" y="707147"/>
                </a:cubicBezTo>
                <a:lnTo>
                  <a:pt x="1933490" y="721078"/>
                </a:lnTo>
                <a:lnTo>
                  <a:pt x="1977348" y="721078"/>
                </a:lnTo>
                <a:cubicBezTo>
                  <a:pt x="1978716" y="721078"/>
                  <a:pt x="1980084" y="721882"/>
                  <a:pt x="1981060" y="723221"/>
                </a:cubicBezTo>
                <a:cubicBezTo>
                  <a:pt x="1982037" y="724561"/>
                  <a:pt x="1982623" y="726436"/>
                  <a:pt x="1982623" y="728312"/>
                </a:cubicBezTo>
                <a:lnTo>
                  <a:pt x="1982623" y="742243"/>
                </a:lnTo>
                <a:lnTo>
                  <a:pt x="2001866" y="742243"/>
                </a:lnTo>
                <a:cubicBezTo>
                  <a:pt x="2003234" y="742243"/>
                  <a:pt x="2004601" y="743047"/>
                  <a:pt x="2005578" y="744386"/>
                </a:cubicBezTo>
                <a:cubicBezTo>
                  <a:pt x="2006555" y="745726"/>
                  <a:pt x="2007141" y="747601"/>
                  <a:pt x="2007141" y="749476"/>
                </a:cubicBezTo>
                <a:lnTo>
                  <a:pt x="2007141" y="763408"/>
                </a:lnTo>
                <a:lnTo>
                  <a:pt x="2279279" y="763408"/>
                </a:lnTo>
                <a:cubicBezTo>
                  <a:pt x="2280647" y="763408"/>
                  <a:pt x="2282014" y="764211"/>
                  <a:pt x="2282991" y="765551"/>
                </a:cubicBezTo>
                <a:cubicBezTo>
                  <a:pt x="2283968" y="766890"/>
                  <a:pt x="2284554" y="768766"/>
                  <a:pt x="2284554" y="770641"/>
                </a:cubicBezTo>
                <a:lnTo>
                  <a:pt x="2284554" y="785778"/>
                </a:lnTo>
                <a:lnTo>
                  <a:pt x="2301355" y="785778"/>
                </a:lnTo>
                <a:cubicBezTo>
                  <a:pt x="2302723" y="785778"/>
                  <a:pt x="2304090" y="786582"/>
                  <a:pt x="2305067" y="787921"/>
                </a:cubicBezTo>
                <a:cubicBezTo>
                  <a:pt x="2306044" y="789261"/>
                  <a:pt x="2306630" y="791136"/>
                  <a:pt x="2306630" y="793012"/>
                </a:cubicBezTo>
                <a:lnTo>
                  <a:pt x="2306630" y="808149"/>
                </a:lnTo>
                <a:lnTo>
                  <a:pt x="2333297" y="808149"/>
                </a:lnTo>
                <a:cubicBezTo>
                  <a:pt x="2334664" y="808149"/>
                  <a:pt x="2336032" y="808952"/>
                  <a:pt x="2337008" y="810292"/>
                </a:cubicBezTo>
                <a:cubicBezTo>
                  <a:pt x="2337985" y="811631"/>
                  <a:pt x="2338571" y="813507"/>
                  <a:pt x="2338571" y="815382"/>
                </a:cubicBezTo>
                <a:lnTo>
                  <a:pt x="2338571" y="830519"/>
                </a:lnTo>
                <a:lnTo>
                  <a:pt x="2345507" y="830519"/>
                </a:lnTo>
                <a:cubicBezTo>
                  <a:pt x="2346874" y="830519"/>
                  <a:pt x="2348242" y="831323"/>
                  <a:pt x="2349218" y="832662"/>
                </a:cubicBezTo>
                <a:cubicBezTo>
                  <a:pt x="2350195" y="834002"/>
                  <a:pt x="2350781" y="835877"/>
                  <a:pt x="2350781" y="837753"/>
                </a:cubicBezTo>
                <a:lnTo>
                  <a:pt x="2350781" y="853023"/>
                </a:lnTo>
                <a:lnTo>
                  <a:pt x="2505117" y="853023"/>
                </a:lnTo>
                <a:cubicBezTo>
                  <a:pt x="2506484" y="853023"/>
                  <a:pt x="2507852" y="853827"/>
                  <a:pt x="2508829" y="855167"/>
                </a:cubicBezTo>
                <a:cubicBezTo>
                  <a:pt x="2509805" y="856506"/>
                  <a:pt x="2510391" y="858382"/>
                  <a:pt x="2510391" y="860257"/>
                </a:cubicBezTo>
                <a:lnTo>
                  <a:pt x="2510391" y="875394"/>
                </a:lnTo>
                <a:lnTo>
                  <a:pt x="2541942" y="875394"/>
                </a:lnTo>
                <a:cubicBezTo>
                  <a:pt x="2543310" y="875394"/>
                  <a:pt x="2544677" y="876198"/>
                  <a:pt x="2545654" y="877537"/>
                </a:cubicBezTo>
                <a:cubicBezTo>
                  <a:pt x="2546631" y="878877"/>
                  <a:pt x="2547217" y="880752"/>
                  <a:pt x="2547217" y="882627"/>
                </a:cubicBezTo>
                <a:lnTo>
                  <a:pt x="2547217" y="897898"/>
                </a:lnTo>
                <a:lnTo>
                  <a:pt x="2595960" y="897898"/>
                </a:lnTo>
                <a:cubicBezTo>
                  <a:pt x="2597327" y="897898"/>
                  <a:pt x="2598695" y="898702"/>
                  <a:pt x="2599672" y="900041"/>
                </a:cubicBezTo>
                <a:cubicBezTo>
                  <a:pt x="2600648" y="901381"/>
                  <a:pt x="2601234" y="903256"/>
                  <a:pt x="2601234" y="905132"/>
                </a:cubicBezTo>
                <a:lnTo>
                  <a:pt x="2601234" y="920670"/>
                </a:lnTo>
                <a:lnTo>
                  <a:pt x="2662285" y="920670"/>
                </a:lnTo>
                <a:cubicBezTo>
                  <a:pt x="2663652" y="920670"/>
                  <a:pt x="2665020" y="921474"/>
                  <a:pt x="2665997" y="922814"/>
                </a:cubicBezTo>
                <a:cubicBezTo>
                  <a:pt x="2666973" y="924153"/>
                  <a:pt x="2667560" y="926029"/>
                  <a:pt x="2667560" y="927904"/>
                </a:cubicBezTo>
                <a:lnTo>
                  <a:pt x="2667560" y="944246"/>
                </a:lnTo>
                <a:lnTo>
                  <a:pt x="2694226" y="944246"/>
                </a:lnTo>
                <a:cubicBezTo>
                  <a:pt x="2695594" y="944246"/>
                  <a:pt x="2696961" y="945050"/>
                  <a:pt x="2697938" y="946390"/>
                </a:cubicBezTo>
                <a:cubicBezTo>
                  <a:pt x="2698915" y="947729"/>
                  <a:pt x="2699501" y="949605"/>
                  <a:pt x="2699501" y="951480"/>
                </a:cubicBezTo>
                <a:lnTo>
                  <a:pt x="2699501" y="967822"/>
                </a:lnTo>
                <a:lnTo>
                  <a:pt x="2866047" y="967822"/>
                </a:lnTo>
                <a:cubicBezTo>
                  <a:pt x="2867414" y="967822"/>
                  <a:pt x="2868782" y="968626"/>
                  <a:pt x="2869758" y="969966"/>
                </a:cubicBezTo>
                <a:cubicBezTo>
                  <a:pt x="2870735" y="971305"/>
                  <a:pt x="2871321" y="973181"/>
                  <a:pt x="2871321" y="975056"/>
                </a:cubicBezTo>
                <a:lnTo>
                  <a:pt x="2871321" y="991934"/>
                </a:lnTo>
                <a:lnTo>
                  <a:pt x="3302972" y="991934"/>
                </a:lnTo>
                <a:cubicBezTo>
                  <a:pt x="3304339" y="991934"/>
                  <a:pt x="3305707" y="992738"/>
                  <a:pt x="3306684" y="994078"/>
                </a:cubicBezTo>
                <a:cubicBezTo>
                  <a:pt x="3307660" y="995417"/>
                  <a:pt x="3308247" y="997293"/>
                  <a:pt x="3308247" y="999168"/>
                </a:cubicBezTo>
                <a:lnTo>
                  <a:pt x="3308247" y="1019261"/>
                </a:lnTo>
                <a:lnTo>
                  <a:pt x="3411007" y="1019261"/>
                </a:lnTo>
                <a:cubicBezTo>
                  <a:pt x="3412374" y="1019261"/>
                  <a:pt x="3413742" y="1020065"/>
                  <a:pt x="3414718" y="1021404"/>
                </a:cubicBezTo>
                <a:cubicBezTo>
                  <a:pt x="3415695" y="1022744"/>
                  <a:pt x="3416281" y="1024619"/>
                  <a:pt x="3416281" y="1026495"/>
                </a:cubicBezTo>
                <a:lnTo>
                  <a:pt x="3416281" y="1050071"/>
                </a:lnTo>
                <a:lnTo>
                  <a:pt x="4082463" y="1050071"/>
                </a:lnTo>
                <a:lnTo>
                  <a:pt x="4082463" y="1064404"/>
                </a:lnTo>
              </a:path>
            </a:pathLst>
          </a:custGeom>
          <a:solidFill>
            <a:schemeClr val="accent6"/>
          </a:solidFill>
          <a:ln w="9753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739" name="Grafik 539">
            <a:extLst>
              <a:ext uri="{FF2B5EF4-FFF2-40B4-BE49-F238E27FC236}">
                <a16:creationId xmlns:a16="http://schemas.microsoft.com/office/drawing/2014/main" id="{B7DD1AEB-B562-969A-FF07-E2401A1F75C7}"/>
              </a:ext>
            </a:extLst>
          </p:cNvPr>
          <p:cNvGrpSpPr/>
          <p:nvPr/>
        </p:nvGrpSpPr>
        <p:grpSpPr>
          <a:xfrm>
            <a:off x="1699303" y="1375971"/>
            <a:ext cx="3883389" cy="1253547"/>
            <a:chOff x="1769574" y="1572777"/>
            <a:chExt cx="3883389" cy="1253547"/>
          </a:xfrm>
          <a:solidFill>
            <a:schemeClr val="accent6">
              <a:alpha val="30000"/>
            </a:schemeClr>
          </a:solidFill>
        </p:grpSpPr>
        <p:sp>
          <p:nvSpPr>
            <p:cNvPr id="740" name="Freihandform: Form 739">
              <a:extLst>
                <a:ext uri="{FF2B5EF4-FFF2-40B4-BE49-F238E27FC236}">
                  <a16:creationId xmlns:a16="http://schemas.microsoft.com/office/drawing/2014/main" id="{C3B6347A-0032-54C4-7FDB-B8BCE0E1F312}"/>
                </a:ext>
              </a:extLst>
            </p:cNvPr>
            <p:cNvSpPr/>
            <p:nvPr/>
          </p:nvSpPr>
          <p:spPr>
            <a:xfrm>
              <a:off x="1769574" y="1572777"/>
              <a:ext cx="3883389" cy="1253547"/>
            </a:xfrm>
            <a:custGeom>
              <a:avLst/>
              <a:gdLst>
                <a:gd name="connsiteX0" fmla="*/ 3881827 w 3883389"/>
                <a:gd name="connsiteY0" fmla="*/ 1253146 h 1253547"/>
                <a:gd name="connsiteX1" fmla="*/ 3881730 w 3883389"/>
                <a:gd name="connsiteY1" fmla="*/ 1253146 h 1253547"/>
                <a:gd name="connsiteX2" fmla="*/ 3881730 w 3883389"/>
                <a:gd name="connsiteY2" fmla="*/ 1184293 h 1253547"/>
                <a:gd name="connsiteX3" fmla="*/ 3782095 w 3883389"/>
                <a:gd name="connsiteY3" fmla="*/ 1184293 h 1253547"/>
                <a:gd name="connsiteX4" fmla="*/ 3782095 w 3883389"/>
                <a:gd name="connsiteY4" fmla="*/ 1171568 h 1253547"/>
                <a:gd name="connsiteX5" fmla="*/ 3666734 w 3883389"/>
                <a:gd name="connsiteY5" fmla="*/ 1171568 h 1253547"/>
                <a:gd name="connsiteX6" fmla="*/ 3666734 w 3883389"/>
                <a:gd name="connsiteY6" fmla="*/ 1160851 h 1253547"/>
                <a:gd name="connsiteX7" fmla="*/ 3286366 w 3883389"/>
                <a:gd name="connsiteY7" fmla="*/ 1160851 h 1253547"/>
                <a:gd name="connsiteX8" fmla="*/ 3286366 w 3883389"/>
                <a:gd name="connsiteY8" fmla="*/ 1153618 h 1253547"/>
                <a:gd name="connsiteX9" fmla="*/ 3274058 w 3883389"/>
                <a:gd name="connsiteY9" fmla="*/ 1153618 h 1253547"/>
                <a:gd name="connsiteX10" fmla="*/ 3274058 w 3883389"/>
                <a:gd name="connsiteY10" fmla="*/ 1146384 h 1253547"/>
                <a:gd name="connsiteX11" fmla="*/ 3171005 w 3883389"/>
                <a:gd name="connsiteY11" fmla="*/ 1146384 h 1253547"/>
                <a:gd name="connsiteX12" fmla="*/ 3171005 w 3883389"/>
                <a:gd name="connsiteY12" fmla="*/ 1139686 h 1253547"/>
                <a:gd name="connsiteX13" fmla="*/ 3153814 w 3883389"/>
                <a:gd name="connsiteY13" fmla="*/ 1139686 h 1253547"/>
                <a:gd name="connsiteX14" fmla="*/ 3153814 w 3883389"/>
                <a:gd name="connsiteY14" fmla="*/ 1133257 h 1253547"/>
                <a:gd name="connsiteX15" fmla="*/ 3082605 w 3883389"/>
                <a:gd name="connsiteY15" fmla="*/ 1133257 h 1253547"/>
                <a:gd name="connsiteX16" fmla="*/ 3082605 w 3883389"/>
                <a:gd name="connsiteY16" fmla="*/ 1126961 h 1253547"/>
                <a:gd name="connsiteX17" fmla="*/ 2923092 w 3883389"/>
                <a:gd name="connsiteY17" fmla="*/ 1126961 h 1253547"/>
                <a:gd name="connsiteX18" fmla="*/ 2923092 w 3883389"/>
                <a:gd name="connsiteY18" fmla="*/ 1121067 h 1253547"/>
                <a:gd name="connsiteX19" fmla="*/ 2871517 w 3883389"/>
                <a:gd name="connsiteY19" fmla="*/ 1121067 h 1253547"/>
                <a:gd name="connsiteX20" fmla="*/ 2871517 w 3883389"/>
                <a:gd name="connsiteY20" fmla="*/ 1115173 h 1253547"/>
                <a:gd name="connsiteX21" fmla="*/ 2869075 w 3883389"/>
                <a:gd name="connsiteY21" fmla="*/ 1115173 h 1253547"/>
                <a:gd name="connsiteX22" fmla="*/ 2869075 w 3883389"/>
                <a:gd name="connsiteY22" fmla="*/ 1109413 h 1253547"/>
                <a:gd name="connsiteX23" fmla="*/ 2856865 w 3883389"/>
                <a:gd name="connsiteY23" fmla="*/ 1109413 h 1253547"/>
                <a:gd name="connsiteX24" fmla="*/ 2856865 w 3883389"/>
                <a:gd name="connsiteY24" fmla="*/ 1103519 h 1253547"/>
                <a:gd name="connsiteX25" fmla="*/ 2768464 w 3883389"/>
                <a:gd name="connsiteY25" fmla="*/ 1103519 h 1253547"/>
                <a:gd name="connsiteX26" fmla="*/ 2768464 w 3883389"/>
                <a:gd name="connsiteY26" fmla="*/ 1097759 h 1253547"/>
                <a:gd name="connsiteX27" fmla="*/ 2714446 w 3883389"/>
                <a:gd name="connsiteY27" fmla="*/ 1097759 h 1253547"/>
                <a:gd name="connsiteX28" fmla="*/ 2714446 w 3883389"/>
                <a:gd name="connsiteY28" fmla="*/ 1092132 h 1253547"/>
                <a:gd name="connsiteX29" fmla="*/ 2530416 w 3883389"/>
                <a:gd name="connsiteY29" fmla="*/ 1092132 h 1253547"/>
                <a:gd name="connsiteX30" fmla="*/ 2530416 w 3883389"/>
                <a:gd name="connsiteY30" fmla="*/ 1080880 h 1253547"/>
                <a:gd name="connsiteX31" fmla="*/ 2383211 w 3883389"/>
                <a:gd name="connsiteY31" fmla="*/ 1080880 h 1253547"/>
                <a:gd name="connsiteX32" fmla="*/ 2383211 w 3883389"/>
                <a:gd name="connsiteY32" fmla="*/ 1075388 h 1253547"/>
                <a:gd name="connsiteX33" fmla="*/ 2343944 w 3883389"/>
                <a:gd name="connsiteY33" fmla="*/ 1075388 h 1253547"/>
                <a:gd name="connsiteX34" fmla="*/ 2343944 w 3883389"/>
                <a:gd name="connsiteY34" fmla="*/ 1069896 h 1253547"/>
                <a:gd name="connsiteX35" fmla="*/ 2326752 w 3883389"/>
                <a:gd name="connsiteY35" fmla="*/ 1069896 h 1253547"/>
                <a:gd name="connsiteX36" fmla="*/ 2326752 w 3883389"/>
                <a:gd name="connsiteY36" fmla="*/ 1064404 h 1253547"/>
                <a:gd name="connsiteX37" fmla="*/ 2304676 w 3883389"/>
                <a:gd name="connsiteY37" fmla="*/ 1064404 h 1253547"/>
                <a:gd name="connsiteX38" fmla="*/ 2304676 w 3883389"/>
                <a:gd name="connsiteY38" fmla="*/ 1049267 h 1253547"/>
                <a:gd name="connsiteX39" fmla="*/ 2145164 w 3883389"/>
                <a:gd name="connsiteY39" fmla="*/ 1049267 h 1253547"/>
                <a:gd name="connsiteX40" fmla="*/ 2145164 w 3883389"/>
                <a:gd name="connsiteY40" fmla="*/ 1026093 h 1253547"/>
                <a:gd name="connsiteX41" fmla="*/ 2132954 w 3883389"/>
                <a:gd name="connsiteY41" fmla="*/ 1026093 h 1253547"/>
                <a:gd name="connsiteX42" fmla="*/ 2132954 w 3883389"/>
                <a:gd name="connsiteY42" fmla="*/ 1002651 h 1253547"/>
                <a:gd name="connsiteX43" fmla="*/ 2101012 w 3883389"/>
                <a:gd name="connsiteY43" fmla="*/ 1002651 h 1253547"/>
                <a:gd name="connsiteX44" fmla="*/ 2101012 w 3883389"/>
                <a:gd name="connsiteY44" fmla="*/ 979075 h 1253547"/>
                <a:gd name="connsiteX45" fmla="*/ 2078936 w 3883389"/>
                <a:gd name="connsiteY45" fmla="*/ 979075 h 1253547"/>
                <a:gd name="connsiteX46" fmla="*/ 2078936 w 3883389"/>
                <a:gd name="connsiteY46" fmla="*/ 955499 h 1253547"/>
                <a:gd name="connsiteX47" fmla="*/ 1801523 w 3883389"/>
                <a:gd name="connsiteY47" fmla="*/ 955499 h 1253547"/>
                <a:gd name="connsiteX48" fmla="*/ 1801523 w 3883389"/>
                <a:gd name="connsiteY48" fmla="*/ 933262 h 1253547"/>
                <a:gd name="connsiteX49" fmla="*/ 1777005 w 3883389"/>
                <a:gd name="connsiteY49" fmla="*/ 933262 h 1253547"/>
                <a:gd name="connsiteX50" fmla="*/ 1777005 w 3883389"/>
                <a:gd name="connsiteY50" fmla="*/ 911160 h 1253547"/>
                <a:gd name="connsiteX51" fmla="*/ 1727872 w 3883389"/>
                <a:gd name="connsiteY51" fmla="*/ 911160 h 1253547"/>
                <a:gd name="connsiteX52" fmla="*/ 1727872 w 3883389"/>
                <a:gd name="connsiteY52" fmla="*/ 888923 h 1253547"/>
                <a:gd name="connsiteX53" fmla="*/ 1629703 w 3883389"/>
                <a:gd name="connsiteY53" fmla="*/ 888923 h 1253547"/>
                <a:gd name="connsiteX54" fmla="*/ 1629703 w 3883389"/>
                <a:gd name="connsiteY54" fmla="*/ 866553 h 1253547"/>
                <a:gd name="connsiteX55" fmla="*/ 1583110 w 3883389"/>
                <a:gd name="connsiteY55" fmla="*/ 866553 h 1253547"/>
                <a:gd name="connsiteX56" fmla="*/ 1583110 w 3883389"/>
                <a:gd name="connsiteY56" fmla="*/ 844048 h 1253547"/>
                <a:gd name="connsiteX57" fmla="*/ 1568360 w 3883389"/>
                <a:gd name="connsiteY57" fmla="*/ 844048 h 1253547"/>
                <a:gd name="connsiteX58" fmla="*/ 1568360 w 3883389"/>
                <a:gd name="connsiteY58" fmla="*/ 821544 h 1253547"/>
                <a:gd name="connsiteX59" fmla="*/ 1386771 w 3883389"/>
                <a:gd name="connsiteY59" fmla="*/ 821544 h 1253547"/>
                <a:gd name="connsiteX60" fmla="*/ 1386771 w 3883389"/>
                <a:gd name="connsiteY60" fmla="*/ 798772 h 1253547"/>
                <a:gd name="connsiteX61" fmla="*/ 1291044 w 3883389"/>
                <a:gd name="connsiteY61" fmla="*/ 798772 h 1253547"/>
                <a:gd name="connsiteX62" fmla="*/ 1291044 w 3883389"/>
                <a:gd name="connsiteY62" fmla="*/ 775999 h 1253547"/>
                <a:gd name="connsiteX63" fmla="*/ 1288602 w 3883389"/>
                <a:gd name="connsiteY63" fmla="*/ 775999 h 1253547"/>
                <a:gd name="connsiteX64" fmla="*/ 1288602 w 3883389"/>
                <a:gd name="connsiteY64" fmla="*/ 753093 h 1253547"/>
                <a:gd name="connsiteX65" fmla="*/ 1261545 w 3883389"/>
                <a:gd name="connsiteY65" fmla="*/ 753093 h 1253547"/>
                <a:gd name="connsiteX66" fmla="*/ 1261545 w 3883389"/>
                <a:gd name="connsiteY66" fmla="*/ 730053 h 1253547"/>
                <a:gd name="connsiteX67" fmla="*/ 1138858 w 3883389"/>
                <a:gd name="connsiteY67" fmla="*/ 730053 h 1253547"/>
                <a:gd name="connsiteX68" fmla="*/ 1138858 w 3883389"/>
                <a:gd name="connsiteY68" fmla="*/ 684374 h 1253547"/>
                <a:gd name="connsiteX69" fmla="*/ 1128992 w 3883389"/>
                <a:gd name="connsiteY69" fmla="*/ 684374 h 1253547"/>
                <a:gd name="connsiteX70" fmla="*/ 1128992 w 3883389"/>
                <a:gd name="connsiteY70" fmla="*/ 661334 h 1253547"/>
                <a:gd name="connsiteX71" fmla="*/ 1116685 w 3883389"/>
                <a:gd name="connsiteY71" fmla="*/ 661334 h 1253547"/>
                <a:gd name="connsiteX72" fmla="*/ 1116685 w 3883389"/>
                <a:gd name="connsiteY72" fmla="*/ 638160 h 1253547"/>
                <a:gd name="connsiteX73" fmla="*/ 1111801 w 3883389"/>
                <a:gd name="connsiteY73" fmla="*/ 638160 h 1253547"/>
                <a:gd name="connsiteX74" fmla="*/ 1111801 w 3883389"/>
                <a:gd name="connsiteY74" fmla="*/ 591276 h 1253547"/>
                <a:gd name="connsiteX75" fmla="*/ 1092167 w 3883389"/>
                <a:gd name="connsiteY75" fmla="*/ 591276 h 1253547"/>
                <a:gd name="connsiteX76" fmla="*/ 1092167 w 3883389"/>
                <a:gd name="connsiteY76" fmla="*/ 567700 h 1253547"/>
                <a:gd name="connsiteX77" fmla="*/ 1033265 w 3883389"/>
                <a:gd name="connsiteY77" fmla="*/ 567700 h 1253547"/>
                <a:gd name="connsiteX78" fmla="*/ 1033265 w 3883389"/>
                <a:gd name="connsiteY78" fmla="*/ 519878 h 1253547"/>
                <a:gd name="connsiteX79" fmla="*/ 1013632 w 3883389"/>
                <a:gd name="connsiteY79" fmla="*/ 519878 h 1253547"/>
                <a:gd name="connsiteX80" fmla="*/ 1013632 w 3883389"/>
                <a:gd name="connsiteY80" fmla="*/ 495766 h 1253547"/>
                <a:gd name="connsiteX81" fmla="*/ 1001324 w 3883389"/>
                <a:gd name="connsiteY81" fmla="*/ 495766 h 1253547"/>
                <a:gd name="connsiteX82" fmla="*/ 1001324 w 3883389"/>
                <a:gd name="connsiteY82" fmla="*/ 471386 h 1253547"/>
                <a:gd name="connsiteX83" fmla="*/ 898271 w 3883389"/>
                <a:gd name="connsiteY83" fmla="*/ 471386 h 1253547"/>
                <a:gd name="connsiteX84" fmla="*/ 898271 w 3883389"/>
                <a:gd name="connsiteY84" fmla="*/ 446873 h 1253547"/>
                <a:gd name="connsiteX85" fmla="*/ 824620 w 3883389"/>
                <a:gd name="connsiteY85" fmla="*/ 446873 h 1253547"/>
                <a:gd name="connsiteX86" fmla="*/ 824620 w 3883389"/>
                <a:gd name="connsiteY86" fmla="*/ 422225 h 1253547"/>
                <a:gd name="connsiteX87" fmla="*/ 792776 w 3883389"/>
                <a:gd name="connsiteY87" fmla="*/ 422225 h 1253547"/>
                <a:gd name="connsiteX88" fmla="*/ 792776 w 3883389"/>
                <a:gd name="connsiteY88" fmla="*/ 397176 h 1253547"/>
                <a:gd name="connsiteX89" fmla="*/ 768258 w 3883389"/>
                <a:gd name="connsiteY89" fmla="*/ 397176 h 1253547"/>
                <a:gd name="connsiteX90" fmla="*/ 768258 w 3883389"/>
                <a:gd name="connsiteY90" fmla="*/ 372260 h 1253547"/>
                <a:gd name="connsiteX91" fmla="*/ 746182 w 3883389"/>
                <a:gd name="connsiteY91" fmla="*/ 372260 h 1253547"/>
                <a:gd name="connsiteX92" fmla="*/ 746182 w 3883389"/>
                <a:gd name="connsiteY92" fmla="*/ 346943 h 1253547"/>
                <a:gd name="connsiteX93" fmla="*/ 704375 w 3883389"/>
                <a:gd name="connsiteY93" fmla="*/ 346943 h 1253547"/>
                <a:gd name="connsiteX94" fmla="*/ 704375 w 3883389"/>
                <a:gd name="connsiteY94" fmla="*/ 321357 h 1253547"/>
                <a:gd name="connsiteX95" fmla="*/ 684741 w 3883389"/>
                <a:gd name="connsiteY95" fmla="*/ 321357 h 1253547"/>
                <a:gd name="connsiteX96" fmla="*/ 684741 w 3883389"/>
                <a:gd name="connsiteY96" fmla="*/ 295370 h 1253547"/>
                <a:gd name="connsiteX97" fmla="*/ 669991 w 3883389"/>
                <a:gd name="connsiteY97" fmla="*/ 295370 h 1253547"/>
                <a:gd name="connsiteX98" fmla="*/ 669991 w 3883389"/>
                <a:gd name="connsiteY98" fmla="*/ 268981 h 1253547"/>
                <a:gd name="connsiteX99" fmla="*/ 638050 w 3883389"/>
                <a:gd name="connsiteY99" fmla="*/ 268981 h 1253547"/>
                <a:gd name="connsiteX100" fmla="*/ 638050 w 3883389"/>
                <a:gd name="connsiteY100" fmla="*/ 242056 h 1253547"/>
                <a:gd name="connsiteX101" fmla="*/ 608648 w 3883389"/>
                <a:gd name="connsiteY101" fmla="*/ 242056 h 1253547"/>
                <a:gd name="connsiteX102" fmla="*/ 608648 w 3883389"/>
                <a:gd name="connsiteY102" fmla="*/ 214461 h 1253547"/>
                <a:gd name="connsiteX103" fmla="*/ 554630 w 3883389"/>
                <a:gd name="connsiteY103" fmla="*/ 214461 h 1253547"/>
                <a:gd name="connsiteX104" fmla="*/ 554630 w 3883389"/>
                <a:gd name="connsiteY104" fmla="*/ 186599 h 1253547"/>
                <a:gd name="connsiteX105" fmla="*/ 505595 w 3883389"/>
                <a:gd name="connsiteY105" fmla="*/ 186599 h 1253547"/>
                <a:gd name="connsiteX106" fmla="*/ 505595 w 3883389"/>
                <a:gd name="connsiteY106" fmla="*/ 157665 h 1253547"/>
                <a:gd name="connsiteX107" fmla="*/ 429502 w 3883389"/>
                <a:gd name="connsiteY107" fmla="*/ 157665 h 1253547"/>
                <a:gd name="connsiteX108" fmla="*/ 429502 w 3883389"/>
                <a:gd name="connsiteY108" fmla="*/ 127391 h 1253547"/>
                <a:gd name="connsiteX109" fmla="*/ 365716 w 3883389"/>
                <a:gd name="connsiteY109" fmla="*/ 127391 h 1253547"/>
                <a:gd name="connsiteX110" fmla="*/ 365716 w 3883389"/>
                <a:gd name="connsiteY110" fmla="*/ 94974 h 1253547"/>
                <a:gd name="connsiteX111" fmla="*/ 159512 w 3883389"/>
                <a:gd name="connsiteY111" fmla="*/ 94974 h 1253547"/>
                <a:gd name="connsiteX112" fmla="*/ 159512 w 3883389"/>
                <a:gd name="connsiteY112" fmla="*/ 59074 h 1253547"/>
                <a:gd name="connsiteX113" fmla="*/ 0 w 3883389"/>
                <a:gd name="connsiteY113" fmla="*/ 59074 h 1253547"/>
                <a:gd name="connsiteX114" fmla="*/ 0 w 3883389"/>
                <a:gd name="connsiteY114" fmla="*/ 27193 h 1253547"/>
                <a:gd name="connsiteX115" fmla="*/ 154238 w 3883389"/>
                <a:gd name="connsiteY115" fmla="*/ 27193 h 1253547"/>
                <a:gd name="connsiteX116" fmla="*/ 154238 w 3883389"/>
                <a:gd name="connsiteY116" fmla="*/ 40186 h 1253547"/>
                <a:gd name="connsiteX117" fmla="*/ 155801 w 3883389"/>
                <a:gd name="connsiteY117" fmla="*/ 45277 h 1253547"/>
                <a:gd name="connsiteX118" fmla="*/ 159512 w 3883389"/>
                <a:gd name="connsiteY118" fmla="*/ 47420 h 1253547"/>
                <a:gd name="connsiteX119" fmla="*/ 360441 w 3883389"/>
                <a:gd name="connsiteY119" fmla="*/ 47420 h 1253547"/>
                <a:gd name="connsiteX120" fmla="*/ 360441 w 3883389"/>
                <a:gd name="connsiteY120" fmla="*/ 60548 h 1253547"/>
                <a:gd name="connsiteX121" fmla="*/ 362004 w 3883389"/>
                <a:gd name="connsiteY121" fmla="*/ 65638 h 1253547"/>
                <a:gd name="connsiteX122" fmla="*/ 365716 w 3883389"/>
                <a:gd name="connsiteY122" fmla="*/ 67781 h 1253547"/>
                <a:gd name="connsiteX123" fmla="*/ 424325 w 3883389"/>
                <a:gd name="connsiteY123" fmla="*/ 67781 h 1253547"/>
                <a:gd name="connsiteX124" fmla="*/ 424325 w 3883389"/>
                <a:gd name="connsiteY124" fmla="*/ 81043 h 1253547"/>
                <a:gd name="connsiteX125" fmla="*/ 425887 w 3883389"/>
                <a:gd name="connsiteY125" fmla="*/ 86133 h 1253547"/>
                <a:gd name="connsiteX126" fmla="*/ 429599 w 3883389"/>
                <a:gd name="connsiteY126" fmla="*/ 88276 h 1253547"/>
                <a:gd name="connsiteX127" fmla="*/ 500515 w 3883389"/>
                <a:gd name="connsiteY127" fmla="*/ 88276 h 1253547"/>
                <a:gd name="connsiteX128" fmla="*/ 500515 w 3883389"/>
                <a:gd name="connsiteY128" fmla="*/ 101538 h 1253547"/>
                <a:gd name="connsiteX129" fmla="*/ 502078 w 3883389"/>
                <a:gd name="connsiteY129" fmla="*/ 106628 h 1253547"/>
                <a:gd name="connsiteX130" fmla="*/ 505790 w 3883389"/>
                <a:gd name="connsiteY130" fmla="*/ 108771 h 1253547"/>
                <a:gd name="connsiteX131" fmla="*/ 549649 w 3883389"/>
                <a:gd name="connsiteY131" fmla="*/ 108771 h 1253547"/>
                <a:gd name="connsiteX132" fmla="*/ 549649 w 3883389"/>
                <a:gd name="connsiteY132" fmla="*/ 122033 h 1253547"/>
                <a:gd name="connsiteX133" fmla="*/ 551212 w 3883389"/>
                <a:gd name="connsiteY133" fmla="*/ 127123 h 1253547"/>
                <a:gd name="connsiteX134" fmla="*/ 554924 w 3883389"/>
                <a:gd name="connsiteY134" fmla="*/ 129266 h 1253547"/>
                <a:gd name="connsiteX135" fmla="*/ 603666 w 3883389"/>
                <a:gd name="connsiteY135" fmla="*/ 129266 h 1253547"/>
                <a:gd name="connsiteX136" fmla="*/ 603666 w 3883389"/>
                <a:gd name="connsiteY136" fmla="*/ 142662 h 1253547"/>
                <a:gd name="connsiteX137" fmla="*/ 605229 w 3883389"/>
                <a:gd name="connsiteY137" fmla="*/ 147752 h 1253547"/>
                <a:gd name="connsiteX138" fmla="*/ 608941 w 3883389"/>
                <a:gd name="connsiteY138" fmla="*/ 149895 h 1253547"/>
                <a:gd name="connsiteX139" fmla="*/ 633166 w 3883389"/>
                <a:gd name="connsiteY139" fmla="*/ 149895 h 1253547"/>
                <a:gd name="connsiteX140" fmla="*/ 633166 w 3883389"/>
                <a:gd name="connsiteY140" fmla="*/ 163291 h 1253547"/>
                <a:gd name="connsiteX141" fmla="*/ 634729 w 3883389"/>
                <a:gd name="connsiteY141" fmla="*/ 168381 h 1253547"/>
                <a:gd name="connsiteX142" fmla="*/ 638440 w 3883389"/>
                <a:gd name="connsiteY142" fmla="*/ 170524 h 1253547"/>
                <a:gd name="connsiteX143" fmla="*/ 665107 w 3883389"/>
                <a:gd name="connsiteY143" fmla="*/ 170524 h 1253547"/>
                <a:gd name="connsiteX144" fmla="*/ 665107 w 3883389"/>
                <a:gd name="connsiteY144" fmla="*/ 183920 h 1253547"/>
                <a:gd name="connsiteX145" fmla="*/ 666670 w 3883389"/>
                <a:gd name="connsiteY145" fmla="*/ 189010 h 1253547"/>
                <a:gd name="connsiteX146" fmla="*/ 670382 w 3883389"/>
                <a:gd name="connsiteY146" fmla="*/ 191153 h 1253547"/>
                <a:gd name="connsiteX147" fmla="*/ 679857 w 3883389"/>
                <a:gd name="connsiteY147" fmla="*/ 191153 h 1253547"/>
                <a:gd name="connsiteX148" fmla="*/ 679857 w 3883389"/>
                <a:gd name="connsiteY148" fmla="*/ 204683 h 1253547"/>
                <a:gd name="connsiteX149" fmla="*/ 681420 w 3883389"/>
                <a:gd name="connsiteY149" fmla="*/ 209773 h 1253547"/>
                <a:gd name="connsiteX150" fmla="*/ 685132 w 3883389"/>
                <a:gd name="connsiteY150" fmla="*/ 211916 h 1253547"/>
                <a:gd name="connsiteX151" fmla="*/ 699491 w 3883389"/>
                <a:gd name="connsiteY151" fmla="*/ 211916 h 1253547"/>
                <a:gd name="connsiteX152" fmla="*/ 699491 w 3883389"/>
                <a:gd name="connsiteY152" fmla="*/ 225312 h 1253547"/>
                <a:gd name="connsiteX153" fmla="*/ 701054 w 3883389"/>
                <a:gd name="connsiteY153" fmla="*/ 230402 h 1253547"/>
                <a:gd name="connsiteX154" fmla="*/ 704766 w 3883389"/>
                <a:gd name="connsiteY154" fmla="*/ 232545 h 1253547"/>
                <a:gd name="connsiteX155" fmla="*/ 741298 w 3883389"/>
                <a:gd name="connsiteY155" fmla="*/ 232545 h 1253547"/>
                <a:gd name="connsiteX156" fmla="*/ 741298 w 3883389"/>
                <a:gd name="connsiteY156" fmla="*/ 245941 h 1253547"/>
                <a:gd name="connsiteX157" fmla="*/ 742861 w 3883389"/>
                <a:gd name="connsiteY157" fmla="*/ 251031 h 1253547"/>
                <a:gd name="connsiteX158" fmla="*/ 746573 w 3883389"/>
                <a:gd name="connsiteY158" fmla="*/ 253174 h 1253547"/>
                <a:gd name="connsiteX159" fmla="*/ 763374 w 3883389"/>
                <a:gd name="connsiteY159" fmla="*/ 253174 h 1253547"/>
                <a:gd name="connsiteX160" fmla="*/ 763374 w 3883389"/>
                <a:gd name="connsiteY160" fmla="*/ 266704 h 1253547"/>
                <a:gd name="connsiteX161" fmla="*/ 764937 w 3883389"/>
                <a:gd name="connsiteY161" fmla="*/ 271794 h 1253547"/>
                <a:gd name="connsiteX162" fmla="*/ 768649 w 3883389"/>
                <a:gd name="connsiteY162" fmla="*/ 273937 h 1253547"/>
                <a:gd name="connsiteX163" fmla="*/ 787989 w 3883389"/>
                <a:gd name="connsiteY163" fmla="*/ 273937 h 1253547"/>
                <a:gd name="connsiteX164" fmla="*/ 787989 w 3883389"/>
                <a:gd name="connsiteY164" fmla="*/ 287601 h 1253547"/>
                <a:gd name="connsiteX165" fmla="*/ 789552 w 3883389"/>
                <a:gd name="connsiteY165" fmla="*/ 292691 h 1253547"/>
                <a:gd name="connsiteX166" fmla="*/ 793264 w 3883389"/>
                <a:gd name="connsiteY166" fmla="*/ 294834 h 1253547"/>
                <a:gd name="connsiteX167" fmla="*/ 819931 w 3883389"/>
                <a:gd name="connsiteY167" fmla="*/ 294834 h 1253547"/>
                <a:gd name="connsiteX168" fmla="*/ 819931 w 3883389"/>
                <a:gd name="connsiteY168" fmla="*/ 308498 h 1253547"/>
                <a:gd name="connsiteX169" fmla="*/ 821494 w 3883389"/>
                <a:gd name="connsiteY169" fmla="*/ 313588 h 1253547"/>
                <a:gd name="connsiteX170" fmla="*/ 825206 w 3883389"/>
                <a:gd name="connsiteY170" fmla="*/ 315731 h 1253547"/>
                <a:gd name="connsiteX171" fmla="*/ 893582 w 3883389"/>
                <a:gd name="connsiteY171" fmla="*/ 315731 h 1253547"/>
                <a:gd name="connsiteX172" fmla="*/ 893582 w 3883389"/>
                <a:gd name="connsiteY172" fmla="*/ 329395 h 1253547"/>
                <a:gd name="connsiteX173" fmla="*/ 895145 w 3883389"/>
                <a:gd name="connsiteY173" fmla="*/ 334485 h 1253547"/>
                <a:gd name="connsiteX174" fmla="*/ 898857 w 3883389"/>
                <a:gd name="connsiteY174" fmla="*/ 336628 h 1253547"/>
                <a:gd name="connsiteX175" fmla="*/ 996733 w 3883389"/>
                <a:gd name="connsiteY175" fmla="*/ 336628 h 1253547"/>
                <a:gd name="connsiteX176" fmla="*/ 996733 w 3883389"/>
                <a:gd name="connsiteY176" fmla="*/ 350291 h 1253547"/>
                <a:gd name="connsiteX177" fmla="*/ 998296 w 3883389"/>
                <a:gd name="connsiteY177" fmla="*/ 355382 h 1253547"/>
                <a:gd name="connsiteX178" fmla="*/ 1002008 w 3883389"/>
                <a:gd name="connsiteY178" fmla="*/ 357525 h 1253547"/>
                <a:gd name="connsiteX179" fmla="*/ 1009041 w 3883389"/>
                <a:gd name="connsiteY179" fmla="*/ 357525 h 1253547"/>
                <a:gd name="connsiteX180" fmla="*/ 1009041 w 3883389"/>
                <a:gd name="connsiteY180" fmla="*/ 371188 h 1253547"/>
                <a:gd name="connsiteX181" fmla="*/ 1010604 w 3883389"/>
                <a:gd name="connsiteY181" fmla="*/ 376279 h 1253547"/>
                <a:gd name="connsiteX182" fmla="*/ 1014315 w 3883389"/>
                <a:gd name="connsiteY182" fmla="*/ 378422 h 1253547"/>
                <a:gd name="connsiteX183" fmla="*/ 1028772 w 3883389"/>
                <a:gd name="connsiteY183" fmla="*/ 378422 h 1253547"/>
                <a:gd name="connsiteX184" fmla="*/ 1028772 w 3883389"/>
                <a:gd name="connsiteY184" fmla="*/ 412848 h 1253547"/>
                <a:gd name="connsiteX185" fmla="*/ 1030335 w 3883389"/>
                <a:gd name="connsiteY185" fmla="*/ 417939 h 1253547"/>
                <a:gd name="connsiteX186" fmla="*/ 1034047 w 3883389"/>
                <a:gd name="connsiteY186" fmla="*/ 420082 h 1253547"/>
                <a:gd name="connsiteX187" fmla="*/ 1087674 w 3883389"/>
                <a:gd name="connsiteY187" fmla="*/ 420082 h 1253547"/>
                <a:gd name="connsiteX188" fmla="*/ 1087674 w 3883389"/>
                <a:gd name="connsiteY188" fmla="*/ 433745 h 1253547"/>
                <a:gd name="connsiteX189" fmla="*/ 1089236 w 3883389"/>
                <a:gd name="connsiteY189" fmla="*/ 438835 h 1253547"/>
                <a:gd name="connsiteX190" fmla="*/ 1092948 w 3883389"/>
                <a:gd name="connsiteY190" fmla="*/ 440979 h 1253547"/>
                <a:gd name="connsiteX191" fmla="*/ 1107405 w 3883389"/>
                <a:gd name="connsiteY191" fmla="*/ 440979 h 1253547"/>
                <a:gd name="connsiteX192" fmla="*/ 1107405 w 3883389"/>
                <a:gd name="connsiteY192" fmla="*/ 475405 h 1253547"/>
                <a:gd name="connsiteX193" fmla="*/ 1108968 w 3883389"/>
                <a:gd name="connsiteY193" fmla="*/ 480495 h 1253547"/>
                <a:gd name="connsiteX194" fmla="*/ 1112289 w 3883389"/>
                <a:gd name="connsiteY194" fmla="*/ 482639 h 1253547"/>
                <a:gd name="connsiteX195" fmla="*/ 1112289 w 3883389"/>
                <a:gd name="connsiteY195" fmla="*/ 496302 h 1253547"/>
                <a:gd name="connsiteX196" fmla="*/ 1113852 w 3883389"/>
                <a:gd name="connsiteY196" fmla="*/ 501392 h 1253547"/>
                <a:gd name="connsiteX197" fmla="*/ 1117564 w 3883389"/>
                <a:gd name="connsiteY197" fmla="*/ 503536 h 1253547"/>
                <a:gd name="connsiteX198" fmla="*/ 1124597 w 3883389"/>
                <a:gd name="connsiteY198" fmla="*/ 503536 h 1253547"/>
                <a:gd name="connsiteX199" fmla="*/ 1124597 w 3883389"/>
                <a:gd name="connsiteY199" fmla="*/ 517199 h 1253547"/>
                <a:gd name="connsiteX200" fmla="*/ 1126160 w 3883389"/>
                <a:gd name="connsiteY200" fmla="*/ 522289 h 1253547"/>
                <a:gd name="connsiteX201" fmla="*/ 1129871 w 3883389"/>
                <a:gd name="connsiteY201" fmla="*/ 524433 h 1253547"/>
                <a:gd name="connsiteX202" fmla="*/ 1134462 w 3883389"/>
                <a:gd name="connsiteY202" fmla="*/ 524433 h 1253547"/>
                <a:gd name="connsiteX203" fmla="*/ 1134462 w 3883389"/>
                <a:gd name="connsiteY203" fmla="*/ 558859 h 1253547"/>
                <a:gd name="connsiteX204" fmla="*/ 1136025 w 3883389"/>
                <a:gd name="connsiteY204" fmla="*/ 563949 h 1253547"/>
                <a:gd name="connsiteX205" fmla="*/ 1139737 w 3883389"/>
                <a:gd name="connsiteY205" fmla="*/ 566092 h 1253547"/>
                <a:gd name="connsiteX206" fmla="*/ 1257247 w 3883389"/>
                <a:gd name="connsiteY206" fmla="*/ 566092 h 1253547"/>
                <a:gd name="connsiteX207" fmla="*/ 1257247 w 3883389"/>
                <a:gd name="connsiteY207" fmla="*/ 580024 h 1253547"/>
                <a:gd name="connsiteX208" fmla="*/ 1258810 w 3883389"/>
                <a:gd name="connsiteY208" fmla="*/ 585114 h 1253547"/>
                <a:gd name="connsiteX209" fmla="*/ 1262522 w 3883389"/>
                <a:gd name="connsiteY209" fmla="*/ 587257 h 1253547"/>
                <a:gd name="connsiteX210" fmla="*/ 1284305 w 3883389"/>
                <a:gd name="connsiteY210" fmla="*/ 587257 h 1253547"/>
                <a:gd name="connsiteX211" fmla="*/ 1284305 w 3883389"/>
                <a:gd name="connsiteY211" fmla="*/ 601189 h 1253547"/>
                <a:gd name="connsiteX212" fmla="*/ 1285867 w 3883389"/>
                <a:gd name="connsiteY212" fmla="*/ 606279 h 1253547"/>
                <a:gd name="connsiteX213" fmla="*/ 1286747 w 3883389"/>
                <a:gd name="connsiteY213" fmla="*/ 607351 h 1253547"/>
                <a:gd name="connsiteX214" fmla="*/ 1286747 w 3883389"/>
                <a:gd name="connsiteY214" fmla="*/ 622353 h 1253547"/>
                <a:gd name="connsiteX215" fmla="*/ 1288309 w 3883389"/>
                <a:gd name="connsiteY215" fmla="*/ 627444 h 1253547"/>
                <a:gd name="connsiteX216" fmla="*/ 1292021 w 3883389"/>
                <a:gd name="connsiteY216" fmla="*/ 629587 h 1253547"/>
                <a:gd name="connsiteX217" fmla="*/ 1382474 w 3883389"/>
                <a:gd name="connsiteY217" fmla="*/ 629587 h 1253547"/>
                <a:gd name="connsiteX218" fmla="*/ 1382474 w 3883389"/>
                <a:gd name="connsiteY218" fmla="*/ 643518 h 1253547"/>
                <a:gd name="connsiteX219" fmla="*/ 1384036 w 3883389"/>
                <a:gd name="connsiteY219" fmla="*/ 648609 h 1253547"/>
                <a:gd name="connsiteX220" fmla="*/ 1387748 w 3883389"/>
                <a:gd name="connsiteY220" fmla="*/ 650752 h 1253547"/>
                <a:gd name="connsiteX221" fmla="*/ 1564159 w 3883389"/>
                <a:gd name="connsiteY221" fmla="*/ 650752 h 1253547"/>
                <a:gd name="connsiteX222" fmla="*/ 1564159 w 3883389"/>
                <a:gd name="connsiteY222" fmla="*/ 664683 h 1253547"/>
                <a:gd name="connsiteX223" fmla="*/ 1565722 w 3883389"/>
                <a:gd name="connsiteY223" fmla="*/ 669773 h 1253547"/>
                <a:gd name="connsiteX224" fmla="*/ 1569434 w 3883389"/>
                <a:gd name="connsiteY224" fmla="*/ 671917 h 1253547"/>
                <a:gd name="connsiteX225" fmla="*/ 1578909 w 3883389"/>
                <a:gd name="connsiteY225" fmla="*/ 671917 h 1253547"/>
                <a:gd name="connsiteX226" fmla="*/ 1578909 w 3883389"/>
                <a:gd name="connsiteY226" fmla="*/ 685848 h 1253547"/>
                <a:gd name="connsiteX227" fmla="*/ 1580472 w 3883389"/>
                <a:gd name="connsiteY227" fmla="*/ 690938 h 1253547"/>
                <a:gd name="connsiteX228" fmla="*/ 1584184 w 3883389"/>
                <a:gd name="connsiteY228" fmla="*/ 693081 h 1253547"/>
                <a:gd name="connsiteX229" fmla="*/ 1625601 w 3883389"/>
                <a:gd name="connsiteY229" fmla="*/ 693081 h 1253547"/>
                <a:gd name="connsiteX230" fmla="*/ 1625601 w 3883389"/>
                <a:gd name="connsiteY230" fmla="*/ 707013 h 1253547"/>
                <a:gd name="connsiteX231" fmla="*/ 1627163 w 3883389"/>
                <a:gd name="connsiteY231" fmla="*/ 712103 h 1253547"/>
                <a:gd name="connsiteX232" fmla="*/ 1630875 w 3883389"/>
                <a:gd name="connsiteY232" fmla="*/ 714246 h 1253547"/>
                <a:gd name="connsiteX233" fmla="*/ 1723770 w 3883389"/>
                <a:gd name="connsiteY233" fmla="*/ 714246 h 1253547"/>
                <a:gd name="connsiteX234" fmla="*/ 1723770 w 3883389"/>
                <a:gd name="connsiteY234" fmla="*/ 728178 h 1253547"/>
                <a:gd name="connsiteX235" fmla="*/ 1725332 w 3883389"/>
                <a:gd name="connsiteY235" fmla="*/ 733268 h 1253547"/>
                <a:gd name="connsiteX236" fmla="*/ 1729044 w 3883389"/>
                <a:gd name="connsiteY236" fmla="*/ 735411 h 1253547"/>
                <a:gd name="connsiteX237" fmla="*/ 1772903 w 3883389"/>
                <a:gd name="connsiteY237" fmla="*/ 735411 h 1253547"/>
                <a:gd name="connsiteX238" fmla="*/ 1772903 w 3883389"/>
                <a:gd name="connsiteY238" fmla="*/ 749342 h 1253547"/>
                <a:gd name="connsiteX239" fmla="*/ 1774466 w 3883389"/>
                <a:gd name="connsiteY239" fmla="*/ 754433 h 1253547"/>
                <a:gd name="connsiteX240" fmla="*/ 1778178 w 3883389"/>
                <a:gd name="connsiteY240" fmla="*/ 756576 h 1253547"/>
                <a:gd name="connsiteX241" fmla="*/ 1797421 w 3883389"/>
                <a:gd name="connsiteY241" fmla="*/ 756576 h 1253547"/>
                <a:gd name="connsiteX242" fmla="*/ 1797421 w 3883389"/>
                <a:gd name="connsiteY242" fmla="*/ 770507 h 1253547"/>
                <a:gd name="connsiteX243" fmla="*/ 1798984 w 3883389"/>
                <a:gd name="connsiteY243" fmla="*/ 775598 h 1253547"/>
                <a:gd name="connsiteX244" fmla="*/ 1802695 w 3883389"/>
                <a:gd name="connsiteY244" fmla="*/ 777741 h 1253547"/>
                <a:gd name="connsiteX245" fmla="*/ 2074834 w 3883389"/>
                <a:gd name="connsiteY245" fmla="*/ 777741 h 1253547"/>
                <a:gd name="connsiteX246" fmla="*/ 2074834 w 3883389"/>
                <a:gd name="connsiteY246" fmla="*/ 792878 h 1253547"/>
                <a:gd name="connsiteX247" fmla="*/ 2076397 w 3883389"/>
                <a:gd name="connsiteY247" fmla="*/ 797968 h 1253547"/>
                <a:gd name="connsiteX248" fmla="*/ 2080108 w 3883389"/>
                <a:gd name="connsiteY248" fmla="*/ 800111 h 1253547"/>
                <a:gd name="connsiteX249" fmla="*/ 2096909 w 3883389"/>
                <a:gd name="connsiteY249" fmla="*/ 800111 h 1253547"/>
                <a:gd name="connsiteX250" fmla="*/ 2096909 w 3883389"/>
                <a:gd name="connsiteY250" fmla="*/ 815248 h 1253547"/>
                <a:gd name="connsiteX251" fmla="*/ 2098472 w 3883389"/>
                <a:gd name="connsiteY251" fmla="*/ 820338 h 1253547"/>
                <a:gd name="connsiteX252" fmla="*/ 2102184 w 3883389"/>
                <a:gd name="connsiteY252" fmla="*/ 822482 h 1253547"/>
                <a:gd name="connsiteX253" fmla="*/ 2128851 w 3883389"/>
                <a:gd name="connsiteY253" fmla="*/ 822482 h 1253547"/>
                <a:gd name="connsiteX254" fmla="*/ 2128851 w 3883389"/>
                <a:gd name="connsiteY254" fmla="*/ 837619 h 1253547"/>
                <a:gd name="connsiteX255" fmla="*/ 2130414 w 3883389"/>
                <a:gd name="connsiteY255" fmla="*/ 842709 h 1253547"/>
                <a:gd name="connsiteX256" fmla="*/ 2134126 w 3883389"/>
                <a:gd name="connsiteY256" fmla="*/ 844852 h 1253547"/>
                <a:gd name="connsiteX257" fmla="*/ 2141159 w 3883389"/>
                <a:gd name="connsiteY257" fmla="*/ 844852 h 1253547"/>
                <a:gd name="connsiteX258" fmla="*/ 2141159 w 3883389"/>
                <a:gd name="connsiteY258" fmla="*/ 860123 h 1253547"/>
                <a:gd name="connsiteX259" fmla="*/ 2142722 w 3883389"/>
                <a:gd name="connsiteY259" fmla="*/ 865213 h 1253547"/>
                <a:gd name="connsiteX260" fmla="*/ 2146434 w 3883389"/>
                <a:gd name="connsiteY260" fmla="*/ 867356 h 1253547"/>
                <a:gd name="connsiteX261" fmla="*/ 2300769 w 3883389"/>
                <a:gd name="connsiteY261" fmla="*/ 867356 h 1253547"/>
                <a:gd name="connsiteX262" fmla="*/ 2300769 w 3883389"/>
                <a:gd name="connsiteY262" fmla="*/ 882493 h 1253547"/>
                <a:gd name="connsiteX263" fmla="*/ 2302332 w 3883389"/>
                <a:gd name="connsiteY263" fmla="*/ 887584 h 1253547"/>
                <a:gd name="connsiteX264" fmla="*/ 2306044 w 3883389"/>
                <a:gd name="connsiteY264" fmla="*/ 889727 h 1253547"/>
                <a:gd name="connsiteX265" fmla="*/ 2337594 w 3883389"/>
                <a:gd name="connsiteY265" fmla="*/ 889727 h 1253547"/>
                <a:gd name="connsiteX266" fmla="*/ 2337594 w 3883389"/>
                <a:gd name="connsiteY266" fmla="*/ 904998 h 1253547"/>
                <a:gd name="connsiteX267" fmla="*/ 2339157 w 3883389"/>
                <a:gd name="connsiteY267" fmla="*/ 910088 h 1253547"/>
                <a:gd name="connsiteX268" fmla="*/ 2342869 w 3883389"/>
                <a:gd name="connsiteY268" fmla="*/ 912231 h 1253547"/>
                <a:gd name="connsiteX269" fmla="*/ 2391612 w 3883389"/>
                <a:gd name="connsiteY269" fmla="*/ 912231 h 1253547"/>
                <a:gd name="connsiteX270" fmla="*/ 2391612 w 3883389"/>
                <a:gd name="connsiteY270" fmla="*/ 927770 h 1253547"/>
                <a:gd name="connsiteX271" fmla="*/ 2393175 w 3883389"/>
                <a:gd name="connsiteY271" fmla="*/ 932860 h 1253547"/>
                <a:gd name="connsiteX272" fmla="*/ 2396887 w 3883389"/>
                <a:gd name="connsiteY272" fmla="*/ 935004 h 1253547"/>
                <a:gd name="connsiteX273" fmla="*/ 2457937 w 3883389"/>
                <a:gd name="connsiteY273" fmla="*/ 935004 h 1253547"/>
                <a:gd name="connsiteX274" fmla="*/ 2457937 w 3883389"/>
                <a:gd name="connsiteY274" fmla="*/ 951346 h 1253547"/>
                <a:gd name="connsiteX275" fmla="*/ 2459500 w 3883389"/>
                <a:gd name="connsiteY275" fmla="*/ 956436 h 1253547"/>
                <a:gd name="connsiteX276" fmla="*/ 2463212 w 3883389"/>
                <a:gd name="connsiteY276" fmla="*/ 958580 h 1253547"/>
                <a:gd name="connsiteX277" fmla="*/ 2489878 w 3883389"/>
                <a:gd name="connsiteY277" fmla="*/ 958580 h 1253547"/>
                <a:gd name="connsiteX278" fmla="*/ 2489878 w 3883389"/>
                <a:gd name="connsiteY278" fmla="*/ 974922 h 1253547"/>
                <a:gd name="connsiteX279" fmla="*/ 2491441 w 3883389"/>
                <a:gd name="connsiteY279" fmla="*/ 980012 h 1253547"/>
                <a:gd name="connsiteX280" fmla="*/ 2495153 w 3883389"/>
                <a:gd name="connsiteY280" fmla="*/ 982156 h 1253547"/>
                <a:gd name="connsiteX281" fmla="*/ 2661699 w 3883389"/>
                <a:gd name="connsiteY281" fmla="*/ 982156 h 1253547"/>
                <a:gd name="connsiteX282" fmla="*/ 2661699 w 3883389"/>
                <a:gd name="connsiteY282" fmla="*/ 999034 h 1253547"/>
                <a:gd name="connsiteX283" fmla="*/ 2663262 w 3883389"/>
                <a:gd name="connsiteY283" fmla="*/ 1004124 h 1253547"/>
                <a:gd name="connsiteX284" fmla="*/ 2666973 w 3883389"/>
                <a:gd name="connsiteY284" fmla="*/ 1006267 h 1253547"/>
                <a:gd name="connsiteX285" fmla="*/ 3098624 w 3883389"/>
                <a:gd name="connsiteY285" fmla="*/ 1006267 h 1253547"/>
                <a:gd name="connsiteX286" fmla="*/ 3098624 w 3883389"/>
                <a:gd name="connsiteY286" fmla="*/ 1026361 h 1253547"/>
                <a:gd name="connsiteX287" fmla="*/ 3100187 w 3883389"/>
                <a:gd name="connsiteY287" fmla="*/ 1031451 h 1253547"/>
                <a:gd name="connsiteX288" fmla="*/ 3103899 w 3883389"/>
                <a:gd name="connsiteY288" fmla="*/ 1033594 h 1253547"/>
                <a:gd name="connsiteX289" fmla="*/ 3206659 w 3883389"/>
                <a:gd name="connsiteY289" fmla="*/ 1033594 h 1253547"/>
                <a:gd name="connsiteX290" fmla="*/ 3206659 w 3883389"/>
                <a:gd name="connsiteY290" fmla="*/ 1057170 h 1253547"/>
                <a:gd name="connsiteX291" fmla="*/ 3208222 w 3883389"/>
                <a:gd name="connsiteY291" fmla="*/ 1062261 h 1253547"/>
                <a:gd name="connsiteX292" fmla="*/ 3211934 w 3883389"/>
                <a:gd name="connsiteY292" fmla="*/ 1064404 h 1253547"/>
                <a:gd name="connsiteX293" fmla="*/ 3883390 w 3883389"/>
                <a:gd name="connsiteY293" fmla="*/ 1064404 h 1253547"/>
                <a:gd name="connsiteX294" fmla="*/ 3883390 w 3883389"/>
                <a:gd name="connsiteY294" fmla="*/ 1050071 h 1253547"/>
                <a:gd name="connsiteX295" fmla="*/ 3217208 w 3883389"/>
                <a:gd name="connsiteY295" fmla="*/ 1050071 h 1253547"/>
                <a:gd name="connsiteX296" fmla="*/ 3217208 w 3883389"/>
                <a:gd name="connsiteY296" fmla="*/ 1026495 h 1253547"/>
                <a:gd name="connsiteX297" fmla="*/ 3215645 w 3883389"/>
                <a:gd name="connsiteY297" fmla="*/ 1021404 h 1253547"/>
                <a:gd name="connsiteX298" fmla="*/ 3211934 w 3883389"/>
                <a:gd name="connsiteY298" fmla="*/ 1019261 h 1253547"/>
                <a:gd name="connsiteX299" fmla="*/ 3109174 w 3883389"/>
                <a:gd name="connsiteY299" fmla="*/ 1019261 h 1253547"/>
                <a:gd name="connsiteX300" fmla="*/ 3109174 w 3883389"/>
                <a:gd name="connsiteY300" fmla="*/ 999168 h 1253547"/>
                <a:gd name="connsiteX301" fmla="*/ 3107611 w 3883389"/>
                <a:gd name="connsiteY301" fmla="*/ 994078 h 1253547"/>
                <a:gd name="connsiteX302" fmla="*/ 3103899 w 3883389"/>
                <a:gd name="connsiteY302" fmla="*/ 991934 h 1253547"/>
                <a:gd name="connsiteX303" fmla="*/ 2672248 w 3883389"/>
                <a:gd name="connsiteY303" fmla="*/ 991934 h 1253547"/>
                <a:gd name="connsiteX304" fmla="*/ 2672248 w 3883389"/>
                <a:gd name="connsiteY304" fmla="*/ 975056 h 1253547"/>
                <a:gd name="connsiteX305" fmla="*/ 2670685 w 3883389"/>
                <a:gd name="connsiteY305" fmla="*/ 969966 h 1253547"/>
                <a:gd name="connsiteX306" fmla="*/ 2666973 w 3883389"/>
                <a:gd name="connsiteY306" fmla="*/ 967822 h 1253547"/>
                <a:gd name="connsiteX307" fmla="*/ 2500428 w 3883389"/>
                <a:gd name="connsiteY307" fmla="*/ 967822 h 1253547"/>
                <a:gd name="connsiteX308" fmla="*/ 2500428 w 3883389"/>
                <a:gd name="connsiteY308" fmla="*/ 951480 h 1253547"/>
                <a:gd name="connsiteX309" fmla="*/ 2498865 w 3883389"/>
                <a:gd name="connsiteY309" fmla="*/ 946390 h 1253547"/>
                <a:gd name="connsiteX310" fmla="*/ 2495153 w 3883389"/>
                <a:gd name="connsiteY310" fmla="*/ 944247 h 1253547"/>
                <a:gd name="connsiteX311" fmla="*/ 2468486 w 3883389"/>
                <a:gd name="connsiteY311" fmla="*/ 944247 h 1253547"/>
                <a:gd name="connsiteX312" fmla="*/ 2468486 w 3883389"/>
                <a:gd name="connsiteY312" fmla="*/ 927904 h 1253547"/>
                <a:gd name="connsiteX313" fmla="*/ 2466924 w 3883389"/>
                <a:gd name="connsiteY313" fmla="*/ 922814 h 1253547"/>
                <a:gd name="connsiteX314" fmla="*/ 2463212 w 3883389"/>
                <a:gd name="connsiteY314" fmla="*/ 920670 h 1253547"/>
                <a:gd name="connsiteX315" fmla="*/ 2402161 w 3883389"/>
                <a:gd name="connsiteY315" fmla="*/ 920670 h 1253547"/>
                <a:gd name="connsiteX316" fmla="*/ 2402161 w 3883389"/>
                <a:gd name="connsiteY316" fmla="*/ 905132 h 1253547"/>
                <a:gd name="connsiteX317" fmla="*/ 2400599 w 3883389"/>
                <a:gd name="connsiteY317" fmla="*/ 900041 h 1253547"/>
                <a:gd name="connsiteX318" fmla="*/ 2396887 w 3883389"/>
                <a:gd name="connsiteY318" fmla="*/ 897898 h 1253547"/>
                <a:gd name="connsiteX319" fmla="*/ 2348144 w 3883389"/>
                <a:gd name="connsiteY319" fmla="*/ 897898 h 1253547"/>
                <a:gd name="connsiteX320" fmla="*/ 2348144 w 3883389"/>
                <a:gd name="connsiteY320" fmla="*/ 882627 h 1253547"/>
                <a:gd name="connsiteX321" fmla="*/ 2346581 w 3883389"/>
                <a:gd name="connsiteY321" fmla="*/ 877537 h 1253547"/>
                <a:gd name="connsiteX322" fmla="*/ 2342869 w 3883389"/>
                <a:gd name="connsiteY322" fmla="*/ 875394 h 1253547"/>
                <a:gd name="connsiteX323" fmla="*/ 2311318 w 3883389"/>
                <a:gd name="connsiteY323" fmla="*/ 875394 h 1253547"/>
                <a:gd name="connsiteX324" fmla="*/ 2311318 w 3883389"/>
                <a:gd name="connsiteY324" fmla="*/ 860257 h 1253547"/>
                <a:gd name="connsiteX325" fmla="*/ 2309755 w 3883389"/>
                <a:gd name="connsiteY325" fmla="*/ 855167 h 1253547"/>
                <a:gd name="connsiteX326" fmla="*/ 2306044 w 3883389"/>
                <a:gd name="connsiteY326" fmla="*/ 853023 h 1253547"/>
                <a:gd name="connsiteX327" fmla="*/ 2151708 w 3883389"/>
                <a:gd name="connsiteY327" fmla="*/ 853023 h 1253547"/>
                <a:gd name="connsiteX328" fmla="*/ 2151708 w 3883389"/>
                <a:gd name="connsiteY328" fmla="*/ 837752 h 1253547"/>
                <a:gd name="connsiteX329" fmla="*/ 2150146 w 3883389"/>
                <a:gd name="connsiteY329" fmla="*/ 832662 h 1253547"/>
                <a:gd name="connsiteX330" fmla="*/ 2146434 w 3883389"/>
                <a:gd name="connsiteY330" fmla="*/ 830519 h 1253547"/>
                <a:gd name="connsiteX331" fmla="*/ 2139498 w 3883389"/>
                <a:gd name="connsiteY331" fmla="*/ 830519 h 1253547"/>
                <a:gd name="connsiteX332" fmla="*/ 2139498 w 3883389"/>
                <a:gd name="connsiteY332" fmla="*/ 815382 h 1253547"/>
                <a:gd name="connsiteX333" fmla="*/ 2137935 w 3883389"/>
                <a:gd name="connsiteY333" fmla="*/ 810292 h 1253547"/>
                <a:gd name="connsiteX334" fmla="*/ 2134224 w 3883389"/>
                <a:gd name="connsiteY334" fmla="*/ 808149 h 1253547"/>
                <a:gd name="connsiteX335" fmla="*/ 2107557 w 3883389"/>
                <a:gd name="connsiteY335" fmla="*/ 808149 h 1253547"/>
                <a:gd name="connsiteX336" fmla="*/ 2107557 w 3883389"/>
                <a:gd name="connsiteY336" fmla="*/ 793012 h 1253547"/>
                <a:gd name="connsiteX337" fmla="*/ 2105994 w 3883389"/>
                <a:gd name="connsiteY337" fmla="*/ 787921 h 1253547"/>
                <a:gd name="connsiteX338" fmla="*/ 2102282 w 3883389"/>
                <a:gd name="connsiteY338" fmla="*/ 785778 h 1253547"/>
                <a:gd name="connsiteX339" fmla="*/ 2085481 w 3883389"/>
                <a:gd name="connsiteY339" fmla="*/ 785778 h 1253547"/>
                <a:gd name="connsiteX340" fmla="*/ 2085481 w 3883389"/>
                <a:gd name="connsiteY340" fmla="*/ 770641 h 1253547"/>
                <a:gd name="connsiteX341" fmla="*/ 2083918 w 3883389"/>
                <a:gd name="connsiteY341" fmla="*/ 765551 h 1253547"/>
                <a:gd name="connsiteX342" fmla="*/ 2080206 w 3883389"/>
                <a:gd name="connsiteY342" fmla="*/ 763408 h 1253547"/>
                <a:gd name="connsiteX343" fmla="*/ 1808068 w 3883389"/>
                <a:gd name="connsiteY343" fmla="*/ 763408 h 1253547"/>
                <a:gd name="connsiteX344" fmla="*/ 1808068 w 3883389"/>
                <a:gd name="connsiteY344" fmla="*/ 749476 h 1253547"/>
                <a:gd name="connsiteX345" fmla="*/ 1806505 w 3883389"/>
                <a:gd name="connsiteY345" fmla="*/ 744386 h 1253547"/>
                <a:gd name="connsiteX346" fmla="*/ 1802793 w 3883389"/>
                <a:gd name="connsiteY346" fmla="*/ 742243 h 1253547"/>
                <a:gd name="connsiteX347" fmla="*/ 1783550 w 3883389"/>
                <a:gd name="connsiteY347" fmla="*/ 742243 h 1253547"/>
                <a:gd name="connsiteX348" fmla="*/ 1783550 w 3883389"/>
                <a:gd name="connsiteY348" fmla="*/ 728312 h 1253547"/>
                <a:gd name="connsiteX349" fmla="*/ 1781987 w 3883389"/>
                <a:gd name="connsiteY349" fmla="*/ 723221 h 1253547"/>
                <a:gd name="connsiteX350" fmla="*/ 1778275 w 3883389"/>
                <a:gd name="connsiteY350" fmla="*/ 721078 h 1253547"/>
                <a:gd name="connsiteX351" fmla="*/ 1734417 w 3883389"/>
                <a:gd name="connsiteY351" fmla="*/ 721078 h 1253547"/>
                <a:gd name="connsiteX352" fmla="*/ 1734417 w 3883389"/>
                <a:gd name="connsiteY352" fmla="*/ 707147 h 1253547"/>
                <a:gd name="connsiteX353" fmla="*/ 1732854 w 3883389"/>
                <a:gd name="connsiteY353" fmla="*/ 702056 h 1253547"/>
                <a:gd name="connsiteX354" fmla="*/ 1729142 w 3883389"/>
                <a:gd name="connsiteY354" fmla="*/ 699913 h 1253547"/>
                <a:gd name="connsiteX355" fmla="*/ 1636248 w 3883389"/>
                <a:gd name="connsiteY355" fmla="*/ 699913 h 1253547"/>
                <a:gd name="connsiteX356" fmla="*/ 1636248 w 3883389"/>
                <a:gd name="connsiteY356" fmla="*/ 685982 h 1253547"/>
                <a:gd name="connsiteX357" fmla="*/ 1634685 w 3883389"/>
                <a:gd name="connsiteY357" fmla="*/ 680892 h 1253547"/>
                <a:gd name="connsiteX358" fmla="*/ 1630973 w 3883389"/>
                <a:gd name="connsiteY358" fmla="*/ 678748 h 1253547"/>
                <a:gd name="connsiteX359" fmla="*/ 1589557 w 3883389"/>
                <a:gd name="connsiteY359" fmla="*/ 678748 h 1253547"/>
                <a:gd name="connsiteX360" fmla="*/ 1589557 w 3883389"/>
                <a:gd name="connsiteY360" fmla="*/ 664817 h 1253547"/>
                <a:gd name="connsiteX361" fmla="*/ 1587994 w 3883389"/>
                <a:gd name="connsiteY361" fmla="*/ 659727 h 1253547"/>
                <a:gd name="connsiteX362" fmla="*/ 1584282 w 3883389"/>
                <a:gd name="connsiteY362" fmla="*/ 657584 h 1253547"/>
                <a:gd name="connsiteX363" fmla="*/ 1574807 w 3883389"/>
                <a:gd name="connsiteY363" fmla="*/ 657584 h 1253547"/>
                <a:gd name="connsiteX364" fmla="*/ 1574807 w 3883389"/>
                <a:gd name="connsiteY364" fmla="*/ 643652 h 1253547"/>
                <a:gd name="connsiteX365" fmla="*/ 1573244 w 3883389"/>
                <a:gd name="connsiteY365" fmla="*/ 638562 h 1253547"/>
                <a:gd name="connsiteX366" fmla="*/ 1569532 w 3883389"/>
                <a:gd name="connsiteY366" fmla="*/ 636419 h 1253547"/>
                <a:gd name="connsiteX367" fmla="*/ 1393121 w 3883389"/>
                <a:gd name="connsiteY367" fmla="*/ 636419 h 1253547"/>
                <a:gd name="connsiteX368" fmla="*/ 1393121 w 3883389"/>
                <a:gd name="connsiteY368" fmla="*/ 622487 h 1253547"/>
                <a:gd name="connsiteX369" fmla="*/ 1391558 w 3883389"/>
                <a:gd name="connsiteY369" fmla="*/ 617397 h 1253547"/>
                <a:gd name="connsiteX370" fmla="*/ 1387846 w 3883389"/>
                <a:gd name="connsiteY370" fmla="*/ 615254 h 1253547"/>
                <a:gd name="connsiteX371" fmla="*/ 1297394 w 3883389"/>
                <a:gd name="connsiteY371" fmla="*/ 615254 h 1253547"/>
                <a:gd name="connsiteX372" fmla="*/ 1297394 w 3883389"/>
                <a:gd name="connsiteY372" fmla="*/ 601323 h 1253547"/>
                <a:gd name="connsiteX373" fmla="*/ 1295831 w 3883389"/>
                <a:gd name="connsiteY373" fmla="*/ 596232 h 1253547"/>
                <a:gd name="connsiteX374" fmla="*/ 1294952 w 3883389"/>
                <a:gd name="connsiteY374" fmla="*/ 595295 h 1253547"/>
                <a:gd name="connsiteX375" fmla="*/ 1294952 w 3883389"/>
                <a:gd name="connsiteY375" fmla="*/ 580292 h 1253547"/>
                <a:gd name="connsiteX376" fmla="*/ 1293389 w 3883389"/>
                <a:gd name="connsiteY376" fmla="*/ 575201 h 1253547"/>
                <a:gd name="connsiteX377" fmla="*/ 1289677 w 3883389"/>
                <a:gd name="connsiteY377" fmla="*/ 573058 h 1253547"/>
                <a:gd name="connsiteX378" fmla="*/ 1267894 w 3883389"/>
                <a:gd name="connsiteY378" fmla="*/ 573058 h 1253547"/>
                <a:gd name="connsiteX379" fmla="*/ 1267894 w 3883389"/>
                <a:gd name="connsiteY379" fmla="*/ 559127 h 1253547"/>
                <a:gd name="connsiteX380" fmla="*/ 1266331 w 3883389"/>
                <a:gd name="connsiteY380" fmla="*/ 554037 h 1253547"/>
                <a:gd name="connsiteX381" fmla="*/ 1262620 w 3883389"/>
                <a:gd name="connsiteY381" fmla="*/ 551893 h 1253547"/>
                <a:gd name="connsiteX382" fmla="*/ 1145110 w 3883389"/>
                <a:gd name="connsiteY382" fmla="*/ 551893 h 1253547"/>
                <a:gd name="connsiteX383" fmla="*/ 1145110 w 3883389"/>
                <a:gd name="connsiteY383" fmla="*/ 517467 h 1253547"/>
                <a:gd name="connsiteX384" fmla="*/ 1143547 w 3883389"/>
                <a:gd name="connsiteY384" fmla="*/ 512377 h 1253547"/>
                <a:gd name="connsiteX385" fmla="*/ 1139835 w 3883389"/>
                <a:gd name="connsiteY385" fmla="*/ 510233 h 1253547"/>
                <a:gd name="connsiteX386" fmla="*/ 1135244 w 3883389"/>
                <a:gd name="connsiteY386" fmla="*/ 510233 h 1253547"/>
                <a:gd name="connsiteX387" fmla="*/ 1135244 w 3883389"/>
                <a:gd name="connsiteY387" fmla="*/ 496570 h 1253547"/>
                <a:gd name="connsiteX388" fmla="*/ 1133681 w 3883389"/>
                <a:gd name="connsiteY388" fmla="*/ 491480 h 1253547"/>
                <a:gd name="connsiteX389" fmla="*/ 1129969 w 3883389"/>
                <a:gd name="connsiteY389" fmla="*/ 489336 h 1253547"/>
                <a:gd name="connsiteX390" fmla="*/ 1122936 w 3883389"/>
                <a:gd name="connsiteY390" fmla="*/ 489336 h 1253547"/>
                <a:gd name="connsiteX391" fmla="*/ 1122936 w 3883389"/>
                <a:gd name="connsiteY391" fmla="*/ 475673 h 1253547"/>
                <a:gd name="connsiteX392" fmla="*/ 1121373 w 3883389"/>
                <a:gd name="connsiteY392" fmla="*/ 470583 h 1253547"/>
                <a:gd name="connsiteX393" fmla="*/ 1118052 w 3883389"/>
                <a:gd name="connsiteY393" fmla="*/ 468439 h 1253547"/>
                <a:gd name="connsiteX394" fmla="*/ 1118052 w 3883389"/>
                <a:gd name="connsiteY394" fmla="*/ 434013 h 1253547"/>
                <a:gd name="connsiteX395" fmla="*/ 1116489 w 3883389"/>
                <a:gd name="connsiteY395" fmla="*/ 428923 h 1253547"/>
                <a:gd name="connsiteX396" fmla="*/ 1112777 w 3883389"/>
                <a:gd name="connsiteY396" fmla="*/ 426780 h 1253547"/>
                <a:gd name="connsiteX397" fmla="*/ 1098321 w 3883389"/>
                <a:gd name="connsiteY397" fmla="*/ 426780 h 1253547"/>
                <a:gd name="connsiteX398" fmla="*/ 1098321 w 3883389"/>
                <a:gd name="connsiteY398" fmla="*/ 413116 h 1253547"/>
                <a:gd name="connsiteX399" fmla="*/ 1096758 w 3883389"/>
                <a:gd name="connsiteY399" fmla="*/ 408026 h 1253547"/>
                <a:gd name="connsiteX400" fmla="*/ 1093046 w 3883389"/>
                <a:gd name="connsiteY400" fmla="*/ 405883 h 1253547"/>
                <a:gd name="connsiteX401" fmla="*/ 1039419 w 3883389"/>
                <a:gd name="connsiteY401" fmla="*/ 405883 h 1253547"/>
                <a:gd name="connsiteX402" fmla="*/ 1039419 w 3883389"/>
                <a:gd name="connsiteY402" fmla="*/ 371456 h 1253547"/>
                <a:gd name="connsiteX403" fmla="*/ 1037856 w 3883389"/>
                <a:gd name="connsiteY403" fmla="*/ 366366 h 1253547"/>
                <a:gd name="connsiteX404" fmla="*/ 1034145 w 3883389"/>
                <a:gd name="connsiteY404" fmla="*/ 364223 h 1253547"/>
                <a:gd name="connsiteX405" fmla="*/ 1019688 w 3883389"/>
                <a:gd name="connsiteY405" fmla="*/ 364223 h 1253547"/>
                <a:gd name="connsiteX406" fmla="*/ 1019688 w 3883389"/>
                <a:gd name="connsiteY406" fmla="*/ 350559 h 1253547"/>
                <a:gd name="connsiteX407" fmla="*/ 1018125 w 3883389"/>
                <a:gd name="connsiteY407" fmla="*/ 345469 h 1253547"/>
                <a:gd name="connsiteX408" fmla="*/ 1014413 w 3883389"/>
                <a:gd name="connsiteY408" fmla="*/ 343326 h 1253547"/>
                <a:gd name="connsiteX409" fmla="*/ 1007380 w 3883389"/>
                <a:gd name="connsiteY409" fmla="*/ 343326 h 1253547"/>
                <a:gd name="connsiteX410" fmla="*/ 1007380 w 3883389"/>
                <a:gd name="connsiteY410" fmla="*/ 329662 h 1253547"/>
                <a:gd name="connsiteX411" fmla="*/ 1005817 w 3883389"/>
                <a:gd name="connsiteY411" fmla="*/ 324572 h 1253547"/>
                <a:gd name="connsiteX412" fmla="*/ 1002105 w 3883389"/>
                <a:gd name="connsiteY412" fmla="*/ 322429 h 1253547"/>
                <a:gd name="connsiteX413" fmla="*/ 904229 w 3883389"/>
                <a:gd name="connsiteY413" fmla="*/ 322429 h 1253547"/>
                <a:gd name="connsiteX414" fmla="*/ 904229 w 3883389"/>
                <a:gd name="connsiteY414" fmla="*/ 308766 h 1253547"/>
                <a:gd name="connsiteX415" fmla="*/ 902666 w 3883389"/>
                <a:gd name="connsiteY415" fmla="*/ 303675 h 1253547"/>
                <a:gd name="connsiteX416" fmla="*/ 898955 w 3883389"/>
                <a:gd name="connsiteY416" fmla="*/ 301532 h 1253547"/>
                <a:gd name="connsiteX417" fmla="*/ 830578 w 3883389"/>
                <a:gd name="connsiteY417" fmla="*/ 301532 h 1253547"/>
                <a:gd name="connsiteX418" fmla="*/ 830578 w 3883389"/>
                <a:gd name="connsiteY418" fmla="*/ 287869 h 1253547"/>
                <a:gd name="connsiteX419" fmla="*/ 829015 w 3883389"/>
                <a:gd name="connsiteY419" fmla="*/ 282778 h 1253547"/>
                <a:gd name="connsiteX420" fmla="*/ 825303 w 3883389"/>
                <a:gd name="connsiteY420" fmla="*/ 280635 h 1253547"/>
                <a:gd name="connsiteX421" fmla="*/ 798637 w 3883389"/>
                <a:gd name="connsiteY421" fmla="*/ 280635 h 1253547"/>
                <a:gd name="connsiteX422" fmla="*/ 798637 w 3883389"/>
                <a:gd name="connsiteY422" fmla="*/ 266972 h 1253547"/>
                <a:gd name="connsiteX423" fmla="*/ 797074 w 3883389"/>
                <a:gd name="connsiteY423" fmla="*/ 261881 h 1253547"/>
                <a:gd name="connsiteX424" fmla="*/ 793362 w 3883389"/>
                <a:gd name="connsiteY424" fmla="*/ 259738 h 1253547"/>
                <a:gd name="connsiteX425" fmla="*/ 774021 w 3883389"/>
                <a:gd name="connsiteY425" fmla="*/ 259738 h 1253547"/>
                <a:gd name="connsiteX426" fmla="*/ 774021 w 3883389"/>
                <a:gd name="connsiteY426" fmla="*/ 246209 h 1253547"/>
                <a:gd name="connsiteX427" fmla="*/ 772458 w 3883389"/>
                <a:gd name="connsiteY427" fmla="*/ 241118 h 1253547"/>
                <a:gd name="connsiteX428" fmla="*/ 768746 w 3883389"/>
                <a:gd name="connsiteY428" fmla="*/ 238975 h 1253547"/>
                <a:gd name="connsiteX429" fmla="*/ 751945 w 3883389"/>
                <a:gd name="connsiteY429" fmla="*/ 238975 h 1253547"/>
                <a:gd name="connsiteX430" fmla="*/ 751945 w 3883389"/>
                <a:gd name="connsiteY430" fmla="*/ 225580 h 1253547"/>
                <a:gd name="connsiteX431" fmla="*/ 750382 w 3883389"/>
                <a:gd name="connsiteY431" fmla="*/ 220489 h 1253547"/>
                <a:gd name="connsiteX432" fmla="*/ 746671 w 3883389"/>
                <a:gd name="connsiteY432" fmla="*/ 218346 h 1253547"/>
                <a:gd name="connsiteX433" fmla="*/ 710138 w 3883389"/>
                <a:gd name="connsiteY433" fmla="*/ 218346 h 1253547"/>
                <a:gd name="connsiteX434" fmla="*/ 710138 w 3883389"/>
                <a:gd name="connsiteY434" fmla="*/ 204951 h 1253547"/>
                <a:gd name="connsiteX435" fmla="*/ 708575 w 3883389"/>
                <a:gd name="connsiteY435" fmla="*/ 199860 h 1253547"/>
                <a:gd name="connsiteX436" fmla="*/ 704863 w 3883389"/>
                <a:gd name="connsiteY436" fmla="*/ 197717 h 1253547"/>
                <a:gd name="connsiteX437" fmla="*/ 690504 w 3883389"/>
                <a:gd name="connsiteY437" fmla="*/ 197717 h 1253547"/>
                <a:gd name="connsiteX438" fmla="*/ 690504 w 3883389"/>
                <a:gd name="connsiteY438" fmla="*/ 184322 h 1253547"/>
                <a:gd name="connsiteX439" fmla="*/ 688941 w 3883389"/>
                <a:gd name="connsiteY439" fmla="*/ 179231 h 1253547"/>
                <a:gd name="connsiteX440" fmla="*/ 685229 w 3883389"/>
                <a:gd name="connsiteY440" fmla="*/ 177088 h 1253547"/>
                <a:gd name="connsiteX441" fmla="*/ 675754 w 3883389"/>
                <a:gd name="connsiteY441" fmla="*/ 177088 h 1253547"/>
                <a:gd name="connsiteX442" fmla="*/ 675754 w 3883389"/>
                <a:gd name="connsiteY442" fmla="*/ 163693 h 1253547"/>
                <a:gd name="connsiteX443" fmla="*/ 674192 w 3883389"/>
                <a:gd name="connsiteY443" fmla="*/ 158602 h 1253547"/>
                <a:gd name="connsiteX444" fmla="*/ 670480 w 3883389"/>
                <a:gd name="connsiteY444" fmla="*/ 156459 h 1253547"/>
                <a:gd name="connsiteX445" fmla="*/ 643813 w 3883389"/>
                <a:gd name="connsiteY445" fmla="*/ 156459 h 1253547"/>
                <a:gd name="connsiteX446" fmla="*/ 643813 w 3883389"/>
                <a:gd name="connsiteY446" fmla="*/ 143064 h 1253547"/>
                <a:gd name="connsiteX447" fmla="*/ 642250 w 3883389"/>
                <a:gd name="connsiteY447" fmla="*/ 137973 h 1253547"/>
                <a:gd name="connsiteX448" fmla="*/ 638538 w 3883389"/>
                <a:gd name="connsiteY448" fmla="*/ 135830 h 1253547"/>
                <a:gd name="connsiteX449" fmla="*/ 614313 w 3883389"/>
                <a:gd name="connsiteY449" fmla="*/ 135830 h 1253547"/>
                <a:gd name="connsiteX450" fmla="*/ 614313 w 3883389"/>
                <a:gd name="connsiteY450" fmla="*/ 122435 h 1253547"/>
                <a:gd name="connsiteX451" fmla="*/ 612750 w 3883389"/>
                <a:gd name="connsiteY451" fmla="*/ 117344 h 1253547"/>
                <a:gd name="connsiteX452" fmla="*/ 609039 w 3883389"/>
                <a:gd name="connsiteY452" fmla="*/ 115201 h 1253547"/>
                <a:gd name="connsiteX453" fmla="*/ 560296 w 3883389"/>
                <a:gd name="connsiteY453" fmla="*/ 115201 h 1253547"/>
                <a:gd name="connsiteX454" fmla="*/ 560296 w 3883389"/>
                <a:gd name="connsiteY454" fmla="*/ 101940 h 1253547"/>
                <a:gd name="connsiteX455" fmla="*/ 558733 w 3883389"/>
                <a:gd name="connsiteY455" fmla="*/ 96849 h 1253547"/>
                <a:gd name="connsiteX456" fmla="*/ 555021 w 3883389"/>
                <a:gd name="connsiteY456" fmla="*/ 94706 h 1253547"/>
                <a:gd name="connsiteX457" fmla="*/ 511163 w 3883389"/>
                <a:gd name="connsiteY457" fmla="*/ 94706 h 1253547"/>
                <a:gd name="connsiteX458" fmla="*/ 511163 w 3883389"/>
                <a:gd name="connsiteY458" fmla="*/ 81444 h 1253547"/>
                <a:gd name="connsiteX459" fmla="*/ 509600 w 3883389"/>
                <a:gd name="connsiteY459" fmla="*/ 76354 h 1253547"/>
                <a:gd name="connsiteX460" fmla="*/ 505888 w 3883389"/>
                <a:gd name="connsiteY460" fmla="*/ 74211 h 1253547"/>
                <a:gd name="connsiteX461" fmla="*/ 435069 w 3883389"/>
                <a:gd name="connsiteY461" fmla="*/ 74211 h 1253547"/>
                <a:gd name="connsiteX462" fmla="*/ 435069 w 3883389"/>
                <a:gd name="connsiteY462" fmla="*/ 60949 h 1253547"/>
                <a:gd name="connsiteX463" fmla="*/ 433507 w 3883389"/>
                <a:gd name="connsiteY463" fmla="*/ 55859 h 1253547"/>
                <a:gd name="connsiteX464" fmla="*/ 429795 w 3883389"/>
                <a:gd name="connsiteY464" fmla="*/ 53716 h 1253547"/>
                <a:gd name="connsiteX465" fmla="*/ 371186 w 3883389"/>
                <a:gd name="connsiteY465" fmla="*/ 53716 h 1253547"/>
                <a:gd name="connsiteX466" fmla="*/ 371186 w 3883389"/>
                <a:gd name="connsiteY466" fmla="*/ 40588 h 1253547"/>
                <a:gd name="connsiteX467" fmla="*/ 369623 w 3883389"/>
                <a:gd name="connsiteY467" fmla="*/ 35498 h 1253547"/>
                <a:gd name="connsiteX468" fmla="*/ 365912 w 3883389"/>
                <a:gd name="connsiteY468" fmla="*/ 33355 h 1253547"/>
                <a:gd name="connsiteX469" fmla="*/ 164983 w 3883389"/>
                <a:gd name="connsiteY469" fmla="*/ 33355 h 1253547"/>
                <a:gd name="connsiteX470" fmla="*/ 164983 w 3883389"/>
                <a:gd name="connsiteY470" fmla="*/ 20361 h 1253547"/>
                <a:gd name="connsiteX471" fmla="*/ 163420 w 3883389"/>
                <a:gd name="connsiteY471" fmla="*/ 15271 h 1253547"/>
                <a:gd name="connsiteX472" fmla="*/ 159708 w 3883389"/>
                <a:gd name="connsiteY472" fmla="*/ 13128 h 1253547"/>
                <a:gd name="connsiteX473" fmla="*/ 5470 w 3883389"/>
                <a:gd name="connsiteY473" fmla="*/ 13128 h 1253547"/>
                <a:gd name="connsiteX474" fmla="*/ 5470 w 3883389"/>
                <a:gd name="connsiteY474" fmla="*/ 0 h 1253547"/>
                <a:gd name="connsiteX475" fmla="*/ 429697 w 3883389"/>
                <a:gd name="connsiteY475" fmla="*/ 0 h 1253547"/>
                <a:gd name="connsiteX476" fmla="*/ 429697 w 3883389"/>
                <a:gd name="connsiteY476" fmla="*/ 1607 h 1253547"/>
                <a:gd name="connsiteX477" fmla="*/ 505790 w 3883389"/>
                <a:gd name="connsiteY477" fmla="*/ 1607 h 1253547"/>
                <a:gd name="connsiteX478" fmla="*/ 505790 w 3883389"/>
                <a:gd name="connsiteY478" fmla="*/ 12860 h 1253547"/>
                <a:gd name="connsiteX479" fmla="*/ 554826 w 3883389"/>
                <a:gd name="connsiteY479" fmla="*/ 12860 h 1253547"/>
                <a:gd name="connsiteX480" fmla="*/ 554826 w 3883389"/>
                <a:gd name="connsiteY480" fmla="*/ 24916 h 1253547"/>
                <a:gd name="connsiteX481" fmla="*/ 608843 w 3883389"/>
                <a:gd name="connsiteY481" fmla="*/ 24916 h 1253547"/>
                <a:gd name="connsiteX482" fmla="*/ 608843 w 3883389"/>
                <a:gd name="connsiteY482" fmla="*/ 37775 h 1253547"/>
                <a:gd name="connsiteX483" fmla="*/ 638245 w 3883389"/>
                <a:gd name="connsiteY483" fmla="*/ 37775 h 1253547"/>
                <a:gd name="connsiteX484" fmla="*/ 638245 w 3883389"/>
                <a:gd name="connsiteY484" fmla="*/ 51439 h 1253547"/>
                <a:gd name="connsiteX485" fmla="*/ 670187 w 3883389"/>
                <a:gd name="connsiteY485" fmla="*/ 51439 h 1253547"/>
                <a:gd name="connsiteX486" fmla="*/ 670187 w 3883389"/>
                <a:gd name="connsiteY486" fmla="*/ 65504 h 1253547"/>
                <a:gd name="connsiteX487" fmla="*/ 684936 w 3883389"/>
                <a:gd name="connsiteY487" fmla="*/ 65504 h 1253547"/>
                <a:gd name="connsiteX488" fmla="*/ 684936 w 3883389"/>
                <a:gd name="connsiteY488" fmla="*/ 79971 h 1253547"/>
                <a:gd name="connsiteX489" fmla="*/ 704570 w 3883389"/>
                <a:gd name="connsiteY489" fmla="*/ 79971 h 1253547"/>
                <a:gd name="connsiteX490" fmla="*/ 704570 w 3883389"/>
                <a:gd name="connsiteY490" fmla="*/ 94840 h 1253547"/>
                <a:gd name="connsiteX491" fmla="*/ 746377 w 3883389"/>
                <a:gd name="connsiteY491" fmla="*/ 94840 h 1253547"/>
                <a:gd name="connsiteX492" fmla="*/ 746377 w 3883389"/>
                <a:gd name="connsiteY492" fmla="*/ 110111 h 1253547"/>
                <a:gd name="connsiteX493" fmla="*/ 768453 w 3883389"/>
                <a:gd name="connsiteY493" fmla="*/ 110111 h 1253547"/>
                <a:gd name="connsiteX494" fmla="*/ 768453 w 3883389"/>
                <a:gd name="connsiteY494" fmla="*/ 125649 h 1253547"/>
                <a:gd name="connsiteX495" fmla="*/ 792971 w 3883389"/>
                <a:gd name="connsiteY495" fmla="*/ 125649 h 1253547"/>
                <a:gd name="connsiteX496" fmla="*/ 792971 w 3883389"/>
                <a:gd name="connsiteY496" fmla="*/ 141456 h 1253547"/>
                <a:gd name="connsiteX497" fmla="*/ 824815 w 3883389"/>
                <a:gd name="connsiteY497" fmla="*/ 141456 h 1253547"/>
                <a:gd name="connsiteX498" fmla="*/ 824815 w 3883389"/>
                <a:gd name="connsiteY498" fmla="*/ 157665 h 1253547"/>
                <a:gd name="connsiteX499" fmla="*/ 898466 w 3883389"/>
                <a:gd name="connsiteY499" fmla="*/ 157665 h 1253547"/>
                <a:gd name="connsiteX500" fmla="*/ 898466 w 3883389"/>
                <a:gd name="connsiteY500" fmla="*/ 174007 h 1253547"/>
                <a:gd name="connsiteX501" fmla="*/ 1001519 w 3883389"/>
                <a:gd name="connsiteY501" fmla="*/ 174007 h 1253547"/>
                <a:gd name="connsiteX502" fmla="*/ 1001519 w 3883389"/>
                <a:gd name="connsiteY502" fmla="*/ 190617 h 1253547"/>
                <a:gd name="connsiteX503" fmla="*/ 1013827 w 3883389"/>
                <a:gd name="connsiteY503" fmla="*/ 190617 h 1253547"/>
                <a:gd name="connsiteX504" fmla="*/ 1013827 w 3883389"/>
                <a:gd name="connsiteY504" fmla="*/ 207362 h 1253547"/>
                <a:gd name="connsiteX505" fmla="*/ 1033461 w 3883389"/>
                <a:gd name="connsiteY505" fmla="*/ 207362 h 1253547"/>
                <a:gd name="connsiteX506" fmla="*/ 1033461 w 3883389"/>
                <a:gd name="connsiteY506" fmla="*/ 241386 h 1253547"/>
                <a:gd name="connsiteX507" fmla="*/ 1092362 w 3883389"/>
                <a:gd name="connsiteY507" fmla="*/ 241386 h 1253547"/>
                <a:gd name="connsiteX508" fmla="*/ 1092362 w 3883389"/>
                <a:gd name="connsiteY508" fmla="*/ 258666 h 1253547"/>
                <a:gd name="connsiteX509" fmla="*/ 1111996 w 3883389"/>
                <a:gd name="connsiteY509" fmla="*/ 258666 h 1253547"/>
                <a:gd name="connsiteX510" fmla="*/ 1111996 w 3883389"/>
                <a:gd name="connsiteY510" fmla="*/ 293629 h 1253547"/>
                <a:gd name="connsiteX511" fmla="*/ 1116880 w 3883389"/>
                <a:gd name="connsiteY511" fmla="*/ 293629 h 1253547"/>
                <a:gd name="connsiteX512" fmla="*/ 1116880 w 3883389"/>
                <a:gd name="connsiteY512" fmla="*/ 311311 h 1253547"/>
                <a:gd name="connsiteX513" fmla="*/ 1129188 w 3883389"/>
                <a:gd name="connsiteY513" fmla="*/ 311311 h 1253547"/>
                <a:gd name="connsiteX514" fmla="*/ 1129188 w 3883389"/>
                <a:gd name="connsiteY514" fmla="*/ 329127 h 1253547"/>
                <a:gd name="connsiteX515" fmla="*/ 1139053 w 3883389"/>
                <a:gd name="connsiteY515" fmla="*/ 329127 h 1253547"/>
                <a:gd name="connsiteX516" fmla="*/ 1139053 w 3883389"/>
                <a:gd name="connsiteY516" fmla="*/ 365026 h 1253547"/>
                <a:gd name="connsiteX517" fmla="*/ 1261740 w 3883389"/>
                <a:gd name="connsiteY517" fmla="*/ 365026 h 1253547"/>
                <a:gd name="connsiteX518" fmla="*/ 1261740 w 3883389"/>
                <a:gd name="connsiteY518" fmla="*/ 383378 h 1253547"/>
                <a:gd name="connsiteX519" fmla="*/ 1288798 w 3883389"/>
                <a:gd name="connsiteY519" fmla="*/ 383378 h 1253547"/>
                <a:gd name="connsiteX520" fmla="*/ 1288798 w 3883389"/>
                <a:gd name="connsiteY520" fmla="*/ 401864 h 1253547"/>
                <a:gd name="connsiteX521" fmla="*/ 1291240 w 3883389"/>
                <a:gd name="connsiteY521" fmla="*/ 401864 h 1253547"/>
                <a:gd name="connsiteX522" fmla="*/ 1291240 w 3883389"/>
                <a:gd name="connsiteY522" fmla="*/ 420484 h 1253547"/>
                <a:gd name="connsiteX523" fmla="*/ 1386967 w 3883389"/>
                <a:gd name="connsiteY523" fmla="*/ 420484 h 1253547"/>
                <a:gd name="connsiteX524" fmla="*/ 1386967 w 3883389"/>
                <a:gd name="connsiteY524" fmla="*/ 439103 h 1253547"/>
                <a:gd name="connsiteX525" fmla="*/ 1568555 w 3883389"/>
                <a:gd name="connsiteY525" fmla="*/ 439103 h 1253547"/>
                <a:gd name="connsiteX526" fmla="*/ 1568555 w 3883389"/>
                <a:gd name="connsiteY526" fmla="*/ 457991 h 1253547"/>
                <a:gd name="connsiteX527" fmla="*/ 1583305 w 3883389"/>
                <a:gd name="connsiteY527" fmla="*/ 457991 h 1253547"/>
                <a:gd name="connsiteX528" fmla="*/ 1583305 w 3883389"/>
                <a:gd name="connsiteY528" fmla="*/ 476879 h 1253547"/>
                <a:gd name="connsiteX529" fmla="*/ 1629898 w 3883389"/>
                <a:gd name="connsiteY529" fmla="*/ 476879 h 1253547"/>
                <a:gd name="connsiteX530" fmla="*/ 1629898 w 3883389"/>
                <a:gd name="connsiteY530" fmla="*/ 495900 h 1253547"/>
                <a:gd name="connsiteX531" fmla="*/ 1728068 w 3883389"/>
                <a:gd name="connsiteY531" fmla="*/ 495900 h 1253547"/>
                <a:gd name="connsiteX532" fmla="*/ 1728068 w 3883389"/>
                <a:gd name="connsiteY532" fmla="*/ 514922 h 1253547"/>
                <a:gd name="connsiteX533" fmla="*/ 1777201 w 3883389"/>
                <a:gd name="connsiteY533" fmla="*/ 514922 h 1253547"/>
                <a:gd name="connsiteX534" fmla="*/ 1777201 w 3883389"/>
                <a:gd name="connsiteY534" fmla="*/ 534077 h 1253547"/>
                <a:gd name="connsiteX535" fmla="*/ 1801719 w 3883389"/>
                <a:gd name="connsiteY535" fmla="*/ 534077 h 1253547"/>
                <a:gd name="connsiteX536" fmla="*/ 1801719 w 3883389"/>
                <a:gd name="connsiteY536" fmla="*/ 553367 h 1253547"/>
                <a:gd name="connsiteX537" fmla="*/ 2079132 w 3883389"/>
                <a:gd name="connsiteY537" fmla="*/ 553367 h 1253547"/>
                <a:gd name="connsiteX538" fmla="*/ 2079132 w 3883389"/>
                <a:gd name="connsiteY538" fmla="*/ 573594 h 1253547"/>
                <a:gd name="connsiteX539" fmla="*/ 2101207 w 3883389"/>
                <a:gd name="connsiteY539" fmla="*/ 573594 h 1253547"/>
                <a:gd name="connsiteX540" fmla="*/ 2101207 w 3883389"/>
                <a:gd name="connsiteY540" fmla="*/ 593955 h 1253547"/>
                <a:gd name="connsiteX541" fmla="*/ 2133149 w 3883389"/>
                <a:gd name="connsiteY541" fmla="*/ 593955 h 1253547"/>
                <a:gd name="connsiteX542" fmla="*/ 2133149 w 3883389"/>
                <a:gd name="connsiteY542" fmla="*/ 614450 h 1253547"/>
                <a:gd name="connsiteX543" fmla="*/ 2145359 w 3883389"/>
                <a:gd name="connsiteY543" fmla="*/ 614450 h 1253547"/>
                <a:gd name="connsiteX544" fmla="*/ 2145359 w 3883389"/>
                <a:gd name="connsiteY544" fmla="*/ 635079 h 1253547"/>
                <a:gd name="connsiteX545" fmla="*/ 2304871 w 3883389"/>
                <a:gd name="connsiteY545" fmla="*/ 635079 h 1253547"/>
                <a:gd name="connsiteX546" fmla="*/ 2304871 w 3883389"/>
                <a:gd name="connsiteY546" fmla="*/ 655708 h 1253547"/>
                <a:gd name="connsiteX547" fmla="*/ 2341697 w 3883389"/>
                <a:gd name="connsiteY547" fmla="*/ 655708 h 1253547"/>
                <a:gd name="connsiteX548" fmla="*/ 2341697 w 3883389"/>
                <a:gd name="connsiteY548" fmla="*/ 676471 h 1253547"/>
                <a:gd name="connsiteX549" fmla="*/ 2395715 w 3883389"/>
                <a:gd name="connsiteY549" fmla="*/ 676471 h 1253547"/>
                <a:gd name="connsiteX550" fmla="*/ 2395715 w 3883389"/>
                <a:gd name="connsiteY550" fmla="*/ 697502 h 1253547"/>
                <a:gd name="connsiteX551" fmla="*/ 2461942 w 3883389"/>
                <a:gd name="connsiteY551" fmla="*/ 697502 h 1253547"/>
                <a:gd name="connsiteX552" fmla="*/ 2461942 w 3883389"/>
                <a:gd name="connsiteY552" fmla="*/ 719337 h 1253547"/>
                <a:gd name="connsiteX553" fmla="*/ 2493883 w 3883389"/>
                <a:gd name="connsiteY553" fmla="*/ 719337 h 1253547"/>
                <a:gd name="connsiteX554" fmla="*/ 2493883 w 3883389"/>
                <a:gd name="connsiteY554" fmla="*/ 741305 h 1253547"/>
                <a:gd name="connsiteX555" fmla="*/ 2665606 w 3883389"/>
                <a:gd name="connsiteY555" fmla="*/ 741305 h 1253547"/>
                <a:gd name="connsiteX556" fmla="*/ 2665606 w 3883389"/>
                <a:gd name="connsiteY556" fmla="*/ 763542 h 1253547"/>
                <a:gd name="connsiteX557" fmla="*/ 3102434 w 3883389"/>
                <a:gd name="connsiteY557" fmla="*/ 763542 h 1253547"/>
                <a:gd name="connsiteX558" fmla="*/ 3102434 w 3883389"/>
                <a:gd name="connsiteY558" fmla="*/ 788189 h 1253547"/>
                <a:gd name="connsiteX559" fmla="*/ 3210371 w 3883389"/>
                <a:gd name="connsiteY559" fmla="*/ 788189 h 1253547"/>
                <a:gd name="connsiteX560" fmla="*/ 3210371 w 3883389"/>
                <a:gd name="connsiteY560" fmla="*/ 815114 h 1253547"/>
                <a:gd name="connsiteX561" fmla="*/ 3881827 w 3883389"/>
                <a:gd name="connsiteY561" fmla="*/ 815114 h 1253547"/>
                <a:gd name="connsiteX562" fmla="*/ 3881827 w 3883389"/>
                <a:gd name="connsiteY562" fmla="*/ 1253548 h 12535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</a:cxnLst>
              <a:rect l="l" t="t" r="r" b="b"/>
              <a:pathLst>
                <a:path w="3883389" h="1253547">
                  <a:moveTo>
                    <a:pt x="3881827" y="1253146"/>
                  </a:moveTo>
                  <a:lnTo>
                    <a:pt x="3881730" y="1253146"/>
                  </a:lnTo>
                  <a:lnTo>
                    <a:pt x="3881730" y="1184293"/>
                  </a:lnTo>
                  <a:lnTo>
                    <a:pt x="3782095" y="1184293"/>
                  </a:lnTo>
                  <a:lnTo>
                    <a:pt x="3782095" y="1171568"/>
                  </a:lnTo>
                  <a:lnTo>
                    <a:pt x="3666734" y="1171568"/>
                  </a:lnTo>
                  <a:lnTo>
                    <a:pt x="3666734" y="1160851"/>
                  </a:lnTo>
                  <a:lnTo>
                    <a:pt x="3286366" y="1160851"/>
                  </a:lnTo>
                  <a:lnTo>
                    <a:pt x="3286366" y="1153618"/>
                  </a:lnTo>
                  <a:lnTo>
                    <a:pt x="3274058" y="1153618"/>
                  </a:lnTo>
                  <a:lnTo>
                    <a:pt x="3274058" y="1146384"/>
                  </a:lnTo>
                  <a:lnTo>
                    <a:pt x="3171005" y="1146384"/>
                  </a:lnTo>
                  <a:lnTo>
                    <a:pt x="3171005" y="1139686"/>
                  </a:lnTo>
                  <a:lnTo>
                    <a:pt x="3153814" y="1139686"/>
                  </a:lnTo>
                  <a:lnTo>
                    <a:pt x="3153814" y="1133257"/>
                  </a:lnTo>
                  <a:lnTo>
                    <a:pt x="3082605" y="1133257"/>
                  </a:lnTo>
                  <a:lnTo>
                    <a:pt x="3082605" y="1126961"/>
                  </a:lnTo>
                  <a:lnTo>
                    <a:pt x="2923092" y="1126961"/>
                  </a:lnTo>
                  <a:lnTo>
                    <a:pt x="2923092" y="1121067"/>
                  </a:lnTo>
                  <a:lnTo>
                    <a:pt x="2871517" y="1121067"/>
                  </a:lnTo>
                  <a:lnTo>
                    <a:pt x="2871517" y="1115173"/>
                  </a:lnTo>
                  <a:lnTo>
                    <a:pt x="2869075" y="1115173"/>
                  </a:lnTo>
                  <a:lnTo>
                    <a:pt x="2869075" y="1109413"/>
                  </a:lnTo>
                  <a:lnTo>
                    <a:pt x="2856865" y="1109413"/>
                  </a:lnTo>
                  <a:lnTo>
                    <a:pt x="2856865" y="1103519"/>
                  </a:lnTo>
                  <a:lnTo>
                    <a:pt x="2768464" y="1103519"/>
                  </a:lnTo>
                  <a:lnTo>
                    <a:pt x="2768464" y="1097759"/>
                  </a:lnTo>
                  <a:lnTo>
                    <a:pt x="2714446" y="1097759"/>
                  </a:lnTo>
                  <a:lnTo>
                    <a:pt x="2714446" y="1092132"/>
                  </a:lnTo>
                  <a:lnTo>
                    <a:pt x="2530416" y="1092132"/>
                  </a:lnTo>
                  <a:lnTo>
                    <a:pt x="2530416" y="1080880"/>
                  </a:lnTo>
                  <a:lnTo>
                    <a:pt x="2383211" y="1080880"/>
                  </a:lnTo>
                  <a:lnTo>
                    <a:pt x="2383211" y="1075388"/>
                  </a:lnTo>
                  <a:lnTo>
                    <a:pt x="2343944" y="1075388"/>
                  </a:lnTo>
                  <a:lnTo>
                    <a:pt x="2343944" y="1069896"/>
                  </a:lnTo>
                  <a:lnTo>
                    <a:pt x="2326752" y="1069896"/>
                  </a:lnTo>
                  <a:lnTo>
                    <a:pt x="2326752" y="1064404"/>
                  </a:lnTo>
                  <a:lnTo>
                    <a:pt x="2304676" y="1064404"/>
                  </a:lnTo>
                  <a:lnTo>
                    <a:pt x="2304676" y="1049267"/>
                  </a:lnTo>
                  <a:lnTo>
                    <a:pt x="2145164" y="1049267"/>
                  </a:lnTo>
                  <a:lnTo>
                    <a:pt x="2145164" y="1026093"/>
                  </a:lnTo>
                  <a:lnTo>
                    <a:pt x="2132954" y="1026093"/>
                  </a:lnTo>
                  <a:lnTo>
                    <a:pt x="2132954" y="1002651"/>
                  </a:lnTo>
                  <a:lnTo>
                    <a:pt x="2101012" y="1002651"/>
                  </a:lnTo>
                  <a:lnTo>
                    <a:pt x="2101012" y="979075"/>
                  </a:lnTo>
                  <a:lnTo>
                    <a:pt x="2078936" y="979075"/>
                  </a:lnTo>
                  <a:lnTo>
                    <a:pt x="2078936" y="955499"/>
                  </a:lnTo>
                  <a:lnTo>
                    <a:pt x="1801523" y="955499"/>
                  </a:lnTo>
                  <a:lnTo>
                    <a:pt x="1801523" y="933262"/>
                  </a:lnTo>
                  <a:lnTo>
                    <a:pt x="1777005" y="933262"/>
                  </a:lnTo>
                  <a:lnTo>
                    <a:pt x="1777005" y="911160"/>
                  </a:lnTo>
                  <a:lnTo>
                    <a:pt x="1727872" y="911160"/>
                  </a:lnTo>
                  <a:lnTo>
                    <a:pt x="1727872" y="888923"/>
                  </a:lnTo>
                  <a:lnTo>
                    <a:pt x="1629703" y="888923"/>
                  </a:lnTo>
                  <a:lnTo>
                    <a:pt x="1629703" y="866553"/>
                  </a:lnTo>
                  <a:lnTo>
                    <a:pt x="1583110" y="866553"/>
                  </a:lnTo>
                  <a:lnTo>
                    <a:pt x="1583110" y="844048"/>
                  </a:lnTo>
                  <a:lnTo>
                    <a:pt x="1568360" y="844048"/>
                  </a:lnTo>
                  <a:lnTo>
                    <a:pt x="1568360" y="821544"/>
                  </a:lnTo>
                  <a:lnTo>
                    <a:pt x="1386771" y="821544"/>
                  </a:lnTo>
                  <a:lnTo>
                    <a:pt x="1386771" y="798772"/>
                  </a:lnTo>
                  <a:lnTo>
                    <a:pt x="1291044" y="798772"/>
                  </a:lnTo>
                  <a:lnTo>
                    <a:pt x="1291044" y="775999"/>
                  </a:lnTo>
                  <a:lnTo>
                    <a:pt x="1288602" y="775999"/>
                  </a:lnTo>
                  <a:lnTo>
                    <a:pt x="1288602" y="753093"/>
                  </a:lnTo>
                  <a:lnTo>
                    <a:pt x="1261545" y="753093"/>
                  </a:lnTo>
                  <a:lnTo>
                    <a:pt x="1261545" y="730053"/>
                  </a:lnTo>
                  <a:lnTo>
                    <a:pt x="1138858" y="730053"/>
                  </a:lnTo>
                  <a:lnTo>
                    <a:pt x="1138858" y="684374"/>
                  </a:lnTo>
                  <a:lnTo>
                    <a:pt x="1128992" y="684374"/>
                  </a:lnTo>
                  <a:lnTo>
                    <a:pt x="1128992" y="661334"/>
                  </a:lnTo>
                  <a:lnTo>
                    <a:pt x="1116685" y="661334"/>
                  </a:lnTo>
                  <a:lnTo>
                    <a:pt x="1116685" y="638160"/>
                  </a:lnTo>
                  <a:lnTo>
                    <a:pt x="1111801" y="638160"/>
                  </a:lnTo>
                  <a:lnTo>
                    <a:pt x="1111801" y="591276"/>
                  </a:lnTo>
                  <a:lnTo>
                    <a:pt x="1092167" y="591276"/>
                  </a:lnTo>
                  <a:lnTo>
                    <a:pt x="1092167" y="567700"/>
                  </a:lnTo>
                  <a:lnTo>
                    <a:pt x="1033265" y="567700"/>
                  </a:lnTo>
                  <a:lnTo>
                    <a:pt x="1033265" y="519878"/>
                  </a:lnTo>
                  <a:lnTo>
                    <a:pt x="1013632" y="519878"/>
                  </a:lnTo>
                  <a:lnTo>
                    <a:pt x="1013632" y="495766"/>
                  </a:lnTo>
                  <a:lnTo>
                    <a:pt x="1001324" y="495766"/>
                  </a:lnTo>
                  <a:lnTo>
                    <a:pt x="1001324" y="471386"/>
                  </a:lnTo>
                  <a:lnTo>
                    <a:pt x="898271" y="471386"/>
                  </a:lnTo>
                  <a:lnTo>
                    <a:pt x="898271" y="446873"/>
                  </a:lnTo>
                  <a:lnTo>
                    <a:pt x="824620" y="446873"/>
                  </a:lnTo>
                  <a:lnTo>
                    <a:pt x="824620" y="422225"/>
                  </a:lnTo>
                  <a:lnTo>
                    <a:pt x="792776" y="422225"/>
                  </a:lnTo>
                  <a:lnTo>
                    <a:pt x="792776" y="397176"/>
                  </a:lnTo>
                  <a:lnTo>
                    <a:pt x="768258" y="397176"/>
                  </a:lnTo>
                  <a:lnTo>
                    <a:pt x="768258" y="372260"/>
                  </a:lnTo>
                  <a:lnTo>
                    <a:pt x="746182" y="372260"/>
                  </a:lnTo>
                  <a:lnTo>
                    <a:pt x="746182" y="346943"/>
                  </a:lnTo>
                  <a:lnTo>
                    <a:pt x="704375" y="346943"/>
                  </a:lnTo>
                  <a:lnTo>
                    <a:pt x="704375" y="321357"/>
                  </a:lnTo>
                  <a:lnTo>
                    <a:pt x="684741" y="321357"/>
                  </a:lnTo>
                  <a:lnTo>
                    <a:pt x="684741" y="295370"/>
                  </a:lnTo>
                  <a:lnTo>
                    <a:pt x="669991" y="295370"/>
                  </a:lnTo>
                  <a:lnTo>
                    <a:pt x="669991" y="268981"/>
                  </a:lnTo>
                  <a:lnTo>
                    <a:pt x="638050" y="268981"/>
                  </a:lnTo>
                  <a:lnTo>
                    <a:pt x="638050" y="242056"/>
                  </a:lnTo>
                  <a:lnTo>
                    <a:pt x="608648" y="242056"/>
                  </a:lnTo>
                  <a:lnTo>
                    <a:pt x="608648" y="214461"/>
                  </a:lnTo>
                  <a:lnTo>
                    <a:pt x="554630" y="214461"/>
                  </a:lnTo>
                  <a:lnTo>
                    <a:pt x="554630" y="186599"/>
                  </a:lnTo>
                  <a:lnTo>
                    <a:pt x="505595" y="186599"/>
                  </a:lnTo>
                  <a:lnTo>
                    <a:pt x="505595" y="157665"/>
                  </a:lnTo>
                  <a:lnTo>
                    <a:pt x="429502" y="157665"/>
                  </a:lnTo>
                  <a:lnTo>
                    <a:pt x="429502" y="127391"/>
                  </a:lnTo>
                  <a:lnTo>
                    <a:pt x="365716" y="127391"/>
                  </a:lnTo>
                  <a:lnTo>
                    <a:pt x="365716" y="94974"/>
                  </a:lnTo>
                  <a:lnTo>
                    <a:pt x="159512" y="94974"/>
                  </a:lnTo>
                  <a:lnTo>
                    <a:pt x="159512" y="59074"/>
                  </a:lnTo>
                  <a:lnTo>
                    <a:pt x="0" y="59074"/>
                  </a:lnTo>
                  <a:lnTo>
                    <a:pt x="0" y="27193"/>
                  </a:lnTo>
                  <a:lnTo>
                    <a:pt x="154238" y="27193"/>
                  </a:lnTo>
                  <a:lnTo>
                    <a:pt x="154238" y="40186"/>
                  </a:lnTo>
                  <a:cubicBezTo>
                    <a:pt x="154238" y="42062"/>
                    <a:pt x="154824" y="43937"/>
                    <a:pt x="155801" y="45277"/>
                  </a:cubicBezTo>
                  <a:cubicBezTo>
                    <a:pt x="156777" y="46616"/>
                    <a:pt x="158145" y="47420"/>
                    <a:pt x="159512" y="47420"/>
                  </a:cubicBezTo>
                  <a:lnTo>
                    <a:pt x="360441" y="47420"/>
                  </a:lnTo>
                  <a:lnTo>
                    <a:pt x="360441" y="60548"/>
                  </a:lnTo>
                  <a:cubicBezTo>
                    <a:pt x="360441" y="62423"/>
                    <a:pt x="361027" y="64298"/>
                    <a:pt x="362004" y="65638"/>
                  </a:cubicBezTo>
                  <a:cubicBezTo>
                    <a:pt x="362981" y="66977"/>
                    <a:pt x="364349" y="67781"/>
                    <a:pt x="365716" y="67781"/>
                  </a:cubicBezTo>
                  <a:lnTo>
                    <a:pt x="424325" y="67781"/>
                  </a:lnTo>
                  <a:lnTo>
                    <a:pt x="424325" y="81043"/>
                  </a:lnTo>
                  <a:cubicBezTo>
                    <a:pt x="424325" y="82918"/>
                    <a:pt x="424911" y="84793"/>
                    <a:pt x="425887" y="86133"/>
                  </a:cubicBezTo>
                  <a:cubicBezTo>
                    <a:pt x="426864" y="87472"/>
                    <a:pt x="428232" y="88276"/>
                    <a:pt x="429599" y="88276"/>
                  </a:cubicBezTo>
                  <a:lnTo>
                    <a:pt x="500515" y="88276"/>
                  </a:lnTo>
                  <a:lnTo>
                    <a:pt x="500515" y="101538"/>
                  </a:lnTo>
                  <a:cubicBezTo>
                    <a:pt x="500515" y="103413"/>
                    <a:pt x="501101" y="105288"/>
                    <a:pt x="502078" y="106628"/>
                  </a:cubicBezTo>
                  <a:cubicBezTo>
                    <a:pt x="503055" y="107967"/>
                    <a:pt x="504423" y="108771"/>
                    <a:pt x="505790" y="108771"/>
                  </a:cubicBezTo>
                  <a:lnTo>
                    <a:pt x="549649" y="108771"/>
                  </a:lnTo>
                  <a:lnTo>
                    <a:pt x="549649" y="122033"/>
                  </a:lnTo>
                  <a:cubicBezTo>
                    <a:pt x="549649" y="123908"/>
                    <a:pt x="550235" y="125783"/>
                    <a:pt x="551212" y="127123"/>
                  </a:cubicBezTo>
                  <a:cubicBezTo>
                    <a:pt x="552188" y="128463"/>
                    <a:pt x="553556" y="129266"/>
                    <a:pt x="554924" y="129266"/>
                  </a:cubicBezTo>
                  <a:lnTo>
                    <a:pt x="603666" y="129266"/>
                  </a:lnTo>
                  <a:lnTo>
                    <a:pt x="603666" y="142662"/>
                  </a:lnTo>
                  <a:cubicBezTo>
                    <a:pt x="603666" y="144537"/>
                    <a:pt x="604252" y="146412"/>
                    <a:pt x="605229" y="147752"/>
                  </a:cubicBezTo>
                  <a:cubicBezTo>
                    <a:pt x="606206" y="149092"/>
                    <a:pt x="607573" y="149895"/>
                    <a:pt x="608941" y="149895"/>
                  </a:cubicBezTo>
                  <a:lnTo>
                    <a:pt x="633166" y="149895"/>
                  </a:lnTo>
                  <a:lnTo>
                    <a:pt x="633166" y="163291"/>
                  </a:lnTo>
                  <a:cubicBezTo>
                    <a:pt x="633166" y="165166"/>
                    <a:pt x="633752" y="167041"/>
                    <a:pt x="634729" y="168381"/>
                  </a:cubicBezTo>
                  <a:cubicBezTo>
                    <a:pt x="635705" y="169721"/>
                    <a:pt x="637073" y="170524"/>
                    <a:pt x="638440" y="170524"/>
                  </a:cubicBezTo>
                  <a:lnTo>
                    <a:pt x="665107" y="170524"/>
                  </a:lnTo>
                  <a:lnTo>
                    <a:pt x="665107" y="183920"/>
                  </a:lnTo>
                  <a:cubicBezTo>
                    <a:pt x="665107" y="185795"/>
                    <a:pt x="665693" y="187670"/>
                    <a:pt x="666670" y="189010"/>
                  </a:cubicBezTo>
                  <a:cubicBezTo>
                    <a:pt x="667647" y="190350"/>
                    <a:pt x="669014" y="191153"/>
                    <a:pt x="670382" y="191153"/>
                  </a:cubicBezTo>
                  <a:lnTo>
                    <a:pt x="679857" y="191153"/>
                  </a:lnTo>
                  <a:lnTo>
                    <a:pt x="679857" y="204683"/>
                  </a:lnTo>
                  <a:cubicBezTo>
                    <a:pt x="679857" y="206558"/>
                    <a:pt x="680443" y="208433"/>
                    <a:pt x="681420" y="209773"/>
                  </a:cubicBezTo>
                  <a:cubicBezTo>
                    <a:pt x="682397" y="211113"/>
                    <a:pt x="683764" y="211916"/>
                    <a:pt x="685132" y="211916"/>
                  </a:cubicBezTo>
                  <a:lnTo>
                    <a:pt x="699491" y="211916"/>
                  </a:lnTo>
                  <a:lnTo>
                    <a:pt x="699491" y="225312"/>
                  </a:lnTo>
                  <a:cubicBezTo>
                    <a:pt x="699491" y="227187"/>
                    <a:pt x="700077" y="229062"/>
                    <a:pt x="701054" y="230402"/>
                  </a:cubicBezTo>
                  <a:cubicBezTo>
                    <a:pt x="702030" y="231742"/>
                    <a:pt x="703398" y="232545"/>
                    <a:pt x="704766" y="232545"/>
                  </a:cubicBezTo>
                  <a:lnTo>
                    <a:pt x="741298" y="232545"/>
                  </a:lnTo>
                  <a:lnTo>
                    <a:pt x="741298" y="245941"/>
                  </a:lnTo>
                  <a:cubicBezTo>
                    <a:pt x="741298" y="247816"/>
                    <a:pt x="741884" y="249692"/>
                    <a:pt x="742861" y="251031"/>
                  </a:cubicBezTo>
                  <a:cubicBezTo>
                    <a:pt x="743838" y="252371"/>
                    <a:pt x="745205" y="253174"/>
                    <a:pt x="746573" y="253174"/>
                  </a:cubicBezTo>
                  <a:lnTo>
                    <a:pt x="763374" y="253174"/>
                  </a:lnTo>
                  <a:lnTo>
                    <a:pt x="763374" y="266704"/>
                  </a:lnTo>
                  <a:cubicBezTo>
                    <a:pt x="763374" y="268579"/>
                    <a:pt x="763960" y="270454"/>
                    <a:pt x="764937" y="271794"/>
                  </a:cubicBezTo>
                  <a:cubicBezTo>
                    <a:pt x="765914" y="273134"/>
                    <a:pt x="767281" y="273937"/>
                    <a:pt x="768649" y="273937"/>
                  </a:cubicBezTo>
                  <a:lnTo>
                    <a:pt x="787989" y="273937"/>
                  </a:lnTo>
                  <a:lnTo>
                    <a:pt x="787989" y="287601"/>
                  </a:lnTo>
                  <a:cubicBezTo>
                    <a:pt x="787989" y="289476"/>
                    <a:pt x="788575" y="291351"/>
                    <a:pt x="789552" y="292691"/>
                  </a:cubicBezTo>
                  <a:cubicBezTo>
                    <a:pt x="790529" y="294031"/>
                    <a:pt x="791897" y="294834"/>
                    <a:pt x="793264" y="294834"/>
                  </a:cubicBezTo>
                  <a:lnTo>
                    <a:pt x="819931" y="294834"/>
                  </a:lnTo>
                  <a:lnTo>
                    <a:pt x="819931" y="308498"/>
                  </a:lnTo>
                  <a:cubicBezTo>
                    <a:pt x="819931" y="310373"/>
                    <a:pt x="820517" y="312248"/>
                    <a:pt x="821494" y="313588"/>
                  </a:cubicBezTo>
                  <a:cubicBezTo>
                    <a:pt x="822471" y="314927"/>
                    <a:pt x="823838" y="315731"/>
                    <a:pt x="825206" y="315731"/>
                  </a:cubicBezTo>
                  <a:lnTo>
                    <a:pt x="893582" y="315731"/>
                  </a:lnTo>
                  <a:lnTo>
                    <a:pt x="893582" y="329395"/>
                  </a:lnTo>
                  <a:cubicBezTo>
                    <a:pt x="893582" y="331270"/>
                    <a:pt x="894168" y="333145"/>
                    <a:pt x="895145" y="334485"/>
                  </a:cubicBezTo>
                  <a:cubicBezTo>
                    <a:pt x="896122" y="335824"/>
                    <a:pt x="897489" y="336628"/>
                    <a:pt x="898857" y="336628"/>
                  </a:cubicBezTo>
                  <a:lnTo>
                    <a:pt x="996733" y="336628"/>
                  </a:lnTo>
                  <a:lnTo>
                    <a:pt x="996733" y="350291"/>
                  </a:lnTo>
                  <a:cubicBezTo>
                    <a:pt x="996733" y="352167"/>
                    <a:pt x="997319" y="354042"/>
                    <a:pt x="998296" y="355382"/>
                  </a:cubicBezTo>
                  <a:cubicBezTo>
                    <a:pt x="999273" y="356721"/>
                    <a:pt x="1000640" y="357525"/>
                    <a:pt x="1002008" y="357525"/>
                  </a:cubicBezTo>
                  <a:lnTo>
                    <a:pt x="1009041" y="357525"/>
                  </a:lnTo>
                  <a:lnTo>
                    <a:pt x="1009041" y="371188"/>
                  </a:lnTo>
                  <a:cubicBezTo>
                    <a:pt x="1009041" y="373064"/>
                    <a:pt x="1009627" y="374939"/>
                    <a:pt x="1010604" y="376279"/>
                  </a:cubicBezTo>
                  <a:cubicBezTo>
                    <a:pt x="1011580" y="377618"/>
                    <a:pt x="1012948" y="378422"/>
                    <a:pt x="1014315" y="378422"/>
                  </a:cubicBezTo>
                  <a:lnTo>
                    <a:pt x="1028772" y="378422"/>
                  </a:lnTo>
                  <a:lnTo>
                    <a:pt x="1028772" y="412848"/>
                  </a:lnTo>
                  <a:cubicBezTo>
                    <a:pt x="1028772" y="414724"/>
                    <a:pt x="1029358" y="416599"/>
                    <a:pt x="1030335" y="417939"/>
                  </a:cubicBezTo>
                  <a:cubicBezTo>
                    <a:pt x="1031312" y="419278"/>
                    <a:pt x="1032679" y="420082"/>
                    <a:pt x="1034047" y="420082"/>
                  </a:cubicBezTo>
                  <a:lnTo>
                    <a:pt x="1087674" y="420082"/>
                  </a:lnTo>
                  <a:lnTo>
                    <a:pt x="1087674" y="433745"/>
                  </a:lnTo>
                  <a:cubicBezTo>
                    <a:pt x="1087674" y="435621"/>
                    <a:pt x="1088260" y="437496"/>
                    <a:pt x="1089236" y="438835"/>
                  </a:cubicBezTo>
                  <a:cubicBezTo>
                    <a:pt x="1090213" y="440175"/>
                    <a:pt x="1091581" y="440979"/>
                    <a:pt x="1092948" y="440979"/>
                  </a:cubicBezTo>
                  <a:lnTo>
                    <a:pt x="1107405" y="440979"/>
                  </a:lnTo>
                  <a:lnTo>
                    <a:pt x="1107405" y="475405"/>
                  </a:lnTo>
                  <a:cubicBezTo>
                    <a:pt x="1107405" y="477280"/>
                    <a:pt x="1107991" y="479156"/>
                    <a:pt x="1108968" y="480495"/>
                  </a:cubicBezTo>
                  <a:cubicBezTo>
                    <a:pt x="1109847" y="481701"/>
                    <a:pt x="1111019" y="482505"/>
                    <a:pt x="1112289" y="482639"/>
                  </a:cubicBezTo>
                  <a:lnTo>
                    <a:pt x="1112289" y="496302"/>
                  </a:lnTo>
                  <a:cubicBezTo>
                    <a:pt x="1112289" y="498177"/>
                    <a:pt x="1112875" y="500053"/>
                    <a:pt x="1113852" y="501392"/>
                  </a:cubicBezTo>
                  <a:cubicBezTo>
                    <a:pt x="1114829" y="502732"/>
                    <a:pt x="1116196" y="503536"/>
                    <a:pt x="1117564" y="503536"/>
                  </a:cubicBezTo>
                  <a:lnTo>
                    <a:pt x="1124597" y="503536"/>
                  </a:lnTo>
                  <a:lnTo>
                    <a:pt x="1124597" y="517199"/>
                  </a:lnTo>
                  <a:cubicBezTo>
                    <a:pt x="1124597" y="519074"/>
                    <a:pt x="1125183" y="520950"/>
                    <a:pt x="1126160" y="522289"/>
                  </a:cubicBezTo>
                  <a:cubicBezTo>
                    <a:pt x="1127136" y="523629"/>
                    <a:pt x="1128504" y="524433"/>
                    <a:pt x="1129871" y="524433"/>
                  </a:cubicBezTo>
                  <a:lnTo>
                    <a:pt x="1134462" y="524433"/>
                  </a:lnTo>
                  <a:lnTo>
                    <a:pt x="1134462" y="558859"/>
                  </a:lnTo>
                  <a:cubicBezTo>
                    <a:pt x="1134462" y="560734"/>
                    <a:pt x="1135049" y="562610"/>
                    <a:pt x="1136025" y="563949"/>
                  </a:cubicBezTo>
                  <a:cubicBezTo>
                    <a:pt x="1137002" y="565289"/>
                    <a:pt x="1138370" y="566092"/>
                    <a:pt x="1139737" y="566092"/>
                  </a:cubicBezTo>
                  <a:lnTo>
                    <a:pt x="1257247" y="566092"/>
                  </a:lnTo>
                  <a:lnTo>
                    <a:pt x="1257247" y="580024"/>
                  </a:lnTo>
                  <a:cubicBezTo>
                    <a:pt x="1257247" y="581899"/>
                    <a:pt x="1257833" y="583774"/>
                    <a:pt x="1258810" y="585114"/>
                  </a:cubicBezTo>
                  <a:cubicBezTo>
                    <a:pt x="1259787" y="586454"/>
                    <a:pt x="1261154" y="587257"/>
                    <a:pt x="1262522" y="587257"/>
                  </a:cubicBezTo>
                  <a:lnTo>
                    <a:pt x="1284305" y="587257"/>
                  </a:lnTo>
                  <a:lnTo>
                    <a:pt x="1284305" y="601189"/>
                  </a:lnTo>
                  <a:cubicBezTo>
                    <a:pt x="1284305" y="603064"/>
                    <a:pt x="1284891" y="604939"/>
                    <a:pt x="1285867" y="606279"/>
                  </a:cubicBezTo>
                  <a:cubicBezTo>
                    <a:pt x="1286160" y="606681"/>
                    <a:pt x="1286453" y="606949"/>
                    <a:pt x="1286747" y="607351"/>
                  </a:cubicBezTo>
                  <a:lnTo>
                    <a:pt x="1286747" y="622353"/>
                  </a:lnTo>
                  <a:cubicBezTo>
                    <a:pt x="1286747" y="624229"/>
                    <a:pt x="1287333" y="626104"/>
                    <a:pt x="1288309" y="627444"/>
                  </a:cubicBezTo>
                  <a:cubicBezTo>
                    <a:pt x="1289286" y="628783"/>
                    <a:pt x="1290654" y="629587"/>
                    <a:pt x="1292021" y="629587"/>
                  </a:cubicBezTo>
                  <a:lnTo>
                    <a:pt x="1382474" y="629587"/>
                  </a:lnTo>
                  <a:lnTo>
                    <a:pt x="1382474" y="643518"/>
                  </a:lnTo>
                  <a:cubicBezTo>
                    <a:pt x="1382474" y="645394"/>
                    <a:pt x="1383060" y="647269"/>
                    <a:pt x="1384036" y="648609"/>
                  </a:cubicBezTo>
                  <a:cubicBezTo>
                    <a:pt x="1385013" y="649948"/>
                    <a:pt x="1386381" y="650752"/>
                    <a:pt x="1387748" y="650752"/>
                  </a:cubicBezTo>
                  <a:lnTo>
                    <a:pt x="1564159" y="650752"/>
                  </a:lnTo>
                  <a:lnTo>
                    <a:pt x="1564159" y="664683"/>
                  </a:lnTo>
                  <a:cubicBezTo>
                    <a:pt x="1564159" y="666558"/>
                    <a:pt x="1564746" y="668434"/>
                    <a:pt x="1565722" y="669773"/>
                  </a:cubicBezTo>
                  <a:cubicBezTo>
                    <a:pt x="1566699" y="671113"/>
                    <a:pt x="1568067" y="671917"/>
                    <a:pt x="1569434" y="671917"/>
                  </a:cubicBezTo>
                  <a:lnTo>
                    <a:pt x="1578909" y="671917"/>
                  </a:lnTo>
                  <a:lnTo>
                    <a:pt x="1578909" y="685848"/>
                  </a:lnTo>
                  <a:cubicBezTo>
                    <a:pt x="1578909" y="687723"/>
                    <a:pt x="1579495" y="689599"/>
                    <a:pt x="1580472" y="690938"/>
                  </a:cubicBezTo>
                  <a:cubicBezTo>
                    <a:pt x="1581449" y="692278"/>
                    <a:pt x="1582817" y="693081"/>
                    <a:pt x="1584184" y="693081"/>
                  </a:cubicBezTo>
                  <a:lnTo>
                    <a:pt x="1625601" y="693081"/>
                  </a:lnTo>
                  <a:lnTo>
                    <a:pt x="1625601" y="707013"/>
                  </a:lnTo>
                  <a:cubicBezTo>
                    <a:pt x="1625601" y="708888"/>
                    <a:pt x="1626187" y="710763"/>
                    <a:pt x="1627163" y="712103"/>
                  </a:cubicBezTo>
                  <a:cubicBezTo>
                    <a:pt x="1628140" y="713443"/>
                    <a:pt x="1629508" y="714246"/>
                    <a:pt x="1630875" y="714246"/>
                  </a:cubicBezTo>
                  <a:lnTo>
                    <a:pt x="1723770" y="714246"/>
                  </a:lnTo>
                  <a:lnTo>
                    <a:pt x="1723770" y="728178"/>
                  </a:lnTo>
                  <a:cubicBezTo>
                    <a:pt x="1723770" y="730053"/>
                    <a:pt x="1724356" y="731928"/>
                    <a:pt x="1725332" y="733268"/>
                  </a:cubicBezTo>
                  <a:cubicBezTo>
                    <a:pt x="1726309" y="734607"/>
                    <a:pt x="1727677" y="735411"/>
                    <a:pt x="1729044" y="735411"/>
                  </a:cubicBezTo>
                  <a:lnTo>
                    <a:pt x="1772903" y="735411"/>
                  </a:lnTo>
                  <a:lnTo>
                    <a:pt x="1772903" y="749342"/>
                  </a:lnTo>
                  <a:cubicBezTo>
                    <a:pt x="1772903" y="751218"/>
                    <a:pt x="1773489" y="753093"/>
                    <a:pt x="1774466" y="754433"/>
                  </a:cubicBezTo>
                  <a:cubicBezTo>
                    <a:pt x="1775443" y="755772"/>
                    <a:pt x="1776810" y="756576"/>
                    <a:pt x="1778178" y="756576"/>
                  </a:cubicBezTo>
                  <a:lnTo>
                    <a:pt x="1797421" y="756576"/>
                  </a:lnTo>
                  <a:lnTo>
                    <a:pt x="1797421" y="770507"/>
                  </a:lnTo>
                  <a:cubicBezTo>
                    <a:pt x="1797421" y="772383"/>
                    <a:pt x="1798007" y="774258"/>
                    <a:pt x="1798984" y="775598"/>
                  </a:cubicBezTo>
                  <a:cubicBezTo>
                    <a:pt x="1799960" y="776937"/>
                    <a:pt x="1801328" y="777741"/>
                    <a:pt x="1802695" y="777741"/>
                  </a:cubicBezTo>
                  <a:lnTo>
                    <a:pt x="2074834" y="777741"/>
                  </a:lnTo>
                  <a:lnTo>
                    <a:pt x="2074834" y="792878"/>
                  </a:lnTo>
                  <a:cubicBezTo>
                    <a:pt x="2074834" y="794753"/>
                    <a:pt x="2075420" y="796628"/>
                    <a:pt x="2076397" y="797968"/>
                  </a:cubicBezTo>
                  <a:cubicBezTo>
                    <a:pt x="2077373" y="799308"/>
                    <a:pt x="2078741" y="800111"/>
                    <a:pt x="2080108" y="800111"/>
                  </a:cubicBezTo>
                  <a:lnTo>
                    <a:pt x="2096909" y="800111"/>
                  </a:lnTo>
                  <a:lnTo>
                    <a:pt x="2096909" y="815248"/>
                  </a:lnTo>
                  <a:cubicBezTo>
                    <a:pt x="2096909" y="817124"/>
                    <a:pt x="2097496" y="818999"/>
                    <a:pt x="2098472" y="820338"/>
                  </a:cubicBezTo>
                  <a:cubicBezTo>
                    <a:pt x="2099449" y="821678"/>
                    <a:pt x="2100817" y="822482"/>
                    <a:pt x="2102184" y="822482"/>
                  </a:cubicBezTo>
                  <a:lnTo>
                    <a:pt x="2128851" y="822482"/>
                  </a:lnTo>
                  <a:lnTo>
                    <a:pt x="2128851" y="837619"/>
                  </a:lnTo>
                  <a:cubicBezTo>
                    <a:pt x="2128851" y="839494"/>
                    <a:pt x="2129437" y="841369"/>
                    <a:pt x="2130414" y="842709"/>
                  </a:cubicBezTo>
                  <a:cubicBezTo>
                    <a:pt x="2131391" y="844048"/>
                    <a:pt x="2132758" y="844852"/>
                    <a:pt x="2134126" y="844852"/>
                  </a:cubicBezTo>
                  <a:lnTo>
                    <a:pt x="2141159" y="844852"/>
                  </a:lnTo>
                  <a:lnTo>
                    <a:pt x="2141159" y="860123"/>
                  </a:lnTo>
                  <a:cubicBezTo>
                    <a:pt x="2141159" y="861998"/>
                    <a:pt x="2141745" y="863874"/>
                    <a:pt x="2142722" y="865213"/>
                  </a:cubicBezTo>
                  <a:cubicBezTo>
                    <a:pt x="2143699" y="866553"/>
                    <a:pt x="2145066" y="867356"/>
                    <a:pt x="2146434" y="867356"/>
                  </a:cubicBezTo>
                  <a:lnTo>
                    <a:pt x="2300769" y="867356"/>
                  </a:lnTo>
                  <a:lnTo>
                    <a:pt x="2300769" y="882493"/>
                  </a:lnTo>
                  <a:cubicBezTo>
                    <a:pt x="2300769" y="884369"/>
                    <a:pt x="2301355" y="886244"/>
                    <a:pt x="2302332" y="887584"/>
                  </a:cubicBezTo>
                  <a:cubicBezTo>
                    <a:pt x="2303309" y="888923"/>
                    <a:pt x="2304676" y="889727"/>
                    <a:pt x="2306044" y="889727"/>
                  </a:cubicBezTo>
                  <a:lnTo>
                    <a:pt x="2337594" y="889727"/>
                  </a:lnTo>
                  <a:lnTo>
                    <a:pt x="2337594" y="904998"/>
                  </a:lnTo>
                  <a:cubicBezTo>
                    <a:pt x="2337594" y="906873"/>
                    <a:pt x="2338181" y="908749"/>
                    <a:pt x="2339157" y="910088"/>
                  </a:cubicBezTo>
                  <a:cubicBezTo>
                    <a:pt x="2340134" y="911428"/>
                    <a:pt x="2341502" y="912231"/>
                    <a:pt x="2342869" y="912231"/>
                  </a:cubicBezTo>
                  <a:lnTo>
                    <a:pt x="2391612" y="912231"/>
                  </a:lnTo>
                  <a:lnTo>
                    <a:pt x="2391612" y="927770"/>
                  </a:lnTo>
                  <a:cubicBezTo>
                    <a:pt x="2391612" y="929645"/>
                    <a:pt x="2392198" y="931521"/>
                    <a:pt x="2393175" y="932860"/>
                  </a:cubicBezTo>
                  <a:cubicBezTo>
                    <a:pt x="2394152" y="934200"/>
                    <a:pt x="2395519" y="935004"/>
                    <a:pt x="2396887" y="935004"/>
                  </a:cubicBezTo>
                  <a:lnTo>
                    <a:pt x="2457937" y="935004"/>
                  </a:lnTo>
                  <a:lnTo>
                    <a:pt x="2457937" y="951346"/>
                  </a:lnTo>
                  <a:cubicBezTo>
                    <a:pt x="2457937" y="953221"/>
                    <a:pt x="2458523" y="955097"/>
                    <a:pt x="2459500" y="956436"/>
                  </a:cubicBezTo>
                  <a:cubicBezTo>
                    <a:pt x="2460477" y="957776"/>
                    <a:pt x="2461844" y="958580"/>
                    <a:pt x="2463212" y="958580"/>
                  </a:cubicBezTo>
                  <a:lnTo>
                    <a:pt x="2489878" y="958580"/>
                  </a:lnTo>
                  <a:lnTo>
                    <a:pt x="2489878" y="974922"/>
                  </a:lnTo>
                  <a:cubicBezTo>
                    <a:pt x="2489878" y="976798"/>
                    <a:pt x="2490465" y="978673"/>
                    <a:pt x="2491441" y="980012"/>
                  </a:cubicBezTo>
                  <a:cubicBezTo>
                    <a:pt x="2492418" y="981352"/>
                    <a:pt x="2493786" y="982156"/>
                    <a:pt x="2495153" y="982156"/>
                  </a:cubicBezTo>
                  <a:lnTo>
                    <a:pt x="2661699" y="982156"/>
                  </a:lnTo>
                  <a:lnTo>
                    <a:pt x="2661699" y="999034"/>
                  </a:lnTo>
                  <a:cubicBezTo>
                    <a:pt x="2661699" y="1000909"/>
                    <a:pt x="2662285" y="1002785"/>
                    <a:pt x="2663262" y="1004124"/>
                  </a:cubicBezTo>
                  <a:cubicBezTo>
                    <a:pt x="2664238" y="1005464"/>
                    <a:pt x="2665606" y="1006267"/>
                    <a:pt x="2666973" y="1006267"/>
                  </a:cubicBezTo>
                  <a:lnTo>
                    <a:pt x="3098624" y="1006267"/>
                  </a:lnTo>
                  <a:lnTo>
                    <a:pt x="3098624" y="1026361"/>
                  </a:lnTo>
                  <a:cubicBezTo>
                    <a:pt x="3098624" y="1028236"/>
                    <a:pt x="3099210" y="1030111"/>
                    <a:pt x="3100187" y="1031451"/>
                  </a:cubicBezTo>
                  <a:cubicBezTo>
                    <a:pt x="3101164" y="1032791"/>
                    <a:pt x="3102531" y="1033594"/>
                    <a:pt x="3103899" y="1033594"/>
                  </a:cubicBezTo>
                  <a:lnTo>
                    <a:pt x="3206659" y="1033594"/>
                  </a:lnTo>
                  <a:lnTo>
                    <a:pt x="3206659" y="1057170"/>
                  </a:lnTo>
                  <a:cubicBezTo>
                    <a:pt x="3206659" y="1059046"/>
                    <a:pt x="3207245" y="1060921"/>
                    <a:pt x="3208222" y="1062261"/>
                  </a:cubicBezTo>
                  <a:cubicBezTo>
                    <a:pt x="3209199" y="1063600"/>
                    <a:pt x="3210566" y="1064404"/>
                    <a:pt x="3211934" y="1064404"/>
                  </a:cubicBezTo>
                  <a:lnTo>
                    <a:pt x="3883390" y="1064404"/>
                  </a:lnTo>
                  <a:lnTo>
                    <a:pt x="3883390" y="1050071"/>
                  </a:lnTo>
                  <a:lnTo>
                    <a:pt x="3217208" y="1050071"/>
                  </a:lnTo>
                  <a:lnTo>
                    <a:pt x="3217208" y="1026495"/>
                  </a:lnTo>
                  <a:cubicBezTo>
                    <a:pt x="3217208" y="1024619"/>
                    <a:pt x="3216622" y="1022744"/>
                    <a:pt x="3215645" y="1021404"/>
                  </a:cubicBezTo>
                  <a:cubicBezTo>
                    <a:pt x="3214669" y="1020065"/>
                    <a:pt x="3213301" y="1019261"/>
                    <a:pt x="3211934" y="1019261"/>
                  </a:cubicBezTo>
                  <a:lnTo>
                    <a:pt x="3109174" y="1019261"/>
                  </a:lnTo>
                  <a:lnTo>
                    <a:pt x="3109174" y="999168"/>
                  </a:lnTo>
                  <a:cubicBezTo>
                    <a:pt x="3109174" y="997293"/>
                    <a:pt x="3108587" y="995417"/>
                    <a:pt x="3107611" y="994078"/>
                  </a:cubicBezTo>
                  <a:cubicBezTo>
                    <a:pt x="3106634" y="992738"/>
                    <a:pt x="3105266" y="991934"/>
                    <a:pt x="3103899" y="991934"/>
                  </a:cubicBezTo>
                  <a:lnTo>
                    <a:pt x="2672248" y="991934"/>
                  </a:lnTo>
                  <a:lnTo>
                    <a:pt x="2672248" y="975056"/>
                  </a:lnTo>
                  <a:cubicBezTo>
                    <a:pt x="2672248" y="973181"/>
                    <a:pt x="2671662" y="971305"/>
                    <a:pt x="2670685" y="969966"/>
                  </a:cubicBezTo>
                  <a:cubicBezTo>
                    <a:pt x="2669708" y="968626"/>
                    <a:pt x="2668341" y="967822"/>
                    <a:pt x="2666973" y="967822"/>
                  </a:cubicBezTo>
                  <a:lnTo>
                    <a:pt x="2500428" y="967822"/>
                  </a:lnTo>
                  <a:lnTo>
                    <a:pt x="2500428" y="951480"/>
                  </a:lnTo>
                  <a:cubicBezTo>
                    <a:pt x="2500428" y="949605"/>
                    <a:pt x="2499842" y="947729"/>
                    <a:pt x="2498865" y="946390"/>
                  </a:cubicBezTo>
                  <a:cubicBezTo>
                    <a:pt x="2497888" y="945050"/>
                    <a:pt x="2496521" y="944247"/>
                    <a:pt x="2495153" y="944247"/>
                  </a:cubicBezTo>
                  <a:lnTo>
                    <a:pt x="2468486" y="944247"/>
                  </a:lnTo>
                  <a:lnTo>
                    <a:pt x="2468486" y="927904"/>
                  </a:lnTo>
                  <a:cubicBezTo>
                    <a:pt x="2468486" y="926029"/>
                    <a:pt x="2467900" y="924153"/>
                    <a:pt x="2466924" y="922814"/>
                  </a:cubicBezTo>
                  <a:cubicBezTo>
                    <a:pt x="2465947" y="921474"/>
                    <a:pt x="2464579" y="920670"/>
                    <a:pt x="2463212" y="920670"/>
                  </a:cubicBezTo>
                  <a:lnTo>
                    <a:pt x="2402161" y="920670"/>
                  </a:lnTo>
                  <a:lnTo>
                    <a:pt x="2402161" y="905132"/>
                  </a:lnTo>
                  <a:cubicBezTo>
                    <a:pt x="2402161" y="903256"/>
                    <a:pt x="2401575" y="901381"/>
                    <a:pt x="2400599" y="900041"/>
                  </a:cubicBezTo>
                  <a:cubicBezTo>
                    <a:pt x="2399622" y="898702"/>
                    <a:pt x="2398254" y="897898"/>
                    <a:pt x="2396887" y="897898"/>
                  </a:cubicBezTo>
                  <a:lnTo>
                    <a:pt x="2348144" y="897898"/>
                  </a:lnTo>
                  <a:lnTo>
                    <a:pt x="2348144" y="882627"/>
                  </a:lnTo>
                  <a:cubicBezTo>
                    <a:pt x="2348144" y="880752"/>
                    <a:pt x="2347558" y="878877"/>
                    <a:pt x="2346581" y="877537"/>
                  </a:cubicBezTo>
                  <a:cubicBezTo>
                    <a:pt x="2345604" y="876198"/>
                    <a:pt x="2344237" y="875394"/>
                    <a:pt x="2342869" y="875394"/>
                  </a:cubicBezTo>
                  <a:lnTo>
                    <a:pt x="2311318" y="875394"/>
                  </a:lnTo>
                  <a:lnTo>
                    <a:pt x="2311318" y="860257"/>
                  </a:lnTo>
                  <a:cubicBezTo>
                    <a:pt x="2311318" y="858382"/>
                    <a:pt x="2310732" y="856506"/>
                    <a:pt x="2309755" y="855167"/>
                  </a:cubicBezTo>
                  <a:cubicBezTo>
                    <a:pt x="2308779" y="853827"/>
                    <a:pt x="2307411" y="853023"/>
                    <a:pt x="2306044" y="853023"/>
                  </a:cubicBezTo>
                  <a:lnTo>
                    <a:pt x="2151708" y="853023"/>
                  </a:lnTo>
                  <a:lnTo>
                    <a:pt x="2151708" y="837752"/>
                  </a:lnTo>
                  <a:cubicBezTo>
                    <a:pt x="2151708" y="835877"/>
                    <a:pt x="2151122" y="834002"/>
                    <a:pt x="2150146" y="832662"/>
                  </a:cubicBezTo>
                  <a:cubicBezTo>
                    <a:pt x="2149169" y="831323"/>
                    <a:pt x="2147801" y="830519"/>
                    <a:pt x="2146434" y="830519"/>
                  </a:cubicBezTo>
                  <a:lnTo>
                    <a:pt x="2139498" y="830519"/>
                  </a:lnTo>
                  <a:lnTo>
                    <a:pt x="2139498" y="815382"/>
                  </a:lnTo>
                  <a:cubicBezTo>
                    <a:pt x="2139498" y="813507"/>
                    <a:pt x="2138912" y="811631"/>
                    <a:pt x="2137935" y="810292"/>
                  </a:cubicBezTo>
                  <a:cubicBezTo>
                    <a:pt x="2136959" y="808952"/>
                    <a:pt x="2135591" y="808149"/>
                    <a:pt x="2134224" y="808149"/>
                  </a:cubicBezTo>
                  <a:lnTo>
                    <a:pt x="2107557" y="808149"/>
                  </a:lnTo>
                  <a:lnTo>
                    <a:pt x="2107557" y="793012"/>
                  </a:lnTo>
                  <a:cubicBezTo>
                    <a:pt x="2107557" y="791136"/>
                    <a:pt x="2106971" y="789261"/>
                    <a:pt x="2105994" y="787921"/>
                  </a:cubicBezTo>
                  <a:cubicBezTo>
                    <a:pt x="2105017" y="786582"/>
                    <a:pt x="2103649" y="785778"/>
                    <a:pt x="2102282" y="785778"/>
                  </a:cubicBezTo>
                  <a:lnTo>
                    <a:pt x="2085481" y="785778"/>
                  </a:lnTo>
                  <a:lnTo>
                    <a:pt x="2085481" y="770641"/>
                  </a:lnTo>
                  <a:cubicBezTo>
                    <a:pt x="2085481" y="768766"/>
                    <a:pt x="2084895" y="766891"/>
                    <a:pt x="2083918" y="765551"/>
                  </a:cubicBezTo>
                  <a:cubicBezTo>
                    <a:pt x="2082941" y="764211"/>
                    <a:pt x="2081574" y="763408"/>
                    <a:pt x="2080206" y="763408"/>
                  </a:cubicBezTo>
                  <a:lnTo>
                    <a:pt x="1808068" y="763408"/>
                  </a:lnTo>
                  <a:lnTo>
                    <a:pt x="1808068" y="749476"/>
                  </a:lnTo>
                  <a:cubicBezTo>
                    <a:pt x="1808068" y="747601"/>
                    <a:pt x="1807482" y="745726"/>
                    <a:pt x="1806505" y="744386"/>
                  </a:cubicBezTo>
                  <a:cubicBezTo>
                    <a:pt x="1805528" y="743047"/>
                    <a:pt x="1804161" y="742243"/>
                    <a:pt x="1802793" y="742243"/>
                  </a:cubicBezTo>
                  <a:lnTo>
                    <a:pt x="1783550" y="742243"/>
                  </a:lnTo>
                  <a:lnTo>
                    <a:pt x="1783550" y="728312"/>
                  </a:lnTo>
                  <a:cubicBezTo>
                    <a:pt x="1783550" y="726436"/>
                    <a:pt x="1782964" y="724561"/>
                    <a:pt x="1781987" y="723221"/>
                  </a:cubicBezTo>
                  <a:cubicBezTo>
                    <a:pt x="1781010" y="721882"/>
                    <a:pt x="1779643" y="721078"/>
                    <a:pt x="1778275" y="721078"/>
                  </a:cubicBezTo>
                  <a:lnTo>
                    <a:pt x="1734417" y="721078"/>
                  </a:lnTo>
                  <a:lnTo>
                    <a:pt x="1734417" y="707147"/>
                  </a:lnTo>
                  <a:cubicBezTo>
                    <a:pt x="1734417" y="705271"/>
                    <a:pt x="1733831" y="703396"/>
                    <a:pt x="1732854" y="702056"/>
                  </a:cubicBezTo>
                  <a:cubicBezTo>
                    <a:pt x="1731877" y="700717"/>
                    <a:pt x="1730510" y="699913"/>
                    <a:pt x="1729142" y="699913"/>
                  </a:cubicBezTo>
                  <a:lnTo>
                    <a:pt x="1636248" y="699913"/>
                  </a:lnTo>
                  <a:lnTo>
                    <a:pt x="1636248" y="685982"/>
                  </a:lnTo>
                  <a:cubicBezTo>
                    <a:pt x="1636248" y="684107"/>
                    <a:pt x="1635662" y="682231"/>
                    <a:pt x="1634685" y="680892"/>
                  </a:cubicBezTo>
                  <a:cubicBezTo>
                    <a:pt x="1633708" y="679552"/>
                    <a:pt x="1632341" y="678748"/>
                    <a:pt x="1630973" y="678748"/>
                  </a:cubicBezTo>
                  <a:lnTo>
                    <a:pt x="1589557" y="678748"/>
                  </a:lnTo>
                  <a:lnTo>
                    <a:pt x="1589557" y="664817"/>
                  </a:lnTo>
                  <a:cubicBezTo>
                    <a:pt x="1589557" y="662942"/>
                    <a:pt x="1588970" y="661066"/>
                    <a:pt x="1587994" y="659727"/>
                  </a:cubicBezTo>
                  <a:cubicBezTo>
                    <a:pt x="1587017" y="658387"/>
                    <a:pt x="1585649" y="657584"/>
                    <a:pt x="1584282" y="657584"/>
                  </a:cubicBezTo>
                  <a:lnTo>
                    <a:pt x="1574807" y="657584"/>
                  </a:lnTo>
                  <a:lnTo>
                    <a:pt x="1574807" y="643652"/>
                  </a:lnTo>
                  <a:cubicBezTo>
                    <a:pt x="1574807" y="641777"/>
                    <a:pt x="1574221" y="639901"/>
                    <a:pt x="1573244" y="638562"/>
                  </a:cubicBezTo>
                  <a:cubicBezTo>
                    <a:pt x="1572267" y="637222"/>
                    <a:pt x="1570899" y="636419"/>
                    <a:pt x="1569532" y="636419"/>
                  </a:cubicBezTo>
                  <a:lnTo>
                    <a:pt x="1393121" y="636419"/>
                  </a:lnTo>
                  <a:lnTo>
                    <a:pt x="1393121" y="622487"/>
                  </a:lnTo>
                  <a:cubicBezTo>
                    <a:pt x="1393121" y="620612"/>
                    <a:pt x="1392535" y="618737"/>
                    <a:pt x="1391558" y="617397"/>
                  </a:cubicBezTo>
                  <a:cubicBezTo>
                    <a:pt x="1390581" y="616058"/>
                    <a:pt x="1389214" y="615254"/>
                    <a:pt x="1387846" y="615254"/>
                  </a:cubicBezTo>
                  <a:lnTo>
                    <a:pt x="1297394" y="615254"/>
                  </a:lnTo>
                  <a:lnTo>
                    <a:pt x="1297394" y="601323"/>
                  </a:lnTo>
                  <a:cubicBezTo>
                    <a:pt x="1297394" y="599447"/>
                    <a:pt x="1296808" y="597572"/>
                    <a:pt x="1295831" y="596232"/>
                  </a:cubicBezTo>
                  <a:cubicBezTo>
                    <a:pt x="1295538" y="595830"/>
                    <a:pt x="1295245" y="595562"/>
                    <a:pt x="1294952" y="595295"/>
                  </a:cubicBezTo>
                  <a:lnTo>
                    <a:pt x="1294952" y="580292"/>
                  </a:lnTo>
                  <a:cubicBezTo>
                    <a:pt x="1294952" y="578416"/>
                    <a:pt x="1294366" y="576541"/>
                    <a:pt x="1293389" y="575201"/>
                  </a:cubicBezTo>
                  <a:cubicBezTo>
                    <a:pt x="1292412" y="573862"/>
                    <a:pt x="1291044" y="573058"/>
                    <a:pt x="1289677" y="573058"/>
                  </a:cubicBezTo>
                  <a:lnTo>
                    <a:pt x="1267894" y="573058"/>
                  </a:lnTo>
                  <a:lnTo>
                    <a:pt x="1267894" y="559127"/>
                  </a:lnTo>
                  <a:cubicBezTo>
                    <a:pt x="1267894" y="557251"/>
                    <a:pt x="1267308" y="555376"/>
                    <a:pt x="1266331" y="554037"/>
                  </a:cubicBezTo>
                  <a:cubicBezTo>
                    <a:pt x="1265355" y="552697"/>
                    <a:pt x="1263987" y="551893"/>
                    <a:pt x="1262620" y="551893"/>
                  </a:cubicBezTo>
                  <a:lnTo>
                    <a:pt x="1145110" y="551893"/>
                  </a:lnTo>
                  <a:lnTo>
                    <a:pt x="1145110" y="517467"/>
                  </a:lnTo>
                  <a:cubicBezTo>
                    <a:pt x="1145110" y="515592"/>
                    <a:pt x="1144524" y="513716"/>
                    <a:pt x="1143547" y="512377"/>
                  </a:cubicBezTo>
                  <a:cubicBezTo>
                    <a:pt x="1142570" y="511037"/>
                    <a:pt x="1141202" y="510233"/>
                    <a:pt x="1139835" y="510233"/>
                  </a:cubicBezTo>
                  <a:lnTo>
                    <a:pt x="1135244" y="510233"/>
                  </a:lnTo>
                  <a:lnTo>
                    <a:pt x="1135244" y="496570"/>
                  </a:lnTo>
                  <a:cubicBezTo>
                    <a:pt x="1135244" y="494695"/>
                    <a:pt x="1134658" y="492819"/>
                    <a:pt x="1133681" y="491480"/>
                  </a:cubicBezTo>
                  <a:cubicBezTo>
                    <a:pt x="1132704" y="490140"/>
                    <a:pt x="1131337" y="489336"/>
                    <a:pt x="1129969" y="489336"/>
                  </a:cubicBezTo>
                  <a:lnTo>
                    <a:pt x="1122936" y="489336"/>
                  </a:lnTo>
                  <a:lnTo>
                    <a:pt x="1122936" y="475673"/>
                  </a:lnTo>
                  <a:cubicBezTo>
                    <a:pt x="1122936" y="473798"/>
                    <a:pt x="1122350" y="471922"/>
                    <a:pt x="1121373" y="470583"/>
                  </a:cubicBezTo>
                  <a:cubicBezTo>
                    <a:pt x="1120494" y="469377"/>
                    <a:pt x="1119322" y="468573"/>
                    <a:pt x="1118052" y="468439"/>
                  </a:cubicBezTo>
                  <a:lnTo>
                    <a:pt x="1118052" y="434013"/>
                  </a:lnTo>
                  <a:cubicBezTo>
                    <a:pt x="1118052" y="432138"/>
                    <a:pt x="1117466" y="430262"/>
                    <a:pt x="1116489" y="428923"/>
                  </a:cubicBezTo>
                  <a:cubicBezTo>
                    <a:pt x="1115512" y="427583"/>
                    <a:pt x="1114145" y="426780"/>
                    <a:pt x="1112777" y="426780"/>
                  </a:cubicBezTo>
                  <a:lnTo>
                    <a:pt x="1098321" y="426780"/>
                  </a:lnTo>
                  <a:lnTo>
                    <a:pt x="1098321" y="413116"/>
                  </a:lnTo>
                  <a:cubicBezTo>
                    <a:pt x="1098321" y="411241"/>
                    <a:pt x="1097735" y="409365"/>
                    <a:pt x="1096758" y="408026"/>
                  </a:cubicBezTo>
                  <a:cubicBezTo>
                    <a:pt x="1095781" y="406686"/>
                    <a:pt x="1094414" y="405883"/>
                    <a:pt x="1093046" y="405883"/>
                  </a:cubicBezTo>
                  <a:lnTo>
                    <a:pt x="1039419" y="405883"/>
                  </a:lnTo>
                  <a:lnTo>
                    <a:pt x="1039419" y="371456"/>
                  </a:lnTo>
                  <a:cubicBezTo>
                    <a:pt x="1039419" y="369581"/>
                    <a:pt x="1038833" y="367706"/>
                    <a:pt x="1037856" y="366366"/>
                  </a:cubicBezTo>
                  <a:cubicBezTo>
                    <a:pt x="1036880" y="365026"/>
                    <a:pt x="1035512" y="364223"/>
                    <a:pt x="1034145" y="364223"/>
                  </a:cubicBezTo>
                  <a:lnTo>
                    <a:pt x="1019688" y="364223"/>
                  </a:lnTo>
                  <a:lnTo>
                    <a:pt x="1019688" y="350559"/>
                  </a:lnTo>
                  <a:cubicBezTo>
                    <a:pt x="1019688" y="348684"/>
                    <a:pt x="1019102" y="346809"/>
                    <a:pt x="1018125" y="345469"/>
                  </a:cubicBezTo>
                  <a:cubicBezTo>
                    <a:pt x="1017148" y="344130"/>
                    <a:pt x="1015781" y="343326"/>
                    <a:pt x="1014413" y="343326"/>
                  </a:cubicBezTo>
                  <a:lnTo>
                    <a:pt x="1007380" y="343326"/>
                  </a:lnTo>
                  <a:lnTo>
                    <a:pt x="1007380" y="329662"/>
                  </a:lnTo>
                  <a:cubicBezTo>
                    <a:pt x="1007380" y="327787"/>
                    <a:pt x="1006794" y="325912"/>
                    <a:pt x="1005817" y="324572"/>
                  </a:cubicBezTo>
                  <a:cubicBezTo>
                    <a:pt x="1004840" y="323233"/>
                    <a:pt x="1003473" y="322429"/>
                    <a:pt x="1002105" y="322429"/>
                  </a:cubicBezTo>
                  <a:lnTo>
                    <a:pt x="904229" y="322429"/>
                  </a:lnTo>
                  <a:lnTo>
                    <a:pt x="904229" y="308766"/>
                  </a:lnTo>
                  <a:cubicBezTo>
                    <a:pt x="904229" y="306890"/>
                    <a:pt x="903643" y="305015"/>
                    <a:pt x="902666" y="303675"/>
                  </a:cubicBezTo>
                  <a:cubicBezTo>
                    <a:pt x="901690" y="302336"/>
                    <a:pt x="900322" y="301532"/>
                    <a:pt x="898955" y="301532"/>
                  </a:cubicBezTo>
                  <a:lnTo>
                    <a:pt x="830578" y="301532"/>
                  </a:lnTo>
                  <a:lnTo>
                    <a:pt x="830578" y="287869"/>
                  </a:lnTo>
                  <a:cubicBezTo>
                    <a:pt x="830578" y="285993"/>
                    <a:pt x="829992" y="284118"/>
                    <a:pt x="829015" y="282778"/>
                  </a:cubicBezTo>
                  <a:cubicBezTo>
                    <a:pt x="828038" y="281439"/>
                    <a:pt x="826671" y="280635"/>
                    <a:pt x="825303" y="280635"/>
                  </a:cubicBezTo>
                  <a:lnTo>
                    <a:pt x="798637" y="280635"/>
                  </a:lnTo>
                  <a:lnTo>
                    <a:pt x="798637" y="266972"/>
                  </a:lnTo>
                  <a:cubicBezTo>
                    <a:pt x="798637" y="265096"/>
                    <a:pt x="798051" y="263221"/>
                    <a:pt x="797074" y="261881"/>
                  </a:cubicBezTo>
                  <a:cubicBezTo>
                    <a:pt x="796097" y="260542"/>
                    <a:pt x="794729" y="259738"/>
                    <a:pt x="793362" y="259738"/>
                  </a:cubicBezTo>
                  <a:lnTo>
                    <a:pt x="774021" y="259738"/>
                  </a:lnTo>
                  <a:lnTo>
                    <a:pt x="774021" y="246209"/>
                  </a:lnTo>
                  <a:cubicBezTo>
                    <a:pt x="774021" y="244333"/>
                    <a:pt x="773435" y="242458"/>
                    <a:pt x="772458" y="241118"/>
                  </a:cubicBezTo>
                  <a:cubicBezTo>
                    <a:pt x="771481" y="239779"/>
                    <a:pt x="770114" y="238975"/>
                    <a:pt x="768746" y="238975"/>
                  </a:cubicBezTo>
                  <a:lnTo>
                    <a:pt x="751945" y="238975"/>
                  </a:lnTo>
                  <a:lnTo>
                    <a:pt x="751945" y="225580"/>
                  </a:lnTo>
                  <a:cubicBezTo>
                    <a:pt x="751945" y="223704"/>
                    <a:pt x="751359" y="221829"/>
                    <a:pt x="750382" y="220489"/>
                  </a:cubicBezTo>
                  <a:cubicBezTo>
                    <a:pt x="749406" y="219150"/>
                    <a:pt x="748038" y="218346"/>
                    <a:pt x="746671" y="218346"/>
                  </a:cubicBezTo>
                  <a:lnTo>
                    <a:pt x="710138" y="218346"/>
                  </a:lnTo>
                  <a:lnTo>
                    <a:pt x="710138" y="204951"/>
                  </a:lnTo>
                  <a:cubicBezTo>
                    <a:pt x="710138" y="203075"/>
                    <a:pt x="709552" y="201200"/>
                    <a:pt x="708575" y="199860"/>
                  </a:cubicBezTo>
                  <a:cubicBezTo>
                    <a:pt x="707598" y="198521"/>
                    <a:pt x="706231" y="197717"/>
                    <a:pt x="704863" y="197717"/>
                  </a:cubicBezTo>
                  <a:lnTo>
                    <a:pt x="690504" y="197717"/>
                  </a:lnTo>
                  <a:lnTo>
                    <a:pt x="690504" y="184322"/>
                  </a:lnTo>
                  <a:cubicBezTo>
                    <a:pt x="690504" y="182446"/>
                    <a:pt x="689918" y="180571"/>
                    <a:pt x="688941" y="179231"/>
                  </a:cubicBezTo>
                  <a:cubicBezTo>
                    <a:pt x="687964" y="177892"/>
                    <a:pt x="686597" y="177088"/>
                    <a:pt x="685229" y="177088"/>
                  </a:cubicBezTo>
                  <a:lnTo>
                    <a:pt x="675754" y="177088"/>
                  </a:lnTo>
                  <a:lnTo>
                    <a:pt x="675754" y="163693"/>
                  </a:lnTo>
                  <a:cubicBezTo>
                    <a:pt x="675754" y="161817"/>
                    <a:pt x="675168" y="159942"/>
                    <a:pt x="674192" y="158602"/>
                  </a:cubicBezTo>
                  <a:cubicBezTo>
                    <a:pt x="673215" y="157263"/>
                    <a:pt x="671847" y="156459"/>
                    <a:pt x="670480" y="156459"/>
                  </a:cubicBezTo>
                  <a:lnTo>
                    <a:pt x="643813" y="156459"/>
                  </a:lnTo>
                  <a:lnTo>
                    <a:pt x="643813" y="143064"/>
                  </a:lnTo>
                  <a:cubicBezTo>
                    <a:pt x="643813" y="141188"/>
                    <a:pt x="643227" y="139313"/>
                    <a:pt x="642250" y="137973"/>
                  </a:cubicBezTo>
                  <a:cubicBezTo>
                    <a:pt x="641273" y="136634"/>
                    <a:pt x="639906" y="135830"/>
                    <a:pt x="638538" y="135830"/>
                  </a:cubicBezTo>
                  <a:lnTo>
                    <a:pt x="614313" y="135830"/>
                  </a:lnTo>
                  <a:lnTo>
                    <a:pt x="614313" y="122435"/>
                  </a:lnTo>
                  <a:cubicBezTo>
                    <a:pt x="614313" y="120559"/>
                    <a:pt x="613727" y="118684"/>
                    <a:pt x="612750" y="117344"/>
                  </a:cubicBezTo>
                  <a:cubicBezTo>
                    <a:pt x="611774" y="116005"/>
                    <a:pt x="610406" y="115201"/>
                    <a:pt x="609039" y="115201"/>
                  </a:cubicBezTo>
                  <a:lnTo>
                    <a:pt x="560296" y="115201"/>
                  </a:lnTo>
                  <a:lnTo>
                    <a:pt x="560296" y="101940"/>
                  </a:lnTo>
                  <a:cubicBezTo>
                    <a:pt x="560296" y="100064"/>
                    <a:pt x="559710" y="98189"/>
                    <a:pt x="558733" y="96849"/>
                  </a:cubicBezTo>
                  <a:cubicBezTo>
                    <a:pt x="557756" y="95510"/>
                    <a:pt x="556389" y="94706"/>
                    <a:pt x="555021" y="94706"/>
                  </a:cubicBezTo>
                  <a:lnTo>
                    <a:pt x="511163" y="94706"/>
                  </a:lnTo>
                  <a:lnTo>
                    <a:pt x="511163" y="81444"/>
                  </a:lnTo>
                  <a:cubicBezTo>
                    <a:pt x="511163" y="79569"/>
                    <a:pt x="510577" y="77694"/>
                    <a:pt x="509600" y="76354"/>
                  </a:cubicBezTo>
                  <a:cubicBezTo>
                    <a:pt x="508623" y="75015"/>
                    <a:pt x="507255" y="74211"/>
                    <a:pt x="505888" y="74211"/>
                  </a:cubicBezTo>
                  <a:lnTo>
                    <a:pt x="435069" y="74211"/>
                  </a:lnTo>
                  <a:lnTo>
                    <a:pt x="435069" y="60949"/>
                  </a:lnTo>
                  <a:cubicBezTo>
                    <a:pt x="435069" y="59074"/>
                    <a:pt x="434483" y="57199"/>
                    <a:pt x="433507" y="55859"/>
                  </a:cubicBezTo>
                  <a:cubicBezTo>
                    <a:pt x="432530" y="54520"/>
                    <a:pt x="431162" y="53716"/>
                    <a:pt x="429795" y="53716"/>
                  </a:cubicBezTo>
                  <a:lnTo>
                    <a:pt x="371186" y="53716"/>
                  </a:lnTo>
                  <a:lnTo>
                    <a:pt x="371186" y="40588"/>
                  </a:lnTo>
                  <a:cubicBezTo>
                    <a:pt x="371186" y="38713"/>
                    <a:pt x="370600" y="36838"/>
                    <a:pt x="369623" y="35498"/>
                  </a:cubicBezTo>
                  <a:cubicBezTo>
                    <a:pt x="368647" y="34158"/>
                    <a:pt x="367279" y="33355"/>
                    <a:pt x="365912" y="33355"/>
                  </a:cubicBezTo>
                  <a:lnTo>
                    <a:pt x="164983" y="33355"/>
                  </a:lnTo>
                  <a:lnTo>
                    <a:pt x="164983" y="20361"/>
                  </a:lnTo>
                  <a:cubicBezTo>
                    <a:pt x="164983" y="18486"/>
                    <a:pt x="164396" y="16610"/>
                    <a:pt x="163420" y="15271"/>
                  </a:cubicBezTo>
                  <a:cubicBezTo>
                    <a:pt x="162443" y="13931"/>
                    <a:pt x="161075" y="13128"/>
                    <a:pt x="159708" y="13128"/>
                  </a:cubicBezTo>
                  <a:lnTo>
                    <a:pt x="5470" y="13128"/>
                  </a:lnTo>
                  <a:lnTo>
                    <a:pt x="5470" y="0"/>
                  </a:lnTo>
                  <a:lnTo>
                    <a:pt x="429697" y="0"/>
                  </a:lnTo>
                  <a:lnTo>
                    <a:pt x="429697" y="1607"/>
                  </a:lnTo>
                  <a:lnTo>
                    <a:pt x="505790" y="1607"/>
                  </a:lnTo>
                  <a:lnTo>
                    <a:pt x="505790" y="12860"/>
                  </a:lnTo>
                  <a:lnTo>
                    <a:pt x="554826" y="12860"/>
                  </a:lnTo>
                  <a:lnTo>
                    <a:pt x="554826" y="24916"/>
                  </a:lnTo>
                  <a:lnTo>
                    <a:pt x="608843" y="24916"/>
                  </a:lnTo>
                  <a:lnTo>
                    <a:pt x="608843" y="37775"/>
                  </a:lnTo>
                  <a:lnTo>
                    <a:pt x="638245" y="37775"/>
                  </a:lnTo>
                  <a:lnTo>
                    <a:pt x="638245" y="51439"/>
                  </a:lnTo>
                  <a:lnTo>
                    <a:pt x="670187" y="51439"/>
                  </a:lnTo>
                  <a:lnTo>
                    <a:pt x="670187" y="65504"/>
                  </a:lnTo>
                  <a:lnTo>
                    <a:pt x="684936" y="65504"/>
                  </a:lnTo>
                  <a:lnTo>
                    <a:pt x="684936" y="79971"/>
                  </a:lnTo>
                  <a:lnTo>
                    <a:pt x="704570" y="79971"/>
                  </a:lnTo>
                  <a:lnTo>
                    <a:pt x="704570" y="94840"/>
                  </a:lnTo>
                  <a:lnTo>
                    <a:pt x="746377" y="94840"/>
                  </a:lnTo>
                  <a:lnTo>
                    <a:pt x="746377" y="110111"/>
                  </a:lnTo>
                  <a:lnTo>
                    <a:pt x="768453" y="110111"/>
                  </a:lnTo>
                  <a:lnTo>
                    <a:pt x="768453" y="125649"/>
                  </a:lnTo>
                  <a:lnTo>
                    <a:pt x="792971" y="125649"/>
                  </a:lnTo>
                  <a:lnTo>
                    <a:pt x="792971" y="141456"/>
                  </a:lnTo>
                  <a:lnTo>
                    <a:pt x="824815" y="141456"/>
                  </a:lnTo>
                  <a:lnTo>
                    <a:pt x="824815" y="157665"/>
                  </a:lnTo>
                  <a:lnTo>
                    <a:pt x="898466" y="157665"/>
                  </a:lnTo>
                  <a:lnTo>
                    <a:pt x="898466" y="174007"/>
                  </a:lnTo>
                  <a:lnTo>
                    <a:pt x="1001519" y="174007"/>
                  </a:lnTo>
                  <a:lnTo>
                    <a:pt x="1001519" y="190617"/>
                  </a:lnTo>
                  <a:lnTo>
                    <a:pt x="1013827" y="190617"/>
                  </a:lnTo>
                  <a:lnTo>
                    <a:pt x="1013827" y="207362"/>
                  </a:lnTo>
                  <a:lnTo>
                    <a:pt x="1033461" y="207362"/>
                  </a:lnTo>
                  <a:lnTo>
                    <a:pt x="1033461" y="241386"/>
                  </a:lnTo>
                  <a:lnTo>
                    <a:pt x="1092362" y="241386"/>
                  </a:lnTo>
                  <a:lnTo>
                    <a:pt x="1092362" y="258666"/>
                  </a:lnTo>
                  <a:lnTo>
                    <a:pt x="1111996" y="258666"/>
                  </a:lnTo>
                  <a:lnTo>
                    <a:pt x="1111996" y="293629"/>
                  </a:lnTo>
                  <a:lnTo>
                    <a:pt x="1116880" y="293629"/>
                  </a:lnTo>
                  <a:lnTo>
                    <a:pt x="1116880" y="311311"/>
                  </a:lnTo>
                  <a:lnTo>
                    <a:pt x="1129188" y="311311"/>
                  </a:lnTo>
                  <a:lnTo>
                    <a:pt x="1129188" y="329127"/>
                  </a:lnTo>
                  <a:lnTo>
                    <a:pt x="1139053" y="329127"/>
                  </a:lnTo>
                  <a:lnTo>
                    <a:pt x="1139053" y="365026"/>
                  </a:lnTo>
                  <a:lnTo>
                    <a:pt x="1261740" y="365026"/>
                  </a:lnTo>
                  <a:lnTo>
                    <a:pt x="1261740" y="383378"/>
                  </a:lnTo>
                  <a:lnTo>
                    <a:pt x="1288798" y="383378"/>
                  </a:lnTo>
                  <a:lnTo>
                    <a:pt x="1288798" y="401864"/>
                  </a:lnTo>
                  <a:lnTo>
                    <a:pt x="1291240" y="401864"/>
                  </a:lnTo>
                  <a:lnTo>
                    <a:pt x="1291240" y="420484"/>
                  </a:lnTo>
                  <a:lnTo>
                    <a:pt x="1386967" y="420484"/>
                  </a:lnTo>
                  <a:lnTo>
                    <a:pt x="1386967" y="439103"/>
                  </a:lnTo>
                  <a:lnTo>
                    <a:pt x="1568555" y="439103"/>
                  </a:lnTo>
                  <a:lnTo>
                    <a:pt x="1568555" y="457991"/>
                  </a:lnTo>
                  <a:lnTo>
                    <a:pt x="1583305" y="457991"/>
                  </a:lnTo>
                  <a:lnTo>
                    <a:pt x="1583305" y="476879"/>
                  </a:lnTo>
                  <a:lnTo>
                    <a:pt x="1629898" y="476879"/>
                  </a:lnTo>
                  <a:lnTo>
                    <a:pt x="1629898" y="495900"/>
                  </a:lnTo>
                  <a:lnTo>
                    <a:pt x="1728068" y="495900"/>
                  </a:lnTo>
                  <a:lnTo>
                    <a:pt x="1728068" y="514922"/>
                  </a:lnTo>
                  <a:lnTo>
                    <a:pt x="1777201" y="514922"/>
                  </a:lnTo>
                  <a:lnTo>
                    <a:pt x="1777201" y="534077"/>
                  </a:lnTo>
                  <a:lnTo>
                    <a:pt x="1801719" y="534077"/>
                  </a:lnTo>
                  <a:lnTo>
                    <a:pt x="1801719" y="553367"/>
                  </a:lnTo>
                  <a:lnTo>
                    <a:pt x="2079132" y="553367"/>
                  </a:lnTo>
                  <a:lnTo>
                    <a:pt x="2079132" y="573594"/>
                  </a:lnTo>
                  <a:lnTo>
                    <a:pt x="2101207" y="573594"/>
                  </a:lnTo>
                  <a:lnTo>
                    <a:pt x="2101207" y="593955"/>
                  </a:lnTo>
                  <a:lnTo>
                    <a:pt x="2133149" y="593955"/>
                  </a:lnTo>
                  <a:lnTo>
                    <a:pt x="2133149" y="614450"/>
                  </a:lnTo>
                  <a:lnTo>
                    <a:pt x="2145359" y="614450"/>
                  </a:lnTo>
                  <a:lnTo>
                    <a:pt x="2145359" y="635079"/>
                  </a:lnTo>
                  <a:lnTo>
                    <a:pt x="2304871" y="635079"/>
                  </a:lnTo>
                  <a:lnTo>
                    <a:pt x="2304871" y="655708"/>
                  </a:lnTo>
                  <a:lnTo>
                    <a:pt x="2341697" y="655708"/>
                  </a:lnTo>
                  <a:lnTo>
                    <a:pt x="2341697" y="676471"/>
                  </a:lnTo>
                  <a:lnTo>
                    <a:pt x="2395715" y="676471"/>
                  </a:lnTo>
                  <a:lnTo>
                    <a:pt x="2395715" y="697502"/>
                  </a:lnTo>
                  <a:lnTo>
                    <a:pt x="2461942" y="697502"/>
                  </a:lnTo>
                  <a:lnTo>
                    <a:pt x="2461942" y="719337"/>
                  </a:lnTo>
                  <a:lnTo>
                    <a:pt x="2493883" y="719337"/>
                  </a:lnTo>
                  <a:lnTo>
                    <a:pt x="2493883" y="741305"/>
                  </a:lnTo>
                  <a:lnTo>
                    <a:pt x="2665606" y="741305"/>
                  </a:lnTo>
                  <a:lnTo>
                    <a:pt x="2665606" y="763542"/>
                  </a:lnTo>
                  <a:lnTo>
                    <a:pt x="3102434" y="763542"/>
                  </a:lnTo>
                  <a:lnTo>
                    <a:pt x="3102434" y="788189"/>
                  </a:lnTo>
                  <a:lnTo>
                    <a:pt x="3210371" y="788189"/>
                  </a:lnTo>
                  <a:lnTo>
                    <a:pt x="3210371" y="815114"/>
                  </a:lnTo>
                  <a:lnTo>
                    <a:pt x="3881827" y="815114"/>
                  </a:lnTo>
                  <a:lnTo>
                    <a:pt x="3881827" y="1253548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41" name="Freihandform: Form 740">
              <a:extLst>
                <a:ext uri="{FF2B5EF4-FFF2-40B4-BE49-F238E27FC236}">
                  <a16:creationId xmlns:a16="http://schemas.microsoft.com/office/drawing/2014/main" id="{906EC72C-4F2D-C539-D1E2-B122BA6BD088}"/>
                </a:ext>
              </a:extLst>
            </p:cNvPr>
            <p:cNvSpPr/>
            <p:nvPr/>
          </p:nvSpPr>
          <p:spPr>
            <a:xfrm>
              <a:off x="4074445" y="2637047"/>
              <a:ext cx="1577053" cy="188876"/>
            </a:xfrm>
            <a:custGeom>
              <a:avLst/>
              <a:gdLst>
                <a:gd name="connsiteX0" fmla="*/ 1576858 w 1577053"/>
                <a:gd name="connsiteY0" fmla="*/ 188876 h 188876"/>
                <a:gd name="connsiteX1" fmla="*/ 974462 w 1577053"/>
                <a:gd name="connsiteY1" fmla="*/ 188876 h 188876"/>
                <a:gd name="connsiteX2" fmla="*/ 972997 w 1577053"/>
                <a:gd name="connsiteY2" fmla="*/ 185125 h 188876"/>
                <a:gd name="connsiteX3" fmla="*/ 969285 w 1577053"/>
                <a:gd name="connsiteY3" fmla="*/ 182982 h 188876"/>
                <a:gd name="connsiteX4" fmla="*/ 905499 w 1577053"/>
                <a:gd name="connsiteY4" fmla="*/ 182982 h 188876"/>
                <a:gd name="connsiteX5" fmla="*/ 905499 w 1577053"/>
                <a:gd name="connsiteY5" fmla="*/ 156325 h 188876"/>
                <a:gd name="connsiteX6" fmla="*/ 797562 w 1577053"/>
                <a:gd name="connsiteY6" fmla="*/ 156325 h 188876"/>
                <a:gd name="connsiteX7" fmla="*/ 797562 w 1577053"/>
                <a:gd name="connsiteY7" fmla="*/ 127927 h 188876"/>
                <a:gd name="connsiteX8" fmla="*/ 411138 w 1577053"/>
                <a:gd name="connsiteY8" fmla="*/ 127927 h 188876"/>
                <a:gd name="connsiteX9" fmla="*/ 409770 w 1577053"/>
                <a:gd name="connsiteY9" fmla="*/ 127659 h 188876"/>
                <a:gd name="connsiteX10" fmla="*/ 360735 w 1577053"/>
                <a:gd name="connsiteY10" fmla="*/ 127659 h 188876"/>
                <a:gd name="connsiteX11" fmla="*/ 360735 w 1577053"/>
                <a:gd name="connsiteY11" fmla="*/ 103279 h 188876"/>
                <a:gd name="connsiteX12" fmla="*/ 189012 w 1577053"/>
                <a:gd name="connsiteY12" fmla="*/ 103279 h 188876"/>
                <a:gd name="connsiteX13" fmla="*/ 189012 w 1577053"/>
                <a:gd name="connsiteY13" fmla="*/ 79033 h 188876"/>
                <a:gd name="connsiteX14" fmla="*/ 157071 w 1577053"/>
                <a:gd name="connsiteY14" fmla="*/ 79033 h 188876"/>
                <a:gd name="connsiteX15" fmla="*/ 157071 w 1577053"/>
                <a:gd name="connsiteY15" fmla="*/ 54653 h 188876"/>
                <a:gd name="connsiteX16" fmla="*/ 90843 w 1577053"/>
                <a:gd name="connsiteY16" fmla="*/ 54653 h 188876"/>
                <a:gd name="connsiteX17" fmla="*/ 90843 w 1577053"/>
                <a:gd name="connsiteY17" fmla="*/ 31211 h 188876"/>
                <a:gd name="connsiteX18" fmla="*/ 36826 w 1577053"/>
                <a:gd name="connsiteY18" fmla="*/ 31211 h 188876"/>
                <a:gd name="connsiteX19" fmla="*/ 36826 w 1577053"/>
                <a:gd name="connsiteY19" fmla="*/ 8037 h 188876"/>
                <a:gd name="connsiteX20" fmla="*/ 0 w 1577053"/>
                <a:gd name="connsiteY20" fmla="*/ 8037 h 188876"/>
                <a:gd name="connsiteX21" fmla="*/ 0 w 1577053"/>
                <a:gd name="connsiteY21" fmla="*/ 0 h 188876"/>
                <a:gd name="connsiteX22" fmla="*/ 22076 w 1577053"/>
                <a:gd name="connsiteY22" fmla="*/ 0 h 188876"/>
                <a:gd name="connsiteX23" fmla="*/ 22076 w 1577053"/>
                <a:gd name="connsiteY23" fmla="*/ 5492 h 188876"/>
                <a:gd name="connsiteX24" fmla="*/ 39268 w 1577053"/>
                <a:gd name="connsiteY24" fmla="*/ 5492 h 188876"/>
                <a:gd name="connsiteX25" fmla="*/ 39268 w 1577053"/>
                <a:gd name="connsiteY25" fmla="*/ 10984 h 188876"/>
                <a:gd name="connsiteX26" fmla="*/ 78535 w 1577053"/>
                <a:gd name="connsiteY26" fmla="*/ 10984 h 188876"/>
                <a:gd name="connsiteX27" fmla="*/ 78535 w 1577053"/>
                <a:gd name="connsiteY27" fmla="*/ 16476 h 188876"/>
                <a:gd name="connsiteX28" fmla="*/ 225740 w 1577053"/>
                <a:gd name="connsiteY28" fmla="*/ 16476 h 188876"/>
                <a:gd name="connsiteX29" fmla="*/ 225740 w 1577053"/>
                <a:gd name="connsiteY29" fmla="*/ 27729 h 188876"/>
                <a:gd name="connsiteX30" fmla="*/ 409770 w 1577053"/>
                <a:gd name="connsiteY30" fmla="*/ 27729 h 188876"/>
                <a:gd name="connsiteX31" fmla="*/ 409770 w 1577053"/>
                <a:gd name="connsiteY31" fmla="*/ 33355 h 188876"/>
                <a:gd name="connsiteX32" fmla="*/ 463788 w 1577053"/>
                <a:gd name="connsiteY32" fmla="*/ 33355 h 188876"/>
                <a:gd name="connsiteX33" fmla="*/ 463788 w 1577053"/>
                <a:gd name="connsiteY33" fmla="*/ 39115 h 188876"/>
                <a:gd name="connsiteX34" fmla="*/ 552188 w 1577053"/>
                <a:gd name="connsiteY34" fmla="*/ 39115 h 188876"/>
                <a:gd name="connsiteX35" fmla="*/ 552188 w 1577053"/>
                <a:gd name="connsiteY35" fmla="*/ 45009 h 188876"/>
                <a:gd name="connsiteX36" fmla="*/ 564399 w 1577053"/>
                <a:gd name="connsiteY36" fmla="*/ 45009 h 188876"/>
                <a:gd name="connsiteX37" fmla="*/ 564399 w 1577053"/>
                <a:gd name="connsiteY37" fmla="*/ 50769 h 188876"/>
                <a:gd name="connsiteX38" fmla="*/ 566841 w 1577053"/>
                <a:gd name="connsiteY38" fmla="*/ 50769 h 188876"/>
                <a:gd name="connsiteX39" fmla="*/ 566841 w 1577053"/>
                <a:gd name="connsiteY39" fmla="*/ 56663 h 188876"/>
                <a:gd name="connsiteX40" fmla="*/ 618416 w 1577053"/>
                <a:gd name="connsiteY40" fmla="*/ 56663 h 188876"/>
                <a:gd name="connsiteX41" fmla="*/ 618416 w 1577053"/>
                <a:gd name="connsiteY41" fmla="*/ 62557 h 188876"/>
                <a:gd name="connsiteX42" fmla="*/ 777928 w 1577053"/>
                <a:gd name="connsiteY42" fmla="*/ 62557 h 188876"/>
                <a:gd name="connsiteX43" fmla="*/ 777928 w 1577053"/>
                <a:gd name="connsiteY43" fmla="*/ 68853 h 188876"/>
                <a:gd name="connsiteX44" fmla="*/ 849138 w 1577053"/>
                <a:gd name="connsiteY44" fmla="*/ 68853 h 188876"/>
                <a:gd name="connsiteX45" fmla="*/ 849138 w 1577053"/>
                <a:gd name="connsiteY45" fmla="*/ 75282 h 188876"/>
                <a:gd name="connsiteX46" fmla="*/ 866329 w 1577053"/>
                <a:gd name="connsiteY46" fmla="*/ 75282 h 188876"/>
                <a:gd name="connsiteX47" fmla="*/ 866329 w 1577053"/>
                <a:gd name="connsiteY47" fmla="*/ 81980 h 188876"/>
                <a:gd name="connsiteX48" fmla="*/ 969382 w 1577053"/>
                <a:gd name="connsiteY48" fmla="*/ 81980 h 188876"/>
                <a:gd name="connsiteX49" fmla="*/ 969382 w 1577053"/>
                <a:gd name="connsiteY49" fmla="*/ 89214 h 188876"/>
                <a:gd name="connsiteX50" fmla="*/ 981690 w 1577053"/>
                <a:gd name="connsiteY50" fmla="*/ 89214 h 188876"/>
                <a:gd name="connsiteX51" fmla="*/ 981690 w 1577053"/>
                <a:gd name="connsiteY51" fmla="*/ 96447 h 188876"/>
                <a:gd name="connsiteX52" fmla="*/ 1362058 w 1577053"/>
                <a:gd name="connsiteY52" fmla="*/ 96447 h 188876"/>
                <a:gd name="connsiteX53" fmla="*/ 1362058 w 1577053"/>
                <a:gd name="connsiteY53" fmla="*/ 107164 h 188876"/>
                <a:gd name="connsiteX54" fmla="*/ 1477419 w 1577053"/>
                <a:gd name="connsiteY54" fmla="*/ 107164 h 188876"/>
                <a:gd name="connsiteX55" fmla="*/ 1477419 w 1577053"/>
                <a:gd name="connsiteY55" fmla="*/ 119889 h 188876"/>
                <a:gd name="connsiteX56" fmla="*/ 1577053 w 1577053"/>
                <a:gd name="connsiteY56" fmla="*/ 119889 h 188876"/>
                <a:gd name="connsiteX57" fmla="*/ 1577053 w 1577053"/>
                <a:gd name="connsiteY57" fmla="*/ 188742 h 188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577053" h="188876">
                  <a:moveTo>
                    <a:pt x="1576858" y="188876"/>
                  </a:moveTo>
                  <a:lnTo>
                    <a:pt x="974462" y="188876"/>
                  </a:lnTo>
                  <a:cubicBezTo>
                    <a:pt x="974267" y="187403"/>
                    <a:pt x="973778" y="186063"/>
                    <a:pt x="972997" y="185125"/>
                  </a:cubicBezTo>
                  <a:cubicBezTo>
                    <a:pt x="972020" y="183786"/>
                    <a:pt x="970652" y="182982"/>
                    <a:pt x="969285" y="182982"/>
                  </a:cubicBezTo>
                  <a:lnTo>
                    <a:pt x="905499" y="182982"/>
                  </a:lnTo>
                  <a:lnTo>
                    <a:pt x="905499" y="156325"/>
                  </a:lnTo>
                  <a:lnTo>
                    <a:pt x="797562" y="156325"/>
                  </a:lnTo>
                  <a:lnTo>
                    <a:pt x="797562" y="127927"/>
                  </a:lnTo>
                  <a:lnTo>
                    <a:pt x="411138" y="127927"/>
                  </a:lnTo>
                  <a:cubicBezTo>
                    <a:pt x="411138" y="127927"/>
                    <a:pt x="410259" y="127659"/>
                    <a:pt x="409770" y="127659"/>
                  </a:cubicBezTo>
                  <a:lnTo>
                    <a:pt x="360735" y="127659"/>
                  </a:lnTo>
                  <a:lnTo>
                    <a:pt x="360735" y="103279"/>
                  </a:lnTo>
                  <a:lnTo>
                    <a:pt x="189012" y="103279"/>
                  </a:lnTo>
                  <a:lnTo>
                    <a:pt x="189012" y="79033"/>
                  </a:lnTo>
                  <a:lnTo>
                    <a:pt x="157071" y="79033"/>
                  </a:lnTo>
                  <a:lnTo>
                    <a:pt x="157071" y="54653"/>
                  </a:lnTo>
                  <a:lnTo>
                    <a:pt x="90843" y="54653"/>
                  </a:lnTo>
                  <a:lnTo>
                    <a:pt x="90843" y="31211"/>
                  </a:lnTo>
                  <a:lnTo>
                    <a:pt x="36826" y="31211"/>
                  </a:lnTo>
                  <a:lnTo>
                    <a:pt x="36826" y="8037"/>
                  </a:lnTo>
                  <a:lnTo>
                    <a:pt x="0" y="8037"/>
                  </a:lnTo>
                  <a:lnTo>
                    <a:pt x="0" y="0"/>
                  </a:lnTo>
                  <a:lnTo>
                    <a:pt x="22076" y="0"/>
                  </a:lnTo>
                  <a:lnTo>
                    <a:pt x="22076" y="5492"/>
                  </a:lnTo>
                  <a:lnTo>
                    <a:pt x="39268" y="5492"/>
                  </a:lnTo>
                  <a:lnTo>
                    <a:pt x="39268" y="10984"/>
                  </a:lnTo>
                  <a:lnTo>
                    <a:pt x="78535" y="10984"/>
                  </a:lnTo>
                  <a:lnTo>
                    <a:pt x="78535" y="16476"/>
                  </a:lnTo>
                  <a:lnTo>
                    <a:pt x="225740" y="16476"/>
                  </a:lnTo>
                  <a:lnTo>
                    <a:pt x="225740" y="27729"/>
                  </a:lnTo>
                  <a:lnTo>
                    <a:pt x="409770" y="27729"/>
                  </a:lnTo>
                  <a:lnTo>
                    <a:pt x="409770" y="33355"/>
                  </a:lnTo>
                  <a:lnTo>
                    <a:pt x="463788" y="33355"/>
                  </a:lnTo>
                  <a:lnTo>
                    <a:pt x="463788" y="39115"/>
                  </a:lnTo>
                  <a:lnTo>
                    <a:pt x="552188" y="39115"/>
                  </a:lnTo>
                  <a:lnTo>
                    <a:pt x="552188" y="45009"/>
                  </a:lnTo>
                  <a:lnTo>
                    <a:pt x="564399" y="45009"/>
                  </a:lnTo>
                  <a:lnTo>
                    <a:pt x="564399" y="50769"/>
                  </a:lnTo>
                  <a:lnTo>
                    <a:pt x="566841" y="50769"/>
                  </a:lnTo>
                  <a:lnTo>
                    <a:pt x="566841" y="56663"/>
                  </a:lnTo>
                  <a:lnTo>
                    <a:pt x="618416" y="56663"/>
                  </a:lnTo>
                  <a:lnTo>
                    <a:pt x="618416" y="62557"/>
                  </a:lnTo>
                  <a:lnTo>
                    <a:pt x="777928" y="62557"/>
                  </a:lnTo>
                  <a:lnTo>
                    <a:pt x="777928" y="68853"/>
                  </a:lnTo>
                  <a:lnTo>
                    <a:pt x="849138" y="68853"/>
                  </a:lnTo>
                  <a:lnTo>
                    <a:pt x="849138" y="75282"/>
                  </a:lnTo>
                  <a:lnTo>
                    <a:pt x="866329" y="75282"/>
                  </a:lnTo>
                  <a:lnTo>
                    <a:pt x="866329" y="81980"/>
                  </a:lnTo>
                  <a:lnTo>
                    <a:pt x="969382" y="81980"/>
                  </a:lnTo>
                  <a:lnTo>
                    <a:pt x="969382" y="89214"/>
                  </a:lnTo>
                  <a:lnTo>
                    <a:pt x="981690" y="89214"/>
                  </a:lnTo>
                  <a:lnTo>
                    <a:pt x="981690" y="96447"/>
                  </a:lnTo>
                  <a:lnTo>
                    <a:pt x="1362058" y="96447"/>
                  </a:lnTo>
                  <a:lnTo>
                    <a:pt x="1362058" y="107164"/>
                  </a:lnTo>
                  <a:lnTo>
                    <a:pt x="1477419" y="107164"/>
                  </a:lnTo>
                  <a:lnTo>
                    <a:pt x="1477419" y="119889"/>
                  </a:lnTo>
                  <a:lnTo>
                    <a:pt x="1577053" y="119889"/>
                  </a:lnTo>
                  <a:lnTo>
                    <a:pt x="1577053" y="188742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742" name="Grafik 539">
            <a:extLst>
              <a:ext uri="{FF2B5EF4-FFF2-40B4-BE49-F238E27FC236}">
                <a16:creationId xmlns:a16="http://schemas.microsoft.com/office/drawing/2014/main" id="{85AA138B-579B-B2DF-924B-83C91C513250}"/>
              </a:ext>
            </a:extLst>
          </p:cNvPr>
          <p:cNvGrpSpPr/>
          <p:nvPr/>
        </p:nvGrpSpPr>
        <p:grpSpPr>
          <a:xfrm>
            <a:off x="1806165" y="1678039"/>
            <a:ext cx="3774866" cy="1008946"/>
            <a:chOff x="1876436" y="1874845"/>
            <a:chExt cx="3774866" cy="1008946"/>
          </a:xfrm>
          <a:solidFill>
            <a:schemeClr val="accent2"/>
          </a:solidFill>
        </p:grpSpPr>
        <p:sp>
          <p:nvSpPr>
            <p:cNvPr id="743" name="Freihandform: Form 742">
              <a:extLst>
                <a:ext uri="{FF2B5EF4-FFF2-40B4-BE49-F238E27FC236}">
                  <a16:creationId xmlns:a16="http://schemas.microsoft.com/office/drawing/2014/main" id="{6B3EB4BF-07F6-4B7B-5E4A-77A498C64A78}"/>
                </a:ext>
              </a:extLst>
            </p:cNvPr>
            <p:cNvSpPr/>
            <p:nvPr/>
          </p:nvSpPr>
          <p:spPr>
            <a:xfrm>
              <a:off x="1876436" y="1874845"/>
              <a:ext cx="32527" cy="44606"/>
            </a:xfrm>
            <a:custGeom>
              <a:avLst/>
              <a:gdLst>
                <a:gd name="connsiteX0" fmla="*/ 13382 w 32527"/>
                <a:gd name="connsiteY0" fmla="*/ 44607 h 44606"/>
                <a:gd name="connsiteX1" fmla="*/ 13382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352 h 44606"/>
                <a:gd name="connsiteX4" fmla="*/ 13382 w 32527"/>
                <a:gd name="connsiteY4" fmla="*/ 18352 h 44606"/>
                <a:gd name="connsiteX5" fmla="*/ 13382 w 32527"/>
                <a:gd name="connsiteY5" fmla="*/ 0 h 44606"/>
                <a:gd name="connsiteX6" fmla="*/ 19145 w 32527"/>
                <a:gd name="connsiteY6" fmla="*/ 0 h 44606"/>
                <a:gd name="connsiteX7" fmla="*/ 19145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6121 h 44606"/>
                <a:gd name="connsiteX10" fmla="*/ 19145 w 32527"/>
                <a:gd name="connsiteY10" fmla="*/ 26121 h 44606"/>
                <a:gd name="connsiteX11" fmla="*/ 19145 w 32527"/>
                <a:gd name="connsiteY11" fmla="*/ 44607 h 44606"/>
                <a:gd name="connsiteX12" fmla="*/ 13382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145" y="0"/>
                  </a:lnTo>
                  <a:lnTo>
                    <a:pt x="19145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145" y="26121"/>
                  </a:lnTo>
                  <a:lnTo>
                    <a:pt x="19145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44" name="Freihandform: Form 743">
              <a:extLst>
                <a:ext uri="{FF2B5EF4-FFF2-40B4-BE49-F238E27FC236}">
                  <a16:creationId xmlns:a16="http://schemas.microsoft.com/office/drawing/2014/main" id="{02A8BAB1-8503-B410-A35F-4F07984E2F8F}"/>
                </a:ext>
              </a:extLst>
            </p:cNvPr>
            <p:cNvSpPr/>
            <p:nvPr/>
          </p:nvSpPr>
          <p:spPr>
            <a:xfrm>
              <a:off x="2070332" y="2074839"/>
              <a:ext cx="32527" cy="44740"/>
            </a:xfrm>
            <a:custGeom>
              <a:avLst/>
              <a:gdLst>
                <a:gd name="connsiteX0" fmla="*/ 13382 w 32527"/>
                <a:gd name="connsiteY0" fmla="*/ 44741 h 44740"/>
                <a:gd name="connsiteX1" fmla="*/ 13382 w 32527"/>
                <a:gd name="connsiteY1" fmla="*/ 26121 h 44740"/>
                <a:gd name="connsiteX2" fmla="*/ 0 w 32527"/>
                <a:gd name="connsiteY2" fmla="*/ 26121 h 44740"/>
                <a:gd name="connsiteX3" fmla="*/ 0 w 32527"/>
                <a:gd name="connsiteY3" fmla="*/ 18486 h 44740"/>
                <a:gd name="connsiteX4" fmla="*/ 13382 w 32527"/>
                <a:gd name="connsiteY4" fmla="*/ 18486 h 44740"/>
                <a:gd name="connsiteX5" fmla="*/ 13382 w 32527"/>
                <a:gd name="connsiteY5" fmla="*/ 0 h 44740"/>
                <a:gd name="connsiteX6" fmla="*/ 19145 w 32527"/>
                <a:gd name="connsiteY6" fmla="*/ 0 h 44740"/>
                <a:gd name="connsiteX7" fmla="*/ 19145 w 32527"/>
                <a:gd name="connsiteY7" fmla="*/ 18486 h 44740"/>
                <a:gd name="connsiteX8" fmla="*/ 32528 w 32527"/>
                <a:gd name="connsiteY8" fmla="*/ 18486 h 44740"/>
                <a:gd name="connsiteX9" fmla="*/ 32528 w 32527"/>
                <a:gd name="connsiteY9" fmla="*/ 26121 h 44740"/>
                <a:gd name="connsiteX10" fmla="*/ 19145 w 32527"/>
                <a:gd name="connsiteY10" fmla="*/ 26121 h 44740"/>
                <a:gd name="connsiteX11" fmla="*/ 19145 w 32527"/>
                <a:gd name="connsiteY11" fmla="*/ 44741 h 44740"/>
                <a:gd name="connsiteX12" fmla="*/ 13382 w 32527"/>
                <a:gd name="connsiteY12" fmla="*/ 44741 h 44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740">
                  <a:moveTo>
                    <a:pt x="13382" y="44741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486"/>
                  </a:lnTo>
                  <a:lnTo>
                    <a:pt x="13382" y="18486"/>
                  </a:lnTo>
                  <a:lnTo>
                    <a:pt x="13382" y="0"/>
                  </a:lnTo>
                  <a:lnTo>
                    <a:pt x="19145" y="0"/>
                  </a:lnTo>
                  <a:lnTo>
                    <a:pt x="19145" y="18486"/>
                  </a:lnTo>
                  <a:lnTo>
                    <a:pt x="32528" y="18486"/>
                  </a:lnTo>
                  <a:lnTo>
                    <a:pt x="32528" y="26121"/>
                  </a:lnTo>
                  <a:lnTo>
                    <a:pt x="19145" y="26121"/>
                  </a:lnTo>
                  <a:lnTo>
                    <a:pt x="19145" y="44741"/>
                  </a:lnTo>
                  <a:lnTo>
                    <a:pt x="13382" y="44741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45" name="Freihandform: Form 744">
              <a:extLst>
                <a:ext uri="{FF2B5EF4-FFF2-40B4-BE49-F238E27FC236}">
                  <a16:creationId xmlns:a16="http://schemas.microsoft.com/office/drawing/2014/main" id="{12DF2C83-4909-4B53-9493-F1416EAB7930}"/>
                </a:ext>
              </a:extLst>
            </p:cNvPr>
            <p:cNvSpPr/>
            <p:nvPr/>
          </p:nvSpPr>
          <p:spPr>
            <a:xfrm>
              <a:off x="2085082" y="2098147"/>
              <a:ext cx="32527" cy="44606"/>
            </a:xfrm>
            <a:custGeom>
              <a:avLst/>
              <a:gdLst>
                <a:gd name="connsiteX0" fmla="*/ 13382 w 32527"/>
                <a:gd name="connsiteY0" fmla="*/ 44607 h 44606"/>
                <a:gd name="connsiteX1" fmla="*/ 13382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486 h 44606"/>
                <a:gd name="connsiteX4" fmla="*/ 13382 w 32527"/>
                <a:gd name="connsiteY4" fmla="*/ 18486 h 44606"/>
                <a:gd name="connsiteX5" fmla="*/ 13382 w 32527"/>
                <a:gd name="connsiteY5" fmla="*/ 0 h 44606"/>
                <a:gd name="connsiteX6" fmla="*/ 19145 w 32527"/>
                <a:gd name="connsiteY6" fmla="*/ 0 h 44606"/>
                <a:gd name="connsiteX7" fmla="*/ 19145 w 32527"/>
                <a:gd name="connsiteY7" fmla="*/ 18486 h 44606"/>
                <a:gd name="connsiteX8" fmla="*/ 32528 w 32527"/>
                <a:gd name="connsiteY8" fmla="*/ 18486 h 44606"/>
                <a:gd name="connsiteX9" fmla="*/ 32528 w 32527"/>
                <a:gd name="connsiteY9" fmla="*/ 26121 h 44606"/>
                <a:gd name="connsiteX10" fmla="*/ 19145 w 32527"/>
                <a:gd name="connsiteY10" fmla="*/ 26121 h 44606"/>
                <a:gd name="connsiteX11" fmla="*/ 19145 w 32527"/>
                <a:gd name="connsiteY11" fmla="*/ 44607 h 44606"/>
                <a:gd name="connsiteX12" fmla="*/ 13382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486"/>
                  </a:lnTo>
                  <a:lnTo>
                    <a:pt x="13382" y="18486"/>
                  </a:lnTo>
                  <a:lnTo>
                    <a:pt x="13382" y="0"/>
                  </a:lnTo>
                  <a:lnTo>
                    <a:pt x="19145" y="0"/>
                  </a:lnTo>
                  <a:lnTo>
                    <a:pt x="19145" y="18486"/>
                  </a:lnTo>
                  <a:lnTo>
                    <a:pt x="32528" y="18486"/>
                  </a:lnTo>
                  <a:lnTo>
                    <a:pt x="32528" y="26121"/>
                  </a:lnTo>
                  <a:lnTo>
                    <a:pt x="19145" y="26121"/>
                  </a:lnTo>
                  <a:lnTo>
                    <a:pt x="19145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46" name="Freihandform: Form 745">
              <a:extLst>
                <a:ext uri="{FF2B5EF4-FFF2-40B4-BE49-F238E27FC236}">
                  <a16:creationId xmlns:a16="http://schemas.microsoft.com/office/drawing/2014/main" id="{19E1F14E-190D-7A6D-7382-59A6B3FFBA2E}"/>
                </a:ext>
              </a:extLst>
            </p:cNvPr>
            <p:cNvSpPr/>
            <p:nvPr/>
          </p:nvSpPr>
          <p:spPr>
            <a:xfrm>
              <a:off x="2244595" y="2224466"/>
              <a:ext cx="32527" cy="44606"/>
            </a:xfrm>
            <a:custGeom>
              <a:avLst/>
              <a:gdLst>
                <a:gd name="connsiteX0" fmla="*/ 13382 w 32527"/>
                <a:gd name="connsiteY0" fmla="*/ 44607 h 44606"/>
                <a:gd name="connsiteX1" fmla="*/ 13382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352 h 44606"/>
                <a:gd name="connsiteX4" fmla="*/ 13382 w 32527"/>
                <a:gd name="connsiteY4" fmla="*/ 18352 h 44606"/>
                <a:gd name="connsiteX5" fmla="*/ 13382 w 32527"/>
                <a:gd name="connsiteY5" fmla="*/ 0 h 44606"/>
                <a:gd name="connsiteX6" fmla="*/ 19048 w 32527"/>
                <a:gd name="connsiteY6" fmla="*/ 0 h 44606"/>
                <a:gd name="connsiteX7" fmla="*/ 19048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6121 h 44606"/>
                <a:gd name="connsiteX10" fmla="*/ 19048 w 32527"/>
                <a:gd name="connsiteY10" fmla="*/ 26121 h 44606"/>
                <a:gd name="connsiteX11" fmla="*/ 19048 w 32527"/>
                <a:gd name="connsiteY11" fmla="*/ 44607 h 44606"/>
                <a:gd name="connsiteX12" fmla="*/ 13382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048" y="0"/>
                  </a:lnTo>
                  <a:lnTo>
                    <a:pt x="19048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048" y="26121"/>
                  </a:lnTo>
                  <a:lnTo>
                    <a:pt x="19048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47" name="Freihandform: Form 746">
              <a:extLst>
                <a:ext uri="{FF2B5EF4-FFF2-40B4-BE49-F238E27FC236}">
                  <a16:creationId xmlns:a16="http://schemas.microsoft.com/office/drawing/2014/main" id="{4C731CED-B67A-307C-CBA8-B1C7D547C946}"/>
                </a:ext>
              </a:extLst>
            </p:cNvPr>
            <p:cNvSpPr/>
            <p:nvPr/>
          </p:nvSpPr>
          <p:spPr>
            <a:xfrm>
              <a:off x="2274094" y="2238666"/>
              <a:ext cx="32429" cy="44606"/>
            </a:xfrm>
            <a:custGeom>
              <a:avLst/>
              <a:gdLst>
                <a:gd name="connsiteX0" fmla="*/ 13382 w 32429"/>
                <a:gd name="connsiteY0" fmla="*/ 44607 h 44606"/>
                <a:gd name="connsiteX1" fmla="*/ 13382 w 32429"/>
                <a:gd name="connsiteY1" fmla="*/ 25987 h 44606"/>
                <a:gd name="connsiteX2" fmla="*/ 0 w 32429"/>
                <a:gd name="connsiteY2" fmla="*/ 25987 h 44606"/>
                <a:gd name="connsiteX3" fmla="*/ 0 w 32429"/>
                <a:gd name="connsiteY3" fmla="*/ 18352 h 44606"/>
                <a:gd name="connsiteX4" fmla="*/ 13382 w 32429"/>
                <a:gd name="connsiteY4" fmla="*/ 18352 h 44606"/>
                <a:gd name="connsiteX5" fmla="*/ 13382 w 32429"/>
                <a:gd name="connsiteY5" fmla="*/ 0 h 44606"/>
                <a:gd name="connsiteX6" fmla="*/ 19048 w 32429"/>
                <a:gd name="connsiteY6" fmla="*/ 0 h 44606"/>
                <a:gd name="connsiteX7" fmla="*/ 19048 w 32429"/>
                <a:gd name="connsiteY7" fmla="*/ 18352 h 44606"/>
                <a:gd name="connsiteX8" fmla="*/ 32430 w 32429"/>
                <a:gd name="connsiteY8" fmla="*/ 18352 h 44606"/>
                <a:gd name="connsiteX9" fmla="*/ 32430 w 32429"/>
                <a:gd name="connsiteY9" fmla="*/ 25987 h 44606"/>
                <a:gd name="connsiteX10" fmla="*/ 19048 w 32429"/>
                <a:gd name="connsiteY10" fmla="*/ 25987 h 44606"/>
                <a:gd name="connsiteX11" fmla="*/ 19048 w 32429"/>
                <a:gd name="connsiteY11" fmla="*/ 44607 h 44606"/>
                <a:gd name="connsiteX12" fmla="*/ 13382 w 32429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29" h="44606">
                  <a:moveTo>
                    <a:pt x="13382" y="44607"/>
                  </a:moveTo>
                  <a:lnTo>
                    <a:pt x="13382" y="25987"/>
                  </a:lnTo>
                  <a:lnTo>
                    <a:pt x="0" y="25987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048" y="0"/>
                  </a:lnTo>
                  <a:lnTo>
                    <a:pt x="19048" y="18352"/>
                  </a:lnTo>
                  <a:lnTo>
                    <a:pt x="32430" y="18352"/>
                  </a:lnTo>
                  <a:lnTo>
                    <a:pt x="32430" y="25987"/>
                  </a:lnTo>
                  <a:lnTo>
                    <a:pt x="19048" y="25987"/>
                  </a:lnTo>
                  <a:lnTo>
                    <a:pt x="19048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48" name="Freihandform: Form 747">
              <a:extLst>
                <a:ext uri="{FF2B5EF4-FFF2-40B4-BE49-F238E27FC236}">
                  <a16:creationId xmlns:a16="http://schemas.microsoft.com/office/drawing/2014/main" id="{1C39A741-1E08-C3BB-D269-B7F6ADCD5DEC}"/>
                </a:ext>
              </a:extLst>
            </p:cNvPr>
            <p:cNvSpPr/>
            <p:nvPr/>
          </p:nvSpPr>
          <p:spPr>
            <a:xfrm>
              <a:off x="2296072" y="2252731"/>
              <a:ext cx="32527" cy="44606"/>
            </a:xfrm>
            <a:custGeom>
              <a:avLst/>
              <a:gdLst>
                <a:gd name="connsiteX0" fmla="*/ 13382 w 32527"/>
                <a:gd name="connsiteY0" fmla="*/ 44607 h 44606"/>
                <a:gd name="connsiteX1" fmla="*/ 13382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352 h 44606"/>
                <a:gd name="connsiteX4" fmla="*/ 13382 w 32527"/>
                <a:gd name="connsiteY4" fmla="*/ 18352 h 44606"/>
                <a:gd name="connsiteX5" fmla="*/ 13382 w 32527"/>
                <a:gd name="connsiteY5" fmla="*/ 0 h 44606"/>
                <a:gd name="connsiteX6" fmla="*/ 19145 w 32527"/>
                <a:gd name="connsiteY6" fmla="*/ 0 h 44606"/>
                <a:gd name="connsiteX7" fmla="*/ 19145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6121 h 44606"/>
                <a:gd name="connsiteX10" fmla="*/ 19145 w 32527"/>
                <a:gd name="connsiteY10" fmla="*/ 26121 h 44606"/>
                <a:gd name="connsiteX11" fmla="*/ 19145 w 32527"/>
                <a:gd name="connsiteY11" fmla="*/ 44607 h 44606"/>
                <a:gd name="connsiteX12" fmla="*/ 13382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145" y="0"/>
                  </a:lnTo>
                  <a:lnTo>
                    <a:pt x="19145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145" y="26121"/>
                  </a:lnTo>
                  <a:lnTo>
                    <a:pt x="19145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49" name="Freihandform: Form 748">
              <a:extLst>
                <a:ext uri="{FF2B5EF4-FFF2-40B4-BE49-F238E27FC236}">
                  <a16:creationId xmlns:a16="http://schemas.microsoft.com/office/drawing/2014/main" id="{C64DD0CF-B745-CD05-0DFC-A7E6C5D6C6F2}"/>
                </a:ext>
              </a:extLst>
            </p:cNvPr>
            <p:cNvSpPr/>
            <p:nvPr/>
          </p:nvSpPr>
          <p:spPr>
            <a:xfrm>
              <a:off x="2391799" y="2332970"/>
              <a:ext cx="32527" cy="44606"/>
            </a:xfrm>
            <a:custGeom>
              <a:avLst/>
              <a:gdLst>
                <a:gd name="connsiteX0" fmla="*/ 13480 w 32527"/>
                <a:gd name="connsiteY0" fmla="*/ 44607 h 44606"/>
                <a:gd name="connsiteX1" fmla="*/ 13480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352 h 44606"/>
                <a:gd name="connsiteX4" fmla="*/ 13480 w 32527"/>
                <a:gd name="connsiteY4" fmla="*/ 18352 h 44606"/>
                <a:gd name="connsiteX5" fmla="*/ 13480 w 32527"/>
                <a:gd name="connsiteY5" fmla="*/ 0 h 44606"/>
                <a:gd name="connsiteX6" fmla="*/ 19145 w 32527"/>
                <a:gd name="connsiteY6" fmla="*/ 0 h 44606"/>
                <a:gd name="connsiteX7" fmla="*/ 19145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6121 h 44606"/>
                <a:gd name="connsiteX10" fmla="*/ 19145 w 32527"/>
                <a:gd name="connsiteY10" fmla="*/ 26121 h 44606"/>
                <a:gd name="connsiteX11" fmla="*/ 19145 w 32527"/>
                <a:gd name="connsiteY11" fmla="*/ 44607 h 44606"/>
                <a:gd name="connsiteX12" fmla="*/ 13480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480" y="44607"/>
                  </a:moveTo>
                  <a:lnTo>
                    <a:pt x="13480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480" y="18352"/>
                  </a:lnTo>
                  <a:lnTo>
                    <a:pt x="13480" y="0"/>
                  </a:lnTo>
                  <a:lnTo>
                    <a:pt x="19145" y="0"/>
                  </a:lnTo>
                  <a:lnTo>
                    <a:pt x="19145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145" y="26121"/>
                  </a:lnTo>
                  <a:lnTo>
                    <a:pt x="19145" y="44607"/>
                  </a:lnTo>
                  <a:lnTo>
                    <a:pt x="13480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50" name="Freihandform: Form 749">
              <a:extLst>
                <a:ext uri="{FF2B5EF4-FFF2-40B4-BE49-F238E27FC236}">
                  <a16:creationId xmlns:a16="http://schemas.microsoft.com/office/drawing/2014/main" id="{ADF6C4CA-3058-1FED-7EAC-C023F62CFA5A}"/>
                </a:ext>
              </a:extLst>
            </p:cNvPr>
            <p:cNvSpPr/>
            <p:nvPr/>
          </p:nvSpPr>
          <p:spPr>
            <a:xfrm>
              <a:off x="2399125" y="2337792"/>
              <a:ext cx="32527" cy="44606"/>
            </a:xfrm>
            <a:custGeom>
              <a:avLst/>
              <a:gdLst>
                <a:gd name="connsiteX0" fmla="*/ 13480 w 32527"/>
                <a:gd name="connsiteY0" fmla="*/ 44607 h 44606"/>
                <a:gd name="connsiteX1" fmla="*/ 13480 w 32527"/>
                <a:gd name="connsiteY1" fmla="*/ 25987 h 44606"/>
                <a:gd name="connsiteX2" fmla="*/ 0 w 32527"/>
                <a:gd name="connsiteY2" fmla="*/ 25987 h 44606"/>
                <a:gd name="connsiteX3" fmla="*/ 0 w 32527"/>
                <a:gd name="connsiteY3" fmla="*/ 18352 h 44606"/>
                <a:gd name="connsiteX4" fmla="*/ 13480 w 32527"/>
                <a:gd name="connsiteY4" fmla="*/ 18352 h 44606"/>
                <a:gd name="connsiteX5" fmla="*/ 13480 w 32527"/>
                <a:gd name="connsiteY5" fmla="*/ 0 h 44606"/>
                <a:gd name="connsiteX6" fmla="*/ 19145 w 32527"/>
                <a:gd name="connsiteY6" fmla="*/ 0 h 44606"/>
                <a:gd name="connsiteX7" fmla="*/ 19145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5987 h 44606"/>
                <a:gd name="connsiteX10" fmla="*/ 19145 w 32527"/>
                <a:gd name="connsiteY10" fmla="*/ 25987 h 44606"/>
                <a:gd name="connsiteX11" fmla="*/ 19145 w 32527"/>
                <a:gd name="connsiteY11" fmla="*/ 44607 h 44606"/>
                <a:gd name="connsiteX12" fmla="*/ 13480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480" y="44607"/>
                  </a:moveTo>
                  <a:lnTo>
                    <a:pt x="13480" y="25987"/>
                  </a:lnTo>
                  <a:lnTo>
                    <a:pt x="0" y="25987"/>
                  </a:lnTo>
                  <a:lnTo>
                    <a:pt x="0" y="18352"/>
                  </a:lnTo>
                  <a:lnTo>
                    <a:pt x="13480" y="18352"/>
                  </a:lnTo>
                  <a:lnTo>
                    <a:pt x="13480" y="0"/>
                  </a:lnTo>
                  <a:lnTo>
                    <a:pt x="19145" y="0"/>
                  </a:lnTo>
                  <a:lnTo>
                    <a:pt x="19145" y="18352"/>
                  </a:lnTo>
                  <a:lnTo>
                    <a:pt x="32528" y="18352"/>
                  </a:lnTo>
                  <a:lnTo>
                    <a:pt x="32528" y="25987"/>
                  </a:lnTo>
                  <a:lnTo>
                    <a:pt x="19145" y="25987"/>
                  </a:lnTo>
                  <a:lnTo>
                    <a:pt x="19145" y="44607"/>
                  </a:lnTo>
                  <a:lnTo>
                    <a:pt x="13480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51" name="Freihandform: Form 750">
              <a:extLst>
                <a:ext uri="{FF2B5EF4-FFF2-40B4-BE49-F238E27FC236}">
                  <a16:creationId xmlns:a16="http://schemas.microsoft.com/office/drawing/2014/main" id="{A052C9AC-FE9E-2754-BC1B-C613DA235AF5}"/>
                </a:ext>
              </a:extLst>
            </p:cNvPr>
            <p:cNvSpPr/>
            <p:nvPr/>
          </p:nvSpPr>
          <p:spPr>
            <a:xfrm>
              <a:off x="2438491" y="2356680"/>
              <a:ext cx="32429" cy="44740"/>
            </a:xfrm>
            <a:custGeom>
              <a:avLst/>
              <a:gdLst>
                <a:gd name="connsiteX0" fmla="*/ 13382 w 32429"/>
                <a:gd name="connsiteY0" fmla="*/ 44741 h 44740"/>
                <a:gd name="connsiteX1" fmla="*/ 13382 w 32429"/>
                <a:gd name="connsiteY1" fmla="*/ 26121 h 44740"/>
                <a:gd name="connsiteX2" fmla="*/ 0 w 32429"/>
                <a:gd name="connsiteY2" fmla="*/ 26121 h 44740"/>
                <a:gd name="connsiteX3" fmla="*/ 0 w 32429"/>
                <a:gd name="connsiteY3" fmla="*/ 18486 h 44740"/>
                <a:gd name="connsiteX4" fmla="*/ 13382 w 32429"/>
                <a:gd name="connsiteY4" fmla="*/ 18486 h 44740"/>
                <a:gd name="connsiteX5" fmla="*/ 13382 w 32429"/>
                <a:gd name="connsiteY5" fmla="*/ 0 h 44740"/>
                <a:gd name="connsiteX6" fmla="*/ 19048 w 32429"/>
                <a:gd name="connsiteY6" fmla="*/ 0 h 44740"/>
                <a:gd name="connsiteX7" fmla="*/ 19048 w 32429"/>
                <a:gd name="connsiteY7" fmla="*/ 18486 h 44740"/>
                <a:gd name="connsiteX8" fmla="*/ 32430 w 32429"/>
                <a:gd name="connsiteY8" fmla="*/ 18486 h 44740"/>
                <a:gd name="connsiteX9" fmla="*/ 32430 w 32429"/>
                <a:gd name="connsiteY9" fmla="*/ 26121 h 44740"/>
                <a:gd name="connsiteX10" fmla="*/ 19048 w 32429"/>
                <a:gd name="connsiteY10" fmla="*/ 26121 h 44740"/>
                <a:gd name="connsiteX11" fmla="*/ 19048 w 32429"/>
                <a:gd name="connsiteY11" fmla="*/ 44741 h 44740"/>
                <a:gd name="connsiteX12" fmla="*/ 13382 w 32429"/>
                <a:gd name="connsiteY12" fmla="*/ 44741 h 44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29" h="44740">
                  <a:moveTo>
                    <a:pt x="13382" y="44741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486"/>
                  </a:lnTo>
                  <a:lnTo>
                    <a:pt x="13382" y="18486"/>
                  </a:lnTo>
                  <a:lnTo>
                    <a:pt x="13382" y="0"/>
                  </a:lnTo>
                  <a:lnTo>
                    <a:pt x="19048" y="0"/>
                  </a:lnTo>
                  <a:lnTo>
                    <a:pt x="19048" y="18486"/>
                  </a:lnTo>
                  <a:lnTo>
                    <a:pt x="32430" y="18486"/>
                  </a:lnTo>
                  <a:lnTo>
                    <a:pt x="32430" y="26121"/>
                  </a:lnTo>
                  <a:lnTo>
                    <a:pt x="19048" y="26121"/>
                  </a:lnTo>
                  <a:lnTo>
                    <a:pt x="19048" y="44741"/>
                  </a:lnTo>
                  <a:lnTo>
                    <a:pt x="13382" y="44741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52" name="Freihandform: Form 751">
              <a:extLst>
                <a:ext uri="{FF2B5EF4-FFF2-40B4-BE49-F238E27FC236}">
                  <a16:creationId xmlns:a16="http://schemas.microsoft.com/office/drawing/2014/main" id="{498A2C62-33E0-BE63-B8D3-00A275677424}"/>
                </a:ext>
              </a:extLst>
            </p:cNvPr>
            <p:cNvSpPr/>
            <p:nvPr/>
          </p:nvSpPr>
          <p:spPr>
            <a:xfrm>
              <a:off x="2445817" y="2361502"/>
              <a:ext cx="32527" cy="44606"/>
            </a:xfrm>
            <a:custGeom>
              <a:avLst/>
              <a:gdLst>
                <a:gd name="connsiteX0" fmla="*/ 13382 w 32527"/>
                <a:gd name="connsiteY0" fmla="*/ 44607 h 44606"/>
                <a:gd name="connsiteX1" fmla="*/ 13382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352 h 44606"/>
                <a:gd name="connsiteX4" fmla="*/ 13382 w 32527"/>
                <a:gd name="connsiteY4" fmla="*/ 18352 h 44606"/>
                <a:gd name="connsiteX5" fmla="*/ 13382 w 32527"/>
                <a:gd name="connsiteY5" fmla="*/ 0 h 44606"/>
                <a:gd name="connsiteX6" fmla="*/ 19145 w 32527"/>
                <a:gd name="connsiteY6" fmla="*/ 0 h 44606"/>
                <a:gd name="connsiteX7" fmla="*/ 19145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6121 h 44606"/>
                <a:gd name="connsiteX10" fmla="*/ 19145 w 32527"/>
                <a:gd name="connsiteY10" fmla="*/ 26121 h 44606"/>
                <a:gd name="connsiteX11" fmla="*/ 19145 w 32527"/>
                <a:gd name="connsiteY11" fmla="*/ 44607 h 44606"/>
                <a:gd name="connsiteX12" fmla="*/ 13382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145" y="0"/>
                  </a:lnTo>
                  <a:lnTo>
                    <a:pt x="19145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145" y="26121"/>
                  </a:lnTo>
                  <a:lnTo>
                    <a:pt x="19145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53" name="Freihandform: Form 752">
              <a:extLst>
                <a:ext uri="{FF2B5EF4-FFF2-40B4-BE49-F238E27FC236}">
                  <a16:creationId xmlns:a16="http://schemas.microsoft.com/office/drawing/2014/main" id="{57069DF3-A993-BFDB-8B35-2AF41D883105}"/>
                </a:ext>
              </a:extLst>
            </p:cNvPr>
            <p:cNvSpPr/>
            <p:nvPr/>
          </p:nvSpPr>
          <p:spPr>
            <a:xfrm>
              <a:off x="2472776" y="2380658"/>
              <a:ext cx="32527" cy="44606"/>
            </a:xfrm>
            <a:custGeom>
              <a:avLst/>
              <a:gdLst>
                <a:gd name="connsiteX0" fmla="*/ 13382 w 32527"/>
                <a:gd name="connsiteY0" fmla="*/ 44607 h 44606"/>
                <a:gd name="connsiteX1" fmla="*/ 13382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352 h 44606"/>
                <a:gd name="connsiteX4" fmla="*/ 13382 w 32527"/>
                <a:gd name="connsiteY4" fmla="*/ 18352 h 44606"/>
                <a:gd name="connsiteX5" fmla="*/ 13382 w 32527"/>
                <a:gd name="connsiteY5" fmla="*/ 0 h 44606"/>
                <a:gd name="connsiteX6" fmla="*/ 19145 w 32527"/>
                <a:gd name="connsiteY6" fmla="*/ 0 h 44606"/>
                <a:gd name="connsiteX7" fmla="*/ 19145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6121 h 44606"/>
                <a:gd name="connsiteX10" fmla="*/ 19145 w 32527"/>
                <a:gd name="connsiteY10" fmla="*/ 26121 h 44606"/>
                <a:gd name="connsiteX11" fmla="*/ 19145 w 32527"/>
                <a:gd name="connsiteY11" fmla="*/ 44607 h 44606"/>
                <a:gd name="connsiteX12" fmla="*/ 13382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145" y="0"/>
                  </a:lnTo>
                  <a:lnTo>
                    <a:pt x="19145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145" y="26121"/>
                  </a:lnTo>
                  <a:lnTo>
                    <a:pt x="19145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54" name="Freihandform: Form 753">
              <a:extLst>
                <a:ext uri="{FF2B5EF4-FFF2-40B4-BE49-F238E27FC236}">
                  <a16:creationId xmlns:a16="http://schemas.microsoft.com/office/drawing/2014/main" id="{50AD82FC-3ED7-83A6-BF5F-15B2D7EB3F65}"/>
                </a:ext>
              </a:extLst>
            </p:cNvPr>
            <p:cNvSpPr/>
            <p:nvPr/>
          </p:nvSpPr>
          <p:spPr>
            <a:xfrm>
              <a:off x="2519370" y="2390168"/>
              <a:ext cx="32527" cy="44740"/>
            </a:xfrm>
            <a:custGeom>
              <a:avLst/>
              <a:gdLst>
                <a:gd name="connsiteX0" fmla="*/ 13480 w 32527"/>
                <a:gd name="connsiteY0" fmla="*/ 44741 h 44740"/>
                <a:gd name="connsiteX1" fmla="*/ 13480 w 32527"/>
                <a:gd name="connsiteY1" fmla="*/ 26121 h 44740"/>
                <a:gd name="connsiteX2" fmla="*/ 0 w 32527"/>
                <a:gd name="connsiteY2" fmla="*/ 26121 h 44740"/>
                <a:gd name="connsiteX3" fmla="*/ 0 w 32527"/>
                <a:gd name="connsiteY3" fmla="*/ 18486 h 44740"/>
                <a:gd name="connsiteX4" fmla="*/ 13480 w 32527"/>
                <a:gd name="connsiteY4" fmla="*/ 18486 h 44740"/>
                <a:gd name="connsiteX5" fmla="*/ 13480 w 32527"/>
                <a:gd name="connsiteY5" fmla="*/ 0 h 44740"/>
                <a:gd name="connsiteX6" fmla="*/ 19145 w 32527"/>
                <a:gd name="connsiteY6" fmla="*/ 0 h 44740"/>
                <a:gd name="connsiteX7" fmla="*/ 19145 w 32527"/>
                <a:gd name="connsiteY7" fmla="*/ 18486 h 44740"/>
                <a:gd name="connsiteX8" fmla="*/ 32528 w 32527"/>
                <a:gd name="connsiteY8" fmla="*/ 18486 h 44740"/>
                <a:gd name="connsiteX9" fmla="*/ 32528 w 32527"/>
                <a:gd name="connsiteY9" fmla="*/ 26121 h 44740"/>
                <a:gd name="connsiteX10" fmla="*/ 19145 w 32527"/>
                <a:gd name="connsiteY10" fmla="*/ 26121 h 44740"/>
                <a:gd name="connsiteX11" fmla="*/ 19145 w 32527"/>
                <a:gd name="connsiteY11" fmla="*/ 44741 h 44740"/>
                <a:gd name="connsiteX12" fmla="*/ 13480 w 32527"/>
                <a:gd name="connsiteY12" fmla="*/ 44741 h 44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740">
                  <a:moveTo>
                    <a:pt x="13480" y="44741"/>
                  </a:moveTo>
                  <a:lnTo>
                    <a:pt x="13480" y="26121"/>
                  </a:lnTo>
                  <a:lnTo>
                    <a:pt x="0" y="26121"/>
                  </a:lnTo>
                  <a:lnTo>
                    <a:pt x="0" y="18486"/>
                  </a:lnTo>
                  <a:lnTo>
                    <a:pt x="13480" y="18486"/>
                  </a:lnTo>
                  <a:lnTo>
                    <a:pt x="13480" y="0"/>
                  </a:lnTo>
                  <a:lnTo>
                    <a:pt x="19145" y="0"/>
                  </a:lnTo>
                  <a:lnTo>
                    <a:pt x="19145" y="18486"/>
                  </a:lnTo>
                  <a:lnTo>
                    <a:pt x="32528" y="18486"/>
                  </a:lnTo>
                  <a:lnTo>
                    <a:pt x="32528" y="26121"/>
                  </a:lnTo>
                  <a:lnTo>
                    <a:pt x="19145" y="26121"/>
                  </a:lnTo>
                  <a:lnTo>
                    <a:pt x="19145" y="44741"/>
                  </a:lnTo>
                  <a:lnTo>
                    <a:pt x="13480" y="44741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55" name="Freihandform: Form 754">
              <a:extLst>
                <a:ext uri="{FF2B5EF4-FFF2-40B4-BE49-F238E27FC236}">
                  <a16:creationId xmlns:a16="http://schemas.microsoft.com/office/drawing/2014/main" id="{9AB3B9C0-1FBD-A1E6-D53C-44E7636F6153}"/>
                </a:ext>
              </a:extLst>
            </p:cNvPr>
            <p:cNvSpPr/>
            <p:nvPr/>
          </p:nvSpPr>
          <p:spPr>
            <a:xfrm>
              <a:off x="2539102" y="2404769"/>
              <a:ext cx="32429" cy="44606"/>
            </a:xfrm>
            <a:custGeom>
              <a:avLst/>
              <a:gdLst>
                <a:gd name="connsiteX0" fmla="*/ 13382 w 32429"/>
                <a:gd name="connsiteY0" fmla="*/ 44607 h 44606"/>
                <a:gd name="connsiteX1" fmla="*/ 13382 w 32429"/>
                <a:gd name="connsiteY1" fmla="*/ 25987 h 44606"/>
                <a:gd name="connsiteX2" fmla="*/ 0 w 32429"/>
                <a:gd name="connsiteY2" fmla="*/ 25987 h 44606"/>
                <a:gd name="connsiteX3" fmla="*/ 0 w 32429"/>
                <a:gd name="connsiteY3" fmla="*/ 18352 h 44606"/>
                <a:gd name="connsiteX4" fmla="*/ 13382 w 32429"/>
                <a:gd name="connsiteY4" fmla="*/ 18352 h 44606"/>
                <a:gd name="connsiteX5" fmla="*/ 13382 w 32429"/>
                <a:gd name="connsiteY5" fmla="*/ 0 h 44606"/>
                <a:gd name="connsiteX6" fmla="*/ 19048 w 32429"/>
                <a:gd name="connsiteY6" fmla="*/ 0 h 44606"/>
                <a:gd name="connsiteX7" fmla="*/ 19048 w 32429"/>
                <a:gd name="connsiteY7" fmla="*/ 18352 h 44606"/>
                <a:gd name="connsiteX8" fmla="*/ 32430 w 32429"/>
                <a:gd name="connsiteY8" fmla="*/ 18352 h 44606"/>
                <a:gd name="connsiteX9" fmla="*/ 32430 w 32429"/>
                <a:gd name="connsiteY9" fmla="*/ 25987 h 44606"/>
                <a:gd name="connsiteX10" fmla="*/ 19048 w 32429"/>
                <a:gd name="connsiteY10" fmla="*/ 25987 h 44606"/>
                <a:gd name="connsiteX11" fmla="*/ 19048 w 32429"/>
                <a:gd name="connsiteY11" fmla="*/ 44607 h 44606"/>
                <a:gd name="connsiteX12" fmla="*/ 13382 w 32429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29" h="44606">
                  <a:moveTo>
                    <a:pt x="13382" y="44607"/>
                  </a:moveTo>
                  <a:lnTo>
                    <a:pt x="13382" y="25987"/>
                  </a:lnTo>
                  <a:lnTo>
                    <a:pt x="0" y="25987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048" y="0"/>
                  </a:lnTo>
                  <a:lnTo>
                    <a:pt x="19048" y="18352"/>
                  </a:lnTo>
                  <a:lnTo>
                    <a:pt x="32430" y="18352"/>
                  </a:lnTo>
                  <a:lnTo>
                    <a:pt x="32430" y="25987"/>
                  </a:lnTo>
                  <a:lnTo>
                    <a:pt x="19048" y="25987"/>
                  </a:lnTo>
                  <a:lnTo>
                    <a:pt x="19048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56" name="Freihandform: Form 755">
              <a:extLst>
                <a:ext uri="{FF2B5EF4-FFF2-40B4-BE49-F238E27FC236}">
                  <a16:creationId xmlns:a16="http://schemas.microsoft.com/office/drawing/2014/main" id="{0576EA11-03FB-0D05-FA2A-F0CB36641A80}"/>
                </a:ext>
              </a:extLst>
            </p:cNvPr>
            <p:cNvSpPr/>
            <p:nvPr/>
          </p:nvSpPr>
          <p:spPr>
            <a:xfrm>
              <a:off x="2566061" y="2428881"/>
              <a:ext cx="32527" cy="44606"/>
            </a:xfrm>
            <a:custGeom>
              <a:avLst/>
              <a:gdLst>
                <a:gd name="connsiteX0" fmla="*/ 13382 w 32527"/>
                <a:gd name="connsiteY0" fmla="*/ 44607 h 44606"/>
                <a:gd name="connsiteX1" fmla="*/ 13382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352 h 44606"/>
                <a:gd name="connsiteX4" fmla="*/ 13382 w 32527"/>
                <a:gd name="connsiteY4" fmla="*/ 18352 h 44606"/>
                <a:gd name="connsiteX5" fmla="*/ 13382 w 32527"/>
                <a:gd name="connsiteY5" fmla="*/ 0 h 44606"/>
                <a:gd name="connsiteX6" fmla="*/ 19145 w 32527"/>
                <a:gd name="connsiteY6" fmla="*/ 0 h 44606"/>
                <a:gd name="connsiteX7" fmla="*/ 19145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6121 h 44606"/>
                <a:gd name="connsiteX10" fmla="*/ 19145 w 32527"/>
                <a:gd name="connsiteY10" fmla="*/ 26121 h 44606"/>
                <a:gd name="connsiteX11" fmla="*/ 19145 w 32527"/>
                <a:gd name="connsiteY11" fmla="*/ 44607 h 44606"/>
                <a:gd name="connsiteX12" fmla="*/ 13382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145" y="0"/>
                  </a:lnTo>
                  <a:lnTo>
                    <a:pt x="19145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145" y="26121"/>
                  </a:lnTo>
                  <a:lnTo>
                    <a:pt x="19145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57" name="Freihandform: Form 756">
              <a:extLst>
                <a:ext uri="{FF2B5EF4-FFF2-40B4-BE49-F238E27FC236}">
                  <a16:creationId xmlns:a16="http://schemas.microsoft.com/office/drawing/2014/main" id="{343E85EA-25F5-DF5B-8EA4-AABDD168EB2C}"/>
                </a:ext>
              </a:extLst>
            </p:cNvPr>
            <p:cNvSpPr/>
            <p:nvPr/>
          </p:nvSpPr>
          <p:spPr>
            <a:xfrm>
              <a:off x="2610213" y="2443482"/>
              <a:ext cx="32527" cy="44606"/>
            </a:xfrm>
            <a:custGeom>
              <a:avLst/>
              <a:gdLst>
                <a:gd name="connsiteX0" fmla="*/ 13382 w 32527"/>
                <a:gd name="connsiteY0" fmla="*/ 44607 h 44606"/>
                <a:gd name="connsiteX1" fmla="*/ 13382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352 h 44606"/>
                <a:gd name="connsiteX4" fmla="*/ 13382 w 32527"/>
                <a:gd name="connsiteY4" fmla="*/ 18352 h 44606"/>
                <a:gd name="connsiteX5" fmla="*/ 13382 w 32527"/>
                <a:gd name="connsiteY5" fmla="*/ 0 h 44606"/>
                <a:gd name="connsiteX6" fmla="*/ 19145 w 32527"/>
                <a:gd name="connsiteY6" fmla="*/ 0 h 44606"/>
                <a:gd name="connsiteX7" fmla="*/ 19145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6121 h 44606"/>
                <a:gd name="connsiteX10" fmla="*/ 19145 w 32527"/>
                <a:gd name="connsiteY10" fmla="*/ 26121 h 44606"/>
                <a:gd name="connsiteX11" fmla="*/ 19145 w 32527"/>
                <a:gd name="connsiteY11" fmla="*/ 44607 h 44606"/>
                <a:gd name="connsiteX12" fmla="*/ 13382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145" y="0"/>
                  </a:lnTo>
                  <a:lnTo>
                    <a:pt x="19145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145" y="26121"/>
                  </a:lnTo>
                  <a:lnTo>
                    <a:pt x="19145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58" name="Freihandform: Form 757">
              <a:extLst>
                <a:ext uri="{FF2B5EF4-FFF2-40B4-BE49-F238E27FC236}">
                  <a16:creationId xmlns:a16="http://schemas.microsoft.com/office/drawing/2014/main" id="{AD15FEB2-0C1B-67EB-48AB-63C9756AD62F}"/>
                </a:ext>
              </a:extLst>
            </p:cNvPr>
            <p:cNvSpPr/>
            <p:nvPr/>
          </p:nvSpPr>
          <p:spPr>
            <a:xfrm>
              <a:off x="2620079" y="2453261"/>
              <a:ext cx="32527" cy="44606"/>
            </a:xfrm>
            <a:custGeom>
              <a:avLst/>
              <a:gdLst>
                <a:gd name="connsiteX0" fmla="*/ 13382 w 32527"/>
                <a:gd name="connsiteY0" fmla="*/ 44607 h 44606"/>
                <a:gd name="connsiteX1" fmla="*/ 13382 w 32527"/>
                <a:gd name="connsiteY1" fmla="*/ 25987 h 44606"/>
                <a:gd name="connsiteX2" fmla="*/ 0 w 32527"/>
                <a:gd name="connsiteY2" fmla="*/ 25987 h 44606"/>
                <a:gd name="connsiteX3" fmla="*/ 0 w 32527"/>
                <a:gd name="connsiteY3" fmla="*/ 18352 h 44606"/>
                <a:gd name="connsiteX4" fmla="*/ 13382 w 32527"/>
                <a:gd name="connsiteY4" fmla="*/ 18352 h 44606"/>
                <a:gd name="connsiteX5" fmla="*/ 13382 w 32527"/>
                <a:gd name="connsiteY5" fmla="*/ 0 h 44606"/>
                <a:gd name="connsiteX6" fmla="*/ 19048 w 32527"/>
                <a:gd name="connsiteY6" fmla="*/ 0 h 44606"/>
                <a:gd name="connsiteX7" fmla="*/ 19048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5987 h 44606"/>
                <a:gd name="connsiteX10" fmla="*/ 19048 w 32527"/>
                <a:gd name="connsiteY10" fmla="*/ 25987 h 44606"/>
                <a:gd name="connsiteX11" fmla="*/ 19048 w 32527"/>
                <a:gd name="connsiteY11" fmla="*/ 44607 h 44606"/>
                <a:gd name="connsiteX12" fmla="*/ 13382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382" y="44607"/>
                  </a:moveTo>
                  <a:lnTo>
                    <a:pt x="13382" y="25987"/>
                  </a:lnTo>
                  <a:lnTo>
                    <a:pt x="0" y="25987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048" y="0"/>
                  </a:lnTo>
                  <a:lnTo>
                    <a:pt x="19048" y="18352"/>
                  </a:lnTo>
                  <a:lnTo>
                    <a:pt x="32528" y="18352"/>
                  </a:lnTo>
                  <a:lnTo>
                    <a:pt x="32528" y="25987"/>
                  </a:lnTo>
                  <a:lnTo>
                    <a:pt x="19048" y="25987"/>
                  </a:lnTo>
                  <a:lnTo>
                    <a:pt x="19048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59" name="Freihandform: Form 758">
              <a:extLst>
                <a:ext uri="{FF2B5EF4-FFF2-40B4-BE49-F238E27FC236}">
                  <a16:creationId xmlns:a16="http://schemas.microsoft.com/office/drawing/2014/main" id="{8CD85198-3FAC-383D-F5F2-7072B8611240}"/>
                </a:ext>
              </a:extLst>
            </p:cNvPr>
            <p:cNvSpPr/>
            <p:nvPr/>
          </p:nvSpPr>
          <p:spPr>
            <a:xfrm>
              <a:off x="2644597" y="2458083"/>
              <a:ext cx="32527" cy="44606"/>
            </a:xfrm>
            <a:custGeom>
              <a:avLst/>
              <a:gdLst>
                <a:gd name="connsiteX0" fmla="*/ 13382 w 32527"/>
                <a:gd name="connsiteY0" fmla="*/ 44607 h 44606"/>
                <a:gd name="connsiteX1" fmla="*/ 13382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352 h 44606"/>
                <a:gd name="connsiteX4" fmla="*/ 13382 w 32527"/>
                <a:gd name="connsiteY4" fmla="*/ 18352 h 44606"/>
                <a:gd name="connsiteX5" fmla="*/ 13382 w 32527"/>
                <a:gd name="connsiteY5" fmla="*/ 0 h 44606"/>
                <a:gd name="connsiteX6" fmla="*/ 19048 w 32527"/>
                <a:gd name="connsiteY6" fmla="*/ 0 h 44606"/>
                <a:gd name="connsiteX7" fmla="*/ 19048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6121 h 44606"/>
                <a:gd name="connsiteX10" fmla="*/ 19048 w 32527"/>
                <a:gd name="connsiteY10" fmla="*/ 26121 h 44606"/>
                <a:gd name="connsiteX11" fmla="*/ 19048 w 32527"/>
                <a:gd name="connsiteY11" fmla="*/ 44607 h 44606"/>
                <a:gd name="connsiteX12" fmla="*/ 13382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048" y="0"/>
                  </a:lnTo>
                  <a:lnTo>
                    <a:pt x="19048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048" y="26121"/>
                  </a:lnTo>
                  <a:lnTo>
                    <a:pt x="19048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60" name="Freihandform: Form 759">
              <a:extLst>
                <a:ext uri="{FF2B5EF4-FFF2-40B4-BE49-F238E27FC236}">
                  <a16:creationId xmlns:a16="http://schemas.microsoft.com/office/drawing/2014/main" id="{BA484F22-3EA0-1959-F0CD-18E3B4276D6F}"/>
                </a:ext>
              </a:extLst>
            </p:cNvPr>
            <p:cNvSpPr/>
            <p:nvPr/>
          </p:nvSpPr>
          <p:spPr>
            <a:xfrm>
              <a:off x="2750092" y="2497332"/>
              <a:ext cx="32527" cy="44606"/>
            </a:xfrm>
            <a:custGeom>
              <a:avLst/>
              <a:gdLst>
                <a:gd name="connsiteX0" fmla="*/ 13480 w 32527"/>
                <a:gd name="connsiteY0" fmla="*/ 44607 h 44606"/>
                <a:gd name="connsiteX1" fmla="*/ 13480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352 h 44606"/>
                <a:gd name="connsiteX4" fmla="*/ 13480 w 32527"/>
                <a:gd name="connsiteY4" fmla="*/ 18352 h 44606"/>
                <a:gd name="connsiteX5" fmla="*/ 13480 w 32527"/>
                <a:gd name="connsiteY5" fmla="*/ 0 h 44606"/>
                <a:gd name="connsiteX6" fmla="*/ 19145 w 32527"/>
                <a:gd name="connsiteY6" fmla="*/ 0 h 44606"/>
                <a:gd name="connsiteX7" fmla="*/ 19145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6121 h 44606"/>
                <a:gd name="connsiteX10" fmla="*/ 19145 w 32527"/>
                <a:gd name="connsiteY10" fmla="*/ 26121 h 44606"/>
                <a:gd name="connsiteX11" fmla="*/ 19145 w 32527"/>
                <a:gd name="connsiteY11" fmla="*/ 44607 h 44606"/>
                <a:gd name="connsiteX12" fmla="*/ 13480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480" y="44607"/>
                  </a:moveTo>
                  <a:lnTo>
                    <a:pt x="13480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480" y="18352"/>
                  </a:lnTo>
                  <a:lnTo>
                    <a:pt x="13480" y="0"/>
                  </a:lnTo>
                  <a:lnTo>
                    <a:pt x="19145" y="0"/>
                  </a:lnTo>
                  <a:lnTo>
                    <a:pt x="19145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145" y="26121"/>
                  </a:lnTo>
                  <a:lnTo>
                    <a:pt x="19145" y="44607"/>
                  </a:lnTo>
                  <a:lnTo>
                    <a:pt x="13480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61" name="Freihandform: Form 760">
              <a:extLst>
                <a:ext uri="{FF2B5EF4-FFF2-40B4-BE49-F238E27FC236}">
                  <a16:creationId xmlns:a16="http://schemas.microsoft.com/office/drawing/2014/main" id="{76D24AEB-1AA4-BC13-136C-6AFCED73D330}"/>
                </a:ext>
              </a:extLst>
            </p:cNvPr>
            <p:cNvSpPr/>
            <p:nvPr/>
          </p:nvSpPr>
          <p:spPr>
            <a:xfrm>
              <a:off x="2779591" y="2507111"/>
              <a:ext cx="32429" cy="44740"/>
            </a:xfrm>
            <a:custGeom>
              <a:avLst/>
              <a:gdLst>
                <a:gd name="connsiteX0" fmla="*/ 13382 w 32429"/>
                <a:gd name="connsiteY0" fmla="*/ 44741 h 44740"/>
                <a:gd name="connsiteX1" fmla="*/ 13382 w 32429"/>
                <a:gd name="connsiteY1" fmla="*/ 26121 h 44740"/>
                <a:gd name="connsiteX2" fmla="*/ 0 w 32429"/>
                <a:gd name="connsiteY2" fmla="*/ 26121 h 44740"/>
                <a:gd name="connsiteX3" fmla="*/ 0 w 32429"/>
                <a:gd name="connsiteY3" fmla="*/ 18352 h 44740"/>
                <a:gd name="connsiteX4" fmla="*/ 13382 w 32429"/>
                <a:gd name="connsiteY4" fmla="*/ 18352 h 44740"/>
                <a:gd name="connsiteX5" fmla="*/ 13382 w 32429"/>
                <a:gd name="connsiteY5" fmla="*/ 0 h 44740"/>
                <a:gd name="connsiteX6" fmla="*/ 19048 w 32429"/>
                <a:gd name="connsiteY6" fmla="*/ 0 h 44740"/>
                <a:gd name="connsiteX7" fmla="*/ 19048 w 32429"/>
                <a:gd name="connsiteY7" fmla="*/ 18352 h 44740"/>
                <a:gd name="connsiteX8" fmla="*/ 32430 w 32429"/>
                <a:gd name="connsiteY8" fmla="*/ 18352 h 44740"/>
                <a:gd name="connsiteX9" fmla="*/ 32430 w 32429"/>
                <a:gd name="connsiteY9" fmla="*/ 26121 h 44740"/>
                <a:gd name="connsiteX10" fmla="*/ 19048 w 32429"/>
                <a:gd name="connsiteY10" fmla="*/ 26121 h 44740"/>
                <a:gd name="connsiteX11" fmla="*/ 19048 w 32429"/>
                <a:gd name="connsiteY11" fmla="*/ 44741 h 44740"/>
                <a:gd name="connsiteX12" fmla="*/ 13382 w 32429"/>
                <a:gd name="connsiteY12" fmla="*/ 44741 h 44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29" h="44740">
                  <a:moveTo>
                    <a:pt x="13382" y="44741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048" y="0"/>
                  </a:lnTo>
                  <a:lnTo>
                    <a:pt x="19048" y="18352"/>
                  </a:lnTo>
                  <a:lnTo>
                    <a:pt x="32430" y="18352"/>
                  </a:lnTo>
                  <a:lnTo>
                    <a:pt x="32430" y="26121"/>
                  </a:lnTo>
                  <a:lnTo>
                    <a:pt x="19048" y="26121"/>
                  </a:lnTo>
                  <a:lnTo>
                    <a:pt x="19048" y="44741"/>
                  </a:lnTo>
                  <a:lnTo>
                    <a:pt x="13382" y="44741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62" name="Freihandform: Form 761">
              <a:extLst>
                <a:ext uri="{FF2B5EF4-FFF2-40B4-BE49-F238E27FC236}">
                  <a16:creationId xmlns:a16="http://schemas.microsoft.com/office/drawing/2014/main" id="{A10D38E2-2BE6-E641-6098-F751E97316D7}"/>
                </a:ext>
              </a:extLst>
            </p:cNvPr>
            <p:cNvSpPr/>
            <p:nvPr/>
          </p:nvSpPr>
          <p:spPr>
            <a:xfrm>
              <a:off x="2786917" y="2507111"/>
              <a:ext cx="32527" cy="44740"/>
            </a:xfrm>
            <a:custGeom>
              <a:avLst/>
              <a:gdLst>
                <a:gd name="connsiteX0" fmla="*/ 13382 w 32527"/>
                <a:gd name="connsiteY0" fmla="*/ 44741 h 44740"/>
                <a:gd name="connsiteX1" fmla="*/ 13382 w 32527"/>
                <a:gd name="connsiteY1" fmla="*/ 26121 h 44740"/>
                <a:gd name="connsiteX2" fmla="*/ 0 w 32527"/>
                <a:gd name="connsiteY2" fmla="*/ 26121 h 44740"/>
                <a:gd name="connsiteX3" fmla="*/ 0 w 32527"/>
                <a:gd name="connsiteY3" fmla="*/ 18352 h 44740"/>
                <a:gd name="connsiteX4" fmla="*/ 13382 w 32527"/>
                <a:gd name="connsiteY4" fmla="*/ 18352 h 44740"/>
                <a:gd name="connsiteX5" fmla="*/ 13382 w 32527"/>
                <a:gd name="connsiteY5" fmla="*/ 0 h 44740"/>
                <a:gd name="connsiteX6" fmla="*/ 19145 w 32527"/>
                <a:gd name="connsiteY6" fmla="*/ 0 h 44740"/>
                <a:gd name="connsiteX7" fmla="*/ 19145 w 32527"/>
                <a:gd name="connsiteY7" fmla="*/ 18352 h 44740"/>
                <a:gd name="connsiteX8" fmla="*/ 32528 w 32527"/>
                <a:gd name="connsiteY8" fmla="*/ 18352 h 44740"/>
                <a:gd name="connsiteX9" fmla="*/ 32528 w 32527"/>
                <a:gd name="connsiteY9" fmla="*/ 26121 h 44740"/>
                <a:gd name="connsiteX10" fmla="*/ 19145 w 32527"/>
                <a:gd name="connsiteY10" fmla="*/ 26121 h 44740"/>
                <a:gd name="connsiteX11" fmla="*/ 19145 w 32527"/>
                <a:gd name="connsiteY11" fmla="*/ 44741 h 44740"/>
                <a:gd name="connsiteX12" fmla="*/ 13382 w 32527"/>
                <a:gd name="connsiteY12" fmla="*/ 44741 h 44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740">
                  <a:moveTo>
                    <a:pt x="13382" y="44741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145" y="0"/>
                  </a:lnTo>
                  <a:lnTo>
                    <a:pt x="19145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145" y="26121"/>
                  </a:lnTo>
                  <a:lnTo>
                    <a:pt x="19145" y="44741"/>
                  </a:lnTo>
                  <a:lnTo>
                    <a:pt x="13382" y="44741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63" name="Freihandform: Form 762">
              <a:extLst>
                <a:ext uri="{FF2B5EF4-FFF2-40B4-BE49-F238E27FC236}">
                  <a16:creationId xmlns:a16="http://schemas.microsoft.com/office/drawing/2014/main" id="{B2586340-E56D-798A-38F2-31AB2DB1717A}"/>
                </a:ext>
              </a:extLst>
            </p:cNvPr>
            <p:cNvSpPr/>
            <p:nvPr/>
          </p:nvSpPr>
          <p:spPr>
            <a:xfrm>
              <a:off x="2863010" y="2527070"/>
              <a:ext cx="32527" cy="44606"/>
            </a:xfrm>
            <a:custGeom>
              <a:avLst/>
              <a:gdLst>
                <a:gd name="connsiteX0" fmla="*/ 13382 w 32527"/>
                <a:gd name="connsiteY0" fmla="*/ 44607 h 44606"/>
                <a:gd name="connsiteX1" fmla="*/ 13382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352 h 44606"/>
                <a:gd name="connsiteX4" fmla="*/ 13382 w 32527"/>
                <a:gd name="connsiteY4" fmla="*/ 18352 h 44606"/>
                <a:gd name="connsiteX5" fmla="*/ 13382 w 32527"/>
                <a:gd name="connsiteY5" fmla="*/ 0 h 44606"/>
                <a:gd name="connsiteX6" fmla="*/ 19145 w 32527"/>
                <a:gd name="connsiteY6" fmla="*/ 0 h 44606"/>
                <a:gd name="connsiteX7" fmla="*/ 19145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6121 h 44606"/>
                <a:gd name="connsiteX10" fmla="*/ 19145 w 32527"/>
                <a:gd name="connsiteY10" fmla="*/ 26121 h 44606"/>
                <a:gd name="connsiteX11" fmla="*/ 19145 w 32527"/>
                <a:gd name="connsiteY11" fmla="*/ 44607 h 44606"/>
                <a:gd name="connsiteX12" fmla="*/ 13382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145" y="0"/>
                  </a:lnTo>
                  <a:lnTo>
                    <a:pt x="19145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145" y="26121"/>
                  </a:lnTo>
                  <a:lnTo>
                    <a:pt x="19145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64" name="Freihandform: Form 763">
              <a:extLst>
                <a:ext uri="{FF2B5EF4-FFF2-40B4-BE49-F238E27FC236}">
                  <a16:creationId xmlns:a16="http://schemas.microsoft.com/office/drawing/2014/main" id="{57B14BDA-2BCE-6522-D704-DE8C965FA0D4}"/>
                </a:ext>
              </a:extLst>
            </p:cNvPr>
            <p:cNvSpPr/>
            <p:nvPr/>
          </p:nvSpPr>
          <p:spPr>
            <a:xfrm>
              <a:off x="2970948" y="2561898"/>
              <a:ext cx="32527" cy="44606"/>
            </a:xfrm>
            <a:custGeom>
              <a:avLst/>
              <a:gdLst>
                <a:gd name="connsiteX0" fmla="*/ 13480 w 32527"/>
                <a:gd name="connsiteY0" fmla="*/ 44607 h 44606"/>
                <a:gd name="connsiteX1" fmla="*/ 13480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486 h 44606"/>
                <a:gd name="connsiteX4" fmla="*/ 13480 w 32527"/>
                <a:gd name="connsiteY4" fmla="*/ 18486 h 44606"/>
                <a:gd name="connsiteX5" fmla="*/ 13480 w 32527"/>
                <a:gd name="connsiteY5" fmla="*/ 0 h 44606"/>
                <a:gd name="connsiteX6" fmla="*/ 19145 w 32527"/>
                <a:gd name="connsiteY6" fmla="*/ 0 h 44606"/>
                <a:gd name="connsiteX7" fmla="*/ 19145 w 32527"/>
                <a:gd name="connsiteY7" fmla="*/ 18486 h 44606"/>
                <a:gd name="connsiteX8" fmla="*/ 32528 w 32527"/>
                <a:gd name="connsiteY8" fmla="*/ 18486 h 44606"/>
                <a:gd name="connsiteX9" fmla="*/ 32528 w 32527"/>
                <a:gd name="connsiteY9" fmla="*/ 26121 h 44606"/>
                <a:gd name="connsiteX10" fmla="*/ 19145 w 32527"/>
                <a:gd name="connsiteY10" fmla="*/ 26121 h 44606"/>
                <a:gd name="connsiteX11" fmla="*/ 19145 w 32527"/>
                <a:gd name="connsiteY11" fmla="*/ 44607 h 44606"/>
                <a:gd name="connsiteX12" fmla="*/ 13480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480" y="44607"/>
                  </a:moveTo>
                  <a:lnTo>
                    <a:pt x="13480" y="26121"/>
                  </a:lnTo>
                  <a:lnTo>
                    <a:pt x="0" y="26121"/>
                  </a:lnTo>
                  <a:lnTo>
                    <a:pt x="0" y="18486"/>
                  </a:lnTo>
                  <a:lnTo>
                    <a:pt x="13480" y="18486"/>
                  </a:lnTo>
                  <a:lnTo>
                    <a:pt x="13480" y="0"/>
                  </a:lnTo>
                  <a:lnTo>
                    <a:pt x="19145" y="0"/>
                  </a:lnTo>
                  <a:lnTo>
                    <a:pt x="19145" y="18486"/>
                  </a:lnTo>
                  <a:lnTo>
                    <a:pt x="32528" y="18486"/>
                  </a:lnTo>
                  <a:lnTo>
                    <a:pt x="32528" y="26121"/>
                  </a:lnTo>
                  <a:lnTo>
                    <a:pt x="19145" y="26121"/>
                  </a:lnTo>
                  <a:lnTo>
                    <a:pt x="19145" y="44607"/>
                  </a:lnTo>
                  <a:lnTo>
                    <a:pt x="13480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65" name="Freihandform: Form 764">
              <a:extLst>
                <a:ext uri="{FF2B5EF4-FFF2-40B4-BE49-F238E27FC236}">
                  <a16:creationId xmlns:a16="http://schemas.microsoft.com/office/drawing/2014/main" id="{C26B81C1-80FD-3451-622F-7B75C1CEE3AF}"/>
                </a:ext>
              </a:extLst>
            </p:cNvPr>
            <p:cNvSpPr/>
            <p:nvPr/>
          </p:nvSpPr>
          <p:spPr>
            <a:xfrm>
              <a:off x="3029849" y="2596994"/>
              <a:ext cx="32527" cy="44606"/>
            </a:xfrm>
            <a:custGeom>
              <a:avLst/>
              <a:gdLst>
                <a:gd name="connsiteX0" fmla="*/ 13480 w 32527"/>
                <a:gd name="connsiteY0" fmla="*/ 44607 h 44606"/>
                <a:gd name="connsiteX1" fmla="*/ 13480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352 h 44606"/>
                <a:gd name="connsiteX4" fmla="*/ 13480 w 32527"/>
                <a:gd name="connsiteY4" fmla="*/ 18352 h 44606"/>
                <a:gd name="connsiteX5" fmla="*/ 13480 w 32527"/>
                <a:gd name="connsiteY5" fmla="*/ 0 h 44606"/>
                <a:gd name="connsiteX6" fmla="*/ 19145 w 32527"/>
                <a:gd name="connsiteY6" fmla="*/ 0 h 44606"/>
                <a:gd name="connsiteX7" fmla="*/ 19145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6121 h 44606"/>
                <a:gd name="connsiteX10" fmla="*/ 19145 w 32527"/>
                <a:gd name="connsiteY10" fmla="*/ 26121 h 44606"/>
                <a:gd name="connsiteX11" fmla="*/ 19145 w 32527"/>
                <a:gd name="connsiteY11" fmla="*/ 44607 h 44606"/>
                <a:gd name="connsiteX12" fmla="*/ 13480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480" y="44607"/>
                  </a:moveTo>
                  <a:lnTo>
                    <a:pt x="13480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480" y="18352"/>
                  </a:lnTo>
                  <a:lnTo>
                    <a:pt x="13480" y="0"/>
                  </a:lnTo>
                  <a:lnTo>
                    <a:pt x="19145" y="0"/>
                  </a:lnTo>
                  <a:lnTo>
                    <a:pt x="19145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145" y="26121"/>
                  </a:lnTo>
                  <a:lnTo>
                    <a:pt x="19145" y="44607"/>
                  </a:lnTo>
                  <a:lnTo>
                    <a:pt x="13480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66" name="Freihandform: Form 765">
              <a:extLst>
                <a:ext uri="{FF2B5EF4-FFF2-40B4-BE49-F238E27FC236}">
                  <a16:creationId xmlns:a16="http://schemas.microsoft.com/office/drawing/2014/main" id="{890D74F1-A9D4-CDB9-434C-F954B7894DA7}"/>
                </a:ext>
              </a:extLst>
            </p:cNvPr>
            <p:cNvSpPr/>
            <p:nvPr/>
          </p:nvSpPr>
          <p:spPr>
            <a:xfrm>
              <a:off x="3086308" y="2596994"/>
              <a:ext cx="32527" cy="44606"/>
            </a:xfrm>
            <a:custGeom>
              <a:avLst/>
              <a:gdLst>
                <a:gd name="connsiteX0" fmla="*/ 13382 w 32527"/>
                <a:gd name="connsiteY0" fmla="*/ 44607 h 44606"/>
                <a:gd name="connsiteX1" fmla="*/ 13382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352 h 44606"/>
                <a:gd name="connsiteX4" fmla="*/ 13382 w 32527"/>
                <a:gd name="connsiteY4" fmla="*/ 18352 h 44606"/>
                <a:gd name="connsiteX5" fmla="*/ 13382 w 32527"/>
                <a:gd name="connsiteY5" fmla="*/ 0 h 44606"/>
                <a:gd name="connsiteX6" fmla="*/ 19145 w 32527"/>
                <a:gd name="connsiteY6" fmla="*/ 0 h 44606"/>
                <a:gd name="connsiteX7" fmla="*/ 19145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6121 h 44606"/>
                <a:gd name="connsiteX10" fmla="*/ 19145 w 32527"/>
                <a:gd name="connsiteY10" fmla="*/ 26121 h 44606"/>
                <a:gd name="connsiteX11" fmla="*/ 19145 w 32527"/>
                <a:gd name="connsiteY11" fmla="*/ 44607 h 44606"/>
                <a:gd name="connsiteX12" fmla="*/ 13382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145" y="0"/>
                  </a:lnTo>
                  <a:lnTo>
                    <a:pt x="19145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145" y="26121"/>
                  </a:lnTo>
                  <a:lnTo>
                    <a:pt x="19145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67" name="Freihandform: Form 766">
              <a:extLst>
                <a:ext uri="{FF2B5EF4-FFF2-40B4-BE49-F238E27FC236}">
                  <a16:creationId xmlns:a16="http://schemas.microsoft.com/office/drawing/2014/main" id="{89F39229-70C7-4A19-50B6-4B4C77E1C535}"/>
                </a:ext>
              </a:extLst>
            </p:cNvPr>
            <p:cNvSpPr/>
            <p:nvPr/>
          </p:nvSpPr>
          <p:spPr>
            <a:xfrm>
              <a:off x="3093634" y="2602085"/>
              <a:ext cx="32527" cy="44606"/>
            </a:xfrm>
            <a:custGeom>
              <a:avLst/>
              <a:gdLst>
                <a:gd name="connsiteX0" fmla="*/ 13480 w 32527"/>
                <a:gd name="connsiteY0" fmla="*/ 44607 h 44606"/>
                <a:gd name="connsiteX1" fmla="*/ 13480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352 h 44606"/>
                <a:gd name="connsiteX4" fmla="*/ 13480 w 32527"/>
                <a:gd name="connsiteY4" fmla="*/ 18352 h 44606"/>
                <a:gd name="connsiteX5" fmla="*/ 13480 w 32527"/>
                <a:gd name="connsiteY5" fmla="*/ 0 h 44606"/>
                <a:gd name="connsiteX6" fmla="*/ 19145 w 32527"/>
                <a:gd name="connsiteY6" fmla="*/ 0 h 44606"/>
                <a:gd name="connsiteX7" fmla="*/ 19145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6121 h 44606"/>
                <a:gd name="connsiteX10" fmla="*/ 19145 w 32527"/>
                <a:gd name="connsiteY10" fmla="*/ 26121 h 44606"/>
                <a:gd name="connsiteX11" fmla="*/ 19145 w 32527"/>
                <a:gd name="connsiteY11" fmla="*/ 44607 h 44606"/>
                <a:gd name="connsiteX12" fmla="*/ 13480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480" y="44607"/>
                  </a:moveTo>
                  <a:lnTo>
                    <a:pt x="13480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480" y="18352"/>
                  </a:lnTo>
                  <a:lnTo>
                    <a:pt x="13480" y="0"/>
                  </a:lnTo>
                  <a:lnTo>
                    <a:pt x="19145" y="0"/>
                  </a:lnTo>
                  <a:lnTo>
                    <a:pt x="19145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145" y="26121"/>
                  </a:lnTo>
                  <a:lnTo>
                    <a:pt x="19145" y="44607"/>
                  </a:lnTo>
                  <a:lnTo>
                    <a:pt x="13480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68" name="Freihandform: Form 767">
              <a:extLst>
                <a:ext uri="{FF2B5EF4-FFF2-40B4-BE49-F238E27FC236}">
                  <a16:creationId xmlns:a16="http://schemas.microsoft.com/office/drawing/2014/main" id="{7B5AC5C9-1216-BB6A-B1CB-2000327E7225}"/>
                </a:ext>
              </a:extLst>
            </p:cNvPr>
            <p:cNvSpPr/>
            <p:nvPr/>
          </p:nvSpPr>
          <p:spPr>
            <a:xfrm>
              <a:off x="3123134" y="2607175"/>
              <a:ext cx="32429" cy="44606"/>
            </a:xfrm>
            <a:custGeom>
              <a:avLst/>
              <a:gdLst>
                <a:gd name="connsiteX0" fmla="*/ 13382 w 32429"/>
                <a:gd name="connsiteY0" fmla="*/ 44607 h 44606"/>
                <a:gd name="connsiteX1" fmla="*/ 13382 w 32429"/>
                <a:gd name="connsiteY1" fmla="*/ 26121 h 44606"/>
                <a:gd name="connsiteX2" fmla="*/ 0 w 32429"/>
                <a:gd name="connsiteY2" fmla="*/ 26121 h 44606"/>
                <a:gd name="connsiteX3" fmla="*/ 0 w 32429"/>
                <a:gd name="connsiteY3" fmla="*/ 18352 h 44606"/>
                <a:gd name="connsiteX4" fmla="*/ 13382 w 32429"/>
                <a:gd name="connsiteY4" fmla="*/ 18352 h 44606"/>
                <a:gd name="connsiteX5" fmla="*/ 13382 w 32429"/>
                <a:gd name="connsiteY5" fmla="*/ 0 h 44606"/>
                <a:gd name="connsiteX6" fmla="*/ 19048 w 32429"/>
                <a:gd name="connsiteY6" fmla="*/ 0 h 44606"/>
                <a:gd name="connsiteX7" fmla="*/ 19048 w 32429"/>
                <a:gd name="connsiteY7" fmla="*/ 18352 h 44606"/>
                <a:gd name="connsiteX8" fmla="*/ 32430 w 32429"/>
                <a:gd name="connsiteY8" fmla="*/ 18352 h 44606"/>
                <a:gd name="connsiteX9" fmla="*/ 32430 w 32429"/>
                <a:gd name="connsiteY9" fmla="*/ 26121 h 44606"/>
                <a:gd name="connsiteX10" fmla="*/ 19048 w 32429"/>
                <a:gd name="connsiteY10" fmla="*/ 26121 h 44606"/>
                <a:gd name="connsiteX11" fmla="*/ 19048 w 32429"/>
                <a:gd name="connsiteY11" fmla="*/ 44607 h 44606"/>
                <a:gd name="connsiteX12" fmla="*/ 13382 w 32429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29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048" y="0"/>
                  </a:lnTo>
                  <a:lnTo>
                    <a:pt x="19048" y="18352"/>
                  </a:lnTo>
                  <a:lnTo>
                    <a:pt x="32430" y="18352"/>
                  </a:lnTo>
                  <a:lnTo>
                    <a:pt x="32430" y="26121"/>
                  </a:lnTo>
                  <a:lnTo>
                    <a:pt x="19048" y="26121"/>
                  </a:lnTo>
                  <a:lnTo>
                    <a:pt x="19048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69" name="Freihandform: Form 768">
              <a:extLst>
                <a:ext uri="{FF2B5EF4-FFF2-40B4-BE49-F238E27FC236}">
                  <a16:creationId xmlns:a16="http://schemas.microsoft.com/office/drawing/2014/main" id="{2792C0D9-D16D-F3BC-AB7D-0076E349B6B7}"/>
                </a:ext>
              </a:extLst>
            </p:cNvPr>
            <p:cNvSpPr/>
            <p:nvPr/>
          </p:nvSpPr>
          <p:spPr>
            <a:xfrm>
              <a:off x="3270339" y="2632626"/>
              <a:ext cx="32527" cy="44606"/>
            </a:xfrm>
            <a:custGeom>
              <a:avLst/>
              <a:gdLst>
                <a:gd name="connsiteX0" fmla="*/ 13480 w 32527"/>
                <a:gd name="connsiteY0" fmla="*/ 44607 h 44606"/>
                <a:gd name="connsiteX1" fmla="*/ 13480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352 h 44606"/>
                <a:gd name="connsiteX4" fmla="*/ 13480 w 32527"/>
                <a:gd name="connsiteY4" fmla="*/ 18352 h 44606"/>
                <a:gd name="connsiteX5" fmla="*/ 13480 w 32527"/>
                <a:gd name="connsiteY5" fmla="*/ 0 h 44606"/>
                <a:gd name="connsiteX6" fmla="*/ 19145 w 32527"/>
                <a:gd name="connsiteY6" fmla="*/ 0 h 44606"/>
                <a:gd name="connsiteX7" fmla="*/ 19145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6121 h 44606"/>
                <a:gd name="connsiteX10" fmla="*/ 19145 w 32527"/>
                <a:gd name="connsiteY10" fmla="*/ 26121 h 44606"/>
                <a:gd name="connsiteX11" fmla="*/ 19145 w 32527"/>
                <a:gd name="connsiteY11" fmla="*/ 44607 h 44606"/>
                <a:gd name="connsiteX12" fmla="*/ 13480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480" y="44607"/>
                  </a:moveTo>
                  <a:lnTo>
                    <a:pt x="13480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480" y="18352"/>
                  </a:lnTo>
                  <a:lnTo>
                    <a:pt x="13480" y="0"/>
                  </a:lnTo>
                  <a:lnTo>
                    <a:pt x="19145" y="0"/>
                  </a:lnTo>
                  <a:lnTo>
                    <a:pt x="19145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145" y="26121"/>
                  </a:lnTo>
                  <a:lnTo>
                    <a:pt x="19145" y="44607"/>
                  </a:lnTo>
                  <a:lnTo>
                    <a:pt x="13480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70" name="Freihandform: Form 769">
              <a:extLst>
                <a:ext uri="{FF2B5EF4-FFF2-40B4-BE49-F238E27FC236}">
                  <a16:creationId xmlns:a16="http://schemas.microsoft.com/office/drawing/2014/main" id="{7EA1CA30-C9D7-E95E-3D5B-8985F9875B35}"/>
                </a:ext>
              </a:extLst>
            </p:cNvPr>
            <p:cNvSpPr/>
            <p:nvPr/>
          </p:nvSpPr>
          <p:spPr>
            <a:xfrm>
              <a:off x="3326798" y="2632626"/>
              <a:ext cx="32527" cy="44606"/>
            </a:xfrm>
            <a:custGeom>
              <a:avLst/>
              <a:gdLst>
                <a:gd name="connsiteX0" fmla="*/ 13382 w 32527"/>
                <a:gd name="connsiteY0" fmla="*/ 44607 h 44606"/>
                <a:gd name="connsiteX1" fmla="*/ 13382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352 h 44606"/>
                <a:gd name="connsiteX4" fmla="*/ 13382 w 32527"/>
                <a:gd name="connsiteY4" fmla="*/ 18352 h 44606"/>
                <a:gd name="connsiteX5" fmla="*/ 13382 w 32527"/>
                <a:gd name="connsiteY5" fmla="*/ 0 h 44606"/>
                <a:gd name="connsiteX6" fmla="*/ 19145 w 32527"/>
                <a:gd name="connsiteY6" fmla="*/ 0 h 44606"/>
                <a:gd name="connsiteX7" fmla="*/ 19145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6121 h 44606"/>
                <a:gd name="connsiteX10" fmla="*/ 19145 w 32527"/>
                <a:gd name="connsiteY10" fmla="*/ 26121 h 44606"/>
                <a:gd name="connsiteX11" fmla="*/ 19145 w 32527"/>
                <a:gd name="connsiteY11" fmla="*/ 44607 h 44606"/>
                <a:gd name="connsiteX12" fmla="*/ 13382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145" y="0"/>
                  </a:lnTo>
                  <a:lnTo>
                    <a:pt x="19145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145" y="26121"/>
                  </a:lnTo>
                  <a:lnTo>
                    <a:pt x="19145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71" name="Freihandform: Form 770">
              <a:extLst>
                <a:ext uri="{FF2B5EF4-FFF2-40B4-BE49-F238E27FC236}">
                  <a16:creationId xmlns:a16="http://schemas.microsoft.com/office/drawing/2014/main" id="{B51288B6-AD74-0268-1E1E-9A021CEA693C}"/>
                </a:ext>
              </a:extLst>
            </p:cNvPr>
            <p:cNvSpPr/>
            <p:nvPr/>
          </p:nvSpPr>
          <p:spPr>
            <a:xfrm>
              <a:off x="3550096" y="2658346"/>
              <a:ext cx="32527" cy="44606"/>
            </a:xfrm>
            <a:custGeom>
              <a:avLst/>
              <a:gdLst>
                <a:gd name="connsiteX0" fmla="*/ 13382 w 32527"/>
                <a:gd name="connsiteY0" fmla="*/ 44607 h 44606"/>
                <a:gd name="connsiteX1" fmla="*/ 13382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352 h 44606"/>
                <a:gd name="connsiteX4" fmla="*/ 13382 w 32527"/>
                <a:gd name="connsiteY4" fmla="*/ 18352 h 44606"/>
                <a:gd name="connsiteX5" fmla="*/ 13382 w 32527"/>
                <a:gd name="connsiteY5" fmla="*/ 0 h 44606"/>
                <a:gd name="connsiteX6" fmla="*/ 19145 w 32527"/>
                <a:gd name="connsiteY6" fmla="*/ 0 h 44606"/>
                <a:gd name="connsiteX7" fmla="*/ 19145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6121 h 44606"/>
                <a:gd name="connsiteX10" fmla="*/ 19145 w 32527"/>
                <a:gd name="connsiteY10" fmla="*/ 26121 h 44606"/>
                <a:gd name="connsiteX11" fmla="*/ 19145 w 32527"/>
                <a:gd name="connsiteY11" fmla="*/ 44607 h 44606"/>
                <a:gd name="connsiteX12" fmla="*/ 13382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145" y="0"/>
                  </a:lnTo>
                  <a:lnTo>
                    <a:pt x="19145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145" y="26121"/>
                  </a:lnTo>
                  <a:lnTo>
                    <a:pt x="19145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72" name="Freihandform: Form 771">
              <a:extLst>
                <a:ext uri="{FF2B5EF4-FFF2-40B4-BE49-F238E27FC236}">
                  <a16:creationId xmlns:a16="http://schemas.microsoft.com/office/drawing/2014/main" id="{621D8C34-4741-06D8-A92F-8EF6735470A7}"/>
                </a:ext>
              </a:extLst>
            </p:cNvPr>
            <p:cNvSpPr/>
            <p:nvPr/>
          </p:nvSpPr>
          <p:spPr>
            <a:xfrm>
              <a:off x="3577153" y="2663570"/>
              <a:ext cx="32527" cy="44606"/>
            </a:xfrm>
            <a:custGeom>
              <a:avLst/>
              <a:gdLst>
                <a:gd name="connsiteX0" fmla="*/ 13382 w 32527"/>
                <a:gd name="connsiteY0" fmla="*/ 44607 h 44606"/>
                <a:gd name="connsiteX1" fmla="*/ 13382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352 h 44606"/>
                <a:gd name="connsiteX4" fmla="*/ 13382 w 32527"/>
                <a:gd name="connsiteY4" fmla="*/ 18352 h 44606"/>
                <a:gd name="connsiteX5" fmla="*/ 13382 w 32527"/>
                <a:gd name="connsiteY5" fmla="*/ 0 h 44606"/>
                <a:gd name="connsiteX6" fmla="*/ 19048 w 32527"/>
                <a:gd name="connsiteY6" fmla="*/ 0 h 44606"/>
                <a:gd name="connsiteX7" fmla="*/ 19048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6121 h 44606"/>
                <a:gd name="connsiteX10" fmla="*/ 19048 w 32527"/>
                <a:gd name="connsiteY10" fmla="*/ 26121 h 44606"/>
                <a:gd name="connsiteX11" fmla="*/ 19048 w 32527"/>
                <a:gd name="connsiteY11" fmla="*/ 44607 h 44606"/>
                <a:gd name="connsiteX12" fmla="*/ 13382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048" y="0"/>
                  </a:lnTo>
                  <a:lnTo>
                    <a:pt x="19048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048" y="26121"/>
                  </a:lnTo>
                  <a:lnTo>
                    <a:pt x="19048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73" name="Freihandform: Form 772">
              <a:extLst>
                <a:ext uri="{FF2B5EF4-FFF2-40B4-BE49-F238E27FC236}">
                  <a16:creationId xmlns:a16="http://schemas.microsoft.com/office/drawing/2014/main" id="{F70B23A9-1D8F-AD93-82D7-394774663E62}"/>
                </a:ext>
              </a:extLst>
            </p:cNvPr>
            <p:cNvSpPr/>
            <p:nvPr/>
          </p:nvSpPr>
          <p:spPr>
            <a:xfrm>
              <a:off x="3579595" y="2663570"/>
              <a:ext cx="32527" cy="44606"/>
            </a:xfrm>
            <a:custGeom>
              <a:avLst/>
              <a:gdLst>
                <a:gd name="connsiteX0" fmla="*/ 13382 w 32527"/>
                <a:gd name="connsiteY0" fmla="*/ 44607 h 44606"/>
                <a:gd name="connsiteX1" fmla="*/ 13382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352 h 44606"/>
                <a:gd name="connsiteX4" fmla="*/ 13382 w 32527"/>
                <a:gd name="connsiteY4" fmla="*/ 18352 h 44606"/>
                <a:gd name="connsiteX5" fmla="*/ 13382 w 32527"/>
                <a:gd name="connsiteY5" fmla="*/ 0 h 44606"/>
                <a:gd name="connsiteX6" fmla="*/ 19145 w 32527"/>
                <a:gd name="connsiteY6" fmla="*/ 0 h 44606"/>
                <a:gd name="connsiteX7" fmla="*/ 19145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6121 h 44606"/>
                <a:gd name="connsiteX10" fmla="*/ 19145 w 32527"/>
                <a:gd name="connsiteY10" fmla="*/ 26121 h 44606"/>
                <a:gd name="connsiteX11" fmla="*/ 19145 w 32527"/>
                <a:gd name="connsiteY11" fmla="*/ 44607 h 44606"/>
                <a:gd name="connsiteX12" fmla="*/ 13382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145" y="0"/>
                  </a:lnTo>
                  <a:lnTo>
                    <a:pt x="19145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145" y="26121"/>
                  </a:lnTo>
                  <a:lnTo>
                    <a:pt x="19145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74" name="Freihandform: Form 773">
              <a:extLst>
                <a:ext uri="{FF2B5EF4-FFF2-40B4-BE49-F238E27FC236}">
                  <a16:creationId xmlns:a16="http://schemas.microsoft.com/office/drawing/2014/main" id="{5A10291F-CC7F-895C-E747-95AF3ECB39EC}"/>
                </a:ext>
              </a:extLst>
            </p:cNvPr>
            <p:cNvSpPr/>
            <p:nvPr/>
          </p:nvSpPr>
          <p:spPr>
            <a:xfrm>
              <a:off x="3591903" y="2663570"/>
              <a:ext cx="32430" cy="44606"/>
            </a:xfrm>
            <a:custGeom>
              <a:avLst/>
              <a:gdLst>
                <a:gd name="connsiteX0" fmla="*/ 13382 w 32430"/>
                <a:gd name="connsiteY0" fmla="*/ 44607 h 44606"/>
                <a:gd name="connsiteX1" fmla="*/ 13382 w 32430"/>
                <a:gd name="connsiteY1" fmla="*/ 26121 h 44606"/>
                <a:gd name="connsiteX2" fmla="*/ 0 w 32430"/>
                <a:gd name="connsiteY2" fmla="*/ 26121 h 44606"/>
                <a:gd name="connsiteX3" fmla="*/ 0 w 32430"/>
                <a:gd name="connsiteY3" fmla="*/ 18352 h 44606"/>
                <a:gd name="connsiteX4" fmla="*/ 13382 w 32430"/>
                <a:gd name="connsiteY4" fmla="*/ 18352 h 44606"/>
                <a:gd name="connsiteX5" fmla="*/ 13382 w 32430"/>
                <a:gd name="connsiteY5" fmla="*/ 0 h 44606"/>
                <a:gd name="connsiteX6" fmla="*/ 19048 w 32430"/>
                <a:gd name="connsiteY6" fmla="*/ 0 h 44606"/>
                <a:gd name="connsiteX7" fmla="*/ 19048 w 32430"/>
                <a:gd name="connsiteY7" fmla="*/ 18352 h 44606"/>
                <a:gd name="connsiteX8" fmla="*/ 32430 w 32430"/>
                <a:gd name="connsiteY8" fmla="*/ 18352 h 44606"/>
                <a:gd name="connsiteX9" fmla="*/ 32430 w 32430"/>
                <a:gd name="connsiteY9" fmla="*/ 26121 h 44606"/>
                <a:gd name="connsiteX10" fmla="*/ 19048 w 32430"/>
                <a:gd name="connsiteY10" fmla="*/ 26121 h 44606"/>
                <a:gd name="connsiteX11" fmla="*/ 19048 w 32430"/>
                <a:gd name="connsiteY11" fmla="*/ 44607 h 44606"/>
                <a:gd name="connsiteX12" fmla="*/ 13382 w 32430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30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048" y="0"/>
                  </a:lnTo>
                  <a:lnTo>
                    <a:pt x="19048" y="18352"/>
                  </a:lnTo>
                  <a:lnTo>
                    <a:pt x="32430" y="18352"/>
                  </a:lnTo>
                  <a:lnTo>
                    <a:pt x="32430" y="26121"/>
                  </a:lnTo>
                  <a:lnTo>
                    <a:pt x="19048" y="26121"/>
                  </a:lnTo>
                  <a:lnTo>
                    <a:pt x="19048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75" name="Freihandform: Form 774">
              <a:extLst>
                <a:ext uri="{FF2B5EF4-FFF2-40B4-BE49-F238E27FC236}">
                  <a16:creationId xmlns:a16="http://schemas.microsoft.com/office/drawing/2014/main" id="{E77D2352-99B8-DE35-8826-C2F32B1A0E61}"/>
                </a:ext>
              </a:extLst>
            </p:cNvPr>
            <p:cNvSpPr/>
            <p:nvPr/>
          </p:nvSpPr>
          <p:spPr>
            <a:xfrm>
              <a:off x="3611439" y="2663570"/>
              <a:ext cx="32527" cy="44606"/>
            </a:xfrm>
            <a:custGeom>
              <a:avLst/>
              <a:gdLst>
                <a:gd name="connsiteX0" fmla="*/ 13480 w 32527"/>
                <a:gd name="connsiteY0" fmla="*/ 44607 h 44606"/>
                <a:gd name="connsiteX1" fmla="*/ 13480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352 h 44606"/>
                <a:gd name="connsiteX4" fmla="*/ 13480 w 32527"/>
                <a:gd name="connsiteY4" fmla="*/ 18352 h 44606"/>
                <a:gd name="connsiteX5" fmla="*/ 13480 w 32527"/>
                <a:gd name="connsiteY5" fmla="*/ 0 h 44606"/>
                <a:gd name="connsiteX6" fmla="*/ 19145 w 32527"/>
                <a:gd name="connsiteY6" fmla="*/ 0 h 44606"/>
                <a:gd name="connsiteX7" fmla="*/ 19145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6121 h 44606"/>
                <a:gd name="connsiteX10" fmla="*/ 19145 w 32527"/>
                <a:gd name="connsiteY10" fmla="*/ 26121 h 44606"/>
                <a:gd name="connsiteX11" fmla="*/ 19145 w 32527"/>
                <a:gd name="connsiteY11" fmla="*/ 44607 h 44606"/>
                <a:gd name="connsiteX12" fmla="*/ 13480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480" y="44607"/>
                  </a:moveTo>
                  <a:lnTo>
                    <a:pt x="13480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480" y="18352"/>
                  </a:lnTo>
                  <a:lnTo>
                    <a:pt x="13480" y="0"/>
                  </a:lnTo>
                  <a:lnTo>
                    <a:pt x="19145" y="0"/>
                  </a:lnTo>
                  <a:lnTo>
                    <a:pt x="19145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145" y="26121"/>
                  </a:lnTo>
                  <a:lnTo>
                    <a:pt x="19145" y="44607"/>
                  </a:lnTo>
                  <a:lnTo>
                    <a:pt x="13480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76" name="Freihandform: Form 775">
              <a:extLst>
                <a:ext uri="{FF2B5EF4-FFF2-40B4-BE49-F238E27FC236}">
                  <a16:creationId xmlns:a16="http://schemas.microsoft.com/office/drawing/2014/main" id="{35DB718A-C7B6-C0FC-492B-DFDEDC5D375F}"/>
                </a:ext>
              </a:extLst>
            </p:cNvPr>
            <p:cNvSpPr/>
            <p:nvPr/>
          </p:nvSpPr>
          <p:spPr>
            <a:xfrm>
              <a:off x="3724456" y="2684735"/>
              <a:ext cx="32429" cy="44606"/>
            </a:xfrm>
            <a:custGeom>
              <a:avLst/>
              <a:gdLst>
                <a:gd name="connsiteX0" fmla="*/ 13285 w 32429"/>
                <a:gd name="connsiteY0" fmla="*/ 44607 h 44606"/>
                <a:gd name="connsiteX1" fmla="*/ 13285 w 32429"/>
                <a:gd name="connsiteY1" fmla="*/ 26121 h 44606"/>
                <a:gd name="connsiteX2" fmla="*/ 0 w 32429"/>
                <a:gd name="connsiteY2" fmla="*/ 26121 h 44606"/>
                <a:gd name="connsiteX3" fmla="*/ 0 w 32429"/>
                <a:gd name="connsiteY3" fmla="*/ 18352 h 44606"/>
                <a:gd name="connsiteX4" fmla="*/ 13285 w 32429"/>
                <a:gd name="connsiteY4" fmla="*/ 18352 h 44606"/>
                <a:gd name="connsiteX5" fmla="*/ 13285 w 32429"/>
                <a:gd name="connsiteY5" fmla="*/ 0 h 44606"/>
                <a:gd name="connsiteX6" fmla="*/ 19048 w 32429"/>
                <a:gd name="connsiteY6" fmla="*/ 0 h 44606"/>
                <a:gd name="connsiteX7" fmla="*/ 19048 w 32429"/>
                <a:gd name="connsiteY7" fmla="*/ 18352 h 44606"/>
                <a:gd name="connsiteX8" fmla="*/ 32430 w 32429"/>
                <a:gd name="connsiteY8" fmla="*/ 18352 h 44606"/>
                <a:gd name="connsiteX9" fmla="*/ 32430 w 32429"/>
                <a:gd name="connsiteY9" fmla="*/ 26121 h 44606"/>
                <a:gd name="connsiteX10" fmla="*/ 19048 w 32429"/>
                <a:gd name="connsiteY10" fmla="*/ 26121 h 44606"/>
                <a:gd name="connsiteX11" fmla="*/ 19048 w 32429"/>
                <a:gd name="connsiteY11" fmla="*/ 44607 h 44606"/>
                <a:gd name="connsiteX12" fmla="*/ 13285 w 32429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29" h="44606">
                  <a:moveTo>
                    <a:pt x="13285" y="44607"/>
                  </a:moveTo>
                  <a:lnTo>
                    <a:pt x="13285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285" y="18352"/>
                  </a:lnTo>
                  <a:lnTo>
                    <a:pt x="13285" y="0"/>
                  </a:lnTo>
                  <a:lnTo>
                    <a:pt x="19048" y="0"/>
                  </a:lnTo>
                  <a:lnTo>
                    <a:pt x="19048" y="18352"/>
                  </a:lnTo>
                  <a:lnTo>
                    <a:pt x="32430" y="18352"/>
                  </a:lnTo>
                  <a:lnTo>
                    <a:pt x="32430" y="26121"/>
                  </a:lnTo>
                  <a:lnTo>
                    <a:pt x="19048" y="26121"/>
                  </a:lnTo>
                  <a:lnTo>
                    <a:pt x="19048" y="44607"/>
                  </a:lnTo>
                  <a:lnTo>
                    <a:pt x="13285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77" name="Freihandform: Form 776">
              <a:extLst>
                <a:ext uri="{FF2B5EF4-FFF2-40B4-BE49-F238E27FC236}">
                  <a16:creationId xmlns:a16="http://schemas.microsoft.com/office/drawing/2014/main" id="{266C02BB-1E5A-855E-38CE-AF1589EB1A9C}"/>
                </a:ext>
              </a:extLst>
            </p:cNvPr>
            <p:cNvSpPr/>
            <p:nvPr/>
          </p:nvSpPr>
          <p:spPr>
            <a:xfrm>
              <a:off x="3729242" y="2684735"/>
              <a:ext cx="32527" cy="44606"/>
            </a:xfrm>
            <a:custGeom>
              <a:avLst/>
              <a:gdLst>
                <a:gd name="connsiteX0" fmla="*/ 13382 w 32527"/>
                <a:gd name="connsiteY0" fmla="*/ 44607 h 44606"/>
                <a:gd name="connsiteX1" fmla="*/ 13382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352 h 44606"/>
                <a:gd name="connsiteX4" fmla="*/ 13382 w 32527"/>
                <a:gd name="connsiteY4" fmla="*/ 18352 h 44606"/>
                <a:gd name="connsiteX5" fmla="*/ 13382 w 32527"/>
                <a:gd name="connsiteY5" fmla="*/ 0 h 44606"/>
                <a:gd name="connsiteX6" fmla="*/ 19145 w 32527"/>
                <a:gd name="connsiteY6" fmla="*/ 0 h 44606"/>
                <a:gd name="connsiteX7" fmla="*/ 19145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6121 h 44606"/>
                <a:gd name="connsiteX10" fmla="*/ 19145 w 32527"/>
                <a:gd name="connsiteY10" fmla="*/ 26121 h 44606"/>
                <a:gd name="connsiteX11" fmla="*/ 19145 w 32527"/>
                <a:gd name="connsiteY11" fmla="*/ 44607 h 44606"/>
                <a:gd name="connsiteX12" fmla="*/ 13382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145" y="0"/>
                  </a:lnTo>
                  <a:lnTo>
                    <a:pt x="19145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145" y="26121"/>
                  </a:lnTo>
                  <a:lnTo>
                    <a:pt x="19145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78" name="Freihandform: Form 777">
              <a:extLst>
                <a:ext uri="{FF2B5EF4-FFF2-40B4-BE49-F238E27FC236}">
                  <a16:creationId xmlns:a16="http://schemas.microsoft.com/office/drawing/2014/main" id="{625EBA8A-343E-5285-29F1-9FE051C4EA9F}"/>
                </a:ext>
              </a:extLst>
            </p:cNvPr>
            <p:cNvSpPr/>
            <p:nvPr/>
          </p:nvSpPr>
          <p:spPr>
            <a:xfrm>
              <a:off x="3743992" y="2684735"/>
              <a:ext cx="32527" cy="44606"/>
            </a:xfrm>
            <a:custGeom>
              <a:avLst/>
              <a:gdLst>
                <a:gd name="connsiteX0" fmla="*/ 13382 w 32527"/>
                <a:gd name="connsiteY0" fmla="*/ 44607 h 44606"/>
                <a:gd name="connsiteX1" fmla="*/ 13382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352 h 44606"/>
                <a:gd name="connsiteX4" fmla="*/ 13382 w 32527"/>
                <a:gd name="connsiteY4" fmla="*/ 18352 h 44606"/>
                <a:gd name="connsiteX5" fmla="*/ 13382 w 32527"/>
                <a:gd name="connsiteY5" fmla="*/ 0 h 44606"/>
                <a:gd name="connsiteX6" fmla="*/ 19145 w 32527"/>
                <a:gd name="connsiteY6" fmla="*/ 0 h 44606"/>
                <a:gd name="connsiteX7" fmla="*/ 19145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6121 h 44606"/>
                <a:gd name="connsiteX10" fmla="*/ 19145 w 32527"/>
                <a:gd name="connsiteY10" fmla="*/ 26121 h 44606"/>
                <a:gd name="connsiteX11" fmla="*/ 19145 w 32527"/>
                <a:gd name="connsiteY11" fmla="*/ 44607 h 44606"/>
                <a:gd name="connsiteX12" fmla="*/ 13382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145" y="0"/>
                  </a:lnTo>
                  <a:lnTo>
                    <a:pt x="19145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145" y="26121"/>
                  </a:lnTo>
                  <a:lnTo>
                    <a:pt x="19145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79" name="Freihandform: Form 778">
              <a:extLst>
                <a:ext uri="{FF2B5EF4-FFF2-40B4-BE49-F238E27FC236}">
                  <a16:creationId xmlns:a16="http://schemas.microsoft.com/office/drawing/2014/main" id="{FE0CBB17-4DB0-4BF0-F3E6-12D244219445}"/>
                </a:ext>
              </a:extLst>
            </p:cNvPr>
            <p:cNvSpPr/>
            <p:nvPr/>
          </p:nvSpPr>
          <p:spPr>
            <a:xfrm>
              <a:off x="3793125" y="2684735"/>
              <a:ext cx="32430" cy="44606"/>
            </a:xfrm>
            <a:custGeom>
              <a:avLst/>
              <a:gdLst>
                <a:gd name="connsiteX0" fmla="*/ 13382 w 32430"/>
                <a:gd name="connsiteY0" fmla="*/ 44607 h 44606"/>
                <a:gd name="connsiteX1" fmla="*/ 13382 w 32430"/>
                <a:gd name="connsiteY1" fmla="*/ 26121 h 44606"/>
                <a:gd name="connsiteX2" fmla="*/ 0 w 32430"/>
                <a:gd name="connsiteY2" fmla="*/ 26121 h 44606"/>
                <a:gd name="connsiteX3" fmla="*/ 0 w 32430"/>
                <a:gd name="connsiteY3" fmla="*/ 18352 h 44606"/>
                <a:gd name="connsiteX4" fmla="*/ 13382 w 32430"/>
                <a:gd name="connsiteY4" fmla="*/ 18352 h 44606"/>
                <a:gd name="connsiteX5" fmla="*/ 13382 w 32430"/>
                <a:gd name="connsiteY5" fmla="*/ 0 h 44606"/>
                <a:gd name="connsiteX6" fmla="*/ 19048 w 32430"/>
                <a:gd name="connsiteY6" fmla="*/ 0 h 44606"/>
                <a:gd name="connsiteX7" fmla="*/ 19048 w 32430"/>
                <a:gd name="connsiteY7" fmla="*/ 18352 h 44606"/>
                <a:gd name="connsiteX8" fmla="*/ 32430 w 32430"/>
                <a:gd name="connsiteY8" fmla="*/ 18352 h 44606"/>
                <a:gd name="connsiteX9" fmla="*/ 32430 w 32430"/>
                <a:gd name="connsiteY9" fmla="*/ 26121 h 44606"/>
                <a:gd name="connsiteX10" fmla="*/ 19048 w 32430"/>
                <a:gd name="connsiteY10" fmla="*/ 26121 h 44606"/>
                <a:gd name="connsiteX11" fmla="*/ 19048 w 32430"/>
                <a:gd name="connsiteY11" fmla="*/ 44607 h 44606"/>
                <a:gd name="connsiteX12" fmla="*/ 13382 w 32430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30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048" y="0"/>
                  </a:lnTo>
                  <a:lnTo>
                    <a:pt x="19048" y="18352"/>
                  </a:lnTo>
                  <a:lnTo>
                    <a:pt x="32430" y="18352"/>
                  </a:lnTo>
                  <a:lnTo>
                    <a:pt x="32430" y="26121"/>
                  </a:lnTo>
                  <a:lnTo>
                    <a:pt x="19048" y="26121"/>
                  </a:lnTo>
                  <a:lnTo>
                    <a:pt x="19048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80" name="Freihandform: Form 779">
              <a:extLst>
                <a:ext uri="{FF2B5EF4-FFF2-40B4-BE49-F238E27FC236}">
                  <a16:creationId xmlns:a16="http://schemas.microsoft.com/office/drawing/2014/main" id="{A4BF28D1-DFE1-F717-3E08-0437F81BF84D}"/>
                </a:ext>
              </a:extLst>
            </p:cNvPr>
            <p:cNvSpPr/>
            <p:nvPr/>
          </p:nvSpPr>
          <p:spPr>
            <a:xfrm>
              <a:off x="3906044" y="2706435"/>
              <a:ext cx="32430" cy="44606"/>
            </a:xfrm>
            <a:custGeom>
              <a:avLst/>
              <a:gdLst>
                <a:gd name="connsiteX0" fmla="*/ 13382 w 32430"/>
                <a:gd name="connsiteY0" fmla="*/ 44607 h 44606"/>
                <a:gd name="connsiteX1" fmla="*/ 13382 w 32430"/>
                <a:gd name="connsiteY1" fmla="*/ 26121 h 44606"/>
                <a:gd name="connsiteX2" fmla="*/ 0 w 32430"/>
                <a:gd name="connsiteY2" fmla="*/ 26121 h 44606"/>
                <a:gd name="connsiteX3" fmla="*/ 0 w 32430"/>
                <a:gd name="connsiteY3" fmla="*/ 18352 h 44606"/>
                <a:gd name="connsiteX4" fmla="*/ 13382 w 32430"/>
                <a:gd name="connsiteY4" fmla="*/ 18352 h 44606"/>
                <a:gd name="connsiteX5" fmla="*/ 13382 w 32430"/>
                <a:gd name="connsiteY5" fmla="*/ 0 h 44606"/>
                <a:gd name="connsiteX6" fmla="*/ 19048 w 32430"/>
                <a:gd name="connsiteY6" fmla="*/ 0 h 44606"/>
                <a:gd name="connsiteX7" fmla="*/ 19048 w 32430"/>
                <a:gd name="connsiteY7" fmla="*/ 18352 h 44606"/>
                <a:gd name="connsiteX8" fmla="*/ 32430 w 32430"/>
                <a:gd name="connsiteY8" fmla="*/ 18352 h 44606"/>
                <a:gd name="connsiteX9" fmla="*/ 32430 w 32430"/>
                <a:gd name="connsiteY9" fmla="*/ 26121 h 44606"/>
                <a:gd name="connsiteX10" fmla="*/ 19048 w 32430"/>
                <a:gd name="connsiteY10" fmla="*/ 26121 h 44606"/>
                <a:gd name="connsiteX11" fmla="*/ 19048 w 32430"/>
                <a:gd name="connsiteY11" fmla="*/ 44607 h 44606"/>
                <a:gd name="connsiteX12" fmla="*/ 13382 w 32430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30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048" y="0"/>
                  </a:lnTo>
                  <a:lnTo>
                    <a:pt x="19048" y="18352"/>
                  </a:lnTo>
                  <a:lnTo>
                    <a:pt x="32430" y="18352"/>
                  </a:lnTo>
                  <a:lnTo>
                    <a:pt x="32430" y="26121"/>
                  </a:lnTo>
                  <a:lnTo>
                    <a:pt x="19048" y="26121"/>
                  </a:lnTo>
                  <a:lnTo>
                    <a:pt x="19048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81" name="Freihandform: Form 780">
              <a:extLst>
                <a:ext uri="{FF2B5EF4-FFF2-40B4-BE49-F238E27FC236}">
                  <a16:creationId xmlns:a16="http://schemas.microsoft.com/office/drawing/2014/main" id="{6B505893-4015-037E-8CE6-FA7FDAF42060}"/>
                </a:ext>
              </a:extLst>
            </p:cNvPr>
            <p:cNvSpPr/>
            <p:nvPr/>
          </p:nvSpPr>
          <p:spPr>
            <a:xfrm>
              <a:off x="3942772" y="2706435"/>
              <a:ext cx="32527" cy="44606"/>
            </a:xfrm>
            <a:custGeom>
              <a:avLst/>
              <a:gdLst>
                <a:gd name="connsiteX0" fmla="*/ 13382 w 32527"/>
                <a:gd name="connsiteY0" fmla="*/ 44607 h 44606"/>
                <a:gd name="connsiteX1" fmla="*/ 13382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352 h 44606"/>
                <a:gd name="connsiteX4" fmla="*/ 13382 w 32527"/>
                <a:gd name="connsiteY4" fmla="*/ 18352 h 44606"/>
                <a:gd name="connsiteX5" fmla="*/ 13382 w 32527"/>
                <a:gd name="connsiteY5" fmla="*/ 0 h 44606"/>
                <a:gd name="connsiteX6" fmla="*/ 19145 w 32527"/>
                <a:gd name="connsiteY6" fmla="*/ 0 h 44606"/>
                <a:gd name="connsiteX7" fmla="*/ 19145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6121 h 44606"/>
                <a:gd name="connsiteX10" fmla="*/ 19145 w 32527"/>
                <a:gd name="connsiteY10" fmla="*/ 26121 h 44606"/>
                <a:gd name="connsiteX11" fmla="*/ 19145 w 32527"/>
                <a:gd name="connsiteY11" fmla="*/ 44607 h 44606"/>
                <a:gd name="connsiteX12" fmla="*/ 13382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145" y="0"/>
                  </a:lnTo>
                  <a:lnTo>
                    <a:pt x="19145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145" y="26121"/>
                  </a:lnTo>
                  <a:lnTo>
                    <a:pt x="19145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82" name="Freihandform: Form 781">
              <a:extLst>
                <a:ext uri="{FF2B5EF4-FFF2-40B4-BE49-F238E27FC236}">
                  <a16:creationId xmlns:a16="http://schemas.microsoft.com/office/drawing/2014/main" id="{C89FA16C-464B-925E-BC08-873286555331}"/>
                </a:ext>
              </a:extLst>
            </p:cNvPr>
            <p:cNvSpPr/>
            <p:nvPr/>
          </p:nvSpPr>
          <p:spPr>
            <a:xfrm>
              <a:off x="3945214" y="2706435"/>
              <a:ext cx="32527" cy="44606"/>
            </a:xfrm>
            <a:custGeom>
              <a:avLst/>
              <a:gdLst>
                <a:gd name="connsiteX0" fmla="*/ 13480 w 32527"/>
                <a:gd name="connsiteY0" fmla="*/ 44607 h 44606"/>
                <a:gd name="connsiteX1" fmla="*/ 13480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352 h 44606"/>
                <a:gd name="connsiteX4" fmla="*/ 13480 w 32527"/>
                <a:gd name="connsiteY4" fmla="*/ 18352 h 44606"/>
                <a:gd name="connsiteX5" fmla="*/ 13480 w 32527"/>
                <a:gd name="connsiteY5" fmla="*/ 0 h 44606"/>
                <a:gd name="connsiteX6" fmla="*/ 19145 w 32527"/>
                <a:gd name="connsiteY6" fmla="*/ 0 h 44606"/>
                <a:gd name="connsiteX7" fmla="*/ 19145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6121 h 44606"/>
                <a:gd name="connsiteX10" fmla="*/ 19145 w 32527"/>
                <a:gd name="connsiteY10" fmla="*/ 26121 h 44606"/>
                <a:gd name="connsiteX11" fmla="*/ 19145 w 32527"/>
                <a:gd name="connsiteY11" fmla="*/ 44607 h 44606"/>
                <a:gd name="connsiteX12" fmla="*/ 13480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480" y="44607"/>
                  </a:moveTo>
                  <a:lnTo>
                    <a:pt x="13480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480" y="18352"/>
                  </a:lnTo>
                  <a:lnTo>
                    <a:pt x="13480" y="0"/>
                  </a:lnTo>
                  <a:lnTo>
                    <a:pt x="19145" y="0"/>
                  </a:lnTo>
                  <a:lnTo>
                    <a:pt x="19145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145" y="26121"/>
                  </a:lnTo>
                  <a:lnTo>
                    <a:pt x="19145" y="44607"/>
                  </a:lnTo>
                  <a:lnTo>
                    <a:pt x="13480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83" name="Freihandform: Form 782">
              <a:extLst>
                <a:ext uri="{FF2B5EF4-FFF2-40B4-BE49-F238E27FC236}">
                  <a16:creationId xmlns:a16="http://schemas.microsoft.com/office/drawing/2014/main" id="{9146A190-38A6-D77B-451F-57A76AB38004}"/>
                </a:ext>
              </a:extLst>
            </p:cNvPr>
            <p:cNvSpPr/>
            <p:nvPr/>
          </p:nvSpPr>
          <p:spPr>
            <a:xfrm>
              <a:off x="3982039" y="2706435"/>
              <a:ext cx="32527" cy="44606"/>
            </a:xfrm>
            <a:custGeom>
              <a:avLst/>
              <a:gdLst>
                <a:gd name="connsiteX0" fmla="*/ 13382 w 32527"/>
                <a:gd name="connsiteY0" fmla="*/ 44607 h 44606"/>
                <a:gd name="connsiteX1" fmla="*/ 13382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352 h 44606"/>
                <a:gd name="connsiteX4" fmla="*/ 13382 w 32527"/>
                <a:gd name="connsiteY4" fmla="*/ 18352 h 44606"/>
                <a:gd name="connsiteX5" fmla="*/ 13382 w 32527"/>
                <a:gd name="connsiteY5" fmla="*/ 0 h 44606"/>
                <a:gd name="connsiteX6" fmla="*/ 19145 w 32527"/>
                <a:gd name="connsiteY6" fmla="*/ 0 h 44606"/>
                <a:gd name="connsiteX7" fmla="*/ 19145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6121 h 44606"/>
                <a:gd name="connsiteX10" fmla="*/ 19145 w 32527"/>
                <a:gd name="connsiteY10" fmla="*/ 26121 h 44606"/>
                <a:gd name="connsiteX11" fmla="*/ 19145 w 32527"/>
                <a:gd name="connsiteY11" fmla="*/ 44607 h 44606"/>
                <a:gd name="connsiteX12" fmla="*/ 13382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145" y="0"/>
                  </a:lnTo>
                  <a:lnTo>
                    <a:pt x="19145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145" y="26121"/>
                  </a:lnTo>
                  <a:lnTo>
                    <a:pt x="19145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84" name="Freihandform: Form 783">
              <a:extLst>
                <a:ext uri="{FF2B5EF4-FFF2-40B4-BE49-F238E27FC236}">
                  <a16:creationId xmlns:a16="http://schemas.microsoft.com/office/drawing/2014/main" id="{00FD470A-D294-FE8F-A289-783F26F7BFC1}"/>
                </a:ext>
              </a:extLst>
            </p:cNvPr>
            <p:cNvSpPr/>
            <p:nvPr/>
          </p:nvSpPr>
          <p:spPr>
            <a:xfrm>
              <a:off x="4072882" y="2711927"/>
              <a:ext cx="32527" cy="44606"/>
            </a:xfrm>
            <a:custGeom>
              <a:avLst/>
              <a:gdLst>
                <a:gd name="connsiteX0" fmla="*/ 13382 w 32527"/>
                <a:gd name="connsiteY0" fmla="*/ 44607 h 44606"/>
                <a:gd name="connsiteX1" fmla="*/ 13382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352 h 44606"/>
                <a:gd name="connsiteX4" fmla="*/ 13382 w 32527"/>
                <a:gd name="connsiteY4" fmla="*/ 18352 h 44606"/>
                <a:gd name="connsiteX5" fmla="*/ 13382 w 32527"/>
                <a:gd name="connsiteY5" fmla="*/ 0 h 44606"/>
                <a:gd name="connsiteX6" fmla="*/ 19048 w 32527"/>
                <a:gd name="connsiteY6" fmla="*/ 0 h 44606"/>
                <a:gd name="connsiteX7" fmla="*/ 19048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6121 h 44606"/>
                <a:gd name="connsiteX10" fmla="*/ 19048 w 32527"/>
                <a:gd name="connsiteY10" fmla="*/ 26121 h 44606"/>
                <a:gd name="connsiteX11" fmla="*/ 19048 w 32527"/>
                <a:gd name="connsiteY11" fmla="*/ 44607 h 44606"/>
                <a:gd name="connsiteX12" fmla="*/ 13382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048" y="0"/>
                  </a:lnTo>
                  <a:lnTo>
                    <a:pt x="19048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048" y="26121"/>
                  </a:lnTo>
                  <a:lnTo>
                    <a:pt x="19048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85" name="Freihandform: Form 784">
              <a:extLst>
                <a:ext uri="{FF2B5EF4-FFF2-40B4-BE49-F238E27FC236}">
                  <a16:creationId xmlns:a16="http://schemas.microsoft.com/office/drawing/2014/main" id="{9F2A875A-991B-254E-4175-A8A223CC0BAC}"/>
                </a:ext>
              </a:extLst>
            </p:cNvPr>
            <p:cNvSpPr/>
            <p:nvPr/>
          </p:nvSpPr>
          <p:spPr>
            <a:xfrm>
              <a:off x="4077767" y="2711927"/>
              <a:ext cx="32527" cy="44606"/>
            </a:xfrm>
            <a:custGeom>
              <a:avLst/>
              <a:gdLst>
                <a:gd name="connsiteX0" fmla="*/ 13382 w 32527"/>
                <a:gd name="connsiteY0" fmla="*/ 44607 h 44606"/>
                <a:gd name="connsiteX1" fmla="*/ 13382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352 h 44606"/>
                <a:gd name="connsiteX4" fmla="*/ 13382 w 32527"/>
                <a:gd name="connsiteY4" fmla="*/ 18352 h 44606"/>
                <a:gd name="connsiteX5" fmla="*/ 13382 w 32527"/>
                <a:gd name="connsiteY5" fmla="*/ 0 h 44606"/>
                <a:gd name="connsiteX6" fmla="*/ 19145 w 32527"/>
                <a:gd name="connsiteY6" fmla="*/ 0 h 44606"/>
                <a:gd name="connsiteX7" fmla="*/ 19145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6121 h 44606"/>
                <a:gd name="connsiteX10" fmla="*/ 19145 w 32527"/>
                <a:gd name="connsiteY10" fmla="*/ 26121 h 44606"/>
                <a:gd name="connsiteX11" fmla="*/ 19145 w 32527"/>
                <a:gd name="connsiteY11" fmla="*/ 44607 h 44606"/>
                <a:gd name="connsiteX12" fmla="*/ 13382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145" y="0"/>
                  </a:lnTo>
                  <a:lnTo>
                    <a:pt x="19145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145" y="26121"/>
                  </a:lnTo>
                  <a:lnTo>
                    <a:pt x="19145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86" name="Freihandform: Form 785">
              <a:extLst>
                <a:ext uri="{FF2B5EF4-FFF2-40B4-BE49-F238E27FC236}">
                  <a16:creationId xmlns:a16="http://schemas.microsoft.com/office/drawing/2014/main" id="{9D13FDEE-7878-ECA3-39D7-9AE4899DF65D}"/>
                </a:ext>
              </a:extLst>
            </p:cNvPr>
            <p:cNvSpPr/>
            <p:nvPr/>
          </p:nvSpPr>
          <p:spPr>
            <a:xfrm>
              <a:off x="4202895" y="2728806"/>
              <a:ext cx="32527" cy="44606"/>
            </a:xfrm>
            <a:custGeom>
              <a:avLst/>
              <a:gdLst>
                <a:gd name="connsiteX0" fmla="*/ 13480 w 32527"/>
                <a:gd name="connsiteY0" fmla="*/ 44607 h 44606"/>
                <a:gd name="connsiteX1" fmla="*/ 13480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352 h 44606"/>
                <a:gd name="connsiteX4" fmla="*/ 13480 w 32527"/>
                <a:gd name="connsiteY4" fmla="*/ 18352 h 44606"/>
                <a:gd name="connsiteX5" fmla="*/ 13480 w 32527"/>
                <a:gd name="connsiteY5" fmla="*/ 0 h 44606"/>
                <a:gd name="connsiteX6" fmla="*/ 19145 w 32527"/>
                <a:gd name="connsiteY6" fmla="*/ 0 h 44606"/>
                <a:gd name="connsiteX7" fmla="*/ 19145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6121 h 44606"/>
                <a:gd name="connsiteX10" fmla="*/ 19145 w 32527"/>
                <a:gd name="connsiteY10" fmla="*/ 26121 h 44606"/>
                <a:gd name="connsiteX11" fmla="*/ 19145 w 32527"/>
                <a:gd name="connsiteY11" fmla="*/ 44607 h 44606"/>
                <a:gd name="connsiteX12" fmla="*/ 13480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480" y="44607"/>
                  </a:moveTo>
                  <a:lnTo>
                    <a:pt x="13480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480" y="18352"/>
                  </a:lnTo>
                  <a:lnTo>
                    <a:pt x="13480" y="0"/>
                  </a:lnTo>
                  <a:lnTo>
                    <a:pt x="19145" y="0"/>
                  </a:lnTo>
                  <a:lnTo>
                    <a:pt x="19145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145" y="26121"/>
                  </a:lnTo>
                  <a:lnTo>
                    <a:pt x="19145" y="44607"/>
                  </a:lnTo>
                  <a:lnTo>
                    <a:pt x="13480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87" name="Freihandform: Form 786">
              <a:extLst>
                <a:ext uri="{FF2B5EF4-FFF2-40B4-BE49-F238E27FC236}">
                  <a16:creationId xmlns:a16="http://schemas.microsoft.com/office/drawing/2014/main" id="{1AAFD58D-36AC-DD1B-724F-882B2E92AC39}"/>
                </a:ext>
              </a:extLst>
            </p:cNvPr>
            <p:cNvSpPr/>
            <p:nvPr/>
          </p:nvSpPr>
          <p:spPr>
            <a:xfrm>
              <a:off x="4237279" y="2728806"/>
              <a:ext cx="32527" cy="44606"/>
            </a:xfrm>
            <a:custGeom>
              <a:avLst/>
              <a:gdLst>
                <a:gd name="connsiteX0" fmla="*/ 13382 w 32527"/>
                <a:gd name="connsiteY0" fmla="*/ 44607 h 44606"/>
                <a:gd name="connsiteX1" fmla="*/ 13382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352 h 44606"/>
                <a:gd name="connsiteX4" fmla="*/ 13382 w 32527"/>
                <a:gd name="connsiteY4" fmla="*/ 18352 h 44606"/>
                <a:gd name="connsiteX5" fmla="*/ 13382 w 32527"/>
                <a:gd name="connsiteY5" fmla="*/ 0 h 44606"/>
                <a:gd name="connsiteX6" fmla="*/ 19145 w 32527"/>
                <a:gd name="connsiteY6" fmla="*/ 0 h 44606"/>
                <a:gd name="connsiteX7" fmla="*/ 19145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6121 h 44606"/>
                <a:gd name="connsiteX10" fmla="*/ 19145 w 32527"/>
                <a:gd name="connsiteY10" fmla="*/ 26121 h 44606"/>
                <a:gd name="connsiteX11" fmla="*/ 19145 w 32527"/>
                <a:gd name="connsiteY11" fmla="*/ 44607 h 44606"/>
                <a:gd name="connsiteX12" fmla="*/ 13382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145" y="0"/>
                  </a:lnTo>
                  <a:lnTo>
                    <a:pt x="19145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145" y="26121"/>
                  </a:lnTo>
                  <a:lnTo>
                    <a:pt x="19145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88" name="Freihandform: Form 787">
              <a:extLst>
                <a:ext uri="{FF2B5EF4-FFF2-40B4-BE49-F238E27FC236}">
                  <a16:creationId xmlns:a16="http://schemas.microsoft.com/office/drawing/2014/main" id="{B84DE44C-1004-4219-003B-2887872F28BB}"/>
                </a:ext>
              </a:extLst>
            </p:cNvPr>
            <p:cNvSpPr/>
            <p:nvPr/>
          </p:nvSpPr>
          <p:spPr>
            <a:xfrm>
              <a:off x="4244703" y="2728806"/>
              <a:ext cx="32429" cy="44606"/>
            </a:xfrm>
            <a:custGeom>
              <a:avLst/>
              <a:gdLst>
                <a:gd name="connsiteX0" fmla="*/ 13382 w 32429"/>
                <a:gd name="connsiteY0" fmla="*/ 44607 h 44606"/>
                <a:gd name="connsiteX1" fmla="*/ 13382 w 32429"/>
                <a:gd name="connsiteY1" fmla="*/ 26121 h 44606"/>
                <a:gd name="connsiteX2" fmla="*/ 0 w 32429"/>
                <a:gd name="connsiteY2" fmla="*/ 26121 h 44606"/>
                <a:gd name="connsiteX3" fmla="*/ 0 w 32429"/>
                <a:gd name="connsiteY3" fmla="*/ 18352 h 44606"/>
                <a:gd name="connsiteX4" fmla="*/ 13382 w 32429"/>
                <a:gd name="connsiteY4" fmla="*/ 18352 h 44606"/>
                <a:gd name="connsiteX5" fmla="*/ 13382 w 32429"/>
                <a:gd name="connsiteY5" fmla="*/ 0 h 44606"/>
                <a:gd name="connsiteX6" fmla="*/ 19048 w 32429"/>
                <a:gd name="connsiteY6" fmla="*/ 0 h 44606"/>
                <a:gd name="connsiteX7" fmla="*/ 19048 w 32429"/>
                <a:gd name="connsiteY7" fmla="*/ 18352 h 44606"/>
                <a:gd name="connsiteX8" fmla="*/ 32430 w 32429"/>
                <a:gd name="connsiteY8" fmla="*/ 18352 h 44606"/>
                <a:gd name="connsiteX9" fmla="*/ 32430 w 32429"/>
                <a:gd name="connsiteY9" fmla="*/ 26121 h 44606"/>
                <a:gd name="connsiteX10" fmla="*/ 19048 w 32429"/>
                <a:gd name="connsiteY10" fmla="*/ 26121 h 44606"/>
                <a:gd name="connsiteX11" fmla="*/ 19048 w 32429"/>
                <a:gd name="connsiteY11" fmla="*/ 44607 h 44606"/>
                <a:gd name="connsiteX12" fmla="*/ 13382 w 32429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29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048" y="0"/>
                  </a:lnTo>
                  <a:lnTo>
                    <a:pt x="19048" y="18352"/>
                  </a:lnTo>
                  <a:lnTo>
                    <a:pt x="32430" y="18352"/>
                  </a:lnTo>
                  <a:lnTo>
                    <a:pt x="32430" y="26121"/>
                  </a:lnTo>
                  <a:lnTo>
                    <a:pt x="19048" y="26121"/>
                  </a:lnTo>
                  <a:lnTo>
                    <a:pt x="19048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89" name="Freihandform: Form 788">
              <a:extLst>
                <a:ext uri="{FF2B5EF4-FFF2-40B4-BE49-F238E27FC236}">
                  <a16:creationId xmlns:a16="http://schemas.microsoft.com/office/drawing/2014/main" id="{1AD148D9-593F-D074-6D87-E4B778651931}"/>
                </a:ext>
              </a:extLst>
            </p:cNvPr>
            <p:cNvSpPr/>
            <p:nvPr/>
          </p:nvSpPr>
          <p:spPr>
            <a:xfrm>
              <a:off x="4293738" y="2740058"/>
              <a:ext cx="32527" cy="44606"/>
            </a:xfrm>
            <a:custGeom>
              <a:avLst/>
              <a:gdLst>
                <a:gd name="connsiteX0" fmla="*/ 13382 w 32527"/>
                <a:gd name="connsiteY0" fmla="*/ 44607 h 44606"/>
                <a:gd name="connsiteX1" fmla="*/ 13382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486 h 44606"/>
                <a:gd name="connsiteX4" fmla="*/ 13382 w 32527"/>
                <a:gd name="connsiteY4" fmla="*/ 18486 h 44606"/>
                <a:gd name="connsiteX5" fmla="*/ 13382 w 32527"/>
                <a:gd name="connsiteY5" fmla="*/ 0 h 44606"/>
                <a:gd name="connsiteX6" fmla="*/ 19048 w 32527"/>
                <a:gd name="connsiteY6" fmla="*/ 0 h 44606"/>
                <a:gd name="connsiteX7" fmla="*/ 19048 w 32527"/>
                <a:gd name="connsiteY7" fmla="*/ 18486 h 44606"/>
                <a:gd name="connsiteX8" fmla="*/ 32528 w 32527"/>
                <a:gd name="connsiteY8" fmla="*/ 18486 h 44606"/>
                <a:gd name="connsiteX9" fmla="*/ 32528 w 32527"/>
                <a:gd name="connsiteY9" fmla="*/ 26121 h 44606"/>
                <a:gd name="connsiteX10" fmla="*/ 19048 w 32527"/>
                <a:gd name="connsiteY10" fmla="*/ 26121 h 44606"/>
                <a:gd name="connsiteX11" fmla="*/ 19048 w 32527"/>
                <a:gd name="connsiteY11" fmla="*/ 44607 h 44606"/>
                <a:gd name="connsiteX12" fmla="*/ 13382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486"/>
                  </a:lnTo>
                  <a:lnTo>
                    <a:pt x="13382" y="18486"/>
                  </a:lnTo>
                  <a:lnTo>
                    <a:pt x="13382" y="0"/>
                  </a:lnTo>
                  <a:lnTo>
                    <a:pt x="19048" y="0"/>
                  </a:lnTo>
                  <a:lnTo>
                    <a:pt x="19048" y="18486"/>
                  </a:lnTo>
                  <a:lnTo>
                    <a:pt x="32528" y="18486"/>
                  </a:lnTo>
                  <a:lnTo>
                    <a:pt x="32528" y="26121"/>
                  </a:lnTo>
                  <a:lnTo>
                    <a:pt x="19048" y="26121"/>
                  </a:lnTo>
                  <a:lnTo>
                    <a:pt x="19048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90" name="Freihandform: Form 789">
              <a:extLst>
                <a:ext uri="{FF2B5EF4-FFF2-40B4-BE49-F238E27FC236}">
                  <a16:creationId xmlns:a16="http://schemas.microsoft.com/office/drawing/2014/main" id="{242936D2-D486-C434-E2DE-6BA88985A5EF}"/>
                </a:ext>
              </a:extLst>
            </p:cNvPr>
            <p:cNvSpPr/>
            <p:nvPr/>
          </p:nvSpPr>
          <p:spPr>
            <a:xfrm>
              <a:off x="4352640" y="2740058"/>
              <a:ext cx="32527" cy="44606"/>
            </a:xfrm>
            <a:custGeom>
              <a:avLst/>
              <a:gdLst>
                <a:gd name="connsiteX0" fmla="*/ 13382 w 32527"/>
                <a:gd name="connsiteY0" fmla="*/ 44607 h 44606"/>
                <a:gd name="connsiteX1" fmla="*/ 13382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486 h 44606"/>
                <a:gd name="connsiteX4" fmla="*/ 13382 w 32527"/>
                <a:gd name="connsiteY4" fmla="*/ 18486 h 44606"/>
                <a:gd name="connsiteX5" fmla="*/ 13382 w 32527"/>
                <a:gd name="connsiteY5" fmla="*/ 0 h 44606"/>
                <a:gd name="connsiteX6" fmla="*/ 19048 w 32527"/>
                <a:gd name="connsiteY6" fmla="*/ 0 h 44606"/>
                <a:gd name="connsiteX7" fmla="*/ 19048 w 32527"/>
                <a:gd name="connsiteY7" fmla="*/ 18486 h 44606"/>
                <a:gd name="connsiteX8" fmla="*/ 32528 w 32527"/>
                <a:gd name="connsiteY8" fmla="*/ 18486 h 44606"/>
                <a:gd name="connsiteX9" fmla="*/ 32528 w 32527"/>
                <a:gd name="connsiteY9" fmla="*/ 26121 h 44606"/>
                <a:gd name="connsiteX10" fmla="*/ 19048 w 32527"/>
                <a:gd name="connsiteY10" fmla="*/ 26121 h 44606"/>
                <a:gd name="connsiteX11" fmla="*/ 19048 w 32527"/>
                <a:gd name="connsiteY11" fmla="*/ 44607 h 44606"/>
                <a:gd name="connsiteX12" fmla="*/ 13382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486"/>
                  </a:lnTo>
                  <a:lnTo>
                    <a:pt x="13382" y="18486"/>
                  </a:lnTo>
                  <a:lnTo>
                    <a:pt x="13382" y="0"/>
                  </a:lnTo>
                  <a:lnTo>
                    <a:pt x="19048" y="0"/>
                  </a:lnTo>
                  <a:lnTo>
                    <a:pt x="19048" y="18486"/>
                  </a:lnTo>
                  <a:lnTo>
                    <a:pt x="32528" y="18486"/>
                  </a:lnTo>
                  <a:lnTo>
                    <a:pt x="32528" y="26121"/>
                  </a:lnTo>
                  <a:lnTo>
                    <a:pt x="19048" y="26121"/>
                  </a:lnTo>
                  <a:lnTo>
                    <a:pt x="19048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91" name="Freihandform: Form 790">
              <a:extLst>
                <a:ext uri="{FF2B5EF4-FFF2-40B4-BE49-F238E27FC236}">
                  <a16:creationId xmlns:a16="http://schemas.microsoft.com/office/drawing/2014/main" id="{FAA30B9F-04A6-2416-4097-A878367CA963}"/>
                </a:ext>
              </a:extLst>
            </p:cNvPr>
            <p:cNvSpPr/>
            <p:nvPr/>
          </p:nvSpPr>
          <p:spPr>
            <a:xfrm>
              <a:off x="4455692" y="2740058"/>
              <a:ext cx="32527" cy="44606"/>
            </a:xfrm>
            <a:custGeom>
              <a:avLst/>
              <a:gdLst>
                <a:gd name="connsiteX0" fmla="*/ 13382 w 32527"/>
                <a:gd name="connsiteY0" fmla="*/ 44607 h 44606"/>
                <a:gd name="connsiteX1" fmla="*/ 13382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486 h 44606"/>
                <a:gd name="connsiteX4" fmla="*/ 13382 w 32527"/>
                <a:gd name="connsiteY4" fmla="*/ 18486 h 44606"/>
                <a:gd name="connsiteX5" fmla="*/ 13382 w 32527"/>
                <a:gd name="connsiteY5" fmla="*/ 0 h 44606"/>
                <a:gd name="connsiteX6" fmla="*/ 19146 w 32527"/>
                <a:gd name="connsiteY6" fmla="*/ 0 h 44606"/>
                <a:gd name="connsiteX7" fmla="*/ 19146 w 32527"/>
                <a:gd name="connsiteY7" fmla="*/ 18486 h 44606"/>
                <a:gd name="connsiteX8" fmla="*/ 32528 w 32527"/>
                <a:gd name="connsiteY8" fmla="*/ 18486 h 44606"/>
                <a:gd name="connsiteX9" fmla="*/ 32528 w 32527"/>
                <a:gd name="connsiteY9" fmla="*/ 26121 h 44606"/>
                <a:gd name="connsiteX10" fmla="*/ 19146 w 32527"/>
                <a:gd name="connsiteY10" fmla="*/ 26121 h 44606"/>
                <a:gd name="connsiteX11" fmla="*/ 19146 w 32527"/>
                <a:gd name="connsiteY11" fmla="*/ 44607 h 44606"/>
                <a:gd name="connsiteX12" fmla="*/ 13382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486"/>
                  </a:lnTo>
                  <a:lnTo>
                    <a:pt x="13382" y="18486"/>
                  </a:lnTo>
                  <a:lnTo>
                    <a:pt x="13382" y="0"/>
                  </a:lnTo>
                  <a:lnTo>
                    <a:pt x="19146" y="0"/>
                  </a:lnTo>
                  <a:lnTo>
                    <a:pt x="19146" y="18486"/>
                  </a:lnTo>
                  <a:lnTo>
                    <a:pt x="32528" y="18486"/>
                  </a:lnTo>
                  <a:lnTo>
                    <a:pt x="32528" y="26121"/>
                  </a:lnTo>
                  <a:lnTo>
                    <a:pt x="19146" y="26121"/>
                  </a:lnTo>
                  <a:lnTo>
                    <a:pt x="19146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92" name="Freihandform: Form 791">
              <a:extLst>
                <a:ext uri="{FF2B5EF4-FFF2-40B4-BE49-F238E27FC236}">
                  <a16:creationId xmlns:a16="http://schemas.microsoft.com/office/drawing/2014/main" id="{25462FCC-0F1F-F087-D538-1F8DAA1E5515}"/>
                </a:ext>
              </a:extLst>
            </p:cNvPr>
            <p:cNvSpPr/>
            <p:nvPr/>
          </p:nvSpPr>
          <p:spPr>
            <a:xfrm>
              <a:off x="4504826" y="2745952"/>
              <a:ext cx="32527" cy="44606"/>
            </a:xfrm>
            <a:custGeom>
              <a:avLst/>
              <a:gdLst>
                <a:gd name="connsiteX0" fmla="*/ 13382 w 32527"/>
                <a:gd name="connsiteY0" fmla="*/ 44607 h 44606"/>
                <a:gd name="connsiteX1" fmla="*/ 13382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352 h 44606"/>
                <a:gd name="connsiteX4" fmla="*/ 13382 w 32527"/>
                <a:gd name="connsiteY4" fmla="*/ 18352 h 44606"/>
                <a:gd name="connsiteX5" fmla="*/ 13382 w 32527"/>
                <a:gd name="connsiteY5" fmla="*/ 0 h 44606"/>
                <a:gd name="connsiteX6" fmla="*/ 19048 w 32527"/>
                <a:gd name="connsiteY6" fmla="*/ 0 h 44606"/>
                <a:gd name="connsiteX7" fmla="*/ 19048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6121 h 44606"/>
                <a:gd name="connsiteX10" fmla="*/ 19048 w 32527"/>
                <a:gd name="connsiteY10" fmla="*/ 26121 h 44606"/>
                <a:gd name="connsiteX11" fmla="*/ 19048 w 32527"/>
                <a:gd name="connsiteY11" fmla="*/ 44607 h 44606"/>
                <a:gd name="connsiteX12" fmla="*/ 13382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048" y="0"/>
                  </a:lnTo>
                  <a:lnTo>
                    <a:pt x="19048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048" y="26121"/>
                  </a:lnTo>
                  <a:lnTo>
                    <a:pt x="19048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93" name="Freihandform: Form 792">
              <a:extLst>
                <a:ext uri="{FF2B5EF4-FFF2-40B4-BE49-F238E27FC236}">
                  <a16:creationId xmlns:a16="http://schemas.microsoft.com/office/drawing/2014/main" id="{FAC58204-B789-0816-E047-D3600F1632F7}"/>
                </a:ext>
              </a:extLst>
            </p:cNvPr>
            <p:cNvSpPr/>
            <p:nvPr/>
          </p:nvSpPr>
          <p:spPr>
            <a:xfrm>
              <a:off x="4536670" y="2751712"/>
              <a:ext cx="32527" cy="44740"/>
            </a:xfrm>
            <a:custGeom>
              <a:avLst/>
              <a:gdLst>
                <a:gd name="connsiteX0" fmla="*/ 13382 w 32527"/>
                <a:gd name="connsiteY0" fmla="*/ 44741 h 44740"/>
                <a:gd name="connsiteX1" fmla="*/ 13382 w 32527"/>
                <a:gd name="connsiteY1" fmla="*/ 26121 h 44740"/>
                <a:gd name="connsiteX2" fmla="*/ 0 w 32527"/>
                <a:gd name="connsiteY2" fmla="*/ 26121 h 44740"/>
                <a:gd name="connsiteX3" fmla="*/ 0 w 32527"/>
                <a:gd name="connsiteY3" fmla="*/ 18486 h 44740"/>
                <a:gd name="connsiteX4" fmla="*/ 13382 w 32527"/>
                <a:gd name="connsiteY4" fmla="*/ 18486 h 44740"/>
                <a:gd name="connsiteX5" fmla="*/ 13382 w 32527"/>
                <a:gd name="connsiteY5" fmla="*/ 0 h 44740"/>
                <a:gd name="connsiteX6" fmla="*/ 19145 w 32527"/>
                <a:gd name="connsiteY6" fmla="*/ 0 h 44740"/>
                <a:gd name="connsiteX7" fmla="*/ 19145 w 32527"/>
                <a:gd name="connsiteY7" fmla="*/ 18486 h 44740"/>
                <a:gd name="connsiteX8" fmla="*/ 32528 w 32527"/>
                <a:gd name="connsiteY8" fmla="*/ 18486 h 44740"/>
                <a:gd name="connsiteX9" fmla="*/ 32528 w 32527"/>
                <a:gd name="connsiteY9" fmla="*/ 26121 h 44740"/>
                <a:gd name="connsiteX10" fmla="*/ 19145 w 32527"/>
                <a:gd name="connsiteY10" fmla="*/ 26121 h 44740"/>
                <a:gd name="connsiteX11" fmla="*/ 19145 w 32527"/>
                <a:gd name="connsiteY11" fmla="*/ 44741 h 44740"/>
                <a:gd name="connsiteX12" fmla="*/ 13382 w 32527"/>
                <a:gd name="connsiteY12" fmla="*/ 44741 h 44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740">
                  <a:moveTo>
                    <a:pt x="13382" y="44741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486"/>
                  </a:lnTo>
                  <a:lnTo>
                    <a:pt x="13382" y="18486"/>
                  </a:lnTo>
                  <a:lnTo>
                    <a:pt x="13382" y="0"/>
                  </a:lnTo>
                  <a:lnTo>
                    <a:pt x="19145" y="0"/>
                  </a:lnTo>
                  <a:lnTo>
                    <a:pt x="19145" y="18486"/>
                  </a:lnTo>
                  <a:lnTo>
                    <a:pt x="32528" y="18486"/>
                  </a:lnTo>
                  <a:lnTo>
                    <a:pt x="32528" y="26121"/>
                  </a:lnTo>
                  <a:lnTo>
                    <a:pt x="19145" y="26121"/>
                  </a:lnTo>
                  <a:lnTo>
                    <a:pt x="19145" y="44741"/>
                  </a:lnTo>
                  <a:lnTo>
                    <a:pt x="13382" y="44741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94" name="Freihandform: Form 793">
              <a:extLst>
                <a:ext uri="{FF2B5EF4-FFF2-40B4-BE49-F238E27FC236}">
                  <a16:creationId xmlns:a16="http://schemas.microsoft.com/office/drawing/2014/main" id="{72D617E5-943E-591D-6DF4-7ACD1789C81E}"/>
                </a:ext>
              </a:extLst>
            </p:cNvPr>
            <p:cNvSpPr/>
            <p:nvPr/>
          </p:nvSpPr>
          <p:spPr>
            <a:xfrm>
              <a:off x="4571054" y="2751712"/>
              <a:ext cx="32527" cy="44740"/>
            </a:xfrm>
            <a:custGeom>
              <a:avLst/>
              <a:gdLst>
                <a:gd name="connsiteX0" fmla="*/ 13382 w 32527"/>
                <a:gd name="connsiteY0" fmla="*/ 44741 h 44740"/>
                <a:gd name="connsiteX1" fmla="*/ 13382 w 32527"/>
                <a:gd name="connsiteY1" fmla="*/ 26121 h 44740"/>
                <a:gd name="connsiteX2" fmla="*/ 0 w 32527"/>
                <a:gd name="connsiteY2" fmla="*/ 26121 h 44740"/>
                <a:gd name="connsiteX3" fmla="*/ 0 w 32527"/>
                <a:gd name="connsiteY3" fmla="*/ 18486 h 44740"/>
                <a:gd name="connsiteX4" fmla="*/ 13382 w 32527"/>
                <a:gd name="connsiteY4" fmla="*/ 18486 h 44740"/>
                <a:gd name="connsiteX5" fmla="*/ 13382 w 32527"/>
                <a:gd name="connsiteY5" fmla="*/ 0 h 44740"/>
                <a:gd name="connsiteX6" fmla="*/ 19145 w 32527"/>
                <a:gd name="connsiteY6" fmla="*/ 0 h 44740"/>
                <a:gd name="connsiteX7" fmla="*/ 19145 w 32527"/>
                <a:gd name="connsiteY7" fmla="*/ 18486 h 44740"/>
                <a:gd name="connsiteX8" fmla="*/ 32528 w 32527"/>
                <a:gd name="connsiteY8" fmla="*/ 18486 h 44740"/>
                <a:gd name="connsiteX9" fmla="*/ 32528 w 32527"/>
                <a:gd name="connsiteY9" fmla="*/ 26121 h 44740"/>
                <a:gd name="connsiteX10" fmla="*/ 19145 w 32527"/>
                <a:gd name="connsiteY10" fmla="*/ 26121 h 44740"/>
                <a:gd name="connsiteX11" fmla="*/ 19145 w 32527"/>
                <a:gd name="connsiteY11" fmla="*/ 44741 h 44740"/>
                <a:gd name="connsiteX12" fmla="*/ 13382 w 32527"/>
                <a:gd name="connsiteY12" fmla="*/ 44741 h 44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740">
                  <a:moveTo>
                    <a:pt x="13382" y="44741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486"/>
                  </a:lnTo>
                  <a:lnTo>
                    <a:pt x="13382" y="18486"/>
                  </a:lnTo>
                  <a:lnTo>
                    <a:pt x="13382" y="0"/>
                  </a:lnTo>
                  <a:lnTo>
                    <a:pt x="19145" y="0"/>
                  </a:lnTo>
                  <a:lnTo>
                    <a:pt x="19145" y="18486"/>
                  </a:lnTo>
                  <a:lnTo>
                    <a:pt x="32528" y="18486"/>
                  </a:lnTo>
                  <a:lnTo>
                    <a:pt x="32528" y="26121"/>
                  </a:lnTo>
                  <a:lnTo>
                    <a:pt x="19145" y="26121"/>
                  </a:lnTo>
                  <a:lnTo>
                    <a:pt x="19145" y="44741"/>
                  </a:lnTo>
                  <a:lnTo>
                    <a:pt x="13382" y="44741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95" name="Freihandform: Form 794">
              <a:extLst>
                <a:ext uri="{FF2B5EF4-FFF2-40B4-BE49-F238E27FC236}">
                  <a16:creationId xmlns:a16="http://schemas.microsoft.com/office/drawing/2014/main" id="{D6AC4874-F9F7-3A1C-767F-2AC313CB7547}"/>
                </a:ext>
              </a:extLst>
            </p:cNvPr>
            <p:cNvSpPr/>
            <p:nvPr/>
          </p:nvSpPr>
          <p:spPr>
            <a:xfrm>
              <a:off x="4600455" y="2751712"/>
              <a:ext cx="32527" cy="44740"/>
            </a:xfrm>
            <a:custGeom>
              <a:avLst/>
              <a:gdLst>
                <a:gd name="connsiteX0" fmla="*/ 13480 w 32527"/>
                <a:gd name="connsiteY0" fmla="*/ 44741 h 44740"/>
                <a:gd name="connsiteX1" fmla="*/ 13480 w 32527"/>
                <a:gd name="connsiteY1" fmla="*/ 26121 h 44740"/>
                <a:gd name="connsiteX2" fmla="*/ 0 w 32527"/>
                <a:gd name="connsiteY2" fmla="*/ 26121 h 44740"/>
                <a:gd name="connsiteX3" fmla="*/ 0 w 32527"/>
                <a:gd name="connsiteY3" fmla="*/ 18486 h 44740"/>
                <a:gd name="connsiteX4" fmla="*/ 13480 w 32527"/>
                <a:gd name="connsiteY4" fmla="*/ 18486 h 44740"/>
                <a:gd name="connsiteX5" fmla="*/ 13480 w 32527"/>
                <a:gd name="connsiteY5" fmla="*/ 0 h 44740"/>
                <a:gd name="connsiteX6" fmla="*/ 19145 w 32527"/>
                <a:gd name="connsiteY6" fmla="*/ 0 h 44740"/>
                <a:gd name="connsiteX7" fmla="*/ 19145 w 32527"/>
                <a:gd name="connsiteY7" fmla="*/ 18486 h 44740"/>
                <a:gd name="connsiteX8" fmla="*/ 32528 w 32527"/>
                <a:gd name="connsiteY8" fmla="*/ 18486 h 44740"/>
                <a:gd name="connsiteX9" fmla="*/ 32528 w 32527"/>
                <a:gd name="connsiteY9" fmla="*/ 26121 h 44740"/>
                <a:gd name="connsiteX10" fmla="*/ 19145 w 32527"/>
                <a:gd name="connsiteY10" fmla="*/ 26121 h 44740"/>
                <a:gd name="connsiteX11" fmla="*/ 19145 w 32527"/>
                <a:gd name="connsiteY11" fmla="*/ 44741 h 44740"/>
                <a:gd name="connsiteX12" fmla="*/ 13480 w 32527"/>
                <a:gd name="connsiteY12" fmla="*/ 44741 h 44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740">
                  <a:moveTo>
                    <a:pt x="13480" y="44741"/>
                  </a:moveTo>
                  <a:lnTo>
                    <a:pt x="13480" y="26121"/>
                  </a:lnTo>
                  <a:lnTo>
                    <a:pt x="0" y="26121"/>
                  </a:lnTo>
                  <a:lnTo>
                    <a:pt x="0" y="18486"/>
                  </a:lnTo>
                  <a:lnTo>
                    <a:pt x="13480" y="18486"/>
                  </a:lnTo>
                  <a:lnTo>
                    <a:pt x="13480" y="0"/>
                  </a:lnTo>
                  <a:lnTo>
                    <a:pt x="19145" y="0"/>
                  </a:lnTo>
                  <a:lnTo>
                    <a:pt x="19145" y="18486"/>
                  </a:lnTo>
                  <a:lnTo>
                    <a:pt x="32528" y="18486"/>
                  </a:lnTo>
                  <a:lnTo>
                    <a:pt x="32528" y="26121"/>
                  </a:lnTo>
                  <a:lnTo>
                    <a:pt x="19145" y="26121"/>
                  </a:lnTo>
                  <a:lnTo>
                    <a:pt x="19145" y="44741"/>
                  </a:lnTo>
                  <a:lnTo>
                    <a:pt x="13480" y="44741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96" name="Freihandform: Form 795">
              <a:extLst>
                <a:ext uri="{FF2B5EF4-FFF2-40B4-BE49-F238E27FC236}">
                  <a16:creationId xmlns:a16="http://schemas.microsoft.com/office/drawing/2014/main" id="{B1A7D5DA-E178-D765-A3BC-E15E8B7719E5}"/>
                </a:ext>
              </a:extLst>
            </p:cNvPr>
            <p:cNvSpPr/>
            <p:nvPr/>
          </p:nvSpPr>
          <p:spPr>
            <a:xfrm>
              <a:off x="4615205" y="2757606"/>
              <a:ext cx="32527" cy="44606"/>
            </a:xfrm>
            <a:custGeom>
              <a:avLst/>
              <a:gdLst>
                <a:gd name="connsiteX0" fmla="*/ 13382 w 32527"/>
                <a:gd name="connsiteY0" fmla="*/ 44607 h 44606"/>
                <a:gd name="connsiteX1" fmla="*/ 13382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352 h 44606"/>
                <a:gd name="connsiteX4" fmla="*/ 13382 w 32527"/>
                <a:gd name="connsiteY4" fmla="*/ 18352 h 44606"/>
                <a:gd name="connsiteX5" fmla="*/ 13382 w 32527"/>
                <a:gd name="connsiteY5" fmla="*/ 0 h 44606"/>
                <a:gd name="connsiteX6" fmla="*/ 19145 w 32527"/>
                <a:gd name="connsiteY6" fmla="*/ 0 h 44606"/>
                <a:gd name="connsiteX7" fmla="*/ 19145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6121 h 44606"/>
                <a:gd name="connsiteX10" fmla="*/ 19145 w 32527"/>
                <a:gd name="connsiteY10" fmla="*/ 26121 h 44606"/>
                <a:gd name="connsiteX11" fmla="*/ 19145 w 32527"/>
                <a:gd name="connsiteY11" fmla="*/ 44607 h 44606"/>
                <a:gd name="connsiteX12" fmla="*/ 13382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145" y="0"/>
                  </a:lnTo>
                  <a:lnTo>
                    <a:pt x="19145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145" y="26121"/>
                  </a:lnTo>
                  <a:lnTo>
                    <a:pt x="19145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97" name="Freihandform: Form 796">
              <a:extLst>
                <a:ext uri="{FF2B5EF4-FFF2-40B4-BE49-F238E27FC236}">
                  <a16:creationId xmlns:a16="http://schemas.microsoft.com/office/drawing/2014/main" id="{F72FBA9D-6D28-912D-F129-5998A6D587FC}"/>
                </a:ext>
              </a:extLst>
            </p:cNvPr>
            <p:cNvSpPr/>
            <p:nvPr/>
          </p:nvSpPr>
          <p:spPr>
            <a:xfrm>
              <a:off x="4661896" y="2769528"/>
              <a:ext cx="32430" cy="44606"/>
            </a:xfrm>
            <a:custGeom>
              <a:avLst/>
              <a:gdLst>
                <a:gd name="connsiteX0" fmla="*/ 13382 w 32430"/>
                <a:gd name="connsiteY0" fmla="*/ 44607 h 44606"/>
                <a:gd name="connsiteX1" fmla="*/ 13382 w 32430"/>
                <a:gd name="connsiteY1" fmla="*/ 26121 h 44606"/>
                <a:gd name="connsiteX2" fmla="*/ 0 w 32430"/>
                <a:gd name="connsiteY2" fmla="*/ 26121 h 44606"/>
                <a:gd name="connsiteX3" fmla="*/ 0 w 32430"/>
                <a:gd name="connsiteY3" fmla="*/ 18352 h 44606"/>
                <a:gd name="connsiteX4" fmla="*/ 13382 w 32430"/>
                <a:gd name="connsiteY4" fmla="*/ 18352 h 44606"/>
                <a:gd name="connsiteX5" fmla="*/ 13382 w 32430"/>
                <a:gd name="connsiteY5" fmla="*/ 0 h 44606"/>
                <a:gd name="connsiteX6" fmla="*/ 19048 w 32430"/>
                <a:gd name="connsiteY6" fmla="*/ 0 h 44606"/>
                <a:gd name="connsiteX7" fmla="*/ 19048 w 32430"/>
                <a:gd name="connsiteY7" fmla="*/ 18352 h 44606"/>
                <a:gd name="connsiteX8" fmla="*/ 32430 w 32430"/>
                <a:gd name="connsiteY8" fmla="*/ 18352 h 44606"/>
                <a:gd name="connsiteX9" fmla="*/ 32430 w 32430"/>
                <a:gd name="connsiteY9" fmla="*/ 26121 h 44606"/>
                <a:gd name="connsiteX10" fmla="*/ 19048 w 32430"/>
                <a:gd name="connsiteY10" fmla="*/ 26121 h 44606"/>
                <a:gd name="connsiteX11" fmla="*/ 19048 w 32430"/>
                <a:gd name="connsiteY11" fmla="*/ 44607 h 44606"/>
                <a:gd name="connsiteX12" fmla="*/ 13382 w 32430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30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048" y="0"/>
                  </a:lnTo>
                  <a:lnTo>
                    <a:pt x="19048" y="18352"/>
                  </a:lnTo>
                  <a:lnTo>
                    <a:pt x="32430" y="18352"/>
                  </a:lnTo>
                  <a:lnTo>
                    <a:pt x="32430" y="26121"/>
                  </a:lnTo>
                  <a:lnTo>
                    <a:pt x="19048" y="26121"/>
                  </a:lnTo>
                  <a:lnTo>
                    <a:pt x="19048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98" name="Freihandform: Form 797">
              <a:extLst>
                <a:ext uri="{FF2B5EF4-FFF2-40B4-BE49-F238E27FC236}">
                  <a16:creationId xmlns:a16="http://schemas.microsoft.com/office/drawing/2014/main" id="{6BE7C8CE-215A-628F-E9B2-33976C0A664A}"/>
                </a:ext>
              </a:extLst>
            </p:cNvPr>
            <p:cNvSpPr/>
            <p:nvPr/>
          </p:nvSpPr>
          <p:spPr>
            <a:xfrm>
              <a:off x="4669222" y="2769528"/>
              <a:ext cx="32430" cy="44606"/>
            </a:xfrm>
            <a:custGeom>
              <a:avLst/>
              <a:gdLst>
                <a:gd name="connsiteX0" fmla="*/ 13382 w 32430"/>
                <a:gd name="connsiteY0" fmla="*/ 44607 h 44606"/>
                <a:gd name="connsiteX1" fmla="*/ 13382 w 32430"/>
                <a:gd name="connsiteY1" fmla="*/ 26121 h 44606"/>
                <a:gd name="connsiteX2" fmla="*/ 0 w 32430"/>
                <a:gd name="connsiteY2" fmla="*/ 26121 h 44606"/>
                <a:gd name="connsiteX3" fmla="*/ 0 w 32430"/>
                <a:gd name="connsiteY3" fmla="*/ 18352 h 44606"/>
                <a:gd name="connsiteX4" fmla="*/ 13382 w 32430"/>
                <a:gd name="connsiteY4" fmla="*/ 18352 h 44606"/>
                <a:gd name="connsiteX5" fmla="*/ 13382 w 32430"/>
                <a:gd name="connsiteY5" fmla="*/ 0 h 44606"/>
                <a:gd name="connsiteX6" fmla="*/ 19048 w 32430"/>
                <a:gd name="connsiteY6" fmla="*/ 0 h 44606"/>
                <a:gd name="connsiteX7" fmla="*/ 19048 w 32430"/>
                <a:gd name="connsiteY7" fmla="*/ 18352 h 44606"/>
                <a:gd name="connsiteX8" fmla="*/ 32430 w 32430"/>
                <a:gd name="connsiteY8" fmla="*/ 18352 h 44606"/>
                <a:gd name="connsiteX9" fmla="*/ 32430 w 32430"/>
                <a:gd name="connsiteY9" fmla="*/ 26121 h 44606"/>
                <a:gd name="connsiteX10" fmla="*/ 19048 w 32430"/>
                <a:gd name="connsiteY10" fmla="*/ 26121 h 44606"/>
                <a:gd name="connsiteX11" fmla="*/ 19048 w 32430"/>
                <a:gd name="connsiteY11" fmla="*/ 44607 h 44606"/>
                <a:gd name="connsiteX12" fmla="*/ 13382 w 32430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30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048" y="0"/>
                  </a:lnTo>
                  <a:lnTo>
                    <a:pt x="19048" y="18352"/>
                  </a:lnTo>
                  <a:lnTo>
                    <a:pt x="32430" y="18352"/>
                  </a:lnTo>
                  <a:lnTo>
                    <a:pt x="32430" y="26121"/>
                  </a:lnTo>
                  <a:lnTo>
                    <a:pt x="19048" y="26121"/>
                  </a:lnTo>
                  <a:lnTo>
                    <a:pt x="19048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99" name="Freihandform: Form 798">
              <a:extLst>
                <a:ext uri="{FF2B5EF4-FFF2-40B4-BE49-F238E27FC236}">
                  <a16:creationId xmlns:a16="http://schemas.microsoft.com/office/drawing/2014/main" id="{F93B44A4-58E5-B895-416C-F530D684F350}"/>
                </a:ext>
              </a:extLst>
            </p:cNvPr>
            <p:cNvSpPr/>
            <p:nvPr/>
          </p:nvSpPr>
          <p:spPr>
            <a:xfrm>
              <a:off x="4676548" y="2775556"/>
              <a:ext cx="32527" cy="44740"/>
            </a:xfrm>
            <a:custGeom>
              <a:avLst/>
              <a:gdLst>
                <a:gd name="connsiteX0" fmla="*/ 13480 w 32527"/>
                <a:gd name="connsiteY0" fmla="*/ 44741 h 44740"/>
                <a:gd name="connsiteX1" fmla="*/ 13480 w 32527"/>
                <a:gd name="connsiteY1" fmla="*/ 26121 h 44740"/>
                <a:gd name="connsiteX2" fmla="*/ 0 w 32527"/>
                <a:gd name="connsiteY2" fmla="*/ 26121 h 44740"/>
                <a:gd name="connsiteX3" fmla="*/ 0 w 32527"/>
                <a:gd name="connsiteY3" fmla="*/ 18352 h 44740"/>
                <a:gd name="connsiteX4" fmla="*/ 13480 w 32527"/>
                <a:gd name="connsiteY4" fmla="*/ 18352 h 44740"/>
                <a:gd name="connsiteX5" fmla="*/ 13480 w 32527"/>
                <a:gd name="connsiteY5" fmla="*/ 0 h 44740"/>
                <a:gd name="connsiteX6" fmla="*/ 19145 w 32527"/>
                <a:gd name="connsiteY6" fmla="*/ 0 h 44740"/>
                <a:gd name="connsiteX7" fmla="*/ 19145 w 32527"/>
                <a:gd name="connsiteY7" fmla="*/ 18352 h 44740"/>
                <a:gd name="connsiteX8" fmla="*/ 32528 w 32527"/>
                <a:gd name="connsiteY8" fmla="*/ 18352 h 44740"/>
                <a:gd name="connsiteX9" fmla="*/ 32528 w 32527"/>
                <a:gd name="connsiteY9" fmla="*/ 26121 h 44740"/>
                <a:gd name="connsiteX10" fmla="*/ 19145 w 32527"/>
                <a:gd name="connsiteY10" fmla="*/ 26121 h 44740"/>
                <a:gd name="connsiteX11" fmla="*/ 19145 w 32527"/>
                <a:gd name="connsiteY11" fmla="*/ 44741 h 44740"/>
                <a:gd name="connsiteX12" fmla="*/ 13480 w 32527"/>
                <a:gd name="connsiteY12" fmla="*/ 44741 h 44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740">
                  <a:moveTo>
                    <a:pt x="13480" y="44741"/>
                  </a:moveTo>
                  <a:lnTo>
                    <a:pt x="13480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480" y="18352"/>
                  </a:lnTo>
                  <a:lnTo>
                    <a:pt x="13480" y="0"/>
                  </a:lnTo>
                  <a:lnTo>
                    <a:pt x="19145" y="0"/>
                  </a:lnTo>
                  <a:lnTo>
                    <a:pt x="19145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145" y="26121"/>
                  </a:lnTo>
                  <a:lnTo>
                    <a:pt x="19145" y="44741"/>
                  </a:lnTo>
                  <a:lnTo>
                    <a:pt x="13480" y="44741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00" name="Freihandform: Form 799">
              <a:extLst>
                <a:ext uri="{FF2B5EF4-FFF2-40B4-BE49-F238E27FC236}">
                  <a16:creationId xmlns:a16="http://schemas.microsoft.com/office/drawing/2014/main" id="{3706AC9D-AE55-2D69-34C3-B11C6BFEEFD9}"/>
                </a:ext>
              </a:extLst>
            </p:cNvPr>
            <p:cNvSpPr/>
            <p:nvPr/>
          </p:nvSpPr>
          <p:spPr>
            <a:xfrm>
              <a:off x="4737892" y="2775556"/>
              <a:ext cx="32527" cy="44740"/>
            </a:xfrm>
            <a:custGeom>
              <a:avLst/>
              <a:gdLst>
                <a:gd name="connsiteX0" fmla="*/ 13480 w 32527"/>
                <a:gd name="connsiteY0" fmla="*/ 44741 h 44740"/>
                <a:gd name="connsiteX1" fmla="*/ 13480 w 32527"/>
                <a:gd name="connsiteY1" fmla="*/ 26121 h 44740"/>
                <a:gd name="connsiteX2" fmla="*/ 0 w 32527"/>
                <a:gd name="connsiteY2" fmla="*/ 26121 h 44740"/>
                <a:gd name="connsiteX3" fmla="*/ 0 w 32527"/>
                <a:gd name="connsiteY3" fmla="*/ 18352 h 44740"/>
                <a:gd name="connsiteX4" fmla="*/ 13480 w 32527"/>
                <a:gd name="connsiteY4" fmla="*/ 18352 h 44740"/>
                <a:gd name="connsiteX5" fmla="*/ 13480 w 32527"/>
                <a:gd name="connsiteY5" fmla="*/ 0 h 44740"/>
                <a:gd name="connsiteX6" fmla="*/ 19145 w 32527"/>
                <a:gd name="connsiteY6" fmla="*/ 0 h 44740"/>
                <a:gd name="connsiteX7" fmla="*/ 19145 w 32527"/>
                <a:gd name="connsiteY7" fmla="*/ 18352 h 44740"/>
                <a:gd name="connsiteX8" fmla="*/ 32528 w 32527"/>
                <a:gd name="connsiteY8" fmla="*/ 18352 h 44740"/>
                <a:gd name="connsiteX9" fmla="*/ 32528 w 32527"/>
                <a:gd name="connsiteY9" fmla="*/ 26121 h 44740"/>
                <a:gd name="connsiteX10" fmla="*/ 19145 w 32527"/>
                <a:gd name="connsiteY10" fmla="*/ 26121 h 44740"/>
                <a:gd name="connsiteX11" fmla="*/ 19145 w 32527"/>
                <a:gd name="connsiteY11" fmla="*/ 44741 h 44740"/>
                <a:gd name="connsiteX12" fmla="*/ 13480 w 32527"/>
                <a:gd name="connsiteY12" fmla="*/ 44741 h 44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740">
                  <a:moveTo>
                    <a:pt x="13480" y="44741"/>
                  </a:moveTo>
                  <a:lnTo>
                    <a:pt x="13480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480" y="18352"/>
                  </a:lnTo>
                  <a:lnTo>
                    <a:pt x="13480" y="0"/>
                  </a:lnTo>
                  <a:lnTo>
                    <a:pt x="19145" y="0"/>
                  </a:lnTo>
                  <a:lnTo>
                    <a:pt x="19145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145" y="26121"/>
                  </a:lnTo>
                  <a:lnTo>
                    <a:pt x="19145" y="44741"/>
                  </a:lnTo>
                  <a:lnTo>
                    <a:pt x="13480" y="44741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01" name="Freihandform: Form 800">
              <a:extLst>
                <a:ext uri="{FF2B5EF4-FFF2-40B4-BE49-F238E27FC236}">
                  <a16:creationId xmlns:a16="http://schemas.microsoft.com/office/drawing/2014/main" id="{0138384E-205B-496C-CBEF-AA05CD7F682B}"/>
                </a:ext>
              </a:extLst>
            </p:cNvPr>
            <p:cNvSpPr/>
            <p:nvPr/>
          </p:nvSpPr>
          <p:spPr>
            <a:xfrm>
              <a:off x="4742874" y="2775556"/>
              <a:ext cx="32429" cy="44740"/>
            </a:xfrm>
            <a:custGeom>
              <a:avLst/>
              <a:gdLst>
                <a:gd name="connsiteX0" fmla="*/ 13382 w 32429"/>
                <a:gd name="connsiteY0" fmla="*/ 44741 h 44740"/>
                <a:gd name="connsiteX1" fmla="*/ 13382 w 32429"/>
                <a:gd name="connsiteY1" fmla="*/ 26121 h 44740"/>
                <a:gd name="connsiteX2" fmla="*/ 0 w 32429"/>
                <a:gd name="connsiteY2" fmla="*/ 26121 h 44740"/>
                <a:gd name="connsiteX3" fmla="*/ 0 w 32429"/>
                <a:gd name="connsiteY3" fmla="*/ 18352 h 44740"/>
                <a:gd name="connsiteX4" fmla="*/ 13382 w 32429"/>
                <a:gd name="connsiteY4" fmla="*/ 18352 h 44740"/>
                <a:gd name="connsiteX5" fmla="*/ 13382 w 32429"/>
                <a:gd name="connsiteY5" fmla="*/ 0 h 44740"/>
                <a:gd name="connsiteX6" fmla="*/ 19048 w 32429"/>
                <a:gd name="connsiteY6" fmla="*/ 0 h 44740"/>
                <a:gd name="connsiteX7" fmla="*/ 19048 w 32429"/>
                <a:gd name="connsiteY7" fmla="*/ 18352 h 44740"/>
                <a:gd name="connsiteX8" fmla="*/ 32430 w 32429"/>
                <a:gd name="connsiteY8" fmla="*/ 18352 h 44740"/>
                <a:gd name="connsiteX9" fmla="*/ 32430 w 32429"/>
                <a:gd name="connsiteY9" fmla="*/ 26121 h 44740"/>
                <a:gd name="connsiteX10" fmla="*/ 19048 w 32429"/>
                <a:gd name="connsiteY10" fmla="*/ 26121 h 44740"/>
                <a:gd name="connsiteX11" fmla="*/ 19048 w 32429"/>
                <a:gd name="connsiteY11" fmla="*/ 44741 h 44740"/>
                <a:gd name="connsiteX12" fmla="*/ 13382 w 32429"/>
                <a:gd name="connsiteY12" fmla="*/ 44741 h 44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29" h="44740">
                  <a:moveTo>
                    <a:pt x="13382" y="44741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048" y="0"/>
                  </a:lnTo>
                  <a:lnTo>
                    <a:pt x="19048" y="18352"/>
                  </a:lnTo>
                  <a:lnTo>
                    <a:pt x="32430" y="18352"/>
                  </a:lnTo>
                  <a:lnTo>
                    <a:pt x="32430" y="26121"/>
                  </a:lnTo>
                  <a:lnTo>
                    <a:pt x="19048" y="26121"/>
                  </a:lnTo>
                  <a:lnTo>
                    <a:pt x="19048" y="44741"/>
                  </a:lnTo>
                  <a:lnTo>
                    <a:pt x="13382" y="44741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02" name="Freihandform: Form 801">
              <a:extLst>
                <a:ext uri="{FF2B5EF4-FFF2-40B4-BE49-F238E27FC236}">
                  <a16:creationId xmlns:a16="http://schemas.microsoft.com/office/drawing/2014/main" id="{8BD19E49-34FA-CBDF-2CBC-EFD8D9C2884D}"/>
                </a:ext>
              </a:extLst>
            </p:cNvPr>
            <p:cNvSpPr/>
            <p:nvPr/>
          </p:nvSpPr>
          <p:spPr>
            <a:xfrm>
              <a:off x="4759968" y="2775556"/>
              <a:ext cx="32527" cy="44740"/>
            </a:xfrm>
            <a:custGeom>
              <a:avLst/>
              <a:gdLst>
                <a:gd name="connsiteX0" fmla="*/ 13382 w 32527"/>
                <a:gd name="connsiteY0" fmla="*/ 44741 h 44740"/>
                <a:gd name="connsiteX1" fmla="*/ 13382 w 32527"/>
                <a:gd name="connsiteY1" fmla="*/ 26121 h 44740"/>
                <a:gd name="connsiteX2" fmla="*/ 0 w 32527"/>
                <a:gd name="connsiteY2" fmla="*/ 26121 h 44740"/>
                <a:gd name="connsiteX3" fmla="*/ 0 w 32527"/>
                <a:gd name="connsiteY3" fmla="*/ 18352 h 44740"/>
                <a:gd name="connsiteX4" fmla="*/ 13382 w 32527"/>
                <a:gd name="connsiteY4" fmla="*/ 18352 h 44740"/>
                <a:gd name="connsiteX5" fmla="*/ 13382 w 32527"/>
                <a:gd name="connsiteY5" fmla="*/ 0 h 44740"/>
                <a:gd name="connsiteX6" fmla="*/ 19145 w 32527"/>
                <a:gd name="connsiteY6" fmla="*/ 0 h 44740"/>
                <a:gd name="connsiteX7" fmla="*/ 19145 w 32527"/>
                <a:gd name="connsiteY7" fmla="*/ 18352 h 44740"/>
                <a:gd name="connsiteX8" fmla="*/ 32528 w 32527"/>
                <a:gd name="connsiteY8" fmla="*/ 18352 h 44740"/>
                <a:gd name="connsiteX9" fmla="*/ 32528 w 32527"/>
                <a:gd name="connsiteY9" fmla="*/ 26121 h 44740"/>
                <a:gd name="connsiteX10" fmla="*/ 19145 w 32527"/>
                <a:gd name="connsiteY10" fmla="*/ 26121 h 44740"/>
                <a:gd name="connsiteX11" fmla="*/ 19145 w 32527"/>
                <a:gd name="connsiteY11" fmla="*/ 44741 h 44740"/>
                <a:gd name="connsiteX12" fmla="*/ 13382 w 32527"/>
                <a:gd name="connsiteY12" fmla="*/ 44741 h 44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740">
                  <a:moveTo>
                    <a:pt x="13382" y="44741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145" y="0"/>
                  </a:lnTo>
                  <a:lnTo>
                    <a:pt x="19145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145" y="26121"/>
                  </a:lnTo>
                  <a:lnTo>
                    <a:pt x="19145" y="44741"/>
                  </a:lnTo>
                  <a:lnTo>
                    <a:pt x="13382" y="44741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03" name="Freihandform: Form 802">
              <a:extLst>
                <a:ext uri="{FF2B5EF4-FFF2-40B4-BE49-F238E27FC236}">
                  <a16:creationId xmlns:a16="http://schemas.microsoft.com/office/drawing/2014/main" id="{C7C32BD8-1100-6B20-6A33-9AE59835788E}"/>
                </a:ext>
              </a:extLst>
            </p:cNvPr>
            <p:cNvSpPr/>
            <p:nvPr/>
          </p:nvSpPr>
          <p:spPr>
            <a:xfrm>
              <a:off x="4779601" y="2775556"/>
              <a:ext cx="32527" cy="44740"/>
            </a:xfrm>
            <a:custGeom>
              <a:avLst/>
              <a:gdLst>
                <a:gd name="connsiteX0" fmla="*/ 13382 w 32527"/>
                <a:gd name="connsiteY0" fmla="*/ 44741 h 44740"/>
                <a:gd name="connsiteX1" fmla="*/ 13382 w 32527"/>
                <a:gd name="connsiteY1" fmla="*/ 26121 h 44740"/>
                <a:gd name="connsiteX2" fmla="*/ 0 w 32527"/>
                <a:gd name="connsiteY2" fmla="*/ 26121 h 44740"/>
                <a:gd name="connsiteX3" fmla="*/ 0 w 32527"/>
                <a:gd name="connsiteY3" fmla="*/ 18352 h 44740"/>
                <a:gd name="connsiteX4" fmla="*/ 13382 w 32527"/>
                <a:gd name="connsiteY4" fmla="*/ 18352 h 44740"/>
                <a:gd name="connsiteX5" fmla="*/ 13382 w 32527"/>
                <a:gd name="connsiteY5" fmla="*/ 0 h 44740"/>
                <a:gd name="connsiteX6" fmla="*/ 19146 w 32527"/>
                <a:gd name="connsiteY6" fmla="*/ 0 h 44740"/>
                <a:gd name="connsiteX7" fmla="*/ 19146 w 32527"/>
                <a:gd name="connsiteY7" fmla="*/ 18352 h 44740"/>
                <a:gd name="connsiteX8" fmla="*/ 32528 w 32527"/>
                <a:gd name="connsiteY8" fmla="*/ 18352 h 44740"/>
                <a:gd name="connsiteX9" fmla="*/ 32528 w 32527"/>
                <a:gd name="connsiteY9" fmla="*/ 26121 h 44740"/>
                <a:gd name="connsiteX10" fmla="*/ 19146 w 32527"/>
                <a:gd name="connsiteY10" fmla="*/ 26121 h 44740"/>
                <a:gd name="connsiteX11" fmla="*/ 19146 w 32527"/>
                <a:gd name="connsiteY11" fmla="*/ 44741 h 44740"/>
                <a:gd name="connsiteX12" fmla="*/ 13382 w 32527"/>
                <a:gd name="connsiteY12" fmla="*/ 44741 h 44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740">
                  <a:moveTo>
                    <a:pt x="13382" y="44741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146" y="0"/>
                  </a:lnTo>
                  <a:lnTo>
                    <a:pt x="19146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146" y="26121"/>
                  </a:lnTo>
                  <a:lnTo>
                    <a:pt x="19146" y="44741"/>
                  </a:lnTo>
                  <a:lnTo>
                    <a:pt x="13382" y="44741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04" name="Freihandform: Form 803">
              <a:extLst>
                <a:ext uri="{FF2B5EF4-FFF2-40B4-BE49-F238E27FC236}">
                  <a16:creationId xmlns:a16="http://schemas.microsoft.com/office/drawing/2014/main" id="{D2A232F2-D7CC-7102-B3B5-E1FA14A615AD}"/>
                </a:ext>
              </a:extLst>
            </p:cNvPr>
            <p:cNvSpPr/>
            <p:nvPr/>
          </p:nvSpPr>
          <p:spPr>
            <a:xfrm>
              <a:off x="4801775" y="2775556"/>
              <a:ext cx="32429" cy="44740"/>
            </a:xfrm>
            <a:custGeom>
              <a:avLst/>
              <a:gdLst>
                <a:gd name="connsiteX0" fmla="*/ 13382 w 32429"/>
                <a:gd name="connsiteY0" fmla="*/ 44741 h 44740"/>
                <a:gd name="connsiteX1" fmla="*/ 13382 w 32429"/>
                <a:gd name="connsiteY1" fmla="*/ 26121 h 44740"/>
                <a:gd name="connsiteX2" fmla="*/ 0 w 32429"/>
                <a:gd name="connsiteY2" fmla="*/ 26121 h 44740"/>
                <a:gd name="connsiteX3" fmla="*/ 0 w 32429"/>
                <a:gd name="connsiteY3" fmla="*/ 18352 h 44740"/>
                <a:gd name="connsiteX4" fmla="*/ 13382 w 32429"/>
                <a:gd name="connsiteY4" fmla="*/ 18352 h 44740"/>
                <a:gd name="connsiteX5" fmla="*/ 13382 w 32429"/>
                <a:gd name="connsiteY5" fmla="*/ 0 h 44740"/>
                <a:gd name="connsiteX6" fmla="*/ 19048 w 32429"/>
                <a:gd name="connsiteY6" fmla="*/ 0 h 44740"/>
                <a:gd name="connsiteX7" fmla="*/ 19048 w 32429"/>
                <a:gd name="connsiteY7" fmla="*/ 18352 h 44740"/>
                <a:gd name="connsiteX8" fmla="*/ 32430 w 32429"/>
                <a:gd name="connsiteY8" fmla="*/ 18352 h 44740"/>
                <a:gd name="connsiteX9" fmla="*/ 32430 w 32429"/>
                <a:gd name="connsiteY9" fmla="*/ 26121 h 44740"/>
                <a:gd name="connsiteX10" fmla="*/ 19048 w 32429"/>
                <a:gd name="connsiteY10" fmla="*/ 26121 h 44740"/>
                <a:gd name="connsiteX11" fmla="*/ 19048 w 32429"/>
                <a:gd name="connsiteY11" fmla="*/ 44741 h 44740"/>
                <a:gd name="connsiteX12" fmla="*/ 13382 w 32429"/>
                <a:gd name="connsiteY12" fmla="*/ 44741 h 44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29" h="44740">
                  <a:moveTo>
                    <a:pt x="13382" y="44741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048" y="0"/>
                  </a:lnTo>
                  <a:lnTo>
                    <a:pt x="19048" y="18352"/>
                  </a:lnTo>
                  <a:lnTo>
                    <a:pt x="32430" y="18352"/>
                  </a:lnTo>
                  <a:lnTo>
                    <a:pt x="32430" y="26121"/>
                  </a:lnTo>
                  <a:lnTo>
                    <a:pt x="19048" y="26121"/>
                  </a:lnTo>
                  <a:lnTo>
                    <a:pt x="19048" y="44741"/>
                  </a:lnTo>
                  <a:lnTo>
                    <a:pt x="13382" y="44741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05" name="Freihandform: Form 804">
              <a:extLst>
                <a:ext uri="{FF2B5EF4-FFF2-40B4-BE49-F238E27FC236}">
                  <a16:creationId xmlns:a16="http://schemas.microsoft.com/office/drawing/2014/main" id="{BD8F4B39-199A-F246-28F7-71DB60C30B28}"/>
                </a:ext>
              </a:extLst>
            </p:cNvPr>
            <p:cNvSpPr/>
            <p:nvPr/>
          </p:nvSpPr>
          <p:spPr>
            <a:xfrm>
              <a:off x="4811543" y="2775556"/>
              <a:ext cx="32527" cy="44740"/>
            </a:xfrm>
            <a:custGeom>
              <a:avLst/>
              <a:gdLst>
                <a:gd name="connsiteX0" fmla="*/ 13382 w 32527"/>
                <a:gd name="connsiteY0" fmla="*/ 44741 h 44740"/>
                <a:gd name="connsiteX1" fmla="*/ 13382 w 32527"/>
                <a:gd name="connsiteY1" fmla="*/ 26121 h 44740"/>
                <a:gd name="connsiteX2" fmla="*/ 0 w 32527"/>
                <a:gd name="connsiteY2" fmla="*/ 26121 h 44740"/>
                <a:gd name="connsiteX3" fmla="*/ 0 w 32527"/>
                <a:gd name="connsiteY3" fmla="*/ 18352 h 44740"/>
                <a:gd name="connsiteX4" fmla="*/ 13382 w 32527"/>
                <a:gd name="connsiteY4" fmla="*/ 18352 h 44740"/>
                <a:gd name="connsiteX5" fmla="*/ 13382 w 32527"/>
                <a:gd name="connsiteY5" fmla="*/ 0 h 44740"/>
                <a:gd name="connsiteX6" fmla="*/ 19145 w 32527"/>
                <a:gd name="connsiteY6" fmla="*/ 0 h 44740"/>
                <a:gd name="connsiteX7" fmla="*/ 19145 w 32527"/>
                <a:gd name="connsiteY7" fmla="*/ 18352 h 44740"/>
                <a:gd name="connsiteX8" fmla="*/ 32528 w 32527"/>
                <a:gd name="connsiteY8" fmla="*/ 18352 h 44740"/>
                <a:gd name="connsiteX9" fmla="*/ 32528 w 32527"/>
                <a:gd name="connsiteY9" fmla="*/ 26121 h 44740"/>
                <a:gd name="connsiteX10" fmla="*/ 19145 w 32527"/>
                <a:gd name="connsiteY10" fmla="*/ 26121 h 44740"/>
                <a:gd name="connsiteX11" fmla="*/ 19145 w 32527"/>
                <a:gd name="connsiteY11" fmla="*/ 44741 h 44740"/>
                <a:gd name="connsiteX12" fmla="*/ 13382 w 32527"/>
                <a:gd name="connsiteY12" fmla="*/ 44741 h 44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740">
                  <a:moveTo>
                    <a:pt x="13382" y="44741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145" y="0"/>
                  </a:lnTo>
                  <a:lnTo>
                    <a:pt x="19145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145" y="26121"/>
                  </a:lnTo>
                  <a:lnTo>
                    <a:pt x="19145" y="44741"/>
                  </a:lnTo>
                  <a:lnTo>
                    <a:pt x="13382" y="44741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06" name="Freihandform: Form 805">
              <a:extLst>
                <a:ext uri="{FF2B5EF4-FFF2-40B4-BE49-F238E27FC236}">
                  <a16:creationId xmlns:a16="http://schemas.microsoft.com/office/drawing/2014/main" id="{37E466D2-BF00-C42D-1D06-4F72F2A36148}"/>
                </a:ext>
              </a:extLst>
            </p:cNvPr>
            <p:cNvSpPr/>
            <p:nvPr/>
          </p:nvSpPr>
          <p:spPr>
            <a:xfrm>
              <a:off x="4816427" y="2775556"/>
              <a:ext cx="32527" cy="44740"/>
            </a:xfrm>
            <a:custGeom>
              <a:avLst/>
              <a:gdLst>
                <a:gd name="connsiteX0" fmla="*/ 13480 w 32527"/>
                <a:gd name="connsiteY0" fmla="*/ 44741 h 44740"/>
                <a:gd name="connsiteX1" fmla="*/ 13480 w 32527"/>
                <a:gd name="connsiteY1" fmla="*/ 26121 h 44740"/>
                <a:gd name="connsiteX2" fmla="*/ 0 w 32527"/>
                <a:gd name="connsiteY2" fmla="*/ 26121 h 44740"/>
                <a:gd name="connsiteX3" fmla="*/ 0 w 32527"/>
                <a:gd name="connsiteY3" fmla="*/ 18352 h 44740"/>
                <a:gd name="connsiteX4" fmla="*/ 13480 w 32527"/>
                <a:gd name="connsiteY4" fmla="*/ 18352 h 44740"/>
                <a:gd name="connsiteX5" fmla="*/ 13480 w 32527"/>
                <a:gd name="connsiteY5" fmla="*/ 0 h 44740"/>
                <a:gd name="connsiteX6" fmla="*/ 19145 w 32527"/>
                <a:gd name="connsiteY6" fmla="*/ 0 h 44740"/>
                <a:gd name="connsiteX7" fmla="*/ 19145 w 32527"/>
                <a:gd name="connsiteY7" fmla="*/ 18352 h 44740"/>
                <a:gd name="connsiteX8" fmla="*/ 32528 w 32527"/>
                <a:gd name="connsiteY8" fmla="*/ 18352 h 44740"/>
                <a:gd name="connsiteX9" fmla="*/ 32528 w 32527"/>
                <a:gd name="connsiteY9" fmla="*/ 26121 h 44740"/>
                <a:gd name="connsiteX10" fmla="*/ 19145 w 32527"/>
                <a:gd name="connsiteY10" fmla="*/ 26121 h 44740"/>
                <a:gd name="connsiteX11" fmla="*/ 19145 w 32527"/>
                <a:gd name="connsiteY11" fmla="*/ 44741 h 44740"/>
                <a:gd name="connsiteX12" fmla="*/ 13480 w 32527"/>
                <a:gd name="connsiteY12" fmla="*/ 44741 h 44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740">
                  <a:moveTo>
                    <a:pt x="13480" y="44741"/>
                  </a:moveTo>
                  <a:lnTo>
                    <a:pt x="13480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480" y="18352"/>
                  </a:lnTo>
                  <a:lnTo>
                    <a:pt x="13480" y="0"/>
                  </a:lnTo>
                  <a:lnTo>
                    <a:pt x="19145" y="0"/>
                  </a:lnTo>
                  <a:lnTo>
                    <a:pt x="19145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145" y="26121"/>
                  </a:lnTo>
                  <a:lnTo>
                    <a:pt x="19145" y="44741"/>
                  </a:lnTo>
                  <a:lnTo>
                    <a:pt x="13480" y="44741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07" name="Freihandform: Form 806">
              <a:extLst>
                <a:ext uri="{FF2B5EF4-FFF2-40B4-BE49-F238E27FC236}">
                  <a16:creationId xmlns:a16="http://schemas.microsoft.com/office/drawing/2014/main" id="{C56067AA-9CE8-816C-92B6-0F67D1A30238}"/>
                </a:ext>
              </a:extLst>
            </p:cNvPr>
            <p:cNvSpPr/>
            <p:nvPr/>
          </p:nvSpPr>
          <p:spPr>
            <a:xfrm>
              <a:off x="4828735" y="2775556"/>
              <a:ext cx="32430" cy="44740"/>
            </a:xfrm>
            <a:custGeom>
              <a:avLst/>
              <a:gdLst>
                <a:gd name="connsiteX0" fmla="*/ 13382 w 32430"/>
                <a:gd name="connsiteY0" fmla="*/ 44741 h 44740"/>
                <a:gd name="connsiteX1" fmla="*/ 13382 w 32430"/>
                <a:gd name="connsiteY1" fmla="*/ 26121 h 44740"/>
                <a:gd name="connsiteX2" fmla="*/ 0 w 32430"/>
                <a:gd name="connsiteY2" fmla="*/ 26121 h 44740"/>
                <a:gd name="connsiteX3" fmla="*/ 0 w 32430"/>
                <a:gd name="connsiteY3" fmla="*/ 18352 h 44740"/>
                <a:gd name="connsiteX4" fmla="*/ 13382 w 32430"/>
                <a:gd name="connsiteY4" fmla="*/ 18352 h 44740"/>
                <a:gd name="connsiteX5" fmla="*/ 13382 w 32430"/>
                <a:gd name="connsiteY5" fmla="*/ 0 h 44740"/>
                <a:gd name="connsiteX6" fmla="*/ 19048 w 32430"/>
                <a:gd name="connsiteY6" fmla="*/ 0 h 44740"/>
                <a:gd name="connsiteX7" fmla="*/ 19048 w 32430"/>
                <a:gd name="connsiteY7" fmla="*/ 18352 h 44740"/>
                <a:gd name="connsiteX8" fmla="*/ 32430 w 32430"/>
                <a:gd name="connsiteY8" fmla="*/ 18352 h 44740"/>
                <a:gd name="connsiteX9" fmla="*/ 32430 w 32430"/>
                <a:gd name="connsiteY9" fmla="*/ 26121 h 44740"/>
                <a:gd name="connsiteX10" fmla="*/ 19048 w 32430"/>
                <a:gd name="connsiteY10" fmla="*/ 26121 h 44740"/>
                <a:gd name="connsiteX11" fmla="*/ 19048 w 32430"/>
                <a:gd name="connsiteY11" fmla="*/ 44741 h 44740"/>
                <a:gd name="connsiteX12" fmla="*/ 13382 w 32430"/>
                <a:gd name="connsiteY12" fmla="*/ 44741 h 44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30" h="44740">
                  <a:moveTo>
                    <a:pt x="13382" y="44741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048" y="0"/>
                  </a:lnTo>
                  <a:lnTo>
                    <a:pt x="19048" y="18352"/>
                  </a:lnTo>
                  <a:lnTo>
                    <a:pt x="32430" y="18352"/>
                  </a:lnTo>
                  <a:lnTo>
                    <a:pt x="32430" y="26121"/>
                  </a:lnTo>
                  <a:lnTo>
                    <a:pt x="19048" y="26121"/>
                  </a:lnTo>
                  <a:lnTo>
                    <a:pt x="19048" y="44741"/>
                  </a:lnTo>
                  <a:lnTo>
                    <a:pt x="13382" y="44741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08" name="Freihandform: Form 807">
              <a:extLst>
                <a:ext uri="{FF2B5EF4-FFF2-40B4-BE49-F238E27FC236}">
                  <a16:creationId xmlns:a16="http://schemas.microsoft.com/office/drawing/2014/main" id="{842F4C3B-EAFA-7730-DF77-49D22024DF31}"/>
                </a:ext>
              </a:extLst>
            </p:cNvPr>
            <p:cNvSpPr/>
            <p:nvPr/>
          </p:nvSpPr>
          <p:spPr>
            <a:xfrm>
              <a:off x="4865560" y="2781986"/>
              <a:ext cx="32527" cy="44606"/>
            </a:xfrm>
            <a:custGeom>
              <a:avLst/>
              <a:gdLst>
                <a:gd name="connsiteX0" fmla="*/ 13382 w 32527"/>
                <a:gd name="connsiteY0" fmla="*/ 44607 h 44606"/>
                <a:gd name="connsiteX1" fmla="*/ 13382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352 h 44606"/>
                <a:gd name="connsiteX4" fmla="*/ 13382 w 32527"/>
                <a:gd name="connsiteY4" fmla="*/ 18352 h 44606"/>
                <a:gd name="connsiteX5" fmla="*/ 13382 w 32527"/>
                <a:gd name="connsiteY5" fmla="*/ 0 h 44606"/>
                <a:gd name="connsiteX6" fmla="*/ 19145 w 32527"/>
                <a:gd name="connsiteY6" fmla="*/ 0 h 44606"/>
                <a:gd name="connsiteX7" fmla="*/ 19145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6121 h 44606"/>
                <a:gd name="connsiteX10" fmla="*/ 19145 w 32527"/>
                <a:gd name="connsiteY10" fmla="*/ 26121 h 44606"/>
                <a:gd name="connsiteX11" fmla="*/ 19145 w 32527"/>
                <a:gd name="connsiteY11" fmla="*/ 44607 h 44606"/>
                <a:gd name="connsiteX12" fmla="*/ 13382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145" y="0"/>
                  </a:lnTo>
                  <a:lnTo>
                    <a:pt x="19145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145" y="26121"/>
                  </a:lnTo>
                  <a:lnTo>
                    <a:pt x="19145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09" name="Freihandform: Form 808">
              <a:extLst>
                <a:ext uri="{FF2B5EF4-FFF2-40B4-BE49-F238E27FC236}">
                  <a16:creationId xmlns:a16="http://schemas.microsoft.com/office/drawing/2014/main" id="{E7C86C71-5E1A-202A-AD66-794FC29AD5C9}"/>
                </a:ext>
              </a:extLst>
            </p:cNvPr>
            <p:cNvSpPr/>
            <p:nvPr/>
          </p:nvSpPr>
          <p:spPr>
            <a:xfrm>
              <a:off x="4885097" y="2781986"/>
              <a:ext cx="32527" cy="44606"/>
            </a:xfrm>
            <a:custGeom>
              <a:avLst/>
              <a:gdLst>
                <a:gd name="connsiteX0" fmla="*/ 13480 w 32527"/>
                <a:gd name="connsiteY0" fmla="*/ 44607 h 44606"/>
                <a:gd name="connsiteX1" fmla="*/ 13480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352 h 44606"/>
                <a:gd name="connsiteX4" fmla="*/ 13480 w 32527"/>
                <a:gd name="connsiteY4" fmla="*/ 18352 h 44606"/>
                <a:gd name="connsiteX5" fmla="*/ 13480 w 32527"/>
                <a:gd name="connsiteY5" fmla="*/ 0 h 44606"/>
                <a:gd name="connsiteX6" fmla="*/ 19145 w 32527"/>
                <a:gd name="connsiteY6" fmla="*/ 0 h 44606"/>
                <a:gd name="connsiteX7" fmla="*/ 19145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6121 h 44606"/>
                <a:gd name="connsiteX10" fmla="*/ 19145 w 32527"/>
                <a:gd name="connsiteY10" fmla="*/ 26121 h 44606"/>
                <a:gd name="connsiteX11" fmla="*/ 19145 w 32527"/>
                <a:gd name="connsiteY11" fmla="*/ 44607 h 44606"/>
                <a:gd name="connsiteX12" fmla="*/ 13480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480" y="44607"/>
                  </a:moveTo>
                  <a:lnTo>
                    <a:pt x="13480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480" y="18352"/>
                  </a:lnTo>
                  <a:lnTo>
                    <a:pt x="13480" y="0"/>
                  </a:lnTo>
                  <a:lnTo>
                    <a:pt x="19145" y="0"/>
                  </a:lnTo>
                  <a:lnTo>
                    <a:pt x="19145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145" y="26121"/>
                  </a:lnTo>
                  <a:lnTo>
                    <a:pt x="19145" y="44607"/>
                  </a:lnTo>
                  <a:lnTo>
                    <a:pt x="13480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10" name="Freihandform: Form 809">
              <a:extLst>
                <a:ext uri="{FF2B5EF4-FFF2-40B4-BE49-F238E27FC236}">
                  <a16:creationId xmlns:a16="http://schemas.microsoft.com/office/drawing/2014/main" id="{26F7FB37-A3DC-A392-41EE-663D2EC75E3F}"/>
                </a:ext>
              </a:extLst>
            </p:cNvPr>
            <p:cNvSpPr/>
            <p:nvPr/>
          </p:nvSpPr>
          <p:spPr>
            <a:xfrm>
              <a:off x="4894962" y="2781986"/>
              <a:ext cx="32527" cy="44606"/>
            </a:xfrm>
            <a:custGeom>
              <a:avLst/>
              <a:gdLst>
                <a:gd name="connsiteX0" fmla="*/ 13382 w 32527"/>
                <a:gd name="connsiteY0" fmla="*/ 44607 h 44606"/>
                <a:gd name="connsiteX1" fmla="*/ 13382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352 h 44606"/>
                <a:gd name="connsiteX4" fmla="*/ 13382 w 32527"/>
                <a:gd name="connsiteY4" fmla="*/ 18352 h 44606"/>
                <a:gd name="connsiteX5" fmla="*/ 13382 w 32527"/>
                <a:gd name="connsiteY5" fmla="*/ 0 h 44606"/>
                <a:gd name="connsiteX6" fmla="*/ 19146 w 32527"/>
                <a:gd name="connsiteY6" fmla="*/ 0 h 44606"/>
                <a:gd name="connsiteX7" fmla="*/ 19146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6121 h 44606"/>
                <a:gd name="connsiteX10" fmla="*/ 19146 w 32527"/>
                <a:gd name="connsiteY10" fmla="*/ 26121 h 44606"/>
                <a:gd name="connsiteX11" fmla="*/ 19146 w 32527"/>
                <a:gd name="connsiteY11" fmla="*/ 44607 h 44606"/>
                <a:gd name="connsiteX12" fmla="*/ 13382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146" y="0"/>
                  </a:lnTo>
                  <a:lnTo>
                    <a:pt x="19146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146" y="26121"/>
                  </a:lnTo>
                  <a:lnTo>
                    <a:pt x="19146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11" name="Freihandform: Form 810">
              <a:extLst>
                <a:ext uri="{FF2B5EF4-FFF2-40B4-BE49-F238E27FC236}">
                  <a16:creationId xmlns:a16="http://schemas.microsoft.com/office/drawing/2014/main" id="{B501DC41-3C9E-7872-881A-567E2534F1B2}"/>
                </a:ext>
              </a:extLst>
            </p:cNvPr>
            <p:cNvSpPr/>
            <p:nvPr/>
          </p:nvSpPr>
          <p:spPr>
            <a:xfrm>
              <a:off x="4904828" y="2781986"/>
              <a:ext cx="32430" cy="44606"/>
            </a:xfrm>
            <a:custGeom>
              <a:avLst/>
              <a:gdLst>
                <a:gd name="connsiteX0" fmla="*/ 13382 w 32430"/>
                <a:gd name="connsiteY0" fmla="*/ 44607 h 44606"/>
                <a:gd name="connsiteX1" fmla="*/ 13382 w 32430"/>
                <a:gd name="connsiteY1" fmla="*/ 26121 h 44606"/>
                <a:gd name="connsiteX2" fmla="*/ 0 w 32430"/>
                <a:gd name="connsiteY2" fmla="*/ 26121 h 44606"/>
                <a:gd name="connsiteX3" fmla="*/ 0 w 32430"/>
                <a:gd name="connsiteY3" fmla="*/ 18352 h 44606"/>
                <a:gd name="connsiteX4" fmla="*/ 13382 w 32430"/>
                <a:gd name="connsiteY4" fmla="*/ 18352 h 44606"/>
                <a:gd name="connsiteX5" fmla="*/ 13382 w 32430"/>
                <a:gd name="connsiteY5" fmla="*/ 0 h 44606"/>
                <a:gd name="connsiteX6" fmla="*/ 19048 w 32430"/>
                <a:gd name="connsiteY6" fmla="*/ 0 h 44606"/>
                <a:gd name="connsiteX7" fmla="*/ 19048 w 32430"/>
                <a:gd name="connsiteY7" fmla="*/ 18352 h 44606"/>
                <a:gd name="connsiteX8" fmla="*/ 32430 w 32430"/>
                <a:gd name="connsiteY8" fmla="*/ 18352 h 44606"/>
                <a:gd name="connsiteX9" fmla="*/ 32430 w 32430"/>
                <a:gd name="connsiteY9" fmla="*/ 26121 h 44606"/>
                <a:gd name="connsiteX10" fmla="*/ 19048 w 32430"/>
                <a:gd name="connsiteY10" fmla="*/ 26121 h 44606"/>
                <a:gd name="connsiteX11" fmla="*/ 19048 w 32430"/>
                <a:gd name="connsiteY11" fmla="*/ 44607 h 44606"/>
                <a:gd name="connsiteX12" fmla="*/ 13382 w 32430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30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048" y="0"/>
                  </a:lnTo>
                  <a:lnTo>
                    <a:pt x="19048" y="18352"/>
                  </a:lnTo>
                  <a:lnTo>
                    <a:pt x="32430" y="18352"/>
                  </a:lnTo>
                  <a:lnTo>
                    <a:pt x="32430" y="26121"/>
                  </a:lnTo>
                  <a:lnTo>
                    <a:pt x="19048" y="26121"/>
                  </a:lnTo>
                  <a:lnTo>
                    <a:pt x="19048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12" name="Freihandform: Form 811">
              <a:extLst>
                <a:ext uri="{FF2B5EF4-FFF2-40B4-BE49-F238E27FC236}">
                  <a16:creationId xmlns:a16="http://schemas.microsoft.com/office/drawing/2014/main" id="{0D333A2D-37E1-ECA3-A786-2947574EC623}"/>
                </a:ext>
              </a:extLst>
            </p:cNvPr>
            <p:cNvSpPr/>
            <p:nvPr/>
          </p:nvSpPr>
          <p:spPr>
            <a:xfrm>
              <a:off x="4907270" y="2788550"/>
              <a:ext cx="32527" cy="44740"/>
            </a:xfrm>
            <a:custGeom>
              <a:avLst/>
              <a:gdLst>
                <a:gd name="connsiteX0" fmla="*/ 13382 w 32527"/>
                <a:gd name="connsiteY0" fmla="*/ 44741 h 44740"/>
                <a:gd name="connsiteX1" fmla="*/ 13382 w 32527"/>
                <a:gd name="connsiteY1" fmla="*/ 26121 h 44740"/>
                <a:gd name="connsiteX2" fmla="*/ 0 w 32527"/>
                <a:gd name="connsiteY2" fmla="*/ 26121 h 44740"/>
                <a:gd name="connsiteX3" fmla="*/ 0 w 32527"/>
                <a:gd name="connsiteY3" fmla="*/ 18486 h 44740"/>
                <a:gd name="connsiteX4" fmla="*/ 13382 w 32527"/>
                <a:gd name="connsiteY4" fmla="*/ 18486 h 44740"/>
                <a:gd name="connsiteX5" fmla="*/ 13382 w 32527"/>
                <a:gd name="connsiteY5" fmla="*/ 0 h 44740"/>
                <a:gd name="connsiteX6" fmla="*/ 19048 w 32527"/>
                <a:gd name="connsiteY6" fmla="*/ 0 h 44740"/>
                <a:gd name="connsiteX7" fmla="*/ 19048 w 32527"/>
                <a:gd name="connsiteY7" fmla="*/ 18486 h 44740"/>
                <a:gd name="connsiteX8" fmla="*/ 32528 w 32527"/>
                <a:gd name="connsiteY8" fmla="*/ 18486 h 44740"/>
                <a:gd name="connsiteX9" fmla="*/ 32528 w 32527"/>
                <a:gd name="connsiteY9" fmla="*/ 26121 h 44740"/>
                <a:gd name="connsiteX10" fmla="*/ 19048 w 32527"/>
                <a:gd name="connsiteY10" fmla="*/ 26121 h 44740"/>
                <a:gd name="connsiteX11" fmla="*/ 19048 w 32527"/>
                <a:gd name="connsiteY11" fmla="*/ 44741 h 44740"/>
                <a:gd name="connsiteX12" fmla="*/ 13382 w 32527"/>
                <a:gd name="connsiteY12" fmla="*/ 44741 h 44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740">
                  <a:moveTo>
                    <a:pt x="13382" y="44741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486"/>
                  </a:lnTo>
                  <a:lnTo>
                    <a:pt x="13382" y="18486"/>
                  </a:lnTo>
                  <a:lnTo>
                    <a:pt x="13382" y="0"/>
                  </a:lnTo>
                  <a:lnTo>
                    <a:pt x="19048" y="0"/>
                  </a:lnTo>
                  <a:lnTo>
                    <a:pt x="19048" y="18486"/>
                  </a:lnTo>
                  <a:lnTo>
                    <a:pt x="32528" y="18486"/>
                  </a:lnTo>
                  <a:lnTo>
                    <a:pt x="32528" y="26121"/>
                  </a:lnTo>
                  <a:lnTo>
                    <a:pt x="19048" y="26121"/>
                  </a:lnTo>
                  <a:lnTo>
                    <a:pt x="19048" y="44741"/>
                  </a:lnTo>
                  <a:lnTo>
                    <a:pt x="13382" y="44741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13" name="Freihandform: Form 812">
              <a:extLst>
                <a:ext uri="{FF2B5EF4-FFF2-40B4-BE49-F238E27FC236}">
                  <a16:creationId xmlns:a16="http://schemas.microsoft.com/office/drawing/2014/main" id="{2542BDD3-6153-F42B-92E0-14CD9A7D196E}"/>
                </a:ext>
              </a:extLst>
            </p:cNvPr>
            <p:cNvSpPr/>
            <p:nvPr/>
          </p:nvSpPr>
          <p:spPr>
            <a:xfrm>
              <a:off x="4909712" y="2788550"/>
              <a:ext cx="32527" cy="44740"/>
            </a:xfrm>
            <a:custGeom>
              <a:avLst/>
              <a:gdLst>
                <a:gd name="connsiteX0" fmla="*/ 13382 w 32527"/>
                <a:gd name="connsiteY0" fmla="*/ 44741 h 44740"/>
                <a:gd name="connsiteX1" fmla="*/ 13382 w 32527"/>
                <a:gd name="connsiteY1" fmla="*/ 26121 h 44740"/>
                <a:gd name="connsiteX2" fmla="*/ 0 w 32527"/>
                <a:gd name="connsiteY2" fmla="*/ 26121 h 44740"/>
                <a:gd name="connsiteX3" fmla="*/ 0 w 32527"/>
                <a:gd name="connsiteY3" fmla="*/ 18486 h 44740"/>
                <a:gd name="connsiteX4" fmla="*/ 13382 w 32527"/>
                <a:gd name="connsiteY4" fmla="*/ 18486 h 44740"/>
                <a:gd name="connsiteX5" fmla="*/ 13382 w 32527"/>
                <a:gd name="connsiteY5" fmla="*/ 0 h 44740"/>
                <a:gd name="connsiteX6" fmla="*/ 19048 w 32527"/>
                <a:gd name="connsiteY6" fmla="*/ 0 h 44740"/>
                <a:gd name="connsiteX7" fmla="*/ 19048 w 32527"/>
                <a:gd name="connsiteY7" fmla="*/ 18486 h 44740"/>
                <a:gd name="connsiteX8" fmla="*/ 32528 w 32527"/>
                <a:gd name="connsiteY8" fmla="*/ 18486 h 44740"/>
                <a:gd name="connsiteX9" fmla="*/ 32528 w 32527"/>
                <a:gd name="connsiteY9" fmla="*/ 26121 h 44740"/>
                <a:gd name="connsiteX10" fmla="*/ 19048 w 32527"/>
                <a:gd name="connsiteY10" fmla="*/ 26121 h 44740"/>
                <a:gd name="connsiteX11" fmla="*/ 19048 w 32527"/>
                <a:gd name="connsiteY11" fmla="*/ 44741 h 44740"/>
                <a:gd name="connsiteX12" fmla="*/ 13382 w 32527"/>
                <a:gd name="connsiteY12" fmla="*/ 44741 h 44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740">
                  <a:moveTo>
                    <a:pt x="13382" y="44741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486"/>
                  </a:lnTo>
                  <a:lnTo>
                    <a:pt x="13382" y="18486"/>
                  </a:lnTo>
                  <a:lnTo>
                    <a:pt x="13382" y="0"/>
                  </a:lnTo>
                  <a:lnTo>
                    <a:pt x="19048" y="0"/>
                  </a:lnTo>
                  <a:lnTo>
                    <a:pt x="19048" y="18486"/>
                  </a:lnTo>
                  <a:lnTo>
                    <a:pt x="32528" y="18486"/>
                  </a:lnTo>
                  <a:lnTo>
                    <a:pt x="32528" y="26121"/>
                  </a:lnTo>
                  <a:lnTo>
                    <a:pt x="19048" y="26121"/>
                  </a:lnTo>
                  <a:lnTo>
                    <a:pt x="19048" y="44741"/>
                  </a:lnTo>
                  <a:lnTo>
                    <a:pt x="13382" y="44741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14" name="Freihandform: Form 813">
              <a:extLst>
                <a:ext uri="{FF2B5EF4-FFF2-40B4-BE49-F238E27FC236}">
                  <a16:creationId xmlns:a16="http://schemas.microsoft.com/office/drawing/2014/main" id="{54BE1150-E499-B238-9B86-61009CF7C20F}"/>
                </a:ext>
              </a:extLst>
            </p:cNvPr>
            <p:cNvSpPr/>
            <p:nvPr/>
          </p:nvSpPr>
          <p:spPr>
            <a:xfrm>
              <a:off x="4914596" y="2788550"/>
              <a:ext cx="32527" cy="44740"/>
            </a:xfrm>
            <a:custGeom>
              <a:avLst/>
              <a:gdLst>
                <a:gd name="connsiteX0" fmla="*/ 13382 w 32527"/>
                <a:gd name="connsiteY0" fmla="*/ 44741 h 44740"/>
                <a:gd name="connsiteX1" fmla="*/ 13382 w 32527"/>
                <a:gd name="connsiteY1" fmla="*/ 26121 h 44740"/>
                <a:gd name="connsiteX2" fmla="*/ 0 w 32527"/>
                <a:gd name="connsiteY2" fmla="*/ 26121 h 44740"/>
                <a:gd name="connsiteX3" fmla="*/ 0 w 32527"/>
                <a:gd name="connsiteY3" fmla="*/ 18486 h 44740"/>
                <a:gd name="connsiteX4" fmla="*/ 13382 w 32527"/>
                <a:gd name="connsiteY4" fmla="*/ 18486 h 44740"/>
                <a:gd name="connsiteX5" fmla="*/ 13382 w 32527"/>
                <a:gd name="connsiteY5" fmla="*/ 0 h 44740"/>
                <a:gd name="connsiteX6" fmla="*/ 19145 w 32527"/>
                <a:gd name="connsiteY6" fmla="*/ 0 h 44740"/>
                <a:gd name="connsiteX7" fmla="*/ 19145 w 32527"/>
                <a:gd name="connsiteY7" fmla="*/ 18486 h 44740"/>
                <a:gd name="connsiteX8" fmla="*/ 32528 w 32527"/>
                <a:gd name="connsiteY8" fmla="*/ 18486 h 44740"/>
                <a:gd name="connsiteX9" fmla="*/ 32528 w 32527"/>
                <a:gd name="connsiteY9" fmla="*/ 26121 h 44740"/>
                <a:gd name="connsiteX10" fmla="*/ 19145 w 32527"/>
                <a:gd name="connsiteY10" fmla="*/ 26121 h 44740"/>
                <a:gd name="connsiteX11" fmla="*/ 19145 w 32527"/>
                <a:gd name="connsiteY11" fmla="*/ 44741 h 44740"/>
                <a:gd name="connsiteX12" fmla="*/ 13382 w 32527"/>
                <a:gd name="connsiteY12" fmla="*/ 44741 h 44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740">
                  <a:moveTo>
                    <a:pt x="13382" y="44741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486"/>
                  </a:lnTo>
                  <a:lnTo>
                    <a:pt x="13382" y="18486"/>
                  </a:lnTo>
                  <a:lnTo>
                    <a:pt x="13382" y="0"/>
                  </a:lnTo>
                  <a:lnTo>
                    <a:pt x="19145" y="0"/>
                  </a:lnTo>
                  <a:lnTo>
                    <a:pt x="19145" y="18486"/>
                  </a:lnTo>
                  <a:lnTo>
                    <a:pt x="32528" y="18486"/>
                  </a:lnTo>
                  <a:lnTo>
                    <a:pt x="32528" y="26121"/>
                  </a:lnTo>
                  <a:lnTo>
                    <a:pt x="19145" y="26121"/>
                  </a:lnTo>
                  <a:lnTo>
                    <a:pt x="19145" y="44741"/>
                  </a:lnTo>
                  <a:lnTo>
                    <a:pt x="13382" y="44741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15" name="Freihandform: Form 814">
              <a:extLst>
                <a:ext uri="{FF2B5EF4-FFF2-40B4-BE49-F238E27FC236}">
                  <a16:creationId xmlns:a16="http://schemas.microsoft.com/office/drawing/2014/main" id="{33C44DA9-B491-D5BC-2DDC-3DE9A64BF251}"/>
                </a:ext>
              </a:extLst>
            </p:cNvPr>
            <p:cNvSpPr/>
            <p:nvPr/>
          </p:nvSpPr>
          <p:spPr>
            <a:xfrm>
              <a:off x="4917038" y="2788550"/>
              <a:ext cx="32527" cy="44740"/>
            </a:xfrm>
            <a:custGeom>
              <a:avLst/>
              <a:gdLst>
                <a:gd name="connsiteX0" fmla="*/ 13480 w 32527"/>
                <a:gd name="connsiteY0" fmla="*/ 44741 h 44740"/>
                <a:gd name="connsiteX1" fmla="*/ 13480 w 32527"/>
                <a:gd name="connsiteY1" fmla="*/ 26121 h 44740"/>
                <a:gd name="connsiteX2" fmla="*/ 0 w 32527"/>
                <a:gd name="connsiteY2" fmla="*/ 26121 h 44740"/>
                <a:gd name="connsiteX3" fmla="*/ 0 w 32527"/>
                <a:gd name="connsiteY3" fmla="*/ 18486 h 44740"/>
                <a:gd name="connsiteX4" fmla="*/ 13480 w 32527"/>
                <a:gd name="connsiteY4" fmla="*/ 18486 h 44740"/>
                <a:gd name="connsiteX5" fmla="*/ 13480 w 32527"/>
                <a:gd name="connsiteY5" fmla="*/ 0 h 44740"/>
                <a:gd name="connsiteX6" fmla="*/ 19145 w 32527"/>
                <a:gd name="connsiteY6" fmla="*/ 0 h 44740"/>
                <a:gd name="connsiteX7" fmla="*/ 19145 w 32527"/>
                <a:gd name="connsiteY7" fmla="*/ 18486 h 44740"/>
                <a:gd name="connsiteX8" fmla="*/ 32528 w 32527"/>
                <a:gd name="connsiteY8" fmla="*/ 18486 h 44740"/>
                <a:gd name="connsiteX9" fmla="*/ 32528 w 32527"/>
                <a:gd name="connsiteY9" fmla="*/ 26121 h 44740"/>
                <a:gd name="connsiteX10" fmla="*/ 19145 w 32527"/>
                <a:gd name="connsiteY10" fmla="*/ 26121 h 44740"/>
                <a:gd name="connsiteX11" fmla="*/ 19145 w 32527"/>
                <a:gd name="connsiteY11" fmla="*/ 44741 h 44740"/>
                <a:gd name="connsiteX12" fmla="*/ 13480 w 32527"/>
                <a:gd name="connsiteY12" fmla="*/ 44741 h 44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740">
                  <a:moveTo>
                    <a:pt x="13480" y="44741"/>
                  </a:moveTo>
                  <a:lnTo>
                    <a:pt x="13480" y="26121"/>
                  </a:lnTo>
                  <a:lnTo>
                    <a:pt x="0" y="26121"/>
                  </a:lnTo>
                  <a:lnTo>
                    <a:pt x="0" y="18486"/>
                  </a:lnTo>
                  <a:lnTo>
                    <a:pt x="13480" y="18486"/>
                  </a:lnTo>
                  <a:lnTo>
                    <a:pt x="13480" y="0"/>
                  </a:lnTo>
                  <a:lnTo>
                    <a:pt x="19145" y="0"/>
                  </a:lnTo>
                  <a:lnTo>
                    <a:pt x="19145" y="18486"/>
                  </a:lnTo>
                  <a:lnTo>
                    <a:pt x="32528" y="18486"/>
                  </a:lnTo>
                  <a:lnTo>
                    <a:pt x="32528" y="26121"/>
                  </a:lnTo>
                  <a:lnTo>
                    <a:pt x="19145" y="26121"/>
                  </a:lnTo>
                  <a:lnTo>
                    <a:pt x="19145" y="44741"/>
                  </a:lnTo>
                  <a:lnTo>
                    <a:pt x="13480" y="44741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16" name="Freihandform: Form 815">
              <a:extLst>
                <a:ext uri="{FF2B5EF4-FFF2-40B4-BE49-F238E27FC236}">
                  <a16:creationId xmlns:a16="http://schemas.microsoft.com/office/drawing/2014/main" id="{8ECB6B12-EFF1-9D0D-1E7C-3BD29F958DA5}"/>
                </a:ext>
              </a:extLst>
            </p:cNvPr>
            <p:cNvSpPr/>
            <p:nvPr/>
          </p:nvSpPr>
          <p:spPr>
            <a:xfrm>
              <a:off x="4922020" y="2788550"/>
              <a:ext cx="32430" cy="44740"/>
            </a:xfrm>
            <a:custGeom>
              <a:avLst/>
              <a:gdLst>
                <a:gd name="connsiteX0" fmla="*/ 13382 w 32430"/>
                <a:gd name="connsiteY0" fmla="*/ 44741 h 44740"/>
                <a:gd name="connsiteX1" fmla="*/ 13382 w 32430"/>
                <a:gd name="connsiteY1" fmla="*/ 26121 h 44740"/>
                <a:gd name="connsiteX2" fmla="*/ 0 w 32430"/>
                <a:gd name="connsiteY2" fmla="*/ 26121 h 44740"/>
                <a:gd name="connsiteX3" fmla="*/ 0 w 32430"/>
                <a:gd name="connsiteY3" fmla="*/ 18486 h 44740"/>
                <a:gd name="connsiteX4" fmla="*/ 13382 w 32430"/>
                <a:gd name="connsiteY4" fmla="*/ 18486 h 44740"/>
                <a:gd name="connsiteX5" fmla="*/ 13382 w 32430"/>
                <a:gd name="connsiteY5" fmla="*/ 0 h 44740"/>
                <a:gd name="connsiteX6" fmla="*/ 19048 w 32430"/>
                <a:gd name="connsiteY6" fmla="*/ 0 h 44740"/>
                <a:gd name="connsiteX7" fmla="*/ 19048 w 32430"/>
                <a:gd name="connsiteY7" fmla="*/ 18486 h 44740"/>
                <a:gd name="connsiteX8" fmla="*/ 32430 w 32430"/>
                <a:gd name="connsiteY8" fmla="*/ 18486 h 44740"/>
                <a:gd name="connsiteX9" fmla="*/ 32430 w 32430"/>
                <a:gd name="connsiteY9" fmla="*/ 26121 h 44740"/>
                <a:gd name="connsiteX10" fmla="*/ 19048 w 32430"/>
                <a:gd name="connsiteY10" fmla="*/ 26121 h 44740"/>
                <a:gd name="connsiteX11" fmla="*/ 19048 w 32430"/>
                <a:gd name="connsiteY11" fmla="*/ 44741 h 44740"/>
                <a:gd name="connsiteX12" fmla="*/ 13382 w 32430"/>
                <a:gd name="connsiteY12" fmla="*/ 44741 h 44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30" h="44740">
                  <a:moveTo>
                    <a:pt x="13382" y="44741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486"/>
                  </a:lnTo>
                  <a:lnTo>
                    <a:pt x="13382" y="18486"/>
                  </a:lnTo>
                  <a:lnTo>
                    <a:pt x="13382" y="0"/>
                  </a:lnTo>
                  <a:lnTo>
                    <a:pt x="19048" y="0"/>
                  </a:lnTo>
                  <a:lnTo>
                    <a:pt x="19048" y="18486"/>
                  </a:lnTo>
                  <a:lnTo>
                    <a:pt x="32430" y="18486"/>
                  </a:lnTo>
                  <a:lnTo>
                    <a:pt x="32430" y="26121"/>
                  </a:lnTo>
                  <a:lnTo>
                    <a:pt x="19048" y="26121"/>
                  </a:lnTo>
                  <a:lnTo>
                    <a:pt x="19048" y="44741"/>
                  </a:lnTo>
                  <a:lnTo>
                    <a:pt x="13382" y="44741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17" name="Freihandform: Form 816">
              <a:extLst>
                <a:ext uri="{FF2B5EF4-FFF2-40B4-BE49-F238E27FC236}">
                  <a16:creationId xmlns:a16="http://schemas.microsoft.com/office/drawing/2014/main" id="{BAC71075-B80C-0C42-7A82-7A12412164F2}"/>
                </a:ext>
              </a:extLst>
            </p:cNvPr>
            <p:cNvSpPr/>
            <p:nvPr/>
          </p:nvSpPr>
          <p:spPr>
            <a:xfrm>
              <a:off x="4934230" y="2795515"/>
              <a:ext cx="32527" cy="44606"/>
            </a:xfrm>
            <a:custGeom>
              <a:avLst/>
              <a:gdLst>
                <a:gd name="connsiteX0" fmla="*/ 13480 w 32527"/>
                <a:gd name="connsiteY0" fmla="*/ 44607 h 44606"/>
                <a:gd name="connsiteX1" fmla="*/ 13480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352 h 44606"/>
                <a:gd name="connsiteX4" fmla="*/ 13480 w 32527"/>
                <a:gd name="connsiteY4" fmla="*/ 18352 h 44606"/>
                <a:gd name="connsiteX5" fmla="*/ 13480 w 32527"/>
                <a:gd name="connsiteY5" fmla="*/ 0 h 44606"/>
                <a:gd name="connsiteX6" fmla="*/ 19145 w 32527"/>
                <a:gd name="connsiteY6" fmla="*/ 0 h 44606"/>
                <a:gd name="connsiteX7" fmla="*/ 19145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6121 h 44606"/>
                <a:gd name="connsiteX10" fmla="*/ 19145 w 32527"/>
                <a:gd name="connsiteY10" fmla="*/ 26121 h 44606"/>
                <a:gd name="connsiteX11" fmla="*/ 19145 w 32527"/>
                <a:gd name="connsiteY11" fmla="*/ 44607 h 44606"/>
                <a:gd name="connsiteX12" fmla="*/ 13480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480" y="44607"/>
                  </a:moveTo>
                  <a:lnTo>
                    <a:pt x="13480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480" y="18352"/>
                  </a:lnTo>
                  <a:lnTo>
                    <a:pt x="13480" y="0"/>
                  </a:lnTo>
                  <a:lnTo>
                    <a:pt x="19145" y="0"/>
                  </a:lnTo>
                  <a:lnTo>
                    <a:pt x="19145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145" y="26121"/>
                  </a:lnTo>
                  <a:lnTo>
                    <a:pt x="19145" y="44607"/>
                  </a:lnTo>
                  <a:lnTo>
                    <a:pt x="13480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18" name="Freihandform: Form 817">
              <a:extLst>
                <a:ext uri="{FF2B5EF4-FFF2-40B4-BE49-F238E27FC236}">
                  <a16:creationId xmlns:a16="http://schemas.microsoft.com/office/drawing/2014/main" id="{BE234B4A-AC28-2BBA-2932-03F87E4CCA8B}"/>
                </a:ext>
              </a:extLst>
            </p:cNvPr>
            <p:cNvSpPr/>
            <p:nvPr/>
          </p:nvSpPr>
          <p:spPr>
            <a:xfrm>
              <a:off x="4941556" y="2795515"/>
              <a:ext cx="32527" cy="44606"/>
            </a:xfrm>
            <a:custGeom>
              <a:avLst/>
              <a:gdLst>
                <a:gd name="connsiteX0" fmla="*/ 13480 w 32527"/>
                <a:gd name="connsiteY0" fmla="*/ 44607 h 44606"/>
                <a:gd name="connsiteX1" fmla="*/ 13480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352 h 44606"/>
                <a:gd name="connsiteX4" fmla="*/ 13480 w 32527"/>
                <a:gd name="connsiteY4" fmla="*/ 18352 h 44606"/>
                <a:gd name="connsiteX5" fmla="*/ 13480 w 32527"/>
                <a:gd name="connsiteY5" fmla="*/ 0 h 44606"/>
                <a:gd name="connsiteX6" fmla="*/ 19145 w 32527"/>
                <a:gd name="connsiteY6" fmla="*/ 0 h 44606"/>
                <a:gd name="connsiteX7" fmla="*/ 19145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6121 h 44606"/>
                <a:gd name="connsiteX10" fmla="*/ 19145 w 32527"/>
                <a:gd name="connsiteY10" fmla="*/ 26121 h 44606"/>
                <a:gd name="connsiteX11" fmla="*/ 19145 w 32527"/>
                <a:gd name="connsiteY11" fmla="*/ 44607 h 44606"/>
                <a:gd name="connsiteX12" fmla="*/ 13480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480" y="44607"/>
                  </a:moveTo>
                  <a:lnTo>
                    <a:pt x="13480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480" y="18352"/>
                  </a:lnTo>
                  <a:lnTo>
                    <a:pt x="13480" y="0"/>
                  </a:lnTo>
                  <a:lnTo>
                    <a:pt x="19145" y="0"/>
                  </a:lnTo>
                  <a:lnTo>
                    <a:pt x="19145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145" y="26121"/>
                  </a:lnTo>
                  <a:lnTo>
                    <a:pt x="19145" y="44607"/>
                  </a:lnTo>
                  <a:lnTo>
                    <a:pt x="13480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19" name="Freihandform: Form 818">
              <a:extLst>
                <a:ext uri="{FF2B5EF4-FFF2-40B4-BE49-F238E27FC236}">
                  <a16:creationId xmlns:a16="http://schemas.microsoft.com/office/drawing/2014/main" id="{C49220D1-D738-6646-E38F-AF15C373BAD2}"/>
                </a:ext>
              </a:extLst>
            </p:cNvPr>
            <p:cNvSpPr/>
            <p:nvPr/>
          </p:nvSpPr>
          <p:spPr>
            <a:xfrm>
              <a:off x="4958748" y="2795515"/>
              <a:ext cx="32527" cy="44606"/>
            </a:xfrm>
            <a:custGeom>
              <a:avLst/>
              <a:gdLst>
                <a:gd name="connsiteX0" fmla="*/ 13382 w 32527"/>
                <a:gd name="connsiteY0" fmla="*/ 44607 h 44606"/>
                <a:gd name="connsiteX1" fmla="*/ 13382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352 h 44606"/>
                <a:gd name="connsiteX4" fmla="*/ 13382 w 32527"/>
                <a:gd name="connsiteY4" fmla="*/ 18352 h 44606"/>
                <a:gd name="connsiteX5" fmla="*/ 13382 w 32527"/>
                <a:gd name="connsiteY5" fmla="*/ 0 h 44606"/>
                <a:gd name="connsiteX6" fmla="*/ 19146 w 32527"/>
                <a:gd name="connsiteY6" fmla="*/ 0 h 44606"/>
                <a:gd name="connsiteX7" fmla="*/ 19146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6121 h 44606"/>
                <a:gd name="connsiteX10" fmla="*/ 19146 w 32527"/>
                <a:gd name="connsiteY10" fmla="*/ 26121 h 44606"/>
                <a:gd name="connsiteX11" fmla="*/ 19146 w 32527"/>
                <a:gd name="connsiteY11" fmla="*/ 44607 h 44606"/>
                <a:gd name="connsiteX12" fmla="*/ 13382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146" y="0"/>
                  </a:lnTo>
                  <a:lnTo>
                    <a:pt x="19146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146" y="26121"/>
                  </a:lnTo>
                  <a:lnTo>
                    <a:pt x="19146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20" name="Freihandform: Form 819">
              <a:extLst>
                <a:ext uri="{FF2B5EF4-FFF2-40B4-BE49-F238E27FC236}">
                  <a16:creationId xmlns:a16="http://schemas.microsoft.com/office/drawing/2014/main" id="{2F4DE95E-9DF9-C2B6-1BEB-79C882D58800}"/>
                </a:ext>
              </a:extLst>
            </p:cNvPr>
            <p:cNvSpPr/>
            <p:nvPr/>
          </p:nvSpPr>
          <p:spPr>
            <a:xfrm>
              <a:off x="4961190" y="2795515"/>
              <a:ext cx="32527" cy="44606"/>
            </a:xfrm>
            <a:custGeom>
              <a:avLst/>
              <a:gdLst>
                <a:gd name="connsiteX0" fmla="*/ 13382 w 32527"/>
                <a:gd name="connsiteY0" fmla="*/ 44607 h 44606"/>
                <a:gd name="connsiteX1" fmla="*/ 13382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352 h 44606"/>
                <a:gd name="connsiteX4" fmla="*/ 13382 w 32527"/>
                <a:gd name="connsiteY4" fmla="*/ 18352 h 44606"/>
                <a:gd name="connsiteX5" fmla="*/ 13382 w 32527"/>
                <a:gd name="connsiteY5" fmla="*/ 0 h 44606"/>
                <a:gd name="connsiteX6" fmla="*/ 19146 w 32527"/>
                <a:gd name="connsiteY6" fmla="*/ 0 h 44606"/>
                <a:gd name="connsiteX7" fmla="*/ 19146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6121 h 44606"/>
                <a:gd name="connsiteX10" fmla="*/ 19146 w 32527"/>
                <a:gd name="connsiteY10" fmla="*/ 26121 h 44606"/>
                <a:gd name="connsiteX11" fmla="*/ 19146 w 32527"/>
                <a:gd name="connsiteY11" fmla="*/ 44607 h 44606"/>
                <a:gd name="connsiteX12" fmla="*/ 13382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146" y="0"/>
                  </a:lnTo>
                  <a:lnTo>
                    <a:pt x="19146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146" y="26121"/>
                  </a:lnTo>
                  <a:lnTo>
                    <a:pt x="19146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21" name="Freihandform: Form 820">
              <a:extLst>
                <a:ext uri="{FF2B5EF4-FFF2-40B4-BE49-F238E27FC236}">
                  <a16:creationId xmlns:a16="http://schemas.microsoft.com/office/drawing/2014/main" id="{96810E68-D02F-8C0F-CB57-9D685A9B3FAB}"/>
                </a:ext>
              </a:extLst>
            </p:cNvPr>
            <p:cNvSpPr/>
            <p:nvPr/>
          </p:nvSpPr>
          <p:spPr>
            <a:xfrm>
              <a:off x="4975939" y="2795515"/>
              <a:ext cx="32527" cy="44606"/>
            </a:xfrm>
            <a:custGeom>
              <a:avLst/>
              <a:gdLst>
                <a:gd name="connsiteX0" fmla="*/ 13480 w 32527"/>
                <a:gd name="connsiteY0" fmla="*/ 44607 h 44606"/>
                <a:gd name="connsiteX1" fmla="*/ 13480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352 h 44606"/>
                <a:gd name="connsiteX4" fmla="*/ 13480 w 32527"/>
                <a:gd name="connsiteY4" fmla="*/ 18352 h 44606"/>
                <a:gd name="connsiteX5" fmla="*/ 13480 w 32527"/>
                <a:gd name="connsiteY5" fmla="*/ 0 h 44606"/>
                <a:gd name="connsiteX6" fmla="*/ 19145 w 32527"/>
                <a:gd name="connsiteY6" fmla="*/ 0 h 44606"/>
                <a:gd name="connsiteX7" fmla="*/ 19145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6121 h 44606"/>
                <a:gd name="connsiteX10" fmla="*/ 19145 w 32527"/>
                <a:gd name="connsiteY10" fmla="*/ 26121 h 44606"/>
                <a:gd name="connsiteX11" fmla="*/ 19145 w 32527"/>
                <a:gd name="connsiteY11" fmla="*/ 44607 h 44606"/>
                <a:gd name="connsiteX12" fmla="*/ 13480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480" y="44607"/>
                  </a:moveTo>
                  <a:lnTo>
                    <a:pt x="13480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480" y="18352"/>
                  </a:lnTo>
                  <a:lnTo>
                    <a:pt x="13480" y="0"/>
                  </a:lnTo>
                  <a:lnTo>
                    <a:pt x="19145" y="0"/>
                  </a:lnTo>
                  <a:lnTo>
                    <a:pt x="19145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145" y="26121"/>
                  </a:lnTo>
                  <a:lnTo>
                    <a:pt x="19145" y="44607"/>
                  </a:lnTo>
                  <a:lnTo>
                    <a:pt x="13480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22" name="Freihandform: Form 821">
              <a:extLst>
                <a:ext uri="{FF2B5EF4-FFF2-40B4-BE49-F238E27FC236}">
                  <a16:creationId xmlns:a16="http://schemas.microsoft.com/office/drawing/2014/main" id="{75B846FD-636D-AD22-AF6D-2C4DE1A6F185}"/>
                </a:ext>
              </a:extLst>
            </p:cNvPr>
            <p:cNvSpPr/>
            <p:nvPr/>
          </p:nvSpPr>
          <p:spPr>
            <a:xfrm>
              <a:off x="4993131" y="2795515"/>
              <a:ext cx="32527" cy="44606"/>
            </a:xfrm>
            <a:custGeom>
              <a:avLst/>
              <a:gdLst>
                <a:gd name="connsiteX0" fmla="*/ 13480 w 32527"/>
                <a:gd name="connsiteY0" fmla="*/ 44607 h 44606"/>
                <a:gd name="connsiteX1" fmla="*/ 13480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352 h 44606"/>
                <a:gd name="connsiteX4" fmla="*/ 13480 w 32527"/>
                <a:gd name="connsiteY4" fmla="*/ 18352 h 44606"/>
                <a:gd name="connsiteX5" fmla="*/ 13480 w 32527"/>
                <a:gd name="connsiteY5" fmla="*/ 0 h 44606"/>
                <a:gd name="connsiteX6" fmla="*/ 19145 w 32527"/>
                <a:gd name="connsiteY6" fmla="*/ 0 h 44606"/>
                <a:gd name="connsiteX7" fmla="*/ 19145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6121 h 44606"/>
                <a:gd name="connsiteX10" fmla="*/ 19145 w 32527"/>
                <a:gd name="connsiteY10" fmla="*/ 26121 h 44606"/>
                <a:gd name="connsiteX11" fmla="*/ 19145 w 32527"/>
                <a:gd name="connsiteY11" fmla="*/ 44607 h 44606"/>
                <a:gd name="connsiteX12" fmla="*/ 13480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480" y="44607"/>
                  </a:moveTo>
                  <a:lnTo>
                    <a:pt x="13480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480" y="18352"/>
                  </a:lnTo>
                  <a:lnTo>
                    <a:pt x="13480" y="0"/>
                  </a:lnTo>
                  <a:lnTo>
                    <a:pt x="19145" y="0"/>
                  </a:lnTo>
                  <a:lnTo>
                    <a:pt x="19145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145" y="26121"/>
                  </a:lnTo>
                  <a:lnTo>
                    <a:pt x="19145" y="44607"/>
                  </a:lnTo>
                  <a:lnTo>
                    <a:pt x="13480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23" name="Freihandform: Form 822">
              <a:extLst>
                <a:ext uri="{FF2B5EF4-FFF2-40B4-BE49-F238E27FC236}">
                  <a16:creationId xmlns:a16="http://schemas.microsoft.com/office/drawing/2014/main" id="{73137836-4111-69C7-0207-19C81360540D}"/>
                </a:ext>
              </a:extLst>
            </p:cNvPr>
            <p:cNvSpPr/>
            <p:nvPr/>
          </p:nvSpPr>
          <p:spPr>
            <a:xfrm>
              <a:off x="4995671" y="2795515"/>
              <a:ext cx="32430" cy="44606"/>
            </a:xfrm>
            <a:custGeom>
              <a:avLst/>
              <a:gdLst>
                <a:gd name="connsiteX0" fmla="*/ 13382 w 32430"/>
                <a:gd name="connsiteY0" fmla="*/ 44607 h 44606"/>
                <a:gd name="connsiteX1" fmla="*/ 13382 w 32430"/>
                <a:gd name="connsiteY1" fmla="*/ 26121 h 44606"/>
                <a:gd name="connsiteX2" fmla="*/ 0 w 32430"/>
                <a:gd name="connsiteY2" fmla="*/ 26121 h 44606"/>
                <a:gd name="connsiteX3" fmla="*/ 0 w 32430"/>
                <a:gd name="connsiteY3" fmla="*/ 18352 h 44606"/>
                <a:gd name="connsiteX4" fmla="*/ 13382 w 32430"/>
                <a:gd name="connsiteY4" fmla="*/ 18352 h 44606"/>
                <a:gd name="connsiteX5" fmla="*/ 13382 w 32430"/>
                <a:gd name="connsiteY5" fmla="*/ 0 h 44606"/>
                <a:gd name="connsiteX6" fmla="*/ 19048 w 32430"/>
                <a:gd name="connsiteY6" fmla="*/ 0 h 44606"/>
                <a:gd name="connsiteX7" fmla="*/ 19048 w 32430"/>
                <a:gd name="connsiteY7" fmla="*/ 18352 h 44606"/>
                <a:gd name="connsiteX8" fmla="*/ 32430 w 32430"/>
                <a:gd name="connsiteY8" fmla="*/ 18352 h 44606"/>
                <a:gd name="connsiteX9" fmla="*/ 32430 w 32430"/>
                <a:gd name="connsiteY9" fmla="*/ 26121 h 44606"/>
                <a:gd name="connsiteX10" fmla="*/ 19048 w 32430"/>
                <a:gd name="connsiteY10" fmla="*/ 26121 h 44606"/>
                <a:gd name="connsiteX11" fmla="*/ 19048 w 32430"/>
                <a:gd name="connsiteY11" fmla="*/ 44607 h 44606"/>
                <a:gd name="connsiteX12" fmla="*/ 13382 w 32430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30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048" y="0"/>
                  </a:lnTo>
                  <a:lnTo>
                    <a:pt x="19048" y="18352"/>
                  </a:lnTo>
                  <a:lnTo>
                    <a:pt x="32430" y="18352"/>
                  </a:lnTo>
                  <a:lnTo>
                    <a:pt x="32430" y="26121"/>
                  </a:lnTo>
                  <a:lnTo>
                    <a:pt x="19048" y="26121"/>
                  </a:lnTo>
                  <a:lnTo>
                    <a:pt x="19048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24" name="Freihandform: Form 823">
              <a:extLst>
                <a:ext uri="{FF2B5EF4-FFF2-40B4-BE49-F238E27FC236}">
                  <a16:creationId xmlns:a16="http://schemas.microsoft.com/office/drawing/2014/main" id="{064850B3-A73B-5A0C-F8C7-7DF3D57C67DC}"/>
                </a:ext>
              </a:extLst>
            </p:cNvPr>
            <p:cNvSpPr/>
            <p:nvPr/>
          </p:nvSpPr>
          <p:spPr>
            <a:xfrm>
              <a:off x="4998113" y="2795515"/>
              <a:ext cx="32527" cy="44606"/>
            </a:xfrm>
            <a:custGeom>
              <a:avLst/>
              <a:gdLst>
                <a:gd name="connsiteX0" fmla="*/ 13382 w 32527"/>
                <a:gd name="connsiteY0" fmla="*/ 44607 h 44606"/>
                <a:gd name="connsiteX1" fmla="*/ 13382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352 h 44606"/>
                <a:gd name="connsiteX4" fmla="*/ 13382 w 32527"/>
                <a:gd name="connsiteY4" fmla="*/ 18352 h 44606"/>
                <a:gd name="connsiteX5" fmla="*/ 13382 w 32527"/>
                <a:gd name="connsiteY5" fmla="*/ 0 h 44606"/>
                <a:gd name="connsiteX6" fmla="*/ 19048 w 32527"/>
                <a:gd name="connsiteY6" fmla="*/ 0 h 44606"/>
                <a:gd name="connsiteX7" fmla="*/ 19048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6121 h 44606"/>
                <a:gd name="connsiteX10" fmla="*/ 19048 w 32527"/>
                <a:gd name="connsiteY10" fmla="*/ 26121 h 44606"/>
                <a:gd name="connsiteX11" fmla="*/ 19048 w 32527"/>
                <a:gd name="connsiteY11" fmla="*/ 44607 h 44606"/>
                <a:gd name="connsiteX12" fmla="*/ 13382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048" y="0"/>
                  </a:lnTo>
                  <a:lnTo>
                    <a:pt x="19048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048" y="26121"/>
                  </a:lnTo>
                  <a:lnTo>
                    <a:pt x="19048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25" name="Freihandform: Form 824">
              <a:extLst>
                <a:ext uri="{FF2B5EF4-FFF2-40B4-BE49-F238E27FC236}">
                  <a16:creationId xmlns:a16="http://schemas.microsoft.com/office/drawing/2014/main" id="{478E1BF5-45DD-FC00-543A-C596B1C5B8E0}"/>
                </a:ext>
              </a:extLst>
            </p:cNvPr>
            <p:cNvSpPr/>
            <p:nvPr/>
          </p:nvSpPr>
          <p:spPr>
            <a:xfrm>
              <a:off x="5000457" y="2795515"/>
              <a:ext cx="32527" cy="44606"/>
            </a:xfrm>
            <a:custGeom>
              <a:avLst/>
              <a:gdLst>
                <a:gd name="connsiteX0" fmla="*/ 13480 w 32527"/>
                <a:gd name="connsiteY0" fmla="*/ 44607 h 44606"/>
                <a:gd name="connsiteX1" fmla="*/ 13480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352 h 44606"/>
                <a:gd name="connsiteX4" fmla="*/ 13480 w 32527"/>
                <a:gd name="connsiteY4" fmla="*/ 18352 h 44606"/>
                <a:gd name="connsiteX5" fmla="*/ 13480 w 32527"/>
                <a:gd name="connsiteY5" fmla="*/ 0 h 44606"/>
                <a:gd name="connsiteX6" fmla="*/ 19145 w 32527"/>
                <a:gd name="connsiteY6" fmla="*/ 0 h 44606"/>
                <a:gd name="connsiteX7" fmla="*/ 19145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6121 h 44606"/>
                <a:gd name="connsiteX10" fmla="*/ 19145 w 32527"/>
                <a:gd name="connsiteY10" fmla="*/ 26121 h 44606"/>
                <a:gd name="connsiteX11" fmla="*/ 19145 w 32527"/>
                <a:gd name="connsiteY11" fmla="*/ 44607 h 44606"/>
                <a:gd name="connsiteX12" fmla="*/ 13480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480" y="44607"/>
                  </a:moveTo>
                  <a:lnTo>
                    <a:pt x="13480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480" y="18352"/>
                  </a:lnTo>
                  <a:lnTo>
                    <a:pt x="13480" y="0"/>
                  </a:lnTo>
                  <a:lnTo>
                    <a:pt x="19145" y="0"/>
                  </a:lnTo>
                  <a:lnTo>
                    <a:pt x="19145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145" y="26121"/>
                  </a:lnTo>
                  <a:lnTo>
                    <a:pt x="19145" y="44607"/>
                  </a:lnTo>
                  <a:lnTo>
                    <a:pt x="13480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26" name="Freihandform: Form 825">
              <a:extLst>
                <a:ext uri="{FF2B5EF4-FFF2-40B4-BE49-F238E27FC236}">
                  <a16:creationId xmlns:a16="http://schemas.microsoft.com/office/drawing/2014/main" id="{F75842E9-0375-0364-F6E6-0A3275083D92}"/>
                </a:ext>
              </a:extLst>
            </p:cNvPr>
            <p:cNvSpPr/>
            <p:nvPr/>
          </p:nvSpPr>
          <p:spPr>
            <a:xfrm>
              <a:off x="5010323" y="2795515"/>
              <a:ext cx="32527" cy="44606"/>
            </a:xfrm>
            <a:custGeom>
              <a:avLst/>
              <a:gdLst>
                <a:gd name="connsiteX0" fmla="*/ 13382 w 32527"/>
                <a:gd name="connsiteY0" fmla="*/ 44607 h 44606"/>
                <a:gd name="connsiteX1" fmla="*/ 13382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352 h 44606"/>
                <a:gd name="connsiteX4" fmla="*/ 13382 w 32527"/>
                <a:gd name="connsiteY4" fmla="*/ 18352 h 44606"/>
                <a:gd name="connsiteX5" fmla="*/ 13382 w 32527"/>
                <a:gd name="connsiteY5" fmla="*/ 0 h 44606"/>
                <a:gd name="connsiteX6" fmla="*/ 19146 w 32527"/>
                <a:gd name="connsiteY6" fmla="*/ 0 h 44606"/>
                <a:gd name="connsiteX7" fmla="*/ 19146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6121 h 44606"/>
                <a:gd name="connsiteX10" fmla="*/ 19146 w 32527"/>
                <a:gd name="connsiteY10" fmla="*/ 26121 h 44606"/>
                <a:gd name="connsiteX11" fmla="*/ 19146 w 32527"/>
                <a:gd name="connsiteY11" fmla="*/ 44607 h 44606"/>
                <a:gd name="connsiteX12" fmla="*/ 13382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146" y="0"/>
                  </a:lnTo>
                  <a:lnTo>
                    <a:pt x="19146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146" y="26121"/>
                  </a:lnTo>
                  <a:lnTo>
                    <a:pt x="19146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27" name="Freihandform: Form 826">
              <a:extLst>
                <a:ext uri="{FF2B5EF4-FFF2-40B4-BE49-F238E27FC236}">
                  <a16:creationId xmlns:a16="http://schemas.microsoft.com/office/drawing/2014/main" id="{866F68F8-62B6-1247-700C-138A4648AC8A}"/>
                </a:ext>
              </a:extLst>
            </p:cNvPr>
            <p:cNvSpPr/>
            <p:nvPr/>
          </p:nvSpPr>
          <p:spPr>
            <a:xfrm>
              <a:off x="5012765" y="2795515"/>
              <a:ext cx="32527" cy="44606"/>
            </a:xfrm>
            <a:custGeom>
              <a:avLst/>
              <a:gdLst>
                <a:gd name="connsiteX0" fmla="*/ 13382 w 32527"/>
                <a:gd name="connsiteY0" fmla="*/ 44607 h 44606"/>
                <a:gd name="connsiteX1" fmla="*/ 13382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352 h 44606"/>
                <a:gd name="connsiteX4" fmla="*/ 13382 w 32527"/>
                <a:gd name="connsiteY4" fmla="*/ 18352 h 44606"/>
                <a:gd name="connsiteX5" fmla="*/ 13382 w 32527"/>
                <a:gd name="connsiteY5" fmla="*/ 0 h 44606"/>
                <a:gd name="connsiteX6" fmla="*/ 19146 w 32527"/>
                <a:gd name="connsiteY6" fmla="*/ 0 h 44606"/>
                <a:gd name="connsiteX7" fmla="*/ 19146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6121 h 44606"/>
                <a:gd name="connsiteX10" fmla="*/ 19146 w 32527"/>
                <a:gd name="connsiteY10" fmla="*/ 26121 h 44606"/>
                <a:gd name="connsiteX11" fmla="*/ 19146 w 32527"/>
                <a:gd name="connsiteY11" fmla="*/ 44607 h 44606"/>
                <a:gd name="connsiteX12" fmla="*/ 13382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146" y="0"/>
                  </a:lnTo>
                  <a:lnTo>
                    <a:pt x="19146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146" y="26121"/>
                  </a:lnTo>
                  <a:lnTo>
                    <a:pt x="19146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28" name="Freihandform: Form 827">
              <a:extLst>
                <a:ext uri="{FF2B5EF4-FFF2-40B4-BE49-F238E27FC236}">
                  <a16:creationId xmlns:a16="http://schemas.microsoft.com/office/drawing/2014/main" id="{1799912F-6289-947F-3F2B-5091FE3EF285}"/>
                </a:ext>
              </a:extLst>
            </p:cNvPr>
            <p:cNvSpPr/>
            <p:nvPr/>
          </p:nvSpPr>
          <p:spPr>
            <a:xfrm>
              <a:off x="5020091" y="2795515"/>
              <a:ext cx="32527" cy="44606"/>
            </a:xfrm>
            <a:custGeom>
              <a:avLst/>
              <a:gdLst>
                <a:gd name="connsiteX0" fmla="*/ 13480 w 32527"/>
                <a:gd name="connsiteY0" fmla="*/ 44607 h 44606"/>
                <a:gd name="connsiteX1" fmla="*/ 13480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352 h 44606"/>
                <a:gd name="connsiteX4" fmla="*/ 13480 w 32527"/>
                <a:gd name="connsiteY4" fmla="*/ 18352 h 44606"/>
                <a:gd name="connsiteX5" fmla="*/ 13480 w 32527"/>
                <a:gd name="connsiteY5" fmla="*/ 0 h 44606"/>
                <a:gd name="connsiteX6" fmla="*/ 19146 w 32527"/>
                <a:gd name="connsiteY6" fmla="*/ 0 h 44606"/>
                <a:gd name="connsiteX7" fmla="*/ 19146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6121 h 44606"/>
                <a:gd name="connsiteX10" fmla="*/ 19146 w 32527"/>
                <a:gd name="connsiteY10" fmla="*/ 26121 h 44606"/>
                <a:gd name="connsiteX11" fmla="*/ 19146 w 32527"/>
                <a:gd name="connsiteY11" fmla="*/ 44607 h 44606"/>
                <a:gd name="connsiteX12" fmla="*/ 13480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480" y="44607"/>
                  </a:moveTo>
                  <a:lnTo>
                    <a:pt x="13480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480" y="18352"/>
                  </a:lnTo>
                  <a:lnTo>
                    <a:pt x="13480" y="0"/>
                  </a:lnTo>
                  <a:lnTo>
                    <a:pt x="19146" y="0"/>
                  </a:lnTo>
                  <a:lnTo>
                    <a:pt x="19146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146" y="26121"/>
                  </a:lnTo>
                  <a:lnTo>
                    <a:pt x="19146" y="44607"/>
                  </a:lnTo>
                  <a:lnTo>
                    <a:pt x="13480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29" name="Freihandform: Form 828">
              <a:extLst>
                <a:ext uri="{FF2B5EF4-FFF2-40B4-BE49-F238E27FC236}">
                  <a16:creationId xmlns:a16="http://schemas.microsoft.com/office/drawing/2014/main" id="{72AC4389-A6E3-3FCC-DFA9-976701EA815B}"/>
                </a:ext>
              </a:extLst>
            </p:cNvPr>
            <p:cNvSpPr/>
            <p:nvPr/>
          </p:nvSpPr>
          <p:spPr>
            <a:xfrm>
              <a:off x="5027515" y="2803017"/>
              <a:ext cx="32527" cy="44606"/>
            </a:xfrm>
            <a:custGeom>
              <a:avLst/>
              <a:gdLst>
                <a:gd name="connsiteX0" fmla="*/ 13382 w 32527"/>
                <a:gd name="connsiteY0" fmla="*/ 44607 h 44606"/>
                <a:gd name="connsiteX1" fmla="*/ 13382 w 32527"/>
                <a:gd name="connsiteY1" fmla="*/ 25987 h 44606"/>
                <a:gd name="connsiteX2" fmla="*/ 0 w 32527"/>
                <a:gd name="connsiteY2" fmla="*/ 25987 h 44606"/>
                <a:gd name="connsiteX3" fmla="*/ 0 w 32527"/>
                <a:gd name="connsiteY3" fmla="*/ 18352 h 44606"/>
                <a:gd name="connsiteX4" fmla="*/ 13382 w 32527"/>
                <a:gd name="connsiteY4" fmla="*/ 18352 h 44606"/>
                <a:gd name="connsiteX5" fmla="*/ 13382 w 32527"/>
                <a:gd name="connsiteY5" fmla="*/ 0 h 44606"/>
                <a:gd name="connsiteX6" fmla="*/ 19145 w 32527"/>
                <a:gd name="connsiteY6" fmla="*/ 0 h 44606"/>
                <a:gd name="connsiteX7" fmla="*/ 19145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5987 h 44606"/>
                <a:gd name="connsiteX10" fmla="*/ 19145 w 32527"/>
                <a:gd name="connsiteY10" fmla="*/ 25987 h 44606"/>
                <a:gd name="connsiteX11" fmla="*/ 19145 w 32527"/>
                <a:gd name="connsiteY11" fmla="*/ 44607 h 44606"/>
                <a:gd name="connsiteX12" fmla="*/ 13382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382" y="44607"/>
                  </a:moveTo>
                  <a:lnTo>
                    <a:pt x="13382" y="25987"/>
                  </a:lnTo>
                  <a:lnTo>
                    <a:pt x="0" y="25987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145" y="0"/>
                  </a:lnTo>
                  <a:lnTo>
                    <a:pt x="19145" y="18352"/>
                  </a:lnTo>
                  <a:lnTo>
                    <a:pt x="32528" y="18352"/>
                  </a:lnTo>
                  <a:lnTo>
                    <a:pt x="32528" y="25987"/>
                  </a:lnTo>
                  <a:lnTo>
                    <a:pt x="19145" y="25987"/>
                  </a:lnTo>
                  <a:lnTo>
                    <a:pt x="19145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30" name="Freihandform: Form 829">
              <a:extLst>
                <a:ext uri="{FF2B5EF4-FFF2-40B4-BE49-F238E27FC236}">
                  <a16:creationId xmlns:a16="http://schemas.microsoft.com/office/drawing/2014/main" id="{17D8FAED-CAA4-6E84-A459-9FDFA25388C4}"/>
                </a:ext>
              </a:extLst>
            </p:cNvPr>
            <p:cNvSpPr/>
            <p:nvPr/>
          </p:nvSpPr>
          <p:spPr>
            <a:xfrm>
              <a:off x="5034841" y="2803017"/>
              <a:ext cx="32527" cy="44606"/>
            </a:xfrm>
            <a:custGeom>
              <a:avLst/>
              <a:gdLst>
                <a:gd name="connsiteX0" fmla="*/ 13382 w 32527"/>
                <a:gd name="connsiteY0" fmla="*/ 44607 h 44606"/>
                <a:gd name="connsiteX1" fmla="*/ 13382 w 32527"/>
                <a:gd name="connsiteY1" fmla="*/ 25987 h 44606"/>
                <a:gd name="connsiteX2" fmla="*/ 0 w 32527"/>
                <a:gd name="connsiteY2" fmla="*/ 25987 h 44606"/>
                <a:gd name="connsiteX3" fmla="*/ 0 w 32527"/>
                <a:gd name="connsiteY3" fmla="*/ 18352 h 44606"/>
                <a:gd name="connsiteX4" fmla="*/ 13382 w 32527"/>
                <a:gd name="connsiteY4" fmla="*/ 18352 h 44606"/>
                <a:gd name="connsiteX5" fmla="*/ 13382 w 32527"/>
                <a:gd name="connsiteY5" fmla="*/ 0 h 44606"/>
                <a:gd name="connsiteX6" fmla="*/ 19145 w 32527"/>
                <a:gd name="connsiteY6" fmla="*/ 0 h 44606"/>
                <a:gd name="connsiteX7" fmla="*/ 19145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5987 h 44606"/>
                <a:gd name="connsiteX10" fmla="*/ 19145 w 32527"/>
                <a:gd name="connsiteY10" fmla="*/ 25987 h 44606"/>
                <a:gd name="connsiteX11" fmla="*/ 19145 w 32527"/>
                <a:gd name="connsiteY11" fmla="*/ 44607 h 44606"/>
                <a:gd name="connsiteX12" fmla="*/ 13382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382" y="44607"/>
                  </a:moveTo>
                  <a:lnTo>
                    <a:pt x="13382" y="25987"/>
                  </a:lnTo>
                  <a:lnTo>
                    <a:pt x="0" y="25987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145" y="0"/>
                  </a:lnTo>
                  <a:lnTo>
                    <a:pt x="19145" y="18352"/>
                  </a:lnTo>
                  <a:lnTo>
                    <a:pt x="32528" y="18352"/>
                  </a:lnTo>
                  <a:lnTo>
                    <a:pt x="32528" y="25987"/>
                  </a:lnTo>
                  <a:lnTo>
                    <a:pt x="19145" y="25987"/>
                  </a:lnTo>
                  <a:lnTo>
                    <a:pt x="19145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31" name="Freihandform: Form 830">
              <a:extLst>
                <a:ext uri="{FF2B5EF4-FFF2-40B4-BE49-F238E27FC236}">
                  <a16:creationId xmlns:a16="http://schemas.microsoft.com/office/drawing/2014/main" id="{038A52A2-67DD-0488-8E3E-183709AD24EA}"/>
                </a:ext>
              </a:extLst>
            </p:cNvPr>
            <p:cNvSpPr/>
            <p:nvPr/>
          </p:nvSpPr>
          <p:spPr>
            <a:xfrm>
              <a:off x="5047149" y="2810652"/>
              <a:ext cx="32527" cy="44606"/>
            </a:xfrm>
            <a:custGeom>
              <a:avLst/>
              <a:gdLst>
                <a:gd name="connsiteX0" fmla="*/ 13382 w 32527"/>
                <a:gd name="connsiteY0" fmla="*/ 44607 h 44606"/>
                <a:gd name="connsiteX1" fmla="*/ 13382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352 h 44606"/>
                <a:gd name="connsiteX4" fmla="*/ 13382 w 32527"/>
                <a:gd name="connsiteY4" fmla="*/ 18352 h 44606"/>
                <a:gd name="connsiteX5" fmla="*/ 13382 w 32527"/>
                <a:gd name="connsiteY5" fmla="*/ 0 h 44606"/>
                <a:gd name="connsiteX6" fmla="*/ 19048 w 32527"/>
                <a:gd name="connsiteY6" fmla="*/ 0 h 44606"/>
                <a:gd name="connsiteX7" fmla="*/ 19048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6121 h 44606"/>
                <a:gd name="connsiteX10" fmla="*/ 19048 w 32527"/>
                <a:gd name="connsiteY10" fmla="*/ 26121 h 44606"/>
                <a:gd name="connsiteX11" fmla="*/ 19048 w 32527"/>
                <a:gd name="connsiteY11" fmla="*/ 44607 h 44606"/>
                <a:gd name="connsiteX12" fmla="*/ 13382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048" y="0"/>
                  </a:lnTo>
                  <a:lnTo>
                    <a:pt x="19048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048" y="26121"/>
                  </a:lnTo>
                  <a:lnTo>
                    <a:pt x="19048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32" name="Freihandform: Form 831">
              <a:extLst>
                <a:ext uri="{FF2B5EF4-FFF2-40B4-BE49-F238E27FC236}">
                  <a16:creationId xmlns:a16="http://schemas.microsoft.com/office/drawing/2014/main" id="{165BE9C1-8E26-96B5-7B9A-9F7C8AFF10F7}"/>
                </a:ext>
              </a:extLst>
            </p:cNvPr>
            <p:cNvSpPr/>
            <p:nvPr/>
          </p:nvSpPr>
          <p:spPr>
            <a:xfrm>
              <a:off x="5069225" y="2810652"/>
              <a:ext cx="32527" cy="44606"/>
            </a:xfrm>
            <a:custGeom>
              <a:avLst/>
              <a:gdLst>
                <a:gd name="connsiteX0" fmla="*/ 13382 w 32527"/>
                <a:gd name="connsiteY0" fmla="*/ 44607 h 44606"/>
                <a:gd name="connsiteX1" fmla="*/ 13382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352 h 44606"/>
                <a:gd name="connsiteX4" fmla="*/ 13382 w 32527"/>
                <a:gd name="connsiteY4" fmla="*/ 18352 h 44606"/>
                <a:gd name="connsiteX5" fmla="*/ 13382 w 32527"/>
                <a:gd name="connsiteY5" fmla="*/ 0 h 44606"/>
                <a:gd name="connsiteX6" fmla="*/ 19048 w 32527"/>
                <a:gd name="connsiteY6" fmla="*/ 0 h 44606"/>
                <a:gd name="connsiteX7" fmla="*/ 19048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6121 h 44606"/>
                <a:gd name="connsiteX10" fmla="*/ 19048 w 32527"/>
                <a:gd name="connsiteY10" fmla="*/ 26121 h 44606"/>
                <a:gd name="connsiteX11" fmla="*/ 19048 w 32527"/>
                <a:gd name="connsiteY11" fmla="*/ 44607 h 44606"/>
                <a:gd name="connsiteX12" fmla="*/ 13382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048" y="0"/>
                  </a:lnTo>
                  <a:lnTo>
                    <a:pt x="19048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048" y="26121"/>
                  </a:lnTo>
                  <a:lnTo>
                    <a:pt x="19048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33" name="Freihandform: Form 832">
              <a:extLst>
                <a:ext uri="{FF2B5EF4-FFF2-40B4-BE49-F238E27FC236}">
                  <a16:creationId xmlns:a16="http://schemas.microsoft.com/office/drawing/2014/main" id="{D76A0687-9674-2AFF-636B-317CFD281ABE}"/>
                </a:ext>
              </a:extLst>
            </p:cNvPr>
            <p:cNvSpPr/>
            <p:nvPr/>
          </p:nvSpPr>
          <p:spPr>
            <a:xfrm>
              <a:off x="5071667" y="2810652"/>
              <a:ext cx="32527" cy="44606"/>
            </a:xfrm>
            <a:custGeom>
              <a:avLst/>
              <a:gdLst>
                <a:gd name="connsiteX0" fmla="*/ 13382 w 32527"/>
                <a:gd name="connsiteY0" fmla="*/ 44607 h 44606"/>
                <a:gd name="connsiteX1" fmla="*/ 13382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352 h 44606"/>
                <a:gd name="connsiteX4" fmla="*/ 13382 w 32527"/>
                <a:gd name="connsiteY4" fmla="*/ 18352 h 44606"/>
                <a:gd name="connsiteX5" fmla="*/ 13382 w 32527"/>
                <a:gd name="connsiteY5" fmla="*/ 0 h 44606"/>
                <a:gd name="connsiteX6" fmla="*/ 19145 w 32527"/>
                <a:gd name="connsiteY6" fmla="*/ 0 h 44606"/>
                <a:gd name="connsiteX7" fmla="*/ 19145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6121 h 44606"/>
                <a:gd name="connsiteX10" fmla="*/ 19145 w 32527"/>
                <a:gd name="connsiteY10" fmla="*/ 26121 h 44606"/>
                <a:gd name="connsiteX11" fmla="*/ 19145 w 32527"/>
                <a:gd name="connsiteY11" fmla="*/ 44607 h 44606"/>
                <a:gd name="connsiteX12" fmla="*/ 13382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145" y="0"/>
                  </a:lnTo>
                  <a:lnTo>
                    <a:pt x="19145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145" y="26121"/>
                  </a:lnTo>
                  <a:lnTo>
                    <a:pt x="19145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34" name="Freihandform: Form 833">
              <a:extLst>
                <a:ext uri="{FF2B5EF4-FFF2-40B4-BE49-F238E27FC236}">
                  <a16:creationId xmlns:a16="http://schemas.microsoft.com/office/drawing/2014/main" id="{58A01011-5B56-2DCB-5D9F-EC26CCC55281}"/>
                </a:ext>
              </a:extLst>
            </p:cNvPr>
            <p:cNvSpPr/>
            <p:nvPr/>
          </p:nvSpPr>
          <p:spPr>
            <a:xfrm>
              <a:off x="5078993" y="2810652"/>
              <a:ext cx="32527" cy="44606"/>
            </a:xfrm>
            <a:custGeom>
              <a:avLst/>
              <a:gdLst>
                <a:gd name="connsiteX0" fmla="*/ 13382 w 32527"/>
                <a:gd name="connsiteY0" fmla="*/ 44607 h 44606"/>
                <a:gd name="connsiteX1" fmla="*/ 13382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352 h 44606"/>
                <a:gd name="connsiteX4" fmla="*/ 13382 w 32527"/>
                <a:gd name="connsiteY4" fmla="*/ 18352 h 44606"/>
                <a:gd name="connsiteX5" fmla="*/ 13382 w 32527"/>
                <a:gd name="connsiteY5" fmla="*/ 0 h 44606"/>
                <a:gd name="connsiteX6" fmla="*/ 19145 w 32527"/>
                <a:gd name="connsiteY6" fmla="*/ 0 h 44606"/>
                <a:gd name="connsiteX7" fmla="*/ 19145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6121 h 44606"/>
                <a:gd name="connsiteX10" fmla="*/ 19145 w 32527"/>
                <a:gd name="connsiteY10" fmla="*/ 26121 h 44606"/>
                <a:gd name="connsiteX11" fmla="*/ 19145 w 32527"/>
                <a:gd name="connsiteY11" fmla="*/ 44607 h 44606"/>
                <a:gd name="connsiteX12" fmla="*/ 13382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145" y="0"/>
                  </a:lnTo>
                  <a:lnTo>
                    <a:pt x="19145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145" y="26121"/>
                  </a:lnTo>
                  <a:lnTo>
                    <a:pt x="19145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35" name="Freihandform: Form 834">
              <a:extLst>
                <a:ext uri="{FF2B5EF4-FFF2-40B4-BE49-F238E27FC236}">
                  <a16:creationId xmlns:a16="http://schemas.microsoft.com/office/drawing/2014/main" id="{41F426B3-6049-DD46-24B7-BE1F81BE643A}"/>
                </a:ext>
              </a:extLst>
            </p:cNvPr>
            <p:cNvSpPr/>
            <p:nvPr/>
          </p:nvSpPr>
          <p:spPr>
            <a:xfrm>
              <a:off x="5083877" y="2810652"/>
              <a:ext cx="32625" cy="44606"/>
            </a:xfrm>
            <a:custGeom>
              <a:avLst/>
              <a:gdLst>
                <a:gd name="connsiteX0" fmla="*/ 13480 w 32625"/>
                <a:gd name="connsiteY0" fmla="*/ 44607 h 44606"/>
                <a:gd name="connsiteX1" fmla="*/ 13480 w 32625"/>
                <a:gd name="connsiteY1" fmla="*/ 26121 h 44606"/>
                <a:gd name="connsiteX2" fmla="*/ 0 w 32625"/>
                <a:gd name="connsiteY2" fmla="*/ 26121 h 44606"/>
                <a:gd name="connsiteX3" fmla="*/ 0 w 32625"/>
                <a:gd name="connsiteY3" fmla="*/ 18352 h 44606"/>
                <a:gd name="connsiteX4" fmla="*/ 13480 w 32625"/>
                <a:gd name="connsiteY4" fmla="*/ 18352 h 44606"/>
                <a:gd name="connsiteX5" fmla="*/ 13480 w 32625"/>
                <a:gd name="connsiteY5" fmla="*/ 0 h 44606"/>
                <a:gd name="connsiteX6" fmla="*/ 19145 w 32625"/>
                <a:gd name="connsiteY6" fmla="*/ 0 h 44606"/>
                <a:gd name="connsiteX7" fmla="*/ 19145 w 32625"/>
                <a:gd name="connsiteY7" fmla="*/ 18352 h 44606"/>
                <a:gd name="connsiteX8" fmla="*/ 32625 w 32625"/>
                <a:gd name="connsiteY8" fmla="*/ 18352 h 44606"/>
                <a:gd name="connsiteX9" fmla="*/ 32625 w 32625"/>
                <a:gd name="connsiteY9" fmla="*/ 26121 h 44606"/>
                <a:gd name="connsiteX10" fmla="*/ 19145 w 32625"/>
                <a:gd name="connsiteY10" fmla="*/ 26121 h 44606"/>
                <a:gd name="connsiteX11" fmla="*/ 19145 w 32625"/>
                <a:gd name="connsiteY11" fmla="*/ 44607 h 44606"/>
                <a:gd name="connsiteX12" fmla="*/ 13480 w 32625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625" h="44606">
                  <a:moveTo>
                    <a:pt x="13480" y="44607"/>
                  </a:moveTo>
                  <a:lnTo>
                    <a:pt x="13480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480" y="18352"/>
                  </a:lnTo>
                  <a:lnTo>
                    <a:pt x="13480" y="0"/>
                  </a:lnTo>
                  <a:lnTo>
                    <a:pt x="19145" y="0"/>
                  </a:lnTo>
                  <a:lnTo>
                    <a:pt x="19145" y="18352"/>
                  </a:lnTo>
                  <a:lnTo>
                    <a:pt x="32625" y="18352"/>
                  </a:lnTo>
                  <a:lnTo>
                    <a:pt x="32625" y="26121"/>
                  </a:lnTo>
                  <a:lnTo>
                    <a:pt x="19145" y="26121"/>
                  </a:lnTo>
                  <a:lnTo>
                    <a:pt x="19145" y="44607"/>
                  </a:lnTo>
                  <a:lnTo>
                    <a:pt x="13480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36" name="Freihandform: Form 835">
              <a:extLst>
                <a:ext uri="{FF2B5EF4-FFF2-40B4-BE49-F238E27FC236}">
                  <a16:creationId xmlns:a16="http://schemas.microsoft.com/office/drawing/2014/main" id="{BE9F4B41-3DD1-FA7B-D702-019224F7ACF5}"/>
                </a:ext>
              </a:extLst>
            </p:cNvPr>
            <p:cNvSpPr/>
            <p:nvPr/>
          </p:nvSpPr>
          <p:spPr>
            <a:xfrm>
              <a:off x="5088858" y="2810652"/>
              <a:ext cx="32527" cy="44606"/>
            </a:xfrm>
            <a:custGeom>
              <a:avLst/>
              <a:gdLst>
                <a:gd name="connsiteX0" fmla="*/ 13382 w 32527"/>
                <a:gd name="connsiteY0" fmla="*/ 44607 h 44606"/>
                <a:gd name="connsiteX1" fmla="*/ 13382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352 h 44606"/>
                <a:gd name="connsiteX4" fmla="*/ 13382 w 32527"/>
                <a:gd name="connsiteY4" fmla="*/ 18352 h 44606"/>
                <a:gd name="connsiteX5" fmla="*/ 13382 w 32527"/>
                <a:gd name="connsiteY5" fmla="*/ 0 h 44606"/>
                <a:gd name="connsiteX6" fmla="*/ 19145 w 32527"/>
                <a:gd name="connsiteY6" fmla="*/ 0 h 44606"/>
                <a:gd name="connsiteX7" fmla="*/ 19145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6121 h 44606"/>
                <a:gd name="connsiteX10" fmla="*/ 19145 w 32527"/>
                <a:gd name="connsiteY10" fmla="*/ 26121 h 44606"/>
                <a:gd name="connsiteX11" fmla="*/ 19145 w 32527"/>
                <a:gd name="connsiteY11" fmla="*/ 44607 h 44606"/>
                <a:gd name="connsiteX12" fmla="*/ 13382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145" y="0"/>
                  </a:lnTo>
                  <a:lnTo>
                    <a:pt x="19145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145" y="26121"/>
                  </a:lnTo>
                  <a:lnTo>
                    <a:pt x="19145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37" name="Freihandform: Form 836">
              <a:extLst>
                <a:ext uri="{FF2B5EF4-FFF2-40B4-BE49-F238E27FC236}">
                  <a16:creationId xmlns:a16="http://schemas.microsoft.com/office/drawing/2014/main" id="{59909388-0E8B-EE6D-E480-A902A9FB8ADE}"/>
                </a:ext>
              </a:extLst>
            </p:cNvPr>
            <p:cNvSpPr/>
            <p:nvPr/>
          </p:nvSpPr>
          <p:spPr>
            <a:xfrm>
              <a:off x="5101166" y="2810652"/>
              <a:ext cx="32430" cy="44606"/>
            </a:xfrm>
            <a:custGeom>
              <a:avLst/>
              <a:gdLst>
                <a:gd name="connsiteX0" fmla="*/ 13382 w 32430"/>
                <a:gd name="connsiteY0" fmla="*/ 44607 h 44606"/>
                <a:gd name="connsiteX1" fmla="*/ 13382 w 32430"/>
                <a:gd name="connsiteY1" fmla="*/ 26121 h 44606"/>
                <a:gd name="connsiteX2" fmla="*/ 0 w 32430"/>
                <a:gd name="connsiteY2" fmla="*/ 26121 h 44606"/>
                <a:gd name="connsiteX3" fmla="*/ 0 w 32430"/>
                <a:gd name="connsiteY3" fmla="*/ 18352 h 44606"/>
                <a:gd name="connsiteX4" fmla="*/ 13382 w 32430"/>
                <a:gd name="connsiteY4" fmla="*/ 18352 h 44606"/>
                <a:gd name="connsiteX5" fmla="*/ 13382 w 32430"/>
                <a:gd name="connsiteY5" fmla="*/ 0 h 44606"/>
                <a:gd name="connsiteX6" fmla="*/ 19048 w 32430"/>
                <a:gd name="connsiteY6" fmla="*/ 0 h 44606"/>
                <a:gd name="connsiteX7" fmla="*/ 19048 w 32430"/>
                <a:gd name="connsiteY7" fmla="*/ 18352 h 44606"/>
                <a:gd name="connsiteX8" fmla="*/ 32430 w 32430"/>
                <a:gd name="connsiteY8" fmla="*/ 18352 h 44606"/>
                <a:gd name="connsiteX9" fmla="*/ 32430 w 32430"/>
                <a:gd name="connsiteY9" fmla="*/ 26121 h 44606"/>
                <a:gd name="connsiteX10" fmla="*/ 19048 w 32430"/>
                <a:gd name="connsiteY10" fmla="*/ 26121 h 44606"/>
                <a:gd name="connsiteX11" fmla="*/ 19048 w 32430"/>
                <a:gd name="connsiteY11" fmla="*/ 44607 h 44606"/>
                <a:gd name="connsiteX12" fmla="*/ 13382 w 32430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30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048" y="0"/>
                  </a:lnTo>
                  <a:lnTo>
                    <a:pt x="19048" y="18352"/>
                  </a:lnTo>
                  <a:lnTo>
                    <a:pt x="32430" y="18352"/>
                  </a:lnTo>
                  <a:lnTo>
                    <a:pt x="32430" y="26121"/>
                  </a:lnTo>
                  <a:lnTo>
                    <a:pt x="19048" y="26121"/>
                  </a:lnTo>
                  <a:lnTo>
                    <a:pt x="19048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38" name="Freihandform: Form 837">
              <a:extLst>
                <a:ext uri="{FF2B5EF4-FFF2-40B4-BE49-F238E27FC236}">
                  <a16:creationId xmlns:a16="http://schemas.microsoft.com/office/drawing/2014/main" id="{D7231C4F-2C66-BF7F-5071-A7D89D2D7FF5}"/>
                </a:ext>
              </a:extLst>
            </p:cNvPr>
            <p:cNvSpPr/>
            <p:nvPr/>
          </p:nvSpPr>
          <p:spPr>
            <a:xfrm>
              <a:off x="5106050" y="2810652"/>
              <a:ext cx="32527" cy="44606"/>
            </a:xfrm>
            <a:custGeom>
              <a:avLst/>
              <a:gdLst>
                <a:gd name="connsiteX0" fmla="*/ 13382 w 32527"/>
                <a:gd name="connsiteY0" fmla="*/ 44607 h 44606"/>
                <a:gd name="connsiteX1" fmla="*/ 13382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352 h 44606"/>
                <a:gd name="connsiteX4" fmla="*/ 13382 w 32527"/>
                <a:gd name="connsiteY4" fmla="*/ 18352 h 44606"/>
                <a:gd name="connsiteX5" fmla="*/ 13382 w 32527"/>
                <a:gd name="connsiteY5" fmla="*/ 0 h 44606"/>
                <a:gd name="connsiteX6" fmla="*/ 19145 w 32527"/>
                <a:gd name="connsiteY6" fmla="*/ 0 h 44606"/>
                <a:gd name="connsiteX7" fmla="*/ 19145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6121 h 44606"/>
                <a:gd name="connsiteX10" fmla="*/ 19145 w 32527"/>
                <a:gd name="connsiteY10" fmla="*/ 26121 h 44606"/>
                <a:gd name="connsiteX11" fmla="*/ 19145 w 32527"/>
                <a:gd name="connsiteY11" fmla="*/ 44607 h 44606"/>
                <a:gd name="connsiteX12" fmla="*/ 13382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145" y="0"/>
                  </a:lnTo>
                  <a:lnTo>
                    <a:pt x="19145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145" y="26121"/>
                  </a:lnTo>
                  <a:lnTo>
                    <a:pt x="19145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39" name="Freihandform: Form 838">
              <a:extLst>
                <a:ext uri="{FF2B5EF4-FFF2-40B4-BE49-F238E27FC236}">
                  <a16:creationId xmlns:a16="http://schemas.microsoft.com/office/drawing/2014/main" id="{4A9B0EE1-6E72-3D0A-6A4F-054B6631D02D}"/>
                </a:ext>
              </a:extLst>
            </p:cNvPr>
            <p:cNvSpPr/>
            <p:nvPr/>
          </p:nvSpPr>
          <p:spPr>
            <a:xfrm>
              <a:off x="5125684" y="2810652"/>
              <a:ext cx="32429" cy="44606"/>
            </a:xfrm>
            <a:custGeom>
              <a:avLst/>
              <a:gdLst>
                <a:gd name="connsiteX0" fmla="*/ 13382 w 32429"/>
                <a:gd name="connsiteY0" fmla="*/ 44607 h 44606"/>
                <a:gd name="connsiteX1" fmla="*/ 13382 w 32429"/>
                <a:gd name="connsiteY1" fmla="*/ 26121 h 44606"/>
                <a:gd name="connsiteX2" fmla="*/ 0 w 32429"/>
                <a:gd name="connsiteY2" fmla="*/ 26121 h 44606"/>
                <a:gd name="connsiteX3" fmla="*/ 0 w 32429"/>
                <a:gd name="connsiteY3" fmla="*/ 18352 h 44606"/>
                <a:gd name="connsiteX4" fmla="*/ 13382 w 32429"/>
                <a:gd name="connsiteY4" fmla="*/ 18352 h 44606"/>
                <a:gd name="connsiteX5" fmla="*/ 13382 w 32429"/>
                <a:gd name="connsiteY5" fmla="*/ 0 h 44606"/>
                <a:gd name="connsiteX6" fmla="*/ 19048 w 32429"/>
                <a:gd name="connsiteY6" fmla="*/ 0 h 44606"/>
                <a:gd name="connsiteX7" fmla="*/ 19048 w 32429"/>
                <a:gd name="connsiteY7" fmla="*/ 18352 h 44606"/>
                <a:gd name="connsiteX8" fmla="*/ 32430 w 32429"/>
                <a:gd name="connsiteY8" fmla="*/ 18352 h 44606"/>
                <a:gd name="connsiteX9" fmla="*/ 32430 w 32429"/>
                <a:gd name="connsiteY9" fmla="*/ 26121 h 44606"/>
                <a:gd name="connsiteX10" fmla="*/ 19048 w 32429"/>
                <a:gd name="connsiteY10" fmla="*/ 26121 h 44606"/>
                <a:gd name="connsiteX11" fmla="*/ 19048 w 32429"/>
                <a:gd name="connsiteY11" fmla="*/ 44607 h 44606"/>
                <a:gd name="connsiteX12" fmla="*/ 13382 w 32429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29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048" y="0"/>
                  </a:lnTo>
                  <a:lnTo>
                    <a:pt x="19048" y="18352"/>
                  </a:lnTo>
                  <a:lnTo>
                    <a:pt x="32430" y="18352"/>
                  </a:lnTo>
                  <a:lnTo>
                    <a:pt x="32430" y="26121"/>
                  </a:lnTo>
                  <a:lnTo>
                    <a:pt x="19048" y="26121"/>
                  </a:lnTo>
                  <a:lnTo>
                    <a:pt x="19048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40" name="Freihandform: Form 839">
              <a:extLst>
                <a:ext uri="{FF2B5EF4-FFF2-40B4-BE49-F238E27FC236}">
                  <a16:creationId xmlns:a16="http://schemas.microsoft.com/office/drawing/2014/main" id="{C8F2EE41-4AE1-50FC-7AA2-C427CC18E296}"/>
                </a:ext>
              </a:extLst>
            </p:cNvPr>
            <p:cNvSpPr/>
            <p:nvPr/>
          </p:nvSpPr>
          <p:spPr>
            <a:xfrm>
              <a:off x="5142876" y="2810652"/>
              <a:ext cx="32430" cy="44606"/>
            </a:xfrm>
            <a:custGeom>
              <a:avLst/>
              <a:gdLst>
                <a:gd name="connsiteX0" fmla="*/ 13382 w 32430"/>
                <a:gd name="connsiteY0" fmla="*/ 44607 h 44606"/>
                <a:gd name="connsiteX1" fmla="*/ 13382 w 32430"/>
                <a:gd name="connsiteY1" fmla="*/ 26121 h 44606"/>
                <a:gd name="connsiteX2" fmla="*/ 0 w 32430"/>
                <a:gd name="connsiteY2" fmla="*/ 26121 h 44606"/>
                <a:gd name="connsiteX3" fmla="*/ 0 w 32430"/>
                <a:gd name="connsiteY3" fmla="*/ 18352 h 44606"/>
                <a:gd name="connsiteX4" fmla="*/ 13382 w 32430"/>
                <a:gd name="connsiteY4" fmla="*/ 18352 h 44606"/>
                <a:gd name="connsiteX5" fmla="*/ 13382 w 32430"/>
                <a:gd name="connsiteY5" fmla="*/ 0 h 44606"/>
                <a:gd name="connsiteX6" fmla="*/ 19048 w 32430"/>
                <a:gd name="connsiteY6" fmla="*/ 0 h 44606"/>
                <a:gd name="connsiteX7" fmla="*/ 19048 w 32430"/>
                <a:gd name="connsiteY7" fmla="*/ 18352 h 44606"/>
                <a:gd name="connsiteX8" fmla="*/ 32430 w 32430"/>
                <a:gd name="connsiteY8" fmla="*/ 18352 h 44606"/>
                <a:gd name="connsiteX9" fmla="*/ 32430 w 32430"/>
                <a:gd name="connsiteY9" fmla="*/ 26121 h 44606"/>
                <a:gd name="connsiteX10" fmla="*/ 19048 w 32430"/>
                <a:gd name="connsiteY10" fmla="*/ 26121 h 44606"/>
                <a:gd name="connsiteX11" fmla="*/ 19048 w 32430"/>
                <a:gd name="connsiteY11" fmla="*/ 44607 h 44606"/>
                <a:gd name="connsiteX12" fmla="*/ 13382 w 32430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30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048" y="0"/>
                  </a:lnTo>
                  <a:lnTo>
                    <a:pt x="19048" y="18352"/>
                  </a:lnTo>
                  <a:lnTo>
                    <a:pt x="32430" y="18352"/>
                  </a:lnTo>
                  <a:lnTo>
                    <a:pt x="32430" y="26121"/>
                  </a:lnTo>
                  <a:lnTo>
                    <a:pt x="19048" y="26121"/>
                  </a:lnTo>
                  <a:lnTo>
                    <a:pt x="19048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41" name="Freihandform: Form 840">
              <a:extLst>
                <a:ext uri="{FF2B5EF4-FFF2-40B4-BE49-F238E27FC236}">
                  <a16:creationId xmlns:a16="http://schemas.microsoft.com/office/drawing/2014/main" id="{6E2C98AE-9F38-FDF4-E252-6D729557FAF3}"/>
                </a:ext>
              </a:extLst>
            </p:cNvPr>
            <p:cNvSpPr/>
            <p:nvPr/>
          </p:nvSpPr>
          <p:spPr>
            <a:xfrm>
              <a:off x="5150202" y="2810652"/>
              <a:ext cx="32527" cy="44606"/>
            </a:xfrm>
            <a:custGeom>
              <a:avLst/>
              <a:gdLst>
                <a:gd name="connsiteX0" fmla="*/ 13382 w 32527"/>
                <a:gd name="connsiteY0" fmla="*/ 44607 h 44606"/>
                <a:gd name="connsiteX1" fmla="*/ 13382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352 h 44606"/>
                <a:gd name="connsiteX4" fmla="*/ 13382 w 32527"/>
                <a:gd name="connsiteY4" fmla="*/ 18352 h 44606"/>
                <a:gd name="connsiteX5" fmla="*/ 13382 w 32527"/>
                <a:gd name="connsiteY5" fmla="*/ 0 h 44606"/>
                <a:gd name="connsiteX6" fmla="*/ 19146 w 32527"/>
                <a:gd name="connsiteY6" fmla="*/ 0 h 44606"/>
                <a:gd name="connsiteX7" fmla="*/ 19146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6121 h 44606"/>
                <a:gd name="connsiteX10" fmla="*/ 19146 w 32527"/>
                <a:gd name="connsiteY10" fmla="*/ 26121 h 44606"/>
                <a:gd name="connsiteX11" fmla="*/ 19146 w 32527"/>
                <a:gd name="connsiteY11" fmla="*/ 44607 h 44606"/>
                <a:gd name="connsiteX12" fmla="*/ 13382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146" y="0"/>
                  </a:lnTo>
                  <a:lnTo>
                    <a:pt x="19146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146" y="26121"/>
                  </a:lnTo>
                  <a:lnTo>
                    <a:pt x="19146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42" name="Freihandform: Form 841">
              <a:extLst>
                <a:ext uri="{FF2B5EF4-FFF2-40B4-BE49-F238E27FC236}">
                  <a16:creationId xmlns:a16="http://schemas.microsoft.com/office/drawing/2014/main" id="{FCAD54D3-33F8-A524-C2A6-9AF70963F5CA}"/>
                </a:ext>
              </a:extLst>
            </p:cNvPr>
            <p:cNvSpPr/>
            <p:nvPr/>
          </p:nvSpPr>
          <p:spPr>
            <a:xfrm>
              <a:off x="5160067" y="2810652"/>
              <a:ext cx="32430" cy="44606"/>
            </a:xfrm>
            <a:custGeom>
              <a:avLst/>
              <a:gdLst>
                <a:gd name="connsiteX0" fmla="*/ 13382 w 32430"/>
                <a:gd name="connsiteY0" fmla="*/ 44607 h 44606"/>
                <a:gd name="connsiteX1" fmla="*/ 13382 w 32430"/>
                <a:gd name="connsiteY1" fmla="*/ 26121 h 44606"/>
                <a:gd name="connsiteX2" fmla="*/ 0 w 32430"/>
                <a:gd name="connsiteY2" fmla="*/ 26121 h 44606"/>
                <a:gd name="connsiteX3" fmla="*/ 0 w 32430"/>
                <a:gd name="connsiteY3" fmla="*/ 18352 h 44606"/>
                <a:gd name="connsiteX4" fmla="*/ 13382 w 32430"/>
                <a:gd name="connsiteY4" fmla="*/ 18352 h 44606"/>
                <a:gd name="connsiteX5" fmla="*/ 13382 w 32430"/>
                <a:gd name="connsiteY5" fmla="*/ 0 h 44606"/>
                <a:gd name="connsiteX6" fmla="*/ 19048 w 32430"/>
                <a:gd name="connsiteY6" fmla="*/ 0 h 44606"/>
                <a:gd name="connsiteX7" fmla="*/ 19048 w 32430"/>
                <a:gd name="connsiteY7" fmla="*/ 18352 h 44606"/>
                <a:gd name="connsiteX8" fmla="*/ 32430 w 32430"/>
                <a:gd name="connsiteY8" fmla="*/ 18352 h 44606"/>
                <a:gd name="connsiteX9" fmla="*/ 32430 w 32430"/>
                <a:gd name="connsiteY9" fmla="*/ 26121 h 44606"/>
                <a:gd name="connsiteX10" fmla="*/ 19048 w 32430"/>
                <a:gd name="connsiteY10" fmla="*/ 26121 h 44606"/>
                <a:gd name="connsiteX11" fmla="*/ 19048 w 32430"/>
                <a:gd name="connsiteY11" fmla="*/ 44607 h 44606"/>
                <a:gd name="connsiteX12" fmla="*/ 13382 w 32430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30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048" y="0"/>
                  </a:lnTo>
                  <a:lnTo>
                    <a:pt x="19048" y="18352"/>
                  </a:lnTo>
                  <a:lnTo>
                    <a:pt x="32430" y="18352"/>
                  </a:lnTo>
                  <a:lnTo>
                    <a:pt x="32430" y="26121"/>
                  </a:lnTo>
                  <a:lnTo>
                    <a:pt x="19048" y="26121"/>
                  </a:lnTo>
                  <a:lnTo>
                    <a:pt x="19048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43" name="Freihandform: Form 842">
              <a:extLst>
                <a:ext uri="{FF2B5EF4-FFF2-40B4-BE49-F238E27FC236}">
                  <a16:creationId xmlns:a16="http://schemas.microsoft.com/office/drawing/2014/main" id="{A9C6D810-ADBF-83E7-901B-B841482912DA}"/>
                </a:ext>
              </a:extLst>
            </p:cNvPr>
            <p:cNvSpPr/>
            <p:nvPr/>
          </p:nvSpPr>
          <p:spPr>
            <a:xfrm>
              <a:off x="5162509" y="2810652"/>
              <a:ext cx="32430" cy="44606"/>
            </a:xfrm>
            <a:custGeom>
              <a:avLst/>
              <a:gdLst>
                <a:gd name="connsiteX0" fmla="*/ 13382 w 32430"/>
                <a:gd name="connsiteY0" fmla="*/ 44607 h 44606"/>
                <a:gd name="connsiteX1" fmla="*/ 13382 w 32430"/>
                <a:gd name="connsiteY1" fmla="*/ 26121 h 44606"/>
                <a:gd name="connsiteX2" fmla="*/ 0 w 32430"/>
                <a:gd name="connsiteY2" fmla="*/ 26121 h 44606"/>
                <a:gd name="connsiteX3" fmla="*/ 0 w 32430"/>
                <a:gd name="connsiteY3" fmla="*/ 18352 h 44606"/>
                <a:gd name="connsiteX4" fmla="*/ 13382 w 32430"/>
                <a:gd name="connsiteY4" fmla="*/ 18352 h 44606"/>
                <a:gd name="connsiteX5" fmla="*/ 13382 w 32430"/>
                <a:gd name="connsiteY5" fmla="*/ 0 h 44606"/>
                <a:gd name="connsiteX6" fmla="*/ 19048 w 32430"/>
                <a:gd name="connsiteY6" fmla="*/ 0 h 44606"/>
                <a:gd name="connsiteX7" fmla="*/ 19048 w 32430"/>
                <a:gd name="connsiteY7" fmla="*/ 18352 h 44606"/>
                <a:gd name="connsiteX8" fmla="*/ 32430 w 32430"/>
                <a:gd name="connsiteY8" fmla="*/ 18352 h 44606"/>
                <a:gd name="connsiteX9" fmla="*/ 32430 w 32430"/>
                <a:gd name="connsiteY9" fmla="*/ 26121 h 44606"/>
                <a:gd name="connsiteX10" fmla="*/ 19048 w 32430"/>
                <a:gd name="connsiteY10" fmla="*/ 26121 h 44606"/>
                <a:gd name="connsiteX11" fmla="*/ 19048 w 32430"/>
                <a:gd name="connsiteY11" fmla="*/ 44607 h 44606"/>
                <a:gd name="connsiteX12" fmla="*/ 13382 w 32430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30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048" y="0"/>
                  </a:lnTo>
                  <a:lnTo>
                    <a:pt x="19048" y="18352"/>
                  </a:lnTo>
                  <a:lnTo>
                    <a:pt x="32430" y="18352"/>
                  </a:lnTo>
                  <a:lnTo>
                    <a:pt x="32430" y="26121"/>
                  </a:lnTo>
                  <a:lnTo>
                    <a:pt x="19048" y="26121"/>
                  </a:lnTo>
                  <a:lnTo>
                    <a:pt x="19048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44" name="Freihandform: Form 843">
              <a:extLst>
                <a:ext uri="{FF2B5EF4-FFF2-40B4-BE49-F238E27FC236}">
                  <a16:creationId xmlns:a16="http://schemas.microsoft.com/office/drawing/2014/main" id="{4722A97A-3799-742A-789C-736B9CAA81C3}"/>
                </a:ext>
              </a:extLst>
            </p:cNvPr>
            <p:cNvSpPr/>
            <p:nvPr/>
          </p:nvSpPr>
          <p:spPr>
            <a:xfrm>
              <a:off x="5177259" y="2810652"/>
              <a:ext cx="32527" cy="44606"/>
            </a:xfrm>
            <a:custGeom>
              <a:avLst/>
              <a:gdLst>
                <a:gd name="connsiteX0" fmla="*/ 13382 w 32527"/>
                <a:gd name="connsiteY0" fmla="*/ 44607 h 44606"/>
                <a:gd name="connsiteX1" fmla="*/ 13382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352 h 44606"/>
                <a:gd name="connsiteX4" fmla="*/ 13382 w 32527"/>
                <a:gd name="connsiteY4" fmla="*/ 18352 h 44606"/>
                <a:gd name="connsiteX5" fmla="*/ 13382 w 32527"/>
                <a:gd name="connsiteY5" fmla="*/ 0 h 44606"/>
                <a:gd name="connsiteX6" fmla="*/ 19048 w 32527"/>
                <a:gd name="connsiteY6" fmla="*/ 0 h 44606"/>
                <a:gd name="connsiteX7" fmla="*/ 19048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6121 h 44606"/>
                <a:gd name="connsiteX10" fmla="*/ 19048 w 32527"/>
                <a:gd name="connsiteY10" fmla="*/ 26121 h 44606"/>
                <a:gd name="connsiteX11" fmla="*/ 19048 w 32527"/>
                <a:gd name="connsiteY11" fmla="*/ 44607 h 44606"/>
                <a:gd name="connsiteX12" fmla="*/ 13382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048" y="0"/>
                  </a:lnTo>
                  <a:lnTo>
                    <a:pt x="19048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048" y="26121"/>
                  </a:lnTo>
                  <a:lnTo>
                    <a:pt x="19048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45" name="Freihandform: Form 844">
              <a:extLst>
                <a:ext uri="{FF2B5EF4-FFF2-40B4-BE49-F238E27FC236}">
                  <a16:creationId xmlns:a16="http://schemas.microsoft.com/office/drawing/2014/main" id="{A2354211-731B-D1C1-227C-786F575CD261}"/>
                </a:ext>
              </a:extLst>
            </p:cNvPr>
            <p:cNvSpPr/>
            <p:nvPr/>
          </p:nvSpPr>
          <p:spPr>
            <a:xfrm>
              <a:off x="5182143" y="2810652"/>
              <a:ext cx="32429" cy="44606"/>
            </a:xfrm>
            <a:custGeom>
              <a:avLst/>
              <a:gdLst>
                <a:gd name="connsiteX0" fmla="*/ 13382 w 32429"/>
                <a:gd name="connsiteY0" fmla="*/ 44607 h 44606"/>
                <a:gd name="connsiteX1" fmla="*/ 13382 w 32429"/>
                <a:gd name="connsiteY1" fmla="*/ 26121 h 44606"/>
                <a:gd name="connsiteX2" fmla="*/ 0 w 32429"/>
                <a:gd name="connsiteY2" fmla="*/ 26121 h 44606"/>
                <a:gd name="connsiteX3" fmla="*/ 0 w 32429"/>
                <a:gd name="connsiteY3" fmla="*/ 18352 h 44606"/>
                <a:gd name="connsiteX4" fmla="*/ 13382 w 32429"/>
                <a:gd name="connsiteY4" fmla="*/ 18352 h 44606"/>
                <a:gd name="connsiteX5" fmla="*/ 13382 w 32429"/>
                <a:gd name="connsiteY5" fmla="*/ 0 h 44606"/>
                <a:gd name="connsiteX6" fmla="*/ 19048 w 32429"/>
                <a:gd name="connsiteY6" fmla="*/ 0 h 44606"/>
                <a:gd name="connsiteX7" fmla="*/ 19048 w 32429"/>
                <a:gd name="connsiteY7" fmla="*/ 18352 h 44606"/>
                <a:gd name="connsiteX8" fmla="*/ 32430 w 32429"/>
                <a:gd name="connsiteY8" fmla="*/ 18352 h 44606"/>
                <a:gd name="connsiteX9" fmla="*/ 32430 w 32429"/>
                <a:gd name="connsiteY9" fmla="*/ 26121 h 44606"/>
                <a:gd name="connsiteX10" fmla="*/ 19048 w 32429"/>
                <a:gd name="connsiteY10" fmla="*/ 26121 h 44606"/>
                <a:gd name="connsiteX11" fmla="*/ 19048 w 32429"/>
                <a:gd name="connsiteY11" fmla="*/ 44607 h 44606"/>
                <a:gd name="connsiteX12" fmla="*/ 13382 w 32429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29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048" y="0"/>
                  </a:lnTo>
                  <a:lnTo>
                    <a:pt x="19048" y="18352"/>
                  </a:lnTo>
                  <a:lnTo>
                    <a:pt x="32430" y="18352"/>
                  </a:lnTo>
                  <a:lnTo>
                    <a:pt x="32430" y="26121"/>
                  </a:lnTo>
                  <a:lnTo>
                    <a:pt x="19048" y="26121"/>
                  </a:lnTo>
                  <a:lnTo>
                    <a:pt x="19048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46" name="Freihandform: Form 845">
              <a:extLst>
                <a:ext uri="{FF2B5EF4-FFF2-40B4-BE49-F238E27FC236}">
                  <a16:creationId xmlns:a16="http://schemas.microsoft.com/office/drawing/2014/main" id="{6BB0862F-6945-0456-B565-CFEE019328A3}"/>
                </a:ext>
              </a:extLst>
            </p:cNvPr>
            <p:cNvSpPr/>
            <p:nvPr/>
          </p:nvSpPr>
          <p:spPr>
            <a:xfrm>
              <a:off x="5191911" y="2810652"/>
              <a:ext cx="32527" cy="44606"/>
            </a:xfrm>
            <a:custGeom>
              <a:avLst/>
              <a:gdLst>
                <a:gd name="connsiteX0" fmla="*/ 13382 w 32527"/>
                <a:gd name="connsiteY0" fmla="*/ 44607 h 44606"/>
                <a:gd name="connsiteX1" fmla="*/ 13382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352 h 44606"/>
                <a:gd name="connsiteX4" fmla="*/ 13382 w 32527"/>
                <a:gd name="connsiteY4" fmla="*/ 18352 h 44606"/>
                <a:gd name="connsiteX5" fmla="*/ 13382 w 32527"/>
                <a:gd name="connsiteY5" fmla="*/ 0 h 44606"/>
                <a:gd name="connsiteX6" fmla="*/ 19145 w 32527"/>
                <a:gd name="connsiteY6" fmla="*/ 0 h 44606"/>
                <a:gd name="connsiteX7" fmla="*/ 19145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6121 h 44606"/>
                <a:gd name="connsiteX10" fmla="*/ 19145 w 32527"/>
                <a:gd name="connsiteY10" fmla="*/ 26121 h 44606"/>
                <a:gd name="connsiteX11" fmla="*/ 19145 w 32527"/>
                <a:gd name="connsiteY11" fmla="*/ 44607 h 44606"/>
                <a:gd name="connsiteX12" fmla="*/ 13382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145" y="0"/>
                  </a:lnTo>
                  <a:lnTo>
                    <a:pt x="19145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145" y="26121"/>
                  </a:lnTo>
                  <a:lnTo>
                    <a:pt x="19145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47" name="Freihandform: Form 846">
              <a:extLst>
                <a:ext uri="{FF2B5EF4-FFF2-40B4-BE49-F238E27FC236}">
                  <a16:creationId xmlns:a16="http://schemas.microsoft.com/office/drawing/2014/main" id="{4EF1586D-0FEA-E9A1-842F-A7420C0DD55A}"/>
                </a:ext>
              </a:extLst>
            </p:cNvPr>
            <p:cNvSpPr/>
            <p:nvPr/>
          </p:nvSpPr>
          <p:spPr>
            <a:xfrm>
              <a:off x="5199237" y="2810652"/>
              <a:ext cx="32527" cy="44606"/>
            </a:xfrm>
            <a:custGeom>
              <a:avLst/>
              <a:gdLst>
                <a:gd name="connsiteX0" fmla="*/ 13480 w 32527"/>
                <a:gd name="connsiteY0" fmla="*/ 44607 h 44606"/>
                <a:gd name="connsiteX1" fmla="*/ 13480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352 h 44606"/>
                <a:gd name="connsiteX4" fmla="*/ 13480 w 32527"/>
                <a:gd name="connsiteY4" fmla="*/ 18352 h 44606"/>
                <a:gd name="connsiteX5" fmla="*/ 13480 w 32527"/>
                <a:gd name="connsiteY5" fmla="*/ 0 h 44606"/>
                <a:gd name="connsiteX6" fmla="*/ 19145 w 32527"/>
                <a:gd name="connsiteY6" fmla="*/ 0 h 44606"/>
                <a:gd name="connsiteX7" fmla="*/ 19145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6121 h 44606"/>
                <a:gd name="connsiteX10" fmla="*/ 19145 w 32527"/>
                <a:gd name="connsiteY10" fmla="*/ 26121 h 44606"/>
                <a:gd name="connsiteX11" fmla="*/ 19145 w 32527"/>
                <a:gd name="connsiteY11" fmla="*/ 44607 h 44606"/>
                <a:gd name="connsiteX12" fmla="*/ 13480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480" y="44607"/>
                  </a:moveTo>
                  <a:lnTo>
                    <a:pt x="13480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480" y="18352"/>
                  </a:lnTo>
                  <a:lnTo>
                    <a:pt x="13480" y="0"/>
                  </a:lnTo>
                  <a:lnTo>
                    <a:pt x="19145" y="0"/>
                  </a:lnTo>
                  <a:lnTo>
                    <a:pt x="19145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145" y="26121"/>
                  </a:lnTo>
                  <a:lnTo>
                    <a:pt x="19145" y="44607"/>
                  </a:lnTo>
                  <a:lnTo>
                    <a:pt x="13480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48" name="Freihandform: Form 847">
              <a:extLst>
                <a:ext uri="{FF2B5EF4-FFF2-40B4-BE49-F238E27FC236}">
                  <a16:creationId xmlns:a16="http://schemas.microsoft.com/office/drawing/2014/main" id="{DF33CADF-6EAC-6F06-8DC7-1250DB454B82}"/>
                </a:ext>
              </a:extLst>
            </p:cNvPr>
            <p:cNvSpPr/>
            <p:nvPr/>
          </p:nvSpPr>
          <p:spPr>
            <a:xfrm>
              <a:off x="5204219" y="2810652"/>
              <a:ext cx="32527" cy="44606"/>
            </a:xfrm>
            <a:custGeom>
              <a:avLst/>
              <a:gdLst>
                <a:gd name="connsiteX0" fmla="*/ 13382 w 32527"/>
                <a:gd name="connsiteY0" fmla="*/ 44607 h 44606"/>
                <a:gd name="connsiteX1" fmla="*/ 13382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352 h 44606"/>
                <a:gd name="connsiteX4" fmla="*/ 13382 w 32527"/>
                <a:gd name="connsiteY4" fmla="*/ 18352 h 44606"/>
                <a:gd name="connsiteX5" fmla="*/ 13382 w 32527"/>
                <a:gd name="connsiteY5" fmla="*/ 0 h 44606"/>
                <a:gd name="connsiteX6" fmla="*/ 19048 w 32527"/>
                <a:gd name="connsiteY6" fmla="*/ 0 h 44606"/>
                <a:gd name="connsiteX7" fmla="*/ 19048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6121 h 44606"/>
                <a:gd name="connsiteX10" fmla="*/ 19048 w 32527"/>
                <a:gd name="connsiteY10" fmla="*/ 26121 h 44606"/>
                <a:gd name="connsiteX11" fmla="*/ 19048 w 32527"/>
                <a:gd name="connsiteY11" fmla="*/ 44607 h 44606"/>
                <a:gd name="connsiteX12" fmla="*/ 13382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048" y="0"/>
                  </a:lnTo>
                  <a:lnTo>
                    <a:pt x="19048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048" y="26121"/>
                  </a:lnTo>
                  <a:lnTo>
                    <a:pt x="19048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49" name="Freihandform: Form 848">
              <a:extLst>
                <a:ext uri="{FF2B5EF4-FFF2-40B4-BE49-F238E27FC236}">
                  <a16:creationId xmlns:a16="http://schemas.microsoft.com/office/drawing/2014/main" id="{CCD19E84-8846-E23D-F9AB-5CB94C12321A}"/>
                </a:ext>
              </a:extLst>
            </p:cNvPr>
            <p:cNvSpPr/>
            <p:nvPr/>
          </p:nvSpPr>
          <p:spPr>
            <a:xfrm>
              <a:off x="5223853" y="2810652"/>
              <a:ext cx="32430" cy="44606"/>
            </a:xfrm>
            <a:custGeom>
              <a:avLst/>
              <a:gdLst>
                <a:gd name="connsiteX0" fmla="*/ 13382 w 32430"/>
                <a:gd name="connsiteY0" fmla="*/ 44607 h 44606"/>
                <a:gd name="connsiteX1" fmla="*/ 13382 w 32430"/>
                <a:gd name="connsiteY1" fmla="*/ 26121 h 44606"/>
                <a:gd name="connsiteX2" fmla="*/ 0 w 32430"/>
                <a:gd name="connsiteY2" fmla="*/ 26121 h 44606"/>
                <a:gd name="connsiteX3" fmla="*/ 0 w 32430"/>
                <a:gd name="connsiteY3" fmla="*/ 18352 h 44606"/>
                <a:gd name="connsiteX4" fmla="*/ 13382 w 32430"/>
                <a:gd name="connsiteY4" fmla="*/ 18352 h 44606"/>
                <a:gd name="connsiteX5" fmla="*/ 13382 w 32430"/>
                <a:gd name="connsiteY5" fmla="*/ 0 h 44606"/>
                <a:gd name="connsiteX6" fmla="*/ 19048 w 32430"/>
                <a:gd name="connsiteY6" fmla="*/ 0 h 44606"/>
                <a:gd name="connsiteX7" fmla="*/ 19048 w 32430"/>
                <a:gd name="connsiteY7" fmla="*/ 18352 h 44606"/>
                <a:gd name="connsiteX8" fmla="*/ 32430 w 32430"/>
                <a:gd name="connsiteY8" fmla="*/ 18352 h 44606"/>
                <a:gd name="connsiteX9" fmla="*/ 32430 w 32430"/>
                <a:gd name="connsiteY9" fmla="*/ 26121 h 44606"/>
                <a:gd name="connsiteX10" fmla="*/ 19048 w 32430"/>
                <a:gd name="connsiteY10" fmla="*/ 26121 h 44606"/>
                <a:gd name="connsiteX11" fmla="*/ 19048 w 32430"/>
                <a:gd name="connsiteY11" fmla="*/ 44607 h 44606"/>
                <a:gd name="connsiteX12" fmla="*/ 13382 w 32430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30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048" y="0"/>
                  </a:lnTo>
                  <a:lnTo>
                    <a:pt x="19048" y="18352"/>
                  </a:lnTo>
                  <a:lnTo>
                    <a:pt x="32430" y="18352"/>
                  </a:lnTo>
                  <a:lnTo>
                    <a:pt x="32430" y="26121"/>
                  </a:lnTo>
                  <a:lnTo>
                    <a:pt x="19048" y="26121"/>
                  </a:lnTo>
                  <a:lnTo>
                    <a:pt x="19048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50" name="Freihandform: Form 849">
              <a:extLst>
                <a:ext uri="{FF2B5EF4-FFF2-40B4-BE49-F238E27FC236}">
                  <a16:creationId xmlns:a16="http://schemas.microsoft.com/office/drawing/2014/main" id="{E460B49C-975C-B78F-119D-AB519F3C1EC0}"/>
                </a:ext>
              </a:extLst>
            </p:cNvPr>
            <p:cNvSpPr/>
            <p:nvPr/>
          </p:nvSpPr>
          <p:spPr>
            <a:xfrm>
              <a:off x="5238603" y="2810652"/>
              <a:ext cx="32527" cy="44606"/>
            </a:xfrm>
            <a:custGeom>
              <a:avLst/>
              <a:gdLst>
                <a:gd name="connsiteX0" fmla="*/ 13382 w 32527"/>
                <a:gd name="connsiteY0" fmla="*/ 44607 h 44606"/>
                <a:gd name="connsiteX1" fmla="*/ 13382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352 h 44606"/>
                <a:gd name="connsiteX4" fmla="*/ 13382 w 32527"/>
                <a:gd name="connsiteY4" fmla="*/ 18352 h 44606"/>
                <a:gd name="connsiteX5" fmla="*/ 13382 w 32527"/>
                <a:gd name="connsiteY5" fmla="*/ 0 h 44606"/>
                <a:gd name="connsiteX6" fmla="*/ 19048 w 32527"/>
                <a:gd name="connsiteY6" fmla="*/ 0 h 44606"/>
                <a:gd name="connsiteX7" fmla="*/ 19048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6121 h 44606"/>
                <a:gd name="connsiteX10" fmla="*/ 19048 w 32527"/>
                <a:gd name="connsiteY10" fmla="*/ 26121 h 44606"/>
                <a:gd name="connsiteX11" fmla="*/ 19048 w 32527"/>
                <a:gd name="connsiteY11" fmla="*/ 44607 h 44606"/>
                <a:gd name="connsiteX12" fmla="*/ 13382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048" y="0"/>
                  </a:lnTo>
                  <a:lnTo>
                    <a:pt x="19048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048" y="26121"/>
                  </a:lnTo>
                  <a:lnTo>
                    <a:pt x="19048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51" name="Freihandform: Form 850">
              <a:extLst>
                <a:ext uri="{FF2B5EF4-FFF2-40B4-BE49-F238E27FC236}">
                  <a16:creationId xmlns:a16="http://schemas.microsoft.com/office/drawing/2014/main" id="{24CEE278-B9DF-F71C-140A-27F1AA6FF92B}"/>
                </a:ext>
              </a:extLst>
            </p:cNvPr>
            <p:cNvSpPr/>
            <p:nvPr/>
          </p:nvSpPr>
          <p:spPr>
            <a:xfrm>
              <a:off x="5241045" y="2810652"/>
              <a:ext cx="32527" cy="44606"/>
            </a:xfrm>
            <a:custGeom>
              <a:avLst/>
              <a:gdLst>
                <a:gd name="connsiteX0" fmla="*/ 13382 w 32527"/>
                <a:gd name="connsiteY0" fmla="*/ 44607 h 44606"/>
                <a:gd name="connsiteX1" fmla="*/ 13382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352 h 44606"/>
                <a:gd name="connsiteX4" fmla="*/ 13382 w 32527"/>
                <a:gd name="connsiteY4" fmla="*/ 18352 h 44606"/>
                <a:gd name="connsiteX5" fmla="*/ 13382 w 32527"/>
                <a:gd name="connsiteY5" fmla="*/ 0 h 44606"/>
                <a:gd name="connsiteX6" fmla="*/ 19145 w 32527"/>
                <a:gd name="connsiteY6" fmla="*/ 0 h 44606"/>
                <a:gd name="connsiteX7" fmla="*/ 19145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6121 h 44606"/>
                <a:gd name="connsiteX10" fmla="*/ 19145 w 32527"/>
                <a:gd name="connsiteY10" fmla="*/ 26121 h 44606"/>
                <a:gd name="connsiteX11" fmla="*/ 19145 w 32527"/>
                <a:gd name="connsiteY11" fmla="*/ 44607 h 44606"/>
                <a:gd name="connsiteX12" fmla="*/ 13382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145" y="0"/>
                  </a:lnTo>
                  <a:lnTo>
                    <a:pt x="19145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145" y="26121"/>
                  </a:lnTo>
                  <a:lnTo>
                    <a:pt x="19145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52" name="Freihandform: Form 851">
              <a:extLst>
                <a:ext uri="{FF2B5EF4-FFF2-40B4-BE49-F238E27FC236}">
                  <a16:creationId xmlns:a16="http://schemas.microsoft.com/office/drawing/2014/main" id="{91C33799-C81A-3B95-7543-DC44004248C2}"/>
                </a:ext>
              </a:extLst>
            </p:cNvPr>
            <p:cNvSpPr/>
            <p:nvPr/>
          </p:nvSpPr>
          <p:spPr>
            <a:xfrm>
              <a:off x="5245929" y="2810652"/>
              <a:ext cx="32429" cy="44606"/>
            </a:xfrm>
            <a:custGeom>
              <a:avLst/>
              <a:gdLst>
                <a:gd name="connsiteX0" fmla="*/ 13382 w 32429"/>
                <a:gd name="connsiteY0" fmla="*/ 44607 h 44606"/>
                <a:gd name="connsiteX1" fmla="*/ 13382 w 32429"/>
                <a:gd name="connsiteY1" fmla="*/ 26121 h 44606"/>
                <a:gd name="connsiteX2" fmla="*/ 0 w 32429"/>
                <a:gd name="connsiteY2" fmla="*/ 26121 h 44606"/>
                <a:gd name="connsiteX3" fmla="*/ 0 w 32429"/>
                <a:gd name="connsiteY3" fmla="*/ 18352 h 44606"/>
                <a:gd name="connsiteX4" fmla="*/ 13382 w 32429"/>
                <a:gd name="connsiteY4" fmla="*/ 18352 h 44606"/>
                <a:gd name="connsiteX5" fmla="*/ 13382 w 32429"/>
                <a:gd name="connsiteY5" fmla="*/ 0 h 44606"/>
                <a:gd name="connsiteX6" fmla="*/ 19048 w 32429"/>
                <a:gd name="connsiteY6" fmla="*/ 0 h 44606"/>
                <a:gd name="connsiteX7" fmla="*/ 19048 w 32429"/>
                <a:gd name="connsiteY7" fmla="*/ 18352 h 44606"/>
                <a:gd name="connsiteX8" fmla="*/ 32430 w 32429"/>
                <a:gd name="connsiteY8" fmla="*/ 18352 h 44606"/>
                <a:gd name="connsiteX9" fmla="*/ 32430 w 32429"/>
                <a:gd name="connsiteY9" fmla="*/ 26121 h 44606"/>
                <a:gd name="connsiteX10" fmla="*/ 19048 w 32429"/>
                <a:gd name="connsiteY10" fmla="*/ 26121 h 44606"/>
                <a:gd name="connsiteX11" fmla="*/ 19048 w 32429"/>
                <a:gd name="connsiteY11" fmla="*/ 44607 h 44606"/>
                <a:gd name="connsiteX12" fmla="*/ 13382 w 32429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29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048" y="0"/>
                  </a:lnTo>
                  <a:lnTo>
                    <a:pt x="19048" y="18352"/>
                  </a:lnTo>
                  <a:lnTo>
                    <a:pt x="32430" y="18352"/>
                  </a:lnTo>
                  <a:lnTo>
                    <a:pt x="32430" y="26121"/>
                  </a:lnTo>
                  <a:lnTo>
                    <a:pt x="19048" y="26121"/>
                  </a:lnTo>
                  <a:lnTo>
                    <a:pt x="19048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53" name="Freihandform: Form 852">
              <a:extLst>
                <a:ext uri="{FF2B5EF4-FFF2-40B4-BE49-F238E27FC236}">
                  <a16:creationId xmlns:a16="http://schemas.microsoft.com/office/drawing/2014/main" id="{41DC394E-76F6-9091-4ADF-317A1DEBAC94}"/>
                </a:ext>
              </a:extLst>
            </p:cNvPr>
            <p:cNvSpPr/>
            <p:nvPr/>
          </p:nvSpPr>
          <p:spPr>
            <a:xfrm>
              <a:off x="5248371" y="2810652"/>
              <a:ext cx="32429" cy="44606"/>
            </a:xfrm>
            <a:custGeom>
              <a:avLst/>
              <a:gdLst>
                <a:gd name="connsiteX0" fmla="*/ 13382 w 32429"/>
                <a:gd name="connsiteY0" fmla="*/ 44607 h 44606"/>
                <a:gd name="connsiteX1" fmla="*/ 13382 w 32429"/>
                <a:gd name="connsiteY1" fmla="*/ 26121 h 44606"/>
                <a:gd name="connsiteX2" fmla="*/ 0 w 32429"/>
                <a:gd name="connsiteY2" fmla="*/ 26121 h 44606"/>
                <a:gd name="connsiteX3" fmla="*/ 0 w 32429"/>
                <a:gd name="connsiteY3" fmla="*/ 18352 h 44606"/>
                <a:gd name="connsiteX4" fmla="*/ 13382 w 32429"/>
                <a:gd name="connsiteY4" fmla="*/ 18352 h 44606"/>
                <a:gd name="connsiteX5" fmla="*/ 13382 w 32429"/>
                <a:gd name="connsiteY5" fmla="*/ 0 h 44606"/>
                <a:gd name="connsiteX6" fmla="*/ 19145 w 32429"/>
                <a:gd name="connsiteY6" fmla="*/ 0 h 44606"/>
                <a:gd name="connsiteX7" fmla="*/ 19145 w 32429"/>
                <a:gd name="connsiteY7" fmla="*/ 18352 h 44606"/>
                <a:gd name="connsiteX8" fmla="*/ 32430 w 32429"/>
                <a:gd name="connsiteY8" fmla="*/ 18352 h 44606"/>
                <a:gd name="connsiteX9" fmla="*/ 32430 w 32429"/>
                <a:gd name="connsiteY9" fmla="*/ 26121 h 44606"/>
                <a:gd name="connsiteX10" fmla="*/ 19145 w 32429"/>
                <a:gd name="connsiteY10" fmla="*/ 26121 h 44606"/>
                <a:gd name="connsiteX11" fmla="*/ 19145 w 32429"/>
                <a:gd name="connsiteY11" fmla="*/ 44607 h 44606"/>
                <a:gd name="connsiteX12" fmla="*/ 13382 w 32429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29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145" y="0"/>
                  </a:lnTo>
                  <a:lnTo>
                    <a:pt x="19145" y="18352"/>
                  </a:lnTo>
                  <a:lnTo>
                    <a:pt x="32430" y="18352"/>
                  </a:lnTo>
                  <a:lnTo>
                    <a:pt x="32430" y="26121"/>
                  </a:lnTo>
                  <a:lnTo>
                    <a:pt x="19145" y="26121"/>
                  </a:lnTo>
                  <a:lnTo>
                    <a:pt x="19145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54" name="Freihandform: Form 853">
              <a:extLst>
                <a:ext uri="{FF2B5EF4-FFF2-40B4-BE49-F238E27FC236}">
                  <a16:creationId xmlns:a16="http://schemas.microsoft.com/office/drawing/2014/main" id="{ECB84424-0DEC-ED7C-DFF0-70CE1B62FDCC}"/>
                </a:ext>
              </a:extLst>
            </p:cNvPr>
            <p:cNvSpPr/>
            <p:nvPr/>
          </p:nvSpPr>
          <p:spPr>
            <a:xfrm>
              <a:off x="5258139" y="2810652"/>
              <a:ext cx="32527" cy="44606"/>
            </a:xfrm>
            <a:custGeom>
              <a:avLst/>
              <a:gdLst>
                <a:gd name="connsiteX0" fmla="*/ 13480 w 32527"/>
                <a:gd name="connsiteY0" fmla="*/ 44607 h 44606"/>
                <a:gd name="connsiteX1" fmla="*/ 13480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352 h 44606"/>
                <a:gd name="connsiteX4" fmla="*/ 13480 w 32527"/>
                <a:gd name="connsiteY4" fmla="*/ 18352 h 44606"/>
                <a:gd name="connsiteX5" fmla="*/ 13480 w 32527"/>
                <a:gd name="connsiteY5" fmla="*/ 0 h 44606"/>
                <a:gd name="connsiteX6" fmla="*/ 19145 w 32527"/>
                <a:gd name="connsiteY6" fmla="*/ 0 h 44606"/>
                <a:gd name="connsiteX7" fmla="*/ 19145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6121 h 44606"/>
                <a:gd name="connsiteX10" fmla="*/ 19145 w 32527"/>
                <a:gd name="connsiteY10" fmla="*/ 26121 h 44606"/>
                <a:gd name="connsiteX11" fmla="*/ 19145 w 32527"/>
                <a:gd name="connsiteY11" fmla="*/ 44607 h 44606"/>
                <a:gd name="connsiteX12" fmla="*/ 13480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480" y="44607"/>
                  </a:moveTo>
                  <a:lnTo>
                    <a:pt x="13480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480" y="18352"/>
                  </a:lnTo>
                  <a:lnTo>
                    <a:pt x="13480" y="0"/>
                  </a:lnTo>
                  <a:lnTo>
                    <a:pt x="19145" y="0"/>
                  </a:lnTo>
                  <a:lnTo>
                    <a:pt x="19145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145" y="26121"/>
                  </a:lnTo>
                  <a:lnTo>
                    <a:pt x="19145" y="44607"/>
                  </a:lnTo>
                  <a:lnTo>
                    <a:pt x="13480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55" name="Freihandform: Form 854">
              <a:extLst>
                <a:ext uri="{FF2B5EF4-FFF2-40B4-BE49-F238E27FC236}">
                  <a16:creationId xmlns:a16="http://schemas.microsoft.com/office/drawing/2014/main" id="{1A3FFFEF-9394-B83E-8EF8-E3AFDA273205}"/>
                </a:ext>
              </a:extLst>
            </p:cNvPr>
            <p:cNvSpPr/>
            <p:nvPr/>
          </p:nvSpPr>
          <p:spPr>
            <a:xfrm>
              <a:off x="5260581" y="2810652"/>
              <a:ext cx="32527" cy="44606"/>
            </a:xfrm>
            <a:custGeom>
              <a:avLst/>
              <a:gdLst>
                <a:gd name="connsiteX0" fmla="*/ 13480 w 32527"/>
                <a:gd name="connsiteY0" fmla="*/ 44607 h 44606"/>
                <a:gd name="connsiteX1" fmla="*/ 13480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352 h 44606"/>
                <a:gd name="connsiteX4" fmla="*/ 13480 w 32527"/>
                <a:gd name="connsiteY4" fmla="*/ 18352 h 44606"/>
                <a:gd name="connsiteX5" fmla="*/ 13480 w 32527"/>
                <a:gd name="connsiteY5" fmla="*/ 0 h 44606"/>
                <a:gd name="connsiteX6" fmla="*/ 19145 w 32527"/>
                <a:gd name="connsiteY6" fmla="*/ 0 h 44606"/>
                <a:gd name="connsiteX7" fmla="*/ 19145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6121 h 44606"/>
                <a:gd name="connsiteX10" fmla="*/ 19145 w 32527"/>
                <a:gd name="connsiteY10" fmla="*/ 26121 h 44606"/>
                <a:gd name="connsiteX11" fmla="*/ 19145 w 32527"/>
                <a:gd name="connsiteY11" fmla="*/ 44607 h 44606"/>
                <a:gd name="connsiteX12" fmla="*/ 13480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480" y="44607"/>
                  </a:moveTo>
                  <a:lnTo>
                    <a:pt x="13480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480" y="18352"/>
                  </a:lnTo>
                  <a:lnTo>
                    <a:pt x="13480" y="0"/>
                  </a:lnTo>
                  <a:lnTo>
                    <a:pt x="19145" y="0"/>
                  </a:lnTo>
                  <a:lnTo>
                    <a:pt x="19145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145" y="26121"/>
                  </a:lnTo>
                  <a:lnTo>
                    <a:pt x="19145" y="44607"/>
                  </a:lnTo>
                  <a:lnTo>
                    <a:pt x="13480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56" name="Freihandform: Form 855">
              <a:extLst>
                <a:ext uri="{FF2B5EF4-FFF2-40B4-BE49-F238E27FC236}">
                  <a16:creationId xmlns:a16="http://schemas.microsoft.com/office/drawing/2014/main" id="{0AE1D1E1-818C-C94C-9CD1-DCE54B6E0C9C}"/>
                </a:ext>
              </a:extLst>
            </p:cNvPr>
            <p:cNvSpPr/>
            <p:nvPr/>
          </p:nvSpPr>
          <p:spPr>
            <a:xfrm>
              <a:off x="5268004" y="2810652"/>
              <a:ext cx="32527" cy="44606"/>
            </a:xfrm>
            <a:custGeom>
              <a:avLst/>
              <a:gdLst>
                <a:gd name="connsiteX0" fmla="*/ 13382 w 32527"/>
                <a:gd name="connsiteY0" fmla="*/ 44607 h 44606"/>
                <a:gd name="connsiteX1" fmla="*/ 13382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352 h 44606"/>
                <a:gd name="connsiteX4" fmla="*/ 13382 w 32527"/>
                <a:gd name="connsiteY4" fmla="*/ 18352 h 44606"/>
                <a:gd name="connsiteX5" fmla="*/ 13382 w 32527"/>
                <a:gd name="connsiteY5" fmla="*/ 0 h 44606"/>
                <a:gd name="connsiteX6" fmla="*/ 19146 w 32527"/>
                <a:gd name="connsiteY6" fmla="*/ 0 h 44606"/>
                <a:gd name="connsiteX7" fmla="*/ 19146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6121 h 44606"/>
                <a:gd name="connsiteX10" fmla="*/ 19146 w 32527"/>
                <a:gd name="connsiteY10" fmla="*/ 26121 h 44606"/>
                <a:gd name="connsiteX11" fmla="*/ 19146 w 32527"/>
                <a:gd name="connsiteY11" fmla="*/ 44607 h 44606"/>
                <a:gd name="connsiteX12" fmla="*/ 13382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146" y="0"/>
                  </a:lnTo>
                  <a:lnTo>
                    <a:pt x="19146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146" y="26121"/>
                  </a:lnTo>
                  <a:lnTo>
                    <a:pt x="19146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57" name="Freihandform: Form 856">
              <a:extLst>
                <a:ext uri="{FF2B5EF4-FFF2-40B4-BE49-F238E27FC236}">
                  <a16:creationId xmlns:a16="http://schemas.microsoft.com/office/drawing/2014/main" id="{F28719F8-C8F9-7337-B660-87A58C99B1E4}"/>
                </a:ext>
              </a:extLst>
            </p:cNvPr>
            <p:cNvSpPr/>
            <p:nvPr/>
          </p:nvSpPr>
          <p:spPr>
            <a:xfrm>
              <a:off x="5275428" y="2810652"/>
              <a:ext cx="32430" cy="44606"/>
            </a:xfrm>
            <a:custGeom>
              <a:avLst/>
              <a:gdLst>
                <a:gd name="connsiteX0" fmla="*/ 13382 w 32430"/>
                <a:gd name="connsiteY0" fmla="*/ 44607 h 44606"/>
                <a:gd name="connsiteX1" fmla="*/ 13382 w 32430"/>
                <a:gd name="connsiteY1" fmla="*/ 26121 h 44606"/>
                <a:gd name="connsiteX2" fmla="*/ 0 w 32430"/>
                <a:gd name="connsiteY2" fmla="*/ 26121 h 44606"/>
                <a:gd name="connsiteX3" fmla="*/ 0 w 32430"/>
                <a:gd name="connsiteY3" fmla="*/ 18352 h 44606"/>
                <a:gd name="connsiteX4" fmla="*/ 13382 w 32430"/>
                <a:gd name="connsiteY4" fmla="*/ 18352 h 44606"/>
                <a:gd name="connsiteX5" fmla="*/ 13382 w 32430"/>
                <a:gd name="connsiteY5" fmla="*/ 0 h 44606"/>
                <a:gd name="connsiteX6" fmla="*/ 19048 w 32430"/>
                <a:gd name="connsiteY6" fmla="*/ 0 h 44606"/>
                <a:gd name="connsiteX7" fmla="*/ 19048 w 32430"/>
                <a:gd name="connsiteY7" fmla="*/ 18352 h 44606"/>
                <a:gd name="connsiteX8" fmla="*/ 32430 w 32430"/>
                <a:gd name="connsiteY8" fmla="*/ 18352 h 44606"/>
                <a:gd name="connsiteX9" fmla="*/ 32430 w 32430"/>
                <a:gd name="connsiteY9" fmla="*/ 26121 h 44606"/>
                <a:gd name="connsiteX10" fmla="*/ 19048 w 32430"/>
                <a:gd name="connsiteY10" fmla="*/ 26121 h 44606"/>
                <a:gd name="connsiteX11" fmla="*/ 19048 w 32430"/>
                <a:gd name="connsiteY11" fmla="*/ 44607 h 44606"/>
                <a:gd name="connsiteX12" fmla="*/ 13382 w 32430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30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048" y="0"/>
                  </a:lnTo>
                  <a:lnTo>
                    <a:pt x="19048" y="18352"/>
                  </a:lnTo>
                  <a:lnTo>
                    <a:pt x="32430" y="18352"/>
                  </a:lnTo>
                  <a:lnTo>
                    <a:pt x="32430" y="26121"/>
                  </a:lnTo>
                  <a:lnTo>
                    <a:pt x="19048" y="26121"/>
                  </a:lnTo>
                  <a:lnTo>
                    <a:pt x="19048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58" name="Freihandform: Form 857">
              <a:extLst>
                <a:ext uri="{FF2B5EF4-FFF2-40B4-BE49-F238E27FC236}">
                  <a16:creationId xmlns:a16="http://schemas.microsoft.com/office/drawing/2014/main" id="{242B43C4-D25D-8C9F-3D1F-BB202DD023AF}"/>
                </a:ext>
              </a:extLst>
            </p:cNvPr>
            <p:cNvSpPr/>
            <p:nvPr/>
          </p:nvSpPr>
          <p:spPr>
            <a:xfrm>
              <a:off x="5280312" y="2810652"/>
              <a:ext cx="32527" cy="44606"/>
            </a:xfrm>
            <a:custGeom>
              <a:avLst/>
              <a:gdLst>
                <a:gd name="connsiteX0" fmla="*/ 13382 w 32527"/>
                <a:gd name="connsiteY0" fmla="*/ 44607 h 44606"/>
                <a:gd name="connsiteX1" fmla="*/ 13382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352 h 44606"/>
                <a:gd name="connsiteX4" fmla="*/ 13382 w 32527"/>
                <a:gd name="connsiteY4" fmla="*/ 18352 h 44606"/>
                <a:gd name="connsiteX5" fmla="*/ 13382 w 32527"/>
                <a:gd name="connsiteY5" fmla="*/ 0 h 44606"/>
                <a:gd name="connsiteX6" fmla="*/ 19048 w 32527"/>
                <a:gd name="connsiteY6" fmla="*/ 0 h 44606"/>
                <a:gd name="connsiteX7" fmla="*/ 19048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6121 h 44606"/>
                <a:gd name="connsiteX10" fmla="*/ 19048 w 32527"/>
                <a:gd name="connsiteY10" fmla="*/ 26121 h 44606"/>
                <a:gd name="connsiteX11" fmla="*/ 19048 w 32527"/>
                <a:gd name="connsiteY11" fmla="*/ 44607 h 44606"/>
                <a:gd name="connsiteX12" fmla="*/ 13382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048" y="0"/>
                  </a:lnTo>
                  <a:lnTo>
                    <a:pt x="19048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048" y="26121"/>
                  </a:lnTo>
                  <a:lnTo>
                    <a:pt x="19048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59" name="Freihandform: Form 858">
              <a:extLst>
                <a:ext uri="{FF2B5EF4-FFF2-40B4-BE49-F238E27FC236}">
                  <a16:creationId xmlns:a16="http://schemas.microsoft.com/office/drawing/2014/main" id="{703D42D8-03D2-0185-7265-6BBC60D80D20}"/>
                </a:ext>
              </a:extLst>
            </p:cNvPr>
            <p:cNvSpPr/>
            <p:nvPr/>
          </p:nvSpPr>
          <p:spPr>
            <a:xfrm>
              <a:off x="5287638" y="2810652"/>
              <a:ext cx="32527" cy="44606"/>
            </a:xfrm>
            <a:custGeom>
              <a:avLst/>
              <a:gdLst>
                <a:gd name="connsiteX0" fmla="*/ 13382 w 32527"/>
                <a:gd name="connsiteY0" fmla="*/ 44607 h 44606"/>
                <a:gd name="connsiteX1" fmla="*/ 13382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352 h 44606"/>
                <a:gd name="connsiteX4" fmla="*/ 13382 w 32527"/>
                <a:gd name="connsiteY4" fmla="*/ 18352 h 44606"/>
                <a:gd name="connsiteX5" fmla="*/ 13382 w 32527"/>
                <a:gd name="connsiteY5" fmla="*/ 0 h 44606"/>
                <a:gd name="connsiteX6" fmla="*/ 19145 w 32527"/>
                <a:gd name="connsiteY6" fmla="*/ 0 h 44606"/>
                <a:gd name="connsiteX7" fmla="*/ 19145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6121 h 44606"/>
                <a:gd name="connsiteX10" fmla="*/ 19145 w 32527"/>
                <a:gd name="connsiteY10" fmla="*/ 26121 h 44606"/>
                <a:gd name="connsiteX11" fmla="*/ 19145 w 32527"/>
                <a:gd name="connsiteY11" fmla="*/ 44607 h 44606"/>
                <a:gd name="connsiteX12" fmla="*/ 13382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145" y="0"/>
                  </a:lnTo>
                  <a:lnTo>
                    <a:pt x="19145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145" y="26121"/>
                  </a:lnTo>
                  <a:lnTo>
                    <a:pt x="19145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60" name="Freihandform: Form 859">
              <a:extLst>
                <a:ext uri="{FF2B5EF4-FFF2-40B4-BE49-F238E27FC236}">
                  <a16:creationId xmlns:a16="http://schemas.microsoft.com/office/drawing/2014/main" id="{5D454319-A039-CBCD-6E88-EB3FA26D8F28}"/>
                </a:ext>
              </a:extLst>
            </p:cNvPr>
            <p:cNvSpPr/>
            <p:nvPr/>
          </p:nvSpPr>
          <p:spPr>
            <a:xfrm>
              <a:off x="5292522" y="2810652"/>
              <a:ext cx="32527" cy="44606"/>
            </a:xfrm>
            <a:custGeom>
              <a:avLst/>
              <a:gdLst>
                <a:gd name="connsiteX0" fmla="*/ 13480 w 32527"/>
                <a:gd name="connsiteY0" fmla="*/ 44607 h 44606"/>
                <a:gd name="connsiteX1" fmla="*/ 13480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352 h 44606"/>
                <a:gd name="connsiteX4" fmla="*/ 13480 w 32527"/>
                <a:gd name="connsiteY4" fmla="*/ 18352 h 44606"/>
                <a:gd name="connsiteX5" fmla="*/ 13480 w 32527"/>
                <a:gd name="connsiteY5" fmla="*/ 0 h 44606"/>
                <a:gd name="connsiteX6" fmla="*/ 19145 w 32527"/>
                <a:gd name="connsiteY6" fmla="*/ 0 h 44606"/>
                <a:gd name="connsiteX7" fmla="*/ 19145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6121 h 44606"/>
                <a:gd name="connsiteX10" fmla="*/ 19145 w 32527"/>
                <a:gd name="connsiteY10" fmla="*/ 26121 h 44606"/>
                <a:gd name="connsiteX11" fmla="*/ 19145 w 32527"/>
                <a:gd name="connsiteY11" fmla="*/ 44607 h 44606"/>
                <a:gd name="connsiteX12" fmla="*/ 13480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480" y="44607"/>
                  </a:moveTo>
                  <a:lnTo>
                    <a:pt x="13480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480" y="18352"/>
                  </a:lnTo>
                  <a:lnTo>
                    <a:pt x="13480" y="0"/>
                  </a:lnTo>
                  <a:lnTo>
                    <a:pt x="19145" y="0"/>
                  </a:lnTo>
                  <a:lnTo>
                    <a:pt x="19145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145" y="26121"/>
                  </a:lnTo>
                  <a:lnTo>
                    <a:pt x="19145" y="44607"/>
                  </a:lnTo>
                  <a:lnTo>
                    <a:pt x="13480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61" name="Freihandform: Form 860">
              <a:extLst>
                <a:ext uri="{FF2B5EF4-FFF2-40B4-BE49-F238E27FC236}">
                  <a16:creationId xmlns:a16="http://schemas.microsoft.com/office/drawing/2014/main" id="{3B4F687B-0745-56ED-D458-BC83392FCA70}"/>
                </a:ext>
              </a:extLst>
            </p:cNvPr>
            <p:cNvSpPr/>
            <p:nvPr/>
          </p:nvSpPr>
          <p:spPr>
            <a:xfrm>
              <a:off x="5294964" y="2810652"/>
              <a:ext cx="32527" cy="44606"/>
            </a:xfrm>
            <a:custGeom>
              <a:avLst/>
              <a:gdLst>
                <a:gd name="connsiteX0" fmla="*/ 13480 w 32527"/>
                <a:gd name="connsiteY0" fmla="*/ 44607 h 44606"/>
                <a:gd name="connsiteX1" fmla="*/ 13480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352 h 44606"/>
                <a:gd name="connsiteX4" fmla="*/ 13480 w 32527"/>
                <a:gd name="connsiteY4" fmla="*/ 18352 h 44606"/>
                <a:gd name="connsiteX5" fmla="*/ 13480 w 32527"/>
                <a:gd name="connsiteY5" fmla="*/ 0 h 44606"/>
                <a:gd name="connsiteX6" fmla="*/ 19145 w 32527"/>
                <a:gd name="connsiteY6" fmla="*/ 0 h 44606"/>
                <a:gd name="connsiteX7" fmla="*/ 19145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6121 h 44606"/>
                <a:gd name="connsiteX10" fmla="*/ 19145 w 32527"/>
                <a:gd name="connsiteY10" fmla="*/ 26121 h 44606"/>
                <a:gd name="connsiteX11" fmla="*/ 19145 w 32527"/>
                <a:gd name="connsiteY11" fmla="*/ 44607 h 44606"/>
                <a:gd name="connsiteX12" fmla="*/ 13480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480" y="44607"/>
                  </a:moveTo>
                  <a:lnTo>
                    <a:pt x="13480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480" y="18352"/>
                  </a:lnTo>
                  <a:lnTo>
                    <a:pt x="13480" y="0"/>
                  </a:lnTo>
                  <a:lnTo>
                    <a:pt x="19145" y="0"/>
                  </a:lnTo>
                  <a:lnTo>
                    <a:pt x="19145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145" y="26121"/>
                  </a:lnTo>
                  <a:lnTo>
                    <a:pt x="19145" y="44607"/>
                  </a:lnTo>
                  <a:lnTo>
                    <a:pt x="13480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62" name="Freihandform: Form 861">
              <a:extLst>
                <a:ext uri="{FF2B5EF4-FFF2-40B4-BE49-F238E27FC236}">
                  <a16:creationId xmlns:a16="http://schemas.microsoft.com/office/drawing/2014/main" id="{8E1D54F4-3E62-4898-1FFF-FD6574A717FD}"/>
                </a:ext>
              </a:extLst>
            </p:cNvPr>
            <p:cNvSpPr/>
            <p:nvPr/>
          </p:nvSpPr>
          <p:spPr>
            <a:xfrm>
              <a:off x="5304732" y="2810652"/>
              <a:ext cx="32527" cy="44606"/>
            </a:xfrm>
            <a:custGeom>
              <a:avLst/>
              <a:gdLst>
                <a:gd name="connsiteX0" fmla="*/ 13480 w 32527"/>
                <a:gd name="connsiteY0" fmla="*/ 44607 h 44606"/>
                <a:gd name="connsiteX1" fmla="*/ 13480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352 h 44606"/>
                <a:gd name="connsiteX4" fmla="*/ 13480 w 32527"/>
                <a:gd name="connsiteY4" fmla="*/ 18352 h 44606"/>
                <a:gd name="connsiteX5" fmla="*/ 13480 w 32527"/>
                <a:gd name="connsiteY5" fmla="*/ 0 h 44606"/>
                <a:gd name="connsiteX6" fmla="*/ 19145 w 32527"/>
                <a:gd name="connsiteY6" fmla="*/ 0 h 44606"/>
                <a:gd name="connsiteX7" fmla="*/ 19145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6121 h 44606"/>
                <a:gd name="connsiteX10" fmla="*/ 19145 w 32527"/>
                <a:gd name="connsiteY10" fmla="*/ 26121 h 44606"/>
                <a:gd name="connsiteX11" fmla="*/ 19145 w 32527"/>
                <a:gd name="connsiteY11" fmla="*/ 44607 h 44606"/>
                <a:gd name="connsiteX12" fmla="*/ 13480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480" y="44607"/>
                  </a:moveTo>
                  <a:lnTo>
                    <a:pt x="13480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480" y="18352"/>
                  </a:lnTo>
                  <a:lnTo>
                    <a:pt x="13480" y="0"/>
                  </a:lnTo>
                  <a:lnTo>
                    <a:pt x="19145" y="0"/>
                  </a:lnTo>
                  <a:lnTo>
                    <a:pt x="19145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145" y="26121"/>
                  </a:lnTo>
                  <a:lnTo>
                    <a:pt x="19145" y="44607"/>
                  </a:lnTo>
                  <a:lnTo>
                    <a:pt x="13480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63" name="Freihandform: Form 862">
              <a:extLst>
                <a:ext uri="{FF2B5EF4-FFF2-40B4-BE49-F238E27FC236}">
                  <a16:creationId xmlns:a16="http://schemas.microsoft.com/office/drawing/2014/main" id="{804F40DA-1E81-05EE-D8D3-4D028DE76C1F}"/>
                </a:ext>
              </a:extLst>
            </p:cNvPr>
            <p:cNvSpPr/>
            <p:nvPr/>
          </p:nvSpPr>
          <p:spPr>
            <a:xfrm>
              <a:off x="5307272" y="2810652"/>
              <a:ext cx="32429" cy="44606"/>
            </a:xfrm>
            <a:custGeom>
              <a:avLst/>
              <a:gdLst>
                <a:gd name="connsiteX0" fmla="*/ 13382 w 32429"/>
                <a:gd name="connsiteY0" fmla="*/ 44607 h 44606"/>
                <a:gd name="connsiteX1" fmla="*/ 13382 w 32429"/>
                <a:gd name="connsiteY1" fmla="*/ 26121 h 44606"/>
                <a:gd name="connsiteX2" fmla="*/ 0 w 32429"/>
                <a:gd name="connsiteY2" fmla="*/ 26121 h 44606"/>
                <a:gd name="connsiteX3" fmla="*/ 0 w 32429"/>
                <a:gd name="connsiteY3" fmla="*/ 18352 h 44606"/>
                <a:gd name="connsiteX4" fmla="*/ 13382 w 32429"/>
                <a:gd name="connsiteY4" fmla="*/ 18352 h 44606"/>
                <a:gd name="connsiteX5" fmla="*/ 13382 w 32429"/>
                <a:gd name="connsiteY5" fmla="*/ 0 h 44606"/>
                <a:gd name="connsiteX6" fmla="*/ 19048 w 32429"/>
                <a:gd name="connsiteY6" fmla="*/ 0 h 44606"/>
                <a:gd name="connsiteX7" fmla="*/ 19048 w 32429"/>
                <a:gd name="connsiteY7" fmla="*/ 18352 h 44606"/>
                <a:gd name="connsiteX8" fmla="*/ 32430 w 32429"/>
                <a:gd name="connsiteY8" fmla="*/ 18352 h 44606"/>
                <a:gd name="connsiteX9" fmla="*/ 32430 w 32429"/>
                <a:gd name="connsiteY9" fmla="*/ 26121 h 44606"/>
                <a:gd name="connsiteX10" fmla="*/ 19048 w 32429"/>
                <a:gd name="connsiteY10" fmla="*/ 26121 h 44606"/>
                <a:gd name="connsiteX11" fmla="*/ 19048 w 32429"/>
                <a:gd name="connsiteY11" fmla="*/ 44607 h 44606"/>
                <a:gd name="connsiteX12" fmla="*/ 13382 w 32429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29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048" y="0"/>
                  </a:lnTo>
                  <a:lnTo>
                    <a:pt x="19048" y="18352"/>
                  </a:lnTo>
                  <a:lnTo>
                    <a:pt x="32430" y="18352"/>
                  </a:lnTo>
                  <a:lnTo>
                    <a:pt x="32430" y="26121"/>
                  </a:lnTo>
                  <a:lnTo>
                    <a:pt x="19048" y="26121"/>
                  </a:lnTo>
                  <a:lnTo>
                    <a:pt x="19048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64" name="Freihandform: Form 863">
              <a:extLst>
                <a:ext uri="{FF2B5EF4-FFF2-40B4-BE49-F238E27FC236}">
                  <a16:creationId xmlns:a16="http://schemas.microsoft.com/office/drawing/2014/main" id="{F757051B-FF15-58E3-57FF-ACDCF8838CF1}"/>
                </a:ext>
              </a:extLst>
            </p:cNvPr>
            <p:cNvSpPr/>
            <p:nvPr/>
          </p:nvSpPr>
          <p:spPr>
            <a:xfrm>
              <a:off x="5312156" y="2810652"/>
              <a:ext cx="32527" cy="44606"/>
            </a:xfrm>
            <a:custGeom>
              <a:avLst/>
              <a:gdLst>
                <a:gd name="connsiteX0" fmla="*/ 13382 w 32527"/>
                <a:gd name="connsiteY0" fmla="*/ 44607 h 44606"/>
                <a:gd name="connsiteX1" fmla="*/ 13382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352 h 44606"/>
                <a:gd name="connsiteX4" fmla="*/ 13382 w 32527"/>
                <a:gd name="connsiteY4" fmla="*/ 18352 h 44606"/>
                <a:gd name="connsiteX5" fmla="*/ 13382 w 32527"/>
                <a:gd name="connsiteY5" fmla="*/ 0 h 44606"/>
                <a:gd name="connsiteX6" fmla="*/ 19145 w 32527"/>
                <a:gd name="connsiteY6" fmla="*/ 0 h 44606"/>
                <a:gd name="connsiteX7" fmla="*/ 19145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6121 h 44606"/>
                <a:gd name="connsiteX10" fmla="*/ 19145 w 32527"/>
                <a:gd name="connsiteY10" fmla="*/ 26121 h 44606"/>
                <a:gd name="connsiteX11" fmla="*/ 19145 w 32527"/>
                <a:gd name="connsiteY11" fmla="*/ 44607 h 44606"/>
                <a:gd name="connsiteX12" fmla="*/ 13382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145" y="0"/>
                  </a:lnTo>
                  <a:lnTo>
                    <a:pt x="19145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145" y="26121"/>
                  </a:lnTo>
                  <a:lnTo>
                    <a:pt x="19145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65" name="Freihandform: Form 864">
              <a:extLst>
                <a:ext uri="{FF2B5EF4-FFF2-40B4-BE49-F238E27FC236}">
                  <a16:creationId xmlns:a16="http://schemas.microsoft.com/office/drawing/2014/main" id="{C89D80B8-E246-70C6-8066-DE8A564B2722}"/>
                </a:ext>
              </a:extLst>
            </p:cNvPr>
            <p:cNvSpPr/>
            <p:nvPr/>
          </p:nvSpPr>
          <p:spPr>
            <a:xfrm>
              <a:off x="5324464" y="2810652"/>
              <a:ext cx="32430" cy="44606"/>
            </a:xfrm>
            <a:custGeom>
              <a:avLst/>
              <a:gdLst>
                <a:gd name="connsiteX0" fmla="*/ 13382 w 32430"/>
                <a:gd name="connsiteY0" fmla="*/ 44607 h 44606"/>
                <a:gd name="connsiteX1" fmla="*/ 13382 w 32430"/>
                <a:gd name="connsiteY1" fmla="*/ 26121 h 44606"/>
                <a:gd name="connsiteX2" fmla="*/ 0 w 32430"/>
                <a:gd name="connsiteY2" fmla="*/ 26121 h 44606"/>
                <a:gd name="connsiteX3" fmla="*/ 0 w 32430"/>
                <a:gd name="connsiteY3" fmla="*/ 18352 h 44606"/>
                <a:gd name="connsiteX4" fmla="*/ 13382 w 32430"/>
                <a:gd name="connsiteY4" fmla="*/ 18352 h 44606"/>
                <a:gd name="connsiteX5" fmla="*/ 13382 w 32430"/>
                <a:gd name="connsiteY5" fmla="*/ 0 h 44606"/>
                <a:gd name="connsiteX6" fmla="*/ 19048 w 32430"/>
                <a:gd name="connsiteY6" fmla="*/ 0 h 44606"/>
                <a:gd name="connsiteX7" fmla="*/ 19048 w 32430"/>
                <a:gd name="connsiteY7" fmla="*/ 18352 h 44606"/>
                <a:gd name="connsiteX8" fmla="*/ 32430 w 32430"/>
                <a:gd name="connsiteY8" fmla="*/ 18352 h 44606"/>
                <a:gd name="connsiteX9" fmla="*/ 32430 w 32430"/>
                <a:gd name="connsiteY9" fmla="*/ 26121 h 44606"/>
                <a:gd name="connsiteX10" fmla="*/ 19048 w 32430"/>
                <a:gd name="connsiteY10" fmla="*/ 26121 h 44606"/>
                <a:gd name="connsiteX11" fmla="*/ 19048 w 32430"/>
                <a:gd name="connsiteY11" fmla="*/ 44607 h 44606"/>
                <a:gd name="connsiteX12" fmla="*/ 13382 w 32430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30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048" y="0"/>
                  </a:lnTo>
                  <a:lnTo>
                    <a:pt x="19048" y="18352"/>
                  </a:lnTo>
                  <a:lnTo>
                    <a:pt x="32430" y="18352"/>
                  </a:lnTo>
                  <a:lnTo>
                    <a:pt x="32430" y="26121"/>
                  </a:lnTo>
                  <a:lnTo>
                    <a:pt x="19048" y="26121"/>
                  </a:lnTo>
                  <a:lnTo>
                    <a:pt x="19048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66" name="Freihandform: Form 865">
              <a:extLst>
                <a:ext uri="{FF2B5EF4-FFF2-40B4-BE49-F238E27FC236}">
                  <a16:creationId xmlns:a16="http://schemas.microsoft.com/office/drawing/2014/main" id="{665CEFF1-5FD7-8F06-5D9C-A6562368B005}"/>
                </a:ext>
              </a:extLst>
            </p:cNvPr>
            <p:cNvSpPr/>
            <p:nvPr/>
          </p:nvSpPr>
          <p:spPr>
            <a:xfrm>
              <a:off x="5329348" y="2810652"/>
              <a:ext cx="32527" cy="44606"/>
            </a:xfrm>
            <a:custGeom>
              <a:avLst/>
              <a:gdLst>
                <a:gd name="connsiteX0" fmla="*/ 13382 w 32527"/>
                <a:gd name="connsiteY0" fmla="*/ 44607 h 44606"/>
                <a:gd name="connsiteX1" fmla="*/ 13382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352 h 44606"/>
                <a:gd name="connsiteX4" fmla="*/ 13382 w 32527"/>
                <a:gd name="connsiteY4" fmla="*/ 18352 h 44606"/>
                <a:gd name="connsiteX5" fmla="*/ 13382 w 32527"/>
                <a:gd name="connsiteY5" fmla="*/ 0 h 44606"/>
                <a:gd name="connsiteX6" fmla="*/ 19048 w 32527"/>
                <a:gd name="connsiteY6" fmla="*/ 0 h 44606"/>
                <a:gd name="connsiteX7" fmla="*/ 19048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6121 h 44606"/>
                <a:gd name="connsiteX10" fmla="*/ 19048 w 32527"/>
                <a:gd name="connsiteY10" fmla="*/ 26121 h 44606"/>
                <a:gd name="connsiteX11" fmla="*/ 19048 w 32527"/>
                <a:gd name="connsiteY11" fmla="*/ 44607 h 44606"/>
                <a:gd name="connsiteX12" fmla="*/ 13382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048" y="0"/>
                  </a:lnTo>
                  <a:lnTo>
                    <a:pt x="19048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048" y="26121"/>
                  </a:lnTo>
                  <a:lnTo>
                    <a:pt x="19048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67" name="Freihandform: Form 866">
              <a:extLst>
                <a:ext uri="{FF2B5EF4-FFF2-40B4-BE49-F238E27FC236}">
                  <a16:creationId xmlns:a16="http://schemas.microsoft.com/office/drawing/2014/main" id="{60FBE81C-5254-1907-661D-5B887F110FDB}"/>
                </a:ext>
              </a:extLst>
            </p:cNvPr>
            <p:cNvSpPr/>
            <p:nvPr/>
          </p:nvSpPr>
          <p:spPr>
            <a:xfrm>
              <a:off x="5344098" y="2810652"/>
              <a:ext cx="32527" cy="44606"/>
            </a:xfrm>
            <a:custGeom>
              <a:avLst/>
              <a:gdLst>
                <a:gd name="connsiteX0" fmla="*/ 13382 w 32527"/>
                <a:gd name="connsiteY0" fmla="*/ 44607 h 44606"/>
                <a:gd name="connsiteX1" fmla="*/ 13382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352 h 44606"/>
                <a:gd name="connsiteX4" fmla="*/ 13382 w 32527"/>
                <a:gd name="connsiteY4" fmla="*/ 18352 h 44606"/>
                <a:gd name="connsiteX5" fmla="*/ 13382 w 32527"/>
                <a:gd name="connsiteY5" fmla="*/ 0 h 44606"/>
                <a:gd name="connsiteX6" fmla="*/ 19048 w 32527"/>
                <a:gd name="connsiteY6" fmla="*/ 0 h 44606"/>
                <a:gd name="connsiteX7" fmla="*/ 19048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6121 h 44606"/>
                <a:gd name="connsiteX10" fmla="*/ 19048 w 32527"/>
                <a:gd name="connsiteY10" fmla="*/ 26121 h 44606"/>
                <a:gd name="connsiteX11" fmla="*/ 19048 w 32527"/>
                <a:gd name="connsiteY11" fmla="*/ 44607 h 44606"/>
                <a:gd name="connsiteX12" fmla="*/ 13382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048" y="0"/>
                  </a:lnTo>
                  <a:lnTo>
                    <a:pt x="19048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048" y="26121"/>
                  </a:lnTo>
                  <a:lnTo>
                    <a:pt x="19048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68" name="Freihandform: Form 867">
              <a:extLst>
                <a:ext uri="{FF2B5EF4-FFF2-40B4-BE49-F238E27FC236}">
                  <a16:creationId xmlns:a16="http://schemas.microsoft.com/office/drawing/2014/main" id="{4A4DA8A1-1ED5-20A0-474D-4BEE737E6C00}"/>
                </a:ext>
              </a:extLst>
            </p:cNvPr>
            <p:cNvSpPr/>
            <p:nvPr/>
          </p:nvSpPr>
          <p:spPr>
            <a:xfrm>
              <a:off x="5368616" y="2810652"/>
              <a:ext cx="32429" cy="44606"/>
            </a:xfrm>
            <a:custGeom>
              <a:avLst/>
              <a:gdLst>
                <a:gd name="connsiteX0" fmla="*/ 13382 w 32429"/>
                <a:gd name="connsiteY0" fmla="*/ 44607 h 44606"/>
                <a:gd name="connsiteX1" fmla="*/ 13382 w 32429"/>
                <a:gd name="connsiteY1" fmla="*/ 26121 h 44606"/>
                <a:gd name="connsiteX2" fmla="*/ 0 w 32429"/>
                <a:gd name="connsiteY2" fmla="*/ 26121 h 44606"/>
                <a:gd name="connsiteX3" fmla="*/ 0 w 32429"/>
                <a:gd name="connsiteY3" fmla="*/ 18352 h 44606"/>
                <a:gd name="connsiteX4" fmla="*/ 13382 w 32429"/>
                <a:gd name="connsiteY4" fmla="*/ 18352 h 44606"/>
                <a:gd name="connsiteX5" fmla="*/ 13382 w 32429"/>
                <a:gd name="connsiteY5" fmla="*/ 0 h 44606"/>
                <a:gd name="connsiteX6" fmla="*/ 19048 w 32429"/>
                <a:gd name="connsiteY6" fmla="*/ 0 h 44606"/>
                <a:gd name="connsiteX7" fmla="*/ 19048 w 32429"/>
                <a:gd name="connsiteY7" fmla="*/ 18352 h 44606"/>
                <a:gd name="connsiteX8" fmla="*/ 32430 w 32429"/>
                <a:gd name="connsiteY8" fmla="*/ 18352 h 44606"/>
                <a:gd name="connsiteX9" fmla="*/ 32430 w 32429"/>
                <a:gd name="connsiteY9" fmla="*/ 26121 h 44606"/>
                <a:gd name="connsiteX10" fmla="*/ 19048 w 32429"/>
                <a:gd name="connsiteY10" fmla="*/ 26121 h 44606"/>
                <a:gd name="connsiteX11" fmla="*/ 19048 w 32429"/>
                <a:gd name="connsiteY11" fmla="*/ 44607 h 44606"/>
                <a:gd name="connsiteX12" fmla="*/ 13382 w 32429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29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048" y="0"/>
                  </a:lnTo>
                  <a:lnTo>
                    <a:pt x="19048" y="18352"/>
                  </a:lnTo>
                  <a:lnTo>
                    <a:pt x="32430" y="18352"/>
                  </a:lnTo>
                  <a:lnTo>
                    <a:pt x="32430" y="26121"/>
                  </a:lnTo>
                  <a:lnTo>
                    <a:pt x="19048" y="26121"/>
                  </a:lnTo>
                  <a:lnTo>
                    <a:pt x="19048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69" name="Freihandform: Form 868">
              <a:extLst>
                <a:ext uri="{FF2B5EF4-FFF2-40B4-BE49-F238E27FC236}">
                  <a16:creationId xmlns:a16="http://schemas.microsoft.com/office/drawing/2014/main" id="{4157049A-7C92-FD3D-7420-C594B07A868C}"/>
                </a:ext>
              </a:extLst>
            </p:cNvPr>
            <p:cNvSpPr/>
            <p:nvPr/>
          </p:nvSpPr>
          <p:spPr>
            <a:xfrm>
              <a:off x="5371058" y="2810652"/>
              <a:ext cx="32527" cy="44606"/>
            </a:xfrm>
            <a:custGeom>
              <a:avLst/>
              <a:gdLst>
                <a:gd name="connsiteX0" fmla="*/ 13382 w 32527"/>
                <a:gd name="connsiteY0" fmla="*/ 44607 h 44606"/>
                <a:gd name="connsiteX1" fmla="*/ 13382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352 h 44606"/>
                <a:gd name="connsiteX4" fmla="*/ 13382 w 32527"/>
                <a:gd name="connsiteY4" fmla="*/ 18352 h 44606"/>
                <a:gd name="connsiteX5" fmla="*/ 13382 w 32527"/>
                <a:gd name="connsiteY5" fmla="*/ 0 h 44606"/>
                <a:gd name="connsiteX6" fmla="*/ 19048 w 32527"/>
                <a:gd name="connsiteY6" fmla="*/ 0 h 44606"/>
                <a:gd name="connsiteX7" fmla="*/ 19048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6121 h 44606"/>
                <a:gd name="connsiteX10" fmla="*/ 19048 w 32527"/>
                <a:gd name="connsiteY10" fmla="*/ 26121 h 44606"/>
                <a:gd name="connsiteX11" fmla="*/ 19048 w 32527"/>
                <a:gd name="connsiteY11" fmla="*/ 44607 h 44606"/>
                <a:gd name="connsiteX12" fmla="*/ 13382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048" y="0"/>
                  </a:lnTo>
                  <a:lnTo>
                    <a:pt x="19048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048" y="26121"/>
                  </a:lnTo>
                  <a:lnTo>
                    <a:pt x="19048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70" name="Freihandform: Form 869">
              <a:extLst>
                <a:ext uri="{FF2B5EF4-FFF2-40B4-BE49-F238E27FC236}">
                  <a16:creationId xmlns:a16="http://schemas.microsoft.com/office/drawing/2014/main" id="{BFAABF01-D4B3-4849-004F-FA90D480DBF4}"/>
                </a:ext>
              </a:extLst>
            </p:cNvPr>
            <p:cNvSpPr/>
            <p:nvPr/>
          </p:nvSpPr>
          <p:spPr>
            <a:xfrm>
              <a:off x="5400557" y="2810652"/>
              <a:ext cx="32430" cy="44606"/>
            </a:xfrm>
            <a:custGeom>
              <a:avLst/>
              <a:gdLst>
                <a:gd name="connsiteX0" fmla="*/ 13382 w 32430"/>
                <a:gd name="connsiteY0" fmla="*/ 44607 h 44606"/>
                <a:gd name="connsiteX1" fmla="*/ 13382 w 32430"/>
                <a:gd name="connsiteY1" fmla="*/ 26121 h 44606"/>
                <a:gd name="connsiteX2" fmla="*/ 0 w 32430"/>
                <a:gd name="connsiteY2" fmla="*/ 26121 h 44606"/>
                <a:gd name="connsiteX3" fmla="*/ 0 w 32430"/>
                <a:gd name="connsiteY3" fmla="*/ 18352 h 44606"/>
                <a:gd name="connsiteX4" fmla="*/ 13382 w 32430"/>
                <a:gd name="connsiteY4" fmla="*/ 18352 h 44606"/>
                <a:gd name="connsiteX5" fmla="*/ 13382 w 32430"/>
                <a:gd name="connsiteY5" fmla="*/ 0 h 44606"/>
                <a:gd name="connsiteX6" fmla="*/ 19048 w 32430"/>
                <a:gd name="connsiteY6" fmla="*/ 0 h 44606"/>
                <a:gd name="connsiteX7" fmla="*/ 19048 w 32430"/>
                <a:gd name="connsiteY7" fmla="*/ 18352 h 44606"/>
                <a:gd name="connsiteX8" fmla="*/ 32430 w 32430"/>
                <a:gd name="connsiteY8" fmla="*/ 18352 h 44606"/>
                <a:gd name="connsiteX9" fmla="*/ 32430 w 32430"/>
                <a:gd name="connsiteY9" fmla="*/ 26121 h 44606"/>
                <a:gd name="connsiteX10" fmla="*/ 19048 w 32430"/>
                <a:gd name="connsiteY10" fmla="*/ 26121 h 44606"/>
                <a:gd name="connsiteX11" fmla="*/ 19048 w 32430"/>
                <a:gd name="connsiteY11" fmla="*/ 44607 h 44606"/>
                <a:gd name="connsiteX12" fmla="*/ 13382 w 32430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30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048" y="0"/>
                  </a:lnTo>
                  <a:lnTo>
                    <a:pt x="19048" y="18352"/>
                  </a:lnTo>
                  <a:lnTo>
                    <a:pt x="32430" y="18352"/>
                  </a:lnTo>
                  <a:lnTo>
                    <a:pt x="32430" y="26121"/>
                  </a:lnTo>
                  <a:lnTo>
                    <a:pt x="19048" y="26121"/>
                  </a:lnTo>
                  <a:lnTo>
                    <a:pt x="19048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71" name="Freihandform: Form 870">
              <a:extLst>
                <a:ext uri="{FF2B5EF4-FFF2-40B4-BE49-F238E27FC236}">
                  <a16:creationId xmlns:a16="http://schemas.microsoft.com/office/drawing/2014/main" id="{0750E024-A3C6-A1A3-A2D7-9F9DD4D1E97B}"/>
                </a:ext>
              </a:extLst>
            </p:cNvPr>
            <p:cNvSpPr/>
            <p:nvPr/>
          </p:nvSpPr>
          <p:spPr>
            <a:xfrm>
              <a:off x="5402999" y="2810652"/>
              <a:ext cx="32527" cy="44606"/>
            </a:xfrm>
            <a:custGeom>
              <a:avLst/>
              <a:gdLst>
                <a:gd name="connsiteX0" fmla="*/ 13382 w 32527"/>
                <a:gd name="connsiteY0" fmla="*/ 44607 h 44606"/>
                <a:gd name="connsiteX1" fmla="*/ 13382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352 h 44606"/>
                <a:gd name="connsiteX4" fmla="*/ 13382 w 32527"/>
                <a:gd name="connsiteY4" fmla="*/ 18352 h 44606"/>
                <a:gd name="connsiteX5" fmla="*/ 13382 w 32527"/>
                <a:gd name="connsiteY5" fmla="*/ 0 h 44606"/>
                <a:gd name="connsiteX6" fmla="*/ 19048 w 32527"/>
                <a:gd name="connsiteY6" fmla="*/ 0 h 44606"/>
                <a:gd name="connsiteX7" fmla="*/ 19048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6121 h 44606"/>
                <a:gd name="connsiteX10" fmla="*/ 19048 w 32527"/>
                <a:gd name="connsiteY10" fmla="*/ 26121 h 44606"/>
                <a:gd name="connsiteX11" fmla="*/ 19048 w 32527"/>
                <a:gd name="connsiteY11" fmla="*/ 44607 h 44606"/>
                <a:gd name="connsiteX12" fmla="*/ 13382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048" y="0"/>
                  </a:lnTo>
                  <a:lnTo>
                    <a:pt x="19048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048" y="26121"/>
                  </a:lnTo>
                  <a:lnTo>
                    <a:pt x="19048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72" name="Freihandform: Form 871">
              <a:extLst>
                <a:ext uri="{FF2B5EF4-FFF2-40B4-BE49-F238E27FC236}">
                  <a16:creationId xmlns:a16="http://schemas.microsoft.com/office/drawing/2014/main" id="{275FCC16-B137-B58D-114C-A3F6D5E97593}"/>
                </a:ext>
              </a:extLst>
            </p:cNvPr>
            <p:cNvSpPr/>
            <p:nvPr/>
          </p:nvSpPr>
          <p:spPr>
            <a:xfrm>
              <a:off x="5434843" y="2823110"/>
              <a:ext cx="32527" cy="44606"/>
            </a:xfrm>
            <a:custGeom>
              <a:avLst/>
              <a:gdLst>
                <a:gd name="connsiteX0" fmla="*/ 13382 w 32527"/>
                <a:gd name="connsiteY0" fmla="*/ 44607 h 44606"/>
                <a:gd name="connsiteX1" fmla="*/ 13382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486 h 44606"/>
                <a:gd name="connsiteX4" fmla="*/ 13382 w 32527"/>
                <a:gd name="connsiteY4" fmla="*/ 18486 h 44606"/>
                <a:gd name="connsiteX5" fmla="*/ 13382 w 32527"/>
                <a:gd name="connsiteY5" fmla="*/ 0 h 44606"/>
                <a:gd name="connsiteX6" fmla="*/ 19145 w 32527"/>
                <a:gd name="connsiteY6" fmla="*/ 0 h 44606"/>
                <a:gd name="connsiteX7" fmla="*/ 19145 w 32527"/>
                <a:gd name="connsiteY7" fmla="*/ 18486 h 44606"/>
                <a:gd name="connsiteX8" fmla="*/ 32528 w 32527"/>
                <a:gd name="connsiteY8" fmla="*/ 18486 h 44606"/>
                <a:gd name="connsiteX9" fmla="*/ 32528 w 32527"/>
                <a:gd name="connsiteY9" fmla="*/ 26121 h 44606"/>
                <a:gd name="connsiteX10" fmla="*/ 19145 w 32527"/>
                <a:gd name="connsiteY10" fmla="*/ 26121 h 44606"/>
                <a:gd name="connsiteX11" fmla="*/ 19145 w 32527"/>
                <a:gd name="connsiteY11" fmla="*/ 44607 h 44606"/>
                <a:gd name="connsiteX12" fmla="*/ 13382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486"/>
                  </a:lnTo>
                  <a:lnTo>
                    <a:pt x="13382" y="18486"/>
                  </a:lnTo>
                  <a:lnTo>
                    <a:pt x="13382" y="0"/>
                  </a:lnTo>
                  <a:lnTo>
                    <a:pt x="19145" y="0"/>
                  </a:lnTo>
                  <a:lnTo>
                    <a:pt x="19145" y="18486"/>
                  </a:lnTo>
                  <a:lnTo>
                    <a:pt x="32528" y="18486"/>
                  </a:lnTo>
                  <a:lnTo>
                    <a:pt x="32528" y="26121"/>
                  </a:lnTo>
                  <a:lnTo>
                    <a:pt x="19145" y="26121"/>
                  </a:lnTo>
                  <a:lnTo>
                    <a:pt x="19145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73" name="Freihandform: Form 872">
              <a:extLst>
                <a:ext uri="{FF2B5EF4-FFF2-40B4-BE49-F238E27FC236}">
                  <a16:creationId xmlns:a16="http://schemas.microsoft.com/office/drawing/2014/main" id="{C4515CDC-7CDB-0E6A-93A6-76F17B6AF4EE}"/>
                </a:ext>
              </a:extLst>
            </p:cNvPr>
            <p:cNvSpPr/>
            <p:nvPr/>
          </p:nvSpPr>
          <p:spPr>
            <a:xfrm>
              <a:off x="5447151" y="2823110"/>
              <a:ext cx="32527" cy="44606"/>
            </a:xfrm>
            <a:custGeom>
              <a:avLst/>
              <a:gdLst>
                <a:gd name="connsiteX0" fmla="*/ 13382 w 32527"/>
                <a:gd name="connsiteY0" fmla="*/ 44607 h 44606"/>
                <a:gd name="connsiteX1" fmla="*/ 13382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486 h 44606"/>
                <a:gd name="connsiteX4" fmla="*/ 13382 w 32527"/>
                <a:gd name="connsiteY4" fmla="*/ 18486 h 44606"/>
                <a:gd name="connsiteX5" fmla="*/ 13382 w 32527"/>
                <a:gd name="connsiteY5" fmla="*/ 0 h 44606"/>
                <a:gd name="connsiteX6" fmla="*/ 19146 w 32527"/>
                <a:gd name="connsiteY6" fmla="*/ 0 h 44606"/>
                <a:gd name="connsiteX7" fmla="*/ 19146 w 32527"/>
                <a:gd name="connsiteY7" fmla="*/ 18486 h 44606"/>
                <a:gd name="connsiteX8" fmla="*/ 32528 w 32527"/>
                <a:gd name="connsiteY8" fmla="*/ 18486 h 44606"/>
                <a:gd name="connsiteX9" fmla="*/ 32528 w 32527"/>
                <a:gd name="connsiteY9" fmla="*/ 26121 h 44606"/>
                <a:gd name="connsiteX10" fmla="*/ 19146 w 32527"/>
                <a:gd name="connsiteY10" fmla="*/ 26121 h 44606"/>
                <a:gd name="connsiteX11" fmla="*/ 19146 w 32527"/>
                <a:gd name="connsiteY11" fmla="*/ 44607 h 44606"/>
                <a:gd name="connsiteX12" fmla="*/ 13382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486"/>
                  </a:lnTo>
                  <a:lnTo>
                    <a:pt x="13382" y="18486"/>
                  </a:lnTo>
                  <a:lnTo>
                    <a:pt x="13382" y="0"/>
                  </a:lnTo>
                  <a:lnTo>
                    <a:pt x="19146" y="0"/>
                  </a:lnTo>
                  <a:lnTo>
                    <a:pt x="19146" y="18486"/>
                  </a:lnTo>
                  <a:lnTo>
                    <a:pt x="32528" y="18486"/>
                  </a:lnTo>
                  <a:lnTo>
                    <a:pt x="32528" y="26121"/>
                  </a:lnTo>
                  <a:lnTo>
                    <a:pt x="19146" y="26121"/>
                  </a:lnTo>
                  <a:lnTo>
                    <a:pt x="19146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74" name="Freihandform: Form 873">
              <a:extLst>
                <a:ext uri="{FF2B5EF4-FFF2-40B4-BE49-F238E27FC236}">
                  <a16:creationId xmlns:a16="http://schemas.microsoft.com/office/drawing/2014/main" id="{704EEAEC-ACCE-ECE7-C1A3-8E89A89356FE}"/>
                </a:ext>
              </a:extLst>
            </p:cNvPr>
            <p:cNvSpPr/>
            <p:nvPr/>
          </p:nvSpPr>
          <p:spPr>
            <a:xfrm>
              <a:off x="5452035" y="2823110"/>
              <a:ext cx="32527" cy="44606"/>
            </a:xfrm>
            <a:custGeom>
              <a:avLst/>
              <a:gdLst>
                <a:gd name="connsiteX0" fmla="*/ 13382 w 32527"/>
                <a:gd name="connsiteY0" fmla="*/ 44607 h 44606"/>
                <a:gd name="connsiteX1" fmla="*/ 13382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486 h 44606"/>
                <a:gd name="connsiteX4" fmla="*/ 13382 w 32527"/>
                <a:gd name="connsiteY4" fmla="*/ 18486 h 44606"/>
                <a:gd name="connsiteX5" fmla="*/ 13382 w 32527"/>
                <a:gd name="connsiteY5" fmla="*/ 0 h 44606"/>
                <a:gd name="connsiteX6" fmla="*/ 19146 w 32527"/>
                <a:gd name="connsiteY6" fmla="*/ 0 h 44606"/>
                <a:gd name="connsiteX7" fmla="*/ 19146 w 32527"/>
                <a:gd name="connsiteY7" fmla="*/ 18486 h 44606"/>
                <a:gd name="connsiteX8" fmla="*/ 32528 w 32527"/>
                <a:gd name="connsiteY8" fmla="*/ 18486 h 44606"/>
                <a:gd name="connsiteX9" fmla="*/ 32528 w 32527"/>
                <a:gd name="connsiteY9" fmla="*/ 26121 h 44606"/>
                <a:gd name="connsiteX10" fmla="*/ 19146 w 32527"/>
                <a:gd name="connsiteY10" fmla="*/ 26121 h 44606"/>
                <a:gd name="connsiteX11" fmla="*/ 19146 w 32527"/>
                <a:gd name="connsiteY11" fmla="*/ 44607 h 44606"/>
                <a:gd name="connsiteX12" fmla="*/ 13382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486"/>
                  </a:lnTo>
                  <a:lnTo>
                    <a:pt x="13382" y="18486"/>
                  </a:lnTo>
                  <a:lnTo>
                    <a:pt x="13382" y="0"/>
                  </a:lnTo>
                  <a:lnTo>
                    <a:pt x="19146" y="0"/>
                  </a:lnTo>
                  <a:lnTo>
                    <a:pt x="19146" y="18486"/>
                  </a:lnTo>
                  <a:lnTo>
                    <a:pt x="32528" y="18486"/>
                  </a:lnTo>
                  <a:lnTo>
                    <a:pt x="32528" y="26121"/>
                  </a:lnTo>
                  <a:lnTo>
                    <a:pt x="19146" y="26121"/>
                  </a:lnTo>
                  <a:lnTo>
                    <a:pt x="19146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75" name="Freihandform: Form 874">
              <a:extLst>
                <a:ext uri="{FF2B5EF4-FFF2-40B4-BE49-F238E27FC236}">
                  <a16:creationId xmlns:a16="http://schemas.microsoft.com/office/drawing/2014/main" id="{D3F0AE6C-135F-01A7-5AFD-557D11EFE3C9}"/>
                </a:ext>
              </a:extLst>
            </p:cNvPr>
            <p:cNvSpPr/>
            <p:nvPr/>
          </p:nvSpPr>
          <p:spPr>
            <a:xfrm>
              <a:off x="5456919" y="2823110"/>
              <a:ext cx="32527" cy="44606"/>
            </a:xfrm>
            <a:custGeom>
              <a:avLst/>
              <a:gdLst>
                <a:gd name="connsiteX0" fmla="*/ 13480 w 32527"/>
                <a:gd name="connsiteY0" fmla="*/ 44607 h 44606"/>
                <a:gd name="connsiteX1" fmla="*/ 13480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486 h 44606"/>
                <a:gd name="connsiteX4" fmla="*/ 13480 w 32527"/>
                <a:gd name="connsiteY4" fmla="*/ 18486 h 44606"/>
                <a:gd name="connsiteX5" fmla="*/ 13480 w 32527"/>
                <a:gd name="connsiteY5" fmla="*/ 0 h 44606"/>
                <a:gd name="connsiteX6" fmla="*/ 19146 w 32527"/>
                <a:gd name="connsiteY6" fmla="*/ 0 h 44606"/>
                <a:gd name="connsiteX7" fmla="*/ 19146 w 32527"/>
                <a:gd name="connsiteY7" fmla="*/ 18486 h 44606"/>
                <a:gd name="connsiteX8" fmla="*/ 32528 w 32527"/>
                <a:gd name="connsiteY8" fmla="*/ 18486 h 44606"/>
                <a:gd name="connsiteX9" fmla="*/ 32528 w 32527"/>
                <a:gd name="connsiteY9" fmla="*/ 26121 h 44606"/>
                <a:gd name="connsiteX10" fmla="*/ 19146 w 32527"/>
                <a:gd name="connsiteY10" fmla="*/ 26121 h 44606"/>
                <a:gd name="connsiteX11" fmla="*/ 19146 w 32527"/>
                <a:gd name="connsiteY11" fmla="*/ 44607 h 44606"/>
                <a:gd name="connsiteX12" fmla="*/ 13480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480" y="44607"/>
                  </a:moveTo>
                  <a:lnTo>
                    <a:pt x="13480" y="26121"/>
                  </a:lnTo>
                  <a:lnTo>
                    <a:pt x="0" y="26121"/>
                  </a:lnTo>
                  <a:lnTo>
                    <a:pt x="0" y="18486"/>
                  </a:lnTo>
                  <a:lnTo>
                    <a:pt x="13480" y="18486"/>
                  </a:lnTo>
                  <a:lnTo>
                    <a:pt x="13480" y="0"/>
                  </a:lnTo>
                  <a:lnTo>
                    <a:pt x="19146" y="0"/>
                  </a:lnTo>
                  <a:lnTo>
                    <a:pt x="19146" y="18486"/>
                  </a:lnTo>
                  <a:lnTo>
                    <a:pt x="32528" y="18486"/>
                  </a:lnTo>
                  <a:lnTo>
                    <a:pt x="32528" y="26121"/>
                  </a:lnTo>
                  <a:lnTo>
                    <a:pt x="19146" y="26121"/>
                  </a:lnTo>
                  <a:lnTo>
                    <a:pt x="19146" y="44607"/>
                  </a:lnTo>
                  <a:lnTo>
                    <a:pt x="13480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76" name="Freihandform: Form 875">
              <a:extLst>
                <a:ext uri="{FF2B5EF4-FFF2-40B4-BE49-F238E27FC236}">
                  <a16:creationId xmlns:a16="http://schemas.microsoft.com/office/drawing/2014/main" id="{8FB8C1B4-37FD-160F-F079-1BBB3A925B79}"/>
                </a:ext>
              </a:extLst>
            </p:cNvPr>
            <p:cNvSpPr/>
            <p:nvPr/>
          </p:nvSpPr>
          <p:spPr>
            <a:xfrm>
              <a:off x="5466784" y="2823110"/>
              <a:ext cx="32527" cy="44606"/>
            </a:xfrm>
            <a:custGeom>
              <a:avLst/>
              <a:gdLst>
                <a:gd name="connsiteX0" fmla="*/ 13382 w 32527"/>
                <a:gd name="connsiteY0" fmla="*/ 44607 h 44606"/>
                <a:gd name="connsiteX1" fmla="*/ 13382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486 h 44606"/>
                <a:gd name="connsiteX4" fmla="*/ 13382 w 32527"/>
                <a:gd name="connsiteY4" fmla="*/ 18486 h 44606"/>
                <a:gd name="connsiteX5" fmla="*/ 13382 w 32527"/>
                <a:gd name="connsiteY5" fmla="*/ 0 h 44606"/>
                <a:gd name="connsiteX6" fmla="*/ 19048 w 32527"/>
                <a:gd name="connsiteY6" fmla="*/ 0 h 44606"/>
                <a:gd name="connsiteX7" fmla="*/ 19048 w 32527"/>
                <a:gd name="connsiteY7" fmla="*/ 18486 h 44606"/>
                <a:gd name="connsiteX8" fmla="*/ 32528 w 32527"/>
                <a:gd name="connsiteY8" fmla="*/ 18486 h 44606"/>
                <a:gd name="connsiteX9" fmla="*/ 32528 w 32527"/>
                <a:gd name="connsiteY9" fmla="*/ 26121 h 44606"/>
                <a:gd name="connsiteX10" fmla="*/ 19048 w 32527"/>
                <a:gd name="connsiteY10" fmla="*/ 26121 h 44606"/>
                <a:gd name="connsiteX11" fmla="*/ 19048 w 32527"/>
                <a:gd name="connsiteY11" fmla="*/ 44607 h 44606"/>
                <a:gd name="connsiteX12" fmla="*/ 13382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486"/>
                  </a:lnTo>
                  <a:lnTo>
                    <a:pt x="13382" y="18486"/>
                  </a:lnTo>
                  <a:lnTo>
                    <a:pt x="13382" y="0"/>
                  </a:lnTo>
                  <a:lnTo>
                    <a:pt x="19048" y="0"/>
                  </a:lnTo>
                  <a:lnTo>
                    <a:pt x="19048" y="18486"/>
                  </a:lnTo>
                  <a:lnTo>
                    <a:pt x="32528" y="18486"/>
                  </a:lnTo>
                  <a:lnTo>
                    <a:pt x="32528" y="26121"/>
                  </a:lnTo>
                  <a:lnTo>
                    <a:pt x="19048" y="26121"/>
                  </a:lnTo>
                  <a:lnTo>
                    <a:pt x="19048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77" name="Freihandform: Form 876">
              <a:extLst>
                <a:ext uri="{FF2B5EF4-FFF2-40B4-BE49-F238E27FC236}">
                  <a16:creationId xmlns:a16="http://schemas.microsoft.com/office/drawing/2014/main" id="{95FC25DD-7035-9682-BED4-5F303A0B566D}"/>
                </a:ext>
              </a:extLst>
            </p:cNvPr>
            <p:cNvSpPr/>
            <p:nvPr/>
          </p:nvSpPr>
          <p:spPr>
            <a:xfrm>
              <a:off x="5476650" y="2823110"/>
              <a:ext cx="32430" cy="44606"/>
            </a:xfrm>
            <a:custGeom>
              <a:avLst/>
              <a:gdLst>
                <a:gd name="connsiteX0" fmla="*/ 13382 w 32430"/>
                <a:gd name="connsiteY0" fmla="*/ 44607 h 44606"/>
                <a:gd name="connsiteX1" fmla="*/ 13382 w 32430"/>
                <a:gd name="connsiteY1" fmla="*/ 26121 h 44606"/>
                <a:gd name="connsiteX2" fmla="*/ 0 w 32430"/>
                <a:gd name="connsiteY2" fmla="*/ 26121 h 44606"/>
                <a:gd name="connsiteX3" fmla="*/ 0 w 32430"/>
                <a:gd name="connsiteY3" fmla="*/ 18486 h 44606"/>
                <a:gd name="connsiteX4" fmla="*/ 13382 w 32430"/>
                <a:gd name="connsiteY4" fmla="*/ 18486 h 44606"/>
                <a:gd name="connsiteX5" fmla="*/ 13382 w 32430"/>
                <a:gd name="connsiteY5" fmla="*/ 0 h 44606"/>
                <a:gd name="connsiteX6" fmla="*/ 19048 w 32430"/>
                <a:gd name="connsiteY6" fmla="*/ 0 h 44606"/>
                <a:gd name="connsiteX7" fmla="*/ 19048 w 32430"/>
                <a:gd name="connsiteY7" fmla="*/ 18486 h 44606"/>
                <a:gd name="connsiteX8" fmla="*/ 32430 w 32430"/>
                <a:gd name="connsiteY8" fmla="*/ 18486 h 44606"/>
                <a:gd name="connsiteX9" fmla="*/ 32430 w 32430"/>
                <a:gd name="connsiteY9" fmla="*/ 26121 h 44606"/>
                <a:gd name="connsiteX10" fmla="*/ 19048 w 32430"/>
                <a:gd name="connsiteY10" fmla="*/ 26121 h 44606"/>
                <a:gd name="connsiteX11" fmla="*/ 19048 w 32430"/>
                <a:gd name="connsiteY11" fmla="*/ 44607 h 44606"/>
                <a:gd name="connsiteX12" fmla="*/ 13382 w 32430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30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486"/>
                  </a:lnTo>
                  <a:lnTo>
                    <a:pt x="13382" y="18486"/>
                  </a:lnTo>
                  <a:lnTo>
                    <a:pt x="13382" y="0"/>
                  </a:lnTo>
                  <a:lnTo>
                    <a:pt x="19048" y="0"/>
                  </a:lnTo>
                  <a:lnTo>
                    <a:pt x="19048" y="18486"/>
                  </a:lnTo>
                  <a:lnTo>
                    <a:pt x="32430" y="18486"/>
                  </a:lnTo>
                  <a:lnTo>
                    <a:pt x="32430" y="26121"/>
                  </a:lnTo>
                  <a:lnTo>
                    <a:pt x="19048" y="26121"/>
                  </a:lnTo>
                  <a:lnTo>
                    <a:pt x="19048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78" name="Freihandform: Form 877">
              <a:extLst>
                <a:ext uri="{FF2B5EF4-FFF2-40B4-BE49-F238E27FC236}">
                  <a16:creationId xmlns:a16="http://schemas.microsoft.com/office/drawing/2014/main" id="{3E402649-BF48-1C2D-9A6D-56F3FE1E8B40}"/>
                </a:ext>
              </a:extLst>
            </p:cNvPr>
            <p:cNvSpPr/>
            <p:nvPr/>
          </p:nvSpPr>
          <p:spPr>
            <a:xfrm>
              <a:off x="5481534" y="2823110"/>
              <a:ext cx="32527" cy="44606"/>
            </a:xfrm>
            <a:custGeom>
              <a:avLst/>
              <a:gdLst>
                <a:gd name="connsiteX0" fmla="*/ 13382 w 32527"/>
                <a:gd name="connsiteY0" fmla="*/ 44607 h 44606"/>
                <a:gd name="connsiteX1" fmla="*/ 13382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486 h 44606"/>
                <a:gd name="connsiteX4" fmla="*/ 13382 w 32527"/>
                <a:gd name="connsiteY4" fmla="*/ 18486 h 44606"/>
                <a:gd name="connsiteX5" fmla="*/ 13382 w 32527"/>
                <a:gd name="connsiteY5" fmla="*/ 0 h 44606"/>
                <a:gd name="connsiteX6" fmla="*/ 19145 w 32527"/>
                <a:gd name="connsiteY6" fmla="*/ 0 h 44606"/>
                <a:gd name="connsiteX7" fmla="*/ 19145 w 32527"/>
                <a:gd name="connsiteY7" fmla="*/ 18486 h 44606"/>
                <a:gd name="connsiteX8" fmla="*/ 32528 w 32527"/>
                <a:gd name="connsiteY8" fmla="*/ 18486 h 44606"/>
                <a:gd name="connsiteX9" fmla="*/ 32528 w 32527"/>
                <a:gd name="connsiteY9" fmla="*/ 26121 h 44606"/>
                <a:gd name="connsiteX10" fmla="*/ 19145 w 32527"/>
                <a:gd name="connsiteY10" fmla="*/ 26121 h 44606"/>
                <a:gd name="connsiteX11" fmla="*/ 19145 w 32527"/>
                <a:gd name="connsiteY11" fmla="*/ 44607 h 44606"/>
                <a:gd name="connsiteX12" fmla="*/ 13382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486"/>
                  </a:lnTo>
                  <a:lnTo>
                    <a:pt x="13382" y="18486"/>
                  </a:lnTo>
                  <a:lnTo>
                    <a:pt x="13382" y="0"/>
                  </a:lnTo>
                  <a:lnTo>
                    <a:pt x="19145" y="0"/>
                  </a:lnTo>
                  <a:lnTo>
                    <a:pt x="19145" y="18486"/>
                  </a:lnTo>
                  <a:lnTo>
                    <a:pt x="32528" y="18486"/>
                  </a:lnTo>
                  <a:lnTo>
                    <a:pt x="32528" y="26121"/>
                  </a:lnTo>
                  <a:lnTo>
                    <a:pt x="19145" y="26121"/>
                  </a:lnTo>
                  <a:lnTo>
                    <a:pt x="19145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79" name="Freihandform: Form 878">
              <a:extLst>
                <a:ext uri="{FF2B5EF4-FFF2-40B4-BE49-F238E27FC236}">
                  <a16:creationId xmlns:a16="http://schemas.microsoft.com/office/drawing/2014/main" id="{EAFD8A97-E027-6874-104F-27F4C8042471}"/>
                </a:ext>
              </a:extLst>
            </p:cNvPr>
            <p:cNvSpPr/>
            <p:nvPr/>
          </p:nvSpPr>
          <p:spPr>
            <a:xfrm>
              <a:off x="5486418" y="2823110"/>
              <a:ext cx="32430" cy="44606"/>
            </a:xfrm>
            <a:custGeom>
              <a:avLst/>
              <a:gdLst>
                <a:gd name="connsiteX0" fmla="*/ 13382 w 32430"/>
                <a:gd name="connsiteY0" fmla="*/ 44607 h 44606"/>
                <a:gd name="connsiteX1" fmla="*/ 13382 w 32430"/>
                <a:gd name="connsiteY1" fmla="*/ 26121 h 44606"/>
                <a:gd name="connsiteX2" fmla="*/ 0 w 32430"/>
                <a:gd name="connsiteY2" fmla="*/ 26121 h 44606"/>
                <a:gd name="connsiteX3" fmla="*/ 0 w 32430"/>
                <a:gd name="connsiteY3" fmla="*/ 18486 h 44606"/>
                <a:gd name="connsiteX4" fmla="*/ 13382 w 32430"/>
                <a:gd name="connsiteY4" fmla="*/ 18486 h 44606"/>
                <a:gd name="connsiteX5" fmla="*/ 13382 w 32430"/>
                <a:gd name="connsiteY5" fmla="*/ 0 h 44606"/>
                <a:gd name="connsiteX6" fmla="*/ 19048 w 32430"/>
                <a:gd name="connsiteY6" fmla="*/ 0 h 44606"/>
                <a:gd name="connsiteX7" fmla="*/ 19048 w 32430"/>
                <a:gd name="connsiteY7" fmla="*/ 18486 h 44606"/>
                <a:gd name="connsiteX8" fmla="*/ 32430 w 32430"/>
                <a:gd name="connsiteY8" fmla="*/ 18486 h 44606"/>
                <a:gd name="connsiteX9" fmla="*/ 32430 w 32430"/>
                <a:gd name="connsiteY9" fmla="*/ 26121 h 44606"/>
                <a:gd name="connsiteX10" fmla="*/ 19048 w 32430"/>
                <a:gd name="connsiteY10" fmla="*/ 26121 h 44606"/>
                <a:gd name="connsiteX11" fmla="*/ 19048 w 32430"/>
                <a:gd name="connsiteY11" fmla="*/ 44607 h 44606"/>
                <a:gd name="connsiteX12" fmla="*/ 13382 w 32430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30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486"/>
                  </a:lnTo>
                  <a:lnTo>
                    <a:pt x="13382" y="18486"/>
                  </a:lnTo>
                  <a:lnTo>
                    <a:pt x="13382" y="0"/>
                  </a:lnTo>
                  <a:lnTo>
                    <a:pt x="19048" y="0"/>
                  </a:lnTo>
                  <a:lnTo>
                    <a:pt x="19048" y="18486"/>
                  </a:lnTo>
                  <a:lnTo>
                    <a:pt x="32430" y="18486"/>
                  </a:lnTo>
                  <a:lnTo>
                    <a:pt x="32430" y="26121"/>
                  </a:lnTo>
                  <a:lnTo>
                    <a:pt x="19048" y="26121"/>
                  </a:lnTo>
                  <a:lnTo>
                    <a:pt x="19048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80" name="Freihandform: Form 879">
              <a:extLst>
                <a:ext uri="{FF2B5EF4-FFF2-40B4-BE49-F238E27FC236}">
                  <a16:creationId xmlns:a16="http://schemas.microsoft.com/office/drawing/2014/main" id="{A52FDC6D-4187-CDBE-449B-EBB632FA0DE2}"/>
                </a:ext>
              </a:extLst>
            </p:cNvPr>
            <p:cNvSpPr/>
            <p:nvPr/>
          </p:nvSpPr>
          <p:spPr>
            <a:xfrm>
              <a:off x="5491302" y="2823110"/>
              <a:ext cx="32527" cy="44606"/>
            </a:xfrm>
            <a:custGeom>
              <a:avLst/>
              <a:gdLst>
                <a:gd name="connsiteX0" fmla="*/ 13382 w 32527"/>
                <a:gd name="connsiteY0" fmla="*/ 44607 h 44606"/>
                <a:gd name="connsiteX1" fmla="*/ 13382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486 h 44606"/>
                <a:gd name="connsiteX4" fmla="*/ 13382 w 32527"/>
                <a:gd name="connsiteY4" fmla="*/ 18486 h 44606"/>
                <a:gd name="connsiteX5" fmla="*/ 13382 w 32527"/>
                <a:gd name="connsiteY5" fmla="*/ 0 h 44606"/>
                <a:gd name="connsiteX6" fmla="*/ 19145 w 32527"/>
                <a:gd name="connsiteY6" fmla="*/ 0 h 44606"/>
                <a:gd name="connsiteX7" fmla="*/ 19145 w 32527"/>
                <a:gd name="connsiteY7" fmla="*/ 18486 h 44606"/>
                <a:gd name="connsiteX8" fmla="*/ 32528 w 32527"/>
                <a:gd name="connsiteY8" fmla="*/ 18486 h 44606"/>
                <a:gd name="connsiteX9" fmla="*/ 32528 w 32527"/>
                <a:gd name="connsiteY9" fmla="*/ 26121 h 44606"/>
                <a:gd name="connsiteX10" fmla="*/ 19145 w 32527"/>
                <a:gd name="connsiteY10" fmla="*/ 26121 h 44606"/>
                <a:gd name="connsiteX11" fmla="*/ 19145 w 32527"/>
                <a:gd name="connsiteY11" fmla="*/ 44607 h 44606"/>
                <a:gd name="connsiteX12" fmla="*/ 13382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486"/>
                  </a:lnTo>
                  <a:lnTo>
                    <a:pt x="13382" y="18486"/>
                  </a:lnTo>
                  <a:lnTo>
                    <a:pt x="13382" y="0"/>
                  </a:lnTo>
                  <a:lnTo>
                    <a:pt x="19145" y="0"/>
                  </a:lnTo>
                  <a:lnTo>
                    <a:pt x="19145" y="18486"/>
                  </a:lnTo>
                  <a:lnTo>
                    <a:pt x="32528" y="18486"/>
                  </a:lnTo>
                  <a:lnTo>
                    <a:pt x="32528" y="26121"/>
                  </a:lnTo>
                  <a:lnTo>
                    <a:pt x="19145" y="26121"/>
                  </a:lnTo>
                  <a:lnTo>
                    <a:pt x="19145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81" name="Freihandform: Form 880">
              <a:extLst>
                <a:ext uri="{FF2B5EF4-FFF2-40B4-BE49-F238E27FC236}">
                  <a16:creationId xmlns:a16="http://schemas.microsoft.com/office/drawing/2014/main" id="{6103195E-C479-3086-76CB-97B7E8667A85}"/>
                </a:ext>
              </a:extLst>
            </p:cNvPr>
            <p:cNvSpPr/>
            <p:nvPr/>
          </p:nvSpPr>
          <p:spPr>
            <a:xfrm>
              <a:off x="5496186" y="2823110"/>
              <a:ext cx="32527" cy="44606"/>
            </a:xfrm>
            <a:custGeom>
              <a:avLst/>
              <a:gdLst>
                <a:gd name="connsiteX0" fmla="*/ 13382 w 32527"/>
                <a:gd name="connsiteY0" fmla="*/ 44607 h 44606"/>
                <a:gd name="connsiteX1" fmla="*/ 13382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486 h 44606"/>
                <a:gd name="connsiteX4" fmla="*/ 13382 w 32527"/>
                <a:gd name="connsiteY4" fmla="*/ 18486 h 44606"/>
                <a:gd name="connsiteX5" fmla="*/ 13382 w 32527"/>
                <a:gd name="connsiteY5" fmla="*/ 0 h 44606"/>
                <a:gd name="connsiteX6" fmla="*/ 19145 w 32527"/>
                <a:gd name="connsiteY6" fmla="*/ 0 h 44606"/>
                <a:gd name="connsiteX7" fmla="*/ 19145 w 32527"/>
                <a:gd name="connsiteY7" fmla="*/ 18486 h 44606"/>
                <a:gd name="connsiteX8" fmla="*/ 32528 w 32527"/>
                <a:gd name="connsiteY8" fmla="*/ 18486 h 44606"/>
                <a:gd name="connsiteX9" fmla="*/ 32528 w 32527"/>
                <a:gd name="connsiteY9" fmla="*/ 26121 h 44606"/>
                <a:gd name="connsiteX10" fmla="*/ 19145 w 32527"/>
                <a:gd name="connsiteY10" fmla="*/ 26121 h 44606"/>
                <a:gd name="connsiteX11" fmla="*/ 19145 w 32527"/>
                <a:gd name="connsiteY11" fmla="*/ 44607 h 44606"/>
                <a:gd name="connsiteX12" fmla="*/ 13382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486"/>
                  </a:lnTo>
                  <a:lnTo>
                    <a:pt x="13382" y="18486"/>
                  </a:lnTo>
                  <a:lnTo>
                    <a:pt x="13382" y="0"/>
                  </a:lnTo>
                  <a:lnTo>
                    <a:pt x="19145" y="0"/>
                  </a:lnTo>
                  <a:lnTo>
                    <a:pt x="19145" y="18486"/>
                  </a:lnTo>
                  <a:lnTo>
                    <a:pt x="32528" y="18486"/>
                  </a:lnTo>
                  <a:lnTo>
                    <a:pt x="32528" y="26121"/>
                  </a:lnTo>
                  <a:lnTo>
                    <a:pt x="19145" y="26121"/>
                  </a:lnTo>
                  <a:lnTo>
                    <a:pt x="19145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82" name="Freihandform: Form 881">
              <a:extLst>
                <a:ext uri="{FF2B5EF4-FFF2-40B4-BE49-F238E27FC236}">
                  <a16:creationId xmlns:a16="http://schemas.microsoft.com/office/drawing/2014/main" id="{EC1C3878-3879-B34C-6C3E-58A31D956509}"/>
                </a:ext>
              </a:extLst>
            </p:cNvPr>
            <p:cNvSpPr/>
            <p:nvPr/>
          </p:nvSpPr>
          <p:spPr>
            <a:xfrm>
              <a:off x="5498628" y="2823110"/>
              <a:ext cx="32527" cy="44606"/>
            </a:xfrm>
            <a:custGeom>
              <a:avLst/>
              <a:gdLst>
                <a:gd name="connsiteX0" fmla="*/ 13480 w 32527"/>
                <a:gd name="connsiteY0" fmla="*/ 44607 h 44606"/>
                <a:gd name="connsiteX1" fmla="*/ 13480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486 h 44606"/>
                <a:gd name="connsiteX4" fmla="*/ 13480 w 32527"/>
                <a:gd name="connsiteY4" fmla="*/ 18486 h 44606"/>
                <a:gd name="connsiteX5" fmla="*/ 13480 w 32527"/>
                <a:gd name="connsiteY5" fmla="*/ 0 h 44606"/>
                <a:gd name="connsiteX6" fmla="*/ 19145 w 32527"/>
                <a:gd name="connsiteY6" fmla="*/ 0 h 44606"/>
                <a:gd name="connsiteX7" fmla="*/ 19145 w 32527"/>
                <a:gd name="connsiteY7" fmla="*/ 18486 h 44606"/>
                <a:gd name="connsiteX8" fmla="*/ 32528 w 32527"/>
                <a:gd name="connsiteY8" fmla="*/ 18486 h 44606"/>
                <a:gd name="connsiteX9" fmla="*/ 32528 w 32527"/>
                <a:gd name="connsiteY9" fmla="*/ 26121 h 44606"/>
                <a:gd name="connsiteX10" fmla="*/ 19145 w 32527"/>
                <a:gd name="connsiteY10" fmla="*/ 26121 h 44606"/>
                <a:gd name="connsiteX11" fmla="*/ 19145 w 32527"/>
                <a:gd name="connsiteY11" fmla="*/ 44607 h 44606"/>
                <a:gd name="connsiteX12" fmla="*/ 13480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480" y="44607"/>
                  </a:moveTo>
                  <a:lnTo>
                    <a:pt x="13480" y="26121"/>
                  </a:lnTo>
                  <a:lnTo>
                    <a:pt x="0" y="26121"/>
                  </a:lnTo>
                  <a:lnTo>
                    <a:pt x="0" y="18486"/>
                  </a:lnTo>
                  <a:lnTo>
                    <a:pt x="13480" y="18486"/>
                  </a:lnTo>
                  <a:lnTo>
                    <a:pt x="13480" y="0"/>
                  </a:lnTo>
                  <a:lnTo>
                    <a:pt x="19145" y="0"/>
                  </a:lnTo>
                  <a:lnTo>
                    <a:pt x="19145" y="18486"/>
                  </a:lnTo>
                  <a:lnTo>
                    <a:pt x="32528" y="18486"/>
                  </a:lnTo>
                  <a:lnTo>
                    <a:pt x="32528" y="26121"/>
                  </a:lnTo>
                  <a:lnTo>
                    <a:pt x="19145" y="26121"/>
                  </a:lnTo>
                  <a:lnTo>
                    <a:pt x="19145" y="44607"/>
                  </a:lnTo>
                  <a:lnTo>
                    <a:pt x="13480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83" name="Freihandform: Form 882">
              <a:extLst>
                <a:ext uri="{FF2B5EF4-FFF2-40B4-BE49-F238E27FC236}">
                  <a16:creationId xmlns:a16="http://schemas.microsoft.com/office/drawing/2014/main" id="{CF1B34DD-B89E-8240-57A2-C55C6D131304}"/>
                </a:ext>
              </a:extLst>
            </p:cNvPr>
            <p:cNvSpPr/>
            <p:nvPr/>
          </p:nvSpPr>
          <p:spPr>
            <a:xfrm>
              <a:off x="5506052" y="2823110"/>
              <a:ext cx="32527" cy="44606"/>
            </a:xfrm>
            <a:custGeom>
              <a:avLst/>
              <a:gdLst>
                <a:gd name="connsiteX0" fmla="*/ 13382 w 32527"/>
                <a:gd name="connsiteY0" fmla="*/ 44607 h 44606"/>
                <a:gd name="connsiteX1" fmla="*/ 13382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486 h 44606"/>
                <a:gd name="connsiteX4" fmla="*/ 13382 w 32527"/>
                <a:gd name="connsiteY4" fmla="*/ 18486 h 44606"/>
                <a:gd name="connsiteX5" fmla="*/ 13382 w 32527"/>
                <a:gd name="connsiteY5" fmla="*/ 0 h 44606"/>
                <a:gd name="connsiteX6" fmla="*/ 19146 w 32527"/>
                <a:gd name="connsiteY6" fmla="*/ 0 h 44606"/>
                <a:gd name="connsiteX7" fmla="*/ 19146 w 32527"/>
                <a:gd name="connsiteY7" fmla="*/ 18486 h 44606"/>
                <a:gd name="connsiteX8" fmla="*/ 32528 w 32527"/>
                <a:gd name="connsiteY8" fmla="*/ 18486 h 44606"/>
                <a:gd name="connsiteX9" fmla="*/ 32528 w 32527"/>
                <a:gd name="connsiteY9" fmla="*/ 26121 h 44606"/>
                <a:gd name="connsiteX10" fmla="*/ 19146 w 32527"/>
                <a:gd name="connsiteY10" fmla="*/ 26121 h 44606"/>
                <a:gd name="connsiteX11" fmla="*/ 19146 w 32527"/>
                <a:gd name="connsiteY11" fmla="*/ 44607 h 44606"/>
                <a:gd name="connsiteX12" fmla="*/ 13382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486"/>
                  </a:lnTo>
                  <a:lnTo>
                    <a:pt x="13382" y="18486"/>
                  </a:lnTo>
                  <a:lnTo>
                    <a:pt x="13382" y="0"/>
                  </a:lnTo>
                  <a:lnTo>
                    <a:pt x="19146" y="0"/>
                  </a:lnTo>
                  <a:lnTo>
                    <a:pt x="19146" y="18486"/>
                  </a:lnTo>
                  <a:lnTo>
                    <a:pt x="32528" y="18486"/>
                  </a:lnTo>
                  <a:lnTo>
                    <a:pt x="32528" y="26121"/>
                  </a:lnTo>
                  <a:lnTo>
                    <a:pt x="19146" y="26121"/>
                  </a:lnTo>
                  <a:lnTo>
                    <a:pt x="19146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84" name="Freihandform: Form 883">
              <a:extLst>
                <a:ext uri="{FF2B5EF4-FFF2-40B4-BE49-F238E27FC236}">
                  <a16:creationId xmlns:a16="http://schemas.microsoft.com/office/drawing/2014/main" id="{D49D080E-DF5C-6520-B351-FEA5B4B9AE96}"/>
                </a:ext>
              </a:extLst>
            </p:cNvPr>
            <p:cNvSpPr/>
            <p:nvPr/>
          </p:nvSpPr>
          <p:spPr>
            <a:xfrm>
              <a:off x="5508494" y="2823110"/>
              <a:ext cx="32527" cy="44606"/>
            </a:xfrm>
            <a:custGeom>
              <a:avLst/>
              <a:gdLst>
                <a:gd name="connsiteX0" fmla="*/ 13382 w 32527"/>
                <a:gd name="connsiteY0" fmla="*/ 44607 h 44606"/>
                <a:gd name="connsiteX1" fmla="*/ 13382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486 h 44606"/>
                <a:gd name="connsiteX4" fmla="*/ 13382 w 32527"/>
                <a:gd name="connsiteY4" fmla="*/ 18486 h 44606"/>
                <a:gd name="connsiteX5" fmla="*/ 13382 w 32527"/>
                <a:gd name="connsiteY5" fmla="*/ 0 h 44606"/>
                <a:gd name="connsiteX6" fmla="*/ 19146 w 32527"/>
                <a:gd name="connsiteY6" fmla="*/ 0 h 44606"/>
                <a:gd name="connsiteX7" fmla="*/ 19146 w 32527"/>
                <a:gd name="connsiteY7" fmla="*/ 18486 h 44606"/>
                <a:gd name="connsiteX8" fmla="*/ 32528 w 32527"/>
                <a:gd name="connsiteY8" fmla="*/ 18486 h 44606"/>
                <a:gd name="connsiteX9" fmla="*/ 32528 w 32527"/>
                <a:gd name="connsiteY9" fmla="*/ 26121 h 44606"/>
                <a:gd name="connsiteX10" fmla="*/ 19146 w 32527"/>
                <a:gd name="connsiteY10" fmla="*/ 26121 h 44606"/>
                <a:gd name="connsiteX11" fmla="*/ 19146 w 32527"/>
                <a:gd name="connsiteY11" fmla="*/ 44607 h 44606"/>
                <a:gd name="connsiteX12" fmla="*/ 13382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486"/>
                  </a:lnTo>
                  <a:lnTo>
                    <a:pt x="13382" y="18486"/>
                  </a:lnTo>
                  <a:lnTo>
                    <a:pt x="13382" y="0"/>
                  </a:lnTo>
                  <a:lnTo>
                    <a:pt x="19146" y="0"/>
                  </a:lnTo>
                  <a:lnTo>
                    <a:pt x="19146" y="18486"/>
                  </a:lnTo>
                  <a:lnTo>
                    <a:pt x="32528" y="18486"/>
                  </a:lnTo>
                  <a:lnTo>
                    <a:pt x="32528" y="26121"/>
                  </a:lnTo>
                  <a:lnTo>
                    <a:pt x="19146" y="26121"/>
                  </a:lnTo>
                  <a:lnTo>
                    <a:pt x="19146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85" name="Freihandform: Form 884">
              <a:extLst>
                <a:ext uri="{FF2B5EF4-FFF2-40B4-BE49-F238E27FC236}">
                  <a16:creationId xmlns:a16="http://schemas.microsoft.com/office/drawing/2014/main" id="{43FBD642-A5B7-8B4C-0AC6-F6E599E85C6F}"/>
                </a:ext>
              </a:extLst>
            </p:cNvPr>
            <p:cNvSpPr/>
            <p:nvPr/>
          </p:nvSpPr>
          <p:spPr>
            <a:xfrm>
              <a:off x="5528128" y="2823110"/>
              <a:ext cx="32527" cy="44606"/>
            </a:xfrm>
            <a:custGeom>
              <a:avLst/>
              <a:gdLst>
                <a:gd name="connsiteX0" fmla="*/ 13382 w 32527"/>
                <a:gd name="connsiteY0" fmla="*/ 44607 h 44606"/>
                <a:gd name="connsiteX1" fmla="*/ 13382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486 h 44606"/>
                <a:gd name="connsiteX4" fmla="*/ 13382 w 32527"/>
                <a:gd name="connsiteY4" fmla="*/ 18486 h 44606"/>
                <a:gd name="connsiteX5" fmla="*/ 13382 w 32527"/>
                <a:gd name="connsiteY5" fmla="*/ 0 h 44606"/>
                <a:gd name="connsiteX6" fmla="*/ 19145 w 32527"/>
                <a:gd name="connsiteY6" fmla="*/ 0 h 44606"/>
                <a:gd name="connsiteX7" fmla="*/ 19145 w 32527"/>
                <a:gd name="connsiteY7" fmla="*/ 18486 h 44606"/>
                <a:gd name="connsiteX8" fmla="*/ 32528 w 32527"/>
                <a:gd name="connsiteY8" fmla="*/ 18486 h 44606"/>
                <a:gd name="connsiteX9" fmla="*/ 32528 w 32527"/>
                <a:gd name="connsiteY9" fmla="*/ 26121 h 44606"/>
                <a:gd name="connsiteX10" fmla="*/ 19145 w 32527"/>
                <a:gd name="connsiteY10" fmla="*/ 26121 h 44606"/>
                <a:gd name="connsiteX11" fmla="*/ 19145 w 32527"/>
                <a:gd name="connsiteY11" fmla="*/ 44607 h 44606"/>
                <a:gd name="connsiteX12" fmla="*/ 13382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486"/>
                  </a:lnTo>
                  <a:lnTo>
                    <a:pt x="13382" y="18486"/>
                  </a:lnTo>
                  <a:lnTo>
                    <a:pt x="13382" y="0"/>
                  </a:lnTo>
                  <a:lnTo>
                    <a:pt x="19145" y="0"/>
                  </a:lnTo>
                  <a:lnTo>
                    <a:pt x="19145" y="18486"/>
                  </a:lnTo>
                  <a:lnTo>
                    <a:pt x="32528" y="18486"/>
                  </a:lnTo>
                  <a:lnTo>
                    <a:pt x="32528" y="26121"/>
                  </a:lnTo>
                  <a:lnTo>
                    <a:pt x="19145" y="26121"/>
                  </a:lnTo>
                  <a:lnTo>
                    <a:pt x="19145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86" name="Freihandform: Form 885">
              <a:extLst>
                <a:ext uri="{FF2B5EF4-FFF2-40B4-BE49-F238E27FC236}">
                  <a16:creationId xmlns:a16="http://schemas.microsoft.com/office/drawing/2014/main" id="{625A1874-FCF9-7EEB-5760-99971BC3609B}"/>
                </a:ext>
              </a:extLst>
            </p:cNvPr>
            <p:cNvSpPr/>
            <p:nvPr/>
          </p:nvSpPr>
          <p:spPr>
            <a:xfrm>
              <a:off x="5537994" y="2839184"/>
              <a:ext cx="32430" cy="44606"/>
            </a:xfrm>
            <a:custGeom>
              <a:avLst/>
              <a:gdLst>
                <a:gd name="connsiteX0" fmla="*/ 13382 w 32430"/>
                <a:gd name="connsiteY0" fmla="*/ 44607 h 44606"/>
                <a:gd name="connsiteX1" fmla="*/ 13382 w 32430"/>
                <a:gd name="connsiteY1" fmla="*/ 25987 h 44606"/>
                <a:gd name="connsiteX2" fmla="*/ 0 w 32430"/>
                <a:gd name="connsiteY2" fmla="*/ 25987 h 44606"/>
                <a:gd name="connsiteX3" fmla="*/ 0 w 32430"/>
                <a:gd name="connsiteY3" fmla="*/ 18352 h 44606"/>
                <a:gd name="connsiteX4" fmla="*/ 13382 w 32430"/>
                <a:gd name="connsiteY4" fmla="*/ 18352 h 44606"/>
                <a:gd name="connsiteX5" fmla="*/ 13382 w 32430"/>
                <a:gd name="connsiteY5" fmla="*/ 0 h 44606"/>
                <a:gd name="connsiteX6" fmla="*/ 19048 w 32430"/>
                <a:gd name="connsiteY6" fmla="*/ 0 h 44606"/>
                <a:gd name="connsiteX7" fmla="*/ 19048 w 32430"/>
                <a:gd name="connsiteY7" fmla="*/ 18352 h 44606"/>
                <a:gd name="connsiteX8" fmla="*/ 32430 w 32430"/>
                <a:gd name="connsiteY8" fmla="*/ 18352 h 44606"/>
                <a:gd name="connsiteX9" fmla="*/ 32430 w 32430"/>
                <a:gd name="connsiteY9" fmla="*/ 25987 h 44606"/>
                <a:gd name="connsiteX10" fmla="*/ 19048 w 32430"/>
                <a:gd name="connsiteY10" fmla="*/ 25987 h 44606"/>
                <a:gd name="connsiteX11" fmla="*/ 19048 w 32430"/>
                <a:gd name="connsiteY11" fmla="*/ 44607 h 44606"/>
                <a:gd name="connsiteX12" fmla="*/ 13382 w 32430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30" h="44606">
                  <a:moveTo>
                    <a:pt x="13382" y="44607"/>
                  </a:moveTo>
                  <a:lnTo>
                    <a:pt x="13382" y="25987"/>
                  </a:lnTo>
                  <a:lnTo>
                    <a:pt x="0" y="25987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048" y="0"/>
                  </a:lnTo>
                  <a:lnTo>
                    <a:pt x="19048" y="18352"/>
                  </a:lnTo>
                  <a:lnTo>
                    <a:pt x="32430" y="18352"/>
                  </a:lnTo>
                  <a:lnTo>
                    <a:pt x="32430" y="25987"/>
                  </a:lnTo>
                  <a:lnTo>
                    <a:pt x="19048" y="25987"/>
                  </a:lnTo>
                  <a:lnTo>
                    <a:pt x="19048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87" name="Freihandform: Form 886">
              <a:extLst>
                <a:ext uri="{FF2B5EF4-FFF2-40B4-BE49-F238E27FC236}">
                  <a16:creationId xmlns:a16="http://schemas.microsoft.com/office/drawing/2014/main" id="{C83DE7D2-4FB0-3F05-40FD-FD64B311C680}"/>
                </a:ext>
              </a:extLst>
            </p:cNvPr>
            <p:cNvSpPr/>
            <p:nvPr/>
          </p:nvSpPr>
          <p:spPr>
            <a:xfrm>
              <a:off x="5574722" y="2839184"/>
              <a:ext cx="32527" cy="44606"/>
            </a:xfrm>
            <a:custGeom>
              <a:avLst/>
              <a:gdLst>
                <a:gd name="connsiteX0" fmla="*/ 13382 w 32527"/>
                <a:gd name="connsiteY0" fmla="*/ 44607 h 44606"/>
                <a:gd name="connsiteX1" fmla="*/ 13382 w 32527"/>
                <a:gd name="connsiteY1" fmla="*/ 25987 h 44606"/>
                <a:gd name="connsiteX2" fmla="*/ 0 w 32527"/>
                <a:gd name="connsiteY2" fmla="*/ 25987 h 44606"/>
                <a:gd name="connsiteX3" fmla="*/ 0 w 32527"/>
                <a:gd name="connsiteY3" fmla="*/ 18352 h 44606"/>
                <a:gd name="connsiteX4" fmla="*/ 13382 w 32527"/>
                <a:gd name="connsiteY4" fmla="*/ 18352 h 44606"/>
                <a:gd name="connsiteX5" fmla="*/ 13382 w 32527"/>
                <a:gd name="connsiteY5" fmla="*/ 0 h 44606"/>
                <a:gd name="connsiteX6" fmla="*/ 19145 w 32527"/>
                <a:gd name="connsiteY6" fmla="*/ 0 h 44606"/>
                <a:gd name="connsiteX7" fmla="*/ 19145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5987 h 44606"/>
                <a:gd name="connsiteX10" fmla="*/ 19145 w 32527"/>
                <a:gd name="connsiteY10" fmla="*/ 25987 h 44606"/>
                <a:gd name="connsiteX11" fmla="*/ 19145 w 32527"/>
                <a:gd name="connsiteY11" fmla="*/ 44607 h 44606"/>
                <a:gd name="connsiteX12" fmla="*/ 13382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382" y="44607"/>
                  </a:moveTo>
                  <a:lnTo>
                    <a:pt x="13382" y="25987"/>
                  </a:lnTo>
                  <a:lnTo>
                    <a:pt x="0" y="25987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145" y="0"/>
                  </a:lnTo>
                  <a:lnTo>
                    <a:pt x="19145" y="18352"/>
                  </a:lnTo>
                  <a:lnTo>
                    <a:pt x="32528" y="18352"/>
                  </a:lnTo>
                  <a:lnTo>
                    <a:pt x="32528" y="25987"/>
                  </a:lnTo>
                  <a:lnTo>
                    <a:pt x="19145" y="25987"/>
                  </a:lnTo>
                  <a:lnTo>
                    <a:pt x="19145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88" name="Freihandform: Form 887">
              <a:extLst>
                <a:ext uri="{FF2B5EF4-FFF2-40B4-BE49-F238E27FC236}">
                  <a16:creationId xmlns:a16="http://schemas.microsoft.com/office/drawing/2014/main" id="{62DB2283-0C98-907E-C4FE-C37FA4DA443C}"/>
                </a:ext>
              </a:extLst>
            </p:cNvPr>
            <p:cNvSpPr/>
            <p:nvPr/>
          </p:nvSpPr>
          <p:spPr>
            <a:xfrm>
              <a:off x="5584587" y="2839184"/>
              <a:ext cx="32527" cy="44606"/>
            </a:xfrm>
            <a:custGeom>
              <a:avLst/>
              <a:gdLst>
                <a:gd name="connsiteX0" fmla="*/ 13382 w 32527"/>
                <a:gd name="connsiteY0" fmla="*/ 44607 h 44606"/>
                <a:gd name="connsiteX1" fmla="*/ 13382 w 32527"/>
                <a:gd name="connsiteY1" fmla="*/ 25987 h 44606"/>
                <a:gd name="connsiteX2" fmla="*/ 0 w 32527"/>
                <a:gd name="connsiteY2" fmla="*/ 25987 h 44606"/>
                <a:gd name="connsiteX3" fmla="*/ 0 w 32527"/>
                <a:gd name="connsiteY3" fmla="*/ 18352 h 44606"/>
                <a:gd name="connsiteX4" fmla="*/ 13382 w 32527"/>
                <a:gd name="connsiteY4" fmla="*/ 18352 h 44606"/>
                <a:gd name="connsiteX5" fmla="*/ 13382 w 32527"/>
                <a:gd name="connsiteY5" fmla="*/ 0 h 44606"/>
                <a:gd name="connsiteX6" fmla="*/ 19145 w 32527"/>
                <a:gd name="connsiteY6" fmla="*/ 0 h 44606"/>
                <a:gd name="connsiteX7" fmla="*/ 19145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5987 h 44606"/>
                <a:gd name="connsiteX10" fmla="*/ 19145 w 32527"/>
                <a:gd name="connsiteY10" fmla="*/ 25987 h 44606"/>
                <a:gd name="connsiteX11" fmla="*/ 19145 w 32527"/>
                <a:gd name="connsiteY11" fmla="*/ 44607 h 44606"/>
                <a:gd name="connsiteX12" fmla="*/ 13382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382" y="44607"/>
                  </a:moveTo>
                  <a:lnTo>
                    <a:pt x="13382" y="25987"/>
                  </a:lnTo>
                  <a:lnTo>
                    <a:pt x="0" y="25987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145" y="0"/>
                  </a:lnTo>
                  <a:lnTo>
                    <a:pt x="19145" y="18352"/>
                  </a:lnTo>
                  <a:lnTo>
                    <a:pt x="32528" y="18352"/>
                  </a:lnTo>
                  <a:lnTo>
                    <a:pt x="32528" y="25987"/>
                  </a:lnTo>
                  <a:lnTo>
                    <a:pt x="19145" y="25987"/>
                  </a:lnTo>
                  <a:lnTo>
                    <a:pt x="19145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89" name="Freihandform: Form 888">
              <a:extLst>
                <a:ext uri="{FF2B5EF4-FFF2-40B4-BE49-F238E27FC236}">
                  <a16:creationId xmlns:a16="http://schemas.microsoft.com/office/drawing/2014/main" id="{BE0F86CB-5C5E-0F5F-303E-9CB8FF65FA13}"/>
                </a:ext>
              </a:extLst>
            </p:cNvPr>
            <p:cNvSpPr/>
            <p:nvPr/>
          </p:nvSpPr>
          <p:spPr>
            <a:xfrm>
              <a:off x="5587029" y="2839184"/>
              <a:ext cx="32527" cy="44606"/>
            </a:xfrm>
            <a:custGeom>
              <a:avLst/>
              <a:gdLst>
                <a:gd name="connsiteX0" fmla="*/ 13382 w 32527"/>
                <a:gd name="connsiteY0" fmla="*/ 44607 h 44606"/>
                <a:gd name="connsiteX1" fmla="*/ 13382 w 32527"/>
                <a:gd name="connsiteY1" fmla="*/ 25987 h 44606"/>
                <a:gd name="connsiteX2" fmla="*/ 0 w 32527"/>
                <a:gd name="connsiteY2" fmla="*/ 25987 h 44606"/>
                <a:gd name="connsiteX3" fmla="*/ 0 w 32527"/>
                <a:gd name="connsiteY3" fmla="*/ 18352 h 44606"/>
                <a:gd name="connsiteX4" fmla="*/ 13382 w 32527"/>
                <a:gd name="connsiteY4" fmla="*/ 18352 h 44606"/>
                <a:gd name="connsiteX5" fmla="*/ 13382 w 32527"/>
                <a:gd name="connsiteY5" fmla="*/ 0 h 44606"/>
                <a:gd name="connsiteX6" fmla="*/ 19145 w 32527"/>
                <a:gd name="connsiteY6" fmla="*/ 0 h 44606"/>
                <a:gd name="connsiteX7" fmla="*/ 19145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5987 h 44606"/>
                <a:gd name="connsiteX10" fmla="*/ 19145 w 32527"/>
                <a:gd name="connsiteY10" fmla="*/ 25987 h 44606"/>
                <a:gd name="connsiteX11" fmla="*/ 19145 w 32527"/>
                <a:gd name="connsiteY11" fmla="*/ 44607 h 44606"/>
                <a:gd name="connsiteX12" fmla="*/ 13382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382" y="44607"/>
                  </a:moveTo>
                  <a:lnTo>
                    <a:pt x="13382" y="25987"/>
                  </a:lnTo>
                  <a:lnTo>
                    <a:pt x="0" y="25987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145" y="0"/>
                  </a:lnTo>
                  <a:lnTo>
                    <a:pt x="19145" y="18352"/>
                  </a:lnTo>
                  <a:lnTo>
                    <a:pt x="32528" y="18352"/>
                  </a:lnTo>
                  <a:lnTo>
                    <a:pt x="32528" y="25987"/>
                  </a:lnTo>
                  <a:lnTo>
                    <a:pt x="19145" y="25987"/>
                  </a:lnTo>
                  <a:lnTo>
                    <a:pt x="19145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90" name="Freihandform: Form 889">
              <a:extLst>
                <a:ext uri="{FF2B5EF4-FFF2-40B4-BE49-F238E27FC236}">
                  <a16:creationId xmlns:a16="http://schemas.microsoft.com/office/drawing/2014/main" id="{BEBFE336-E63C-41C3-85A9-7130A15A775F}"/>
                </a:ext>
              </a:extLst>
            </p:cNvPr>
            <p:cNvSpPr/>
            <p:nvPr/>
          </p:nvSpPr>
          <p:spPr>
            <a:xfrm>
              <a:off x="5589471" y="2839184"/>
              <a:ext cx="32527" cy="44606"/>
            </a:xfrm>
            <a:custGeom>
              <a:avLst/>
              <a:gdLst>
                <a:gd name="connsiteX0" fmla="*/ 13382 w 32527"/>
                <a:gd name="connsiteY0" fmla="*/ 44607 h 44606"/>
                <a:gd name="connsiteX1" fmla="*/ 13382 w 32527"/>
                <a:gd name="connsiteY1" fmla="*/ 25987 h 44606"/>
                <a:gd name="connsiteX2" fmla="*/ 0 w 32527"/>
                <a:gd name="connsiteY2" fmla="*/ 25987 h 44606"/>
                <a:gd name="connsiteX3" fmla="*/ 0 w 32527"/>
                <a:gd name="connsiteY3" fmla="*/ 18352 h 44606"/>
                <a:gd name="connsiteX4" fmla="*/ 13382 w 32527"/>
                <a:gd name="connsiteY4" fmla="*/ 18352 h 44606"/>
                <a:gd name="connsiteX5" fmla="*/ 13382 w 32527"/>
                <a:gd name="connsiteY5" fmla="*/ 0 h 44606"/>
                <a:gd name="connsiteX6" fmla="*/ 19145 w 32527"/>
                <a:gd name="connsiteY6" fmla="*/ 0 h 44606"/>
                <a:gd name="connsiteX7" fmla="*/ 19145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5987 h 44606"/>
                <a:gd name="connsiteX10" fmla="*/ 19145 w 32527"/>
                <a:gd name="connsiteY10" fmla="*/ 25987 h 44606"/>
                <a:gd name="connsiteX11" fmla="*/ 19145 w 32527"/>
                <a:gd name="connsiteY11" fmla="*/ 44607 h 44606"/>
                <a:gd name="connsiteX12" fmla="*/ 13382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382" y="44607"/>
                  </a:moveTo>
                  <a:lnTo>
                    <a:pt x="13382" y="25987"/>
                  </a:lnTo>
                  <a:lnTo>
                    <a:pt x="0" y="25987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145" y="0"/>
                  </a:lnTo>
                  <a:lnTo>
                    <a:pt x="19145" y="18352"/>
                  </a:lnTo>
                  <a:lnTo>
                    <a:pt x="32528" y="18352"/>
                  </a:lnTo>
                  <a:lnTo>
                    <a:pt x="32528" y="25987"/>
                  </a:lnTo>
                  <a:lnTo>
                    <a:pt x="19145" y="25987"/>
                  </a:lnTo>
                  <a:lnTo>
                    <a:pt x="19145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91" name="Freihandform: Form 890">
              <a:extLst>
                <a:ext uri="{FF2B5EF4-FFF2-40B4-BE49-F238E27FC236}">
                  <a16:creationId xmlns:a16="http://schemas.microsoft.com/office/drawing/2014/main" id="{D7AA1138-E601-C0F0-E161-78CBFAEED997}"/>
                </a:ext>
              </a:extLst>
            </p:cNvPr>
            <p:cNvSpPr/>
            <p:nvPr/>
          </p:nvSpPr>
          <p:spPr>
            <a:xfrm>
              <a:off x="5594453" y="2839184"/>
              <a:ext cx="32430" cy="44606"/>
            </a:xfrm>
            <a:custGeom>
              <a:avLst/>
              <a:gdLst>
                <a:gd name="connsiteX0" fmla="*/ 13382 w 32430"/>
                <a:gd name="connsiteY0" fmla="*/ 44607 h 44606"/>
                <a:gd name="connsiteX1" fmla="*/ 13382 w 32430"/>
                <a:gd name="connsiteY1" fmla="*/ 25987 h 44606"/>
                <a:gd name="connsiteX2" fmla="*/ 0 w 32430"/>
                <a:gd name="connsiteY2" fmla="*/ 25987 h 44606"/>
                <a:gd name="connsiteX3" fmla="*/ 0 w 32430"/>
                <a:gd name="connsiteY3" fmla="*/ 18352 h 44606"/>
                <a:gd name="connsiteX4" fmla="*/ 13382 w 32430"/>
                <a:gd name="connsiteY4" fmla="*/ 18352 h 44606"/>
                <a:gd name="connsiteX5" fmla="*/ 13382 w 32430"/>
                <a:gd name="connsiteY5" fmla="*/ 0 h 44606"/>
                <a:gd name="connsiteX6" fmla="*/ 19048 w 32430"/>
                <a:gd name="connsiteY6" fmla="*/ 0 h 44606"/>
                <a:gd name="connsiteX7" fmla="*/ 19048 w 32430"/>
                <a:gd name="connsiteY7" fmla="*/ 18352 h 44606"/>
                <a:gd name="connsiteX8" fmla="*/ 32430 w 32430"/>
                <a:gd name="connsiteY8" fmla="*/ 18352 h 44606"/>
                <a:gd name="connsiteX9" fmla="*/ 32430 w 32430"/>
                <a:gd name="connsiteY9" fmla="*/ 25987 h 44606"/>
                <a:gd name="connsiteX10" fmla="*/ 19048 w 32430"/>
                <a:gd name="connsiteY10" fmla="*/ 25987 h 44606"/>
                <a:gd name="connsiteX11" fmla="*/ 19048 w 32430"/>
                <a:gd name="connsiteY11" fmla="*/ 44607 h 44606"/>
                <a:gd name="connsiteX12" fmla="*/ 13382 w 32430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30" h="44606">
                  <a:moveTo>
                    <a:pt x="13382" y="44607"/>
                  </a:moveTo>
                  <a:lnTo>
                    <a:pt x="13382" y="25987"/>
                  </a:lnTo>
                  <a:lnTo>
                    <a:pt x="0" y="25987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048" y="0"/>
                  </a:lnTo>
                  <a:lnTo>
                    <a:pt x="19048" y="18352"/>
                  </a:lnTo>
                  <a:lnTo>
                    <a:pt x="32430" y="18352"/>
                  </a:lnTo>
                  <a:lnTo>
                    <a:pt x="32430" y="25987"/>
                  </a:lnTo>
                  <a:lnTo>
                    <a:pt x="19048" y="25987"/>
                  </a:lnTo>
                  <a:lnTo>
                    <a:pt x="19048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92" name="Freihandform: Form 891">
              <a:extLst>
                <a:ext uri="{FF2B5EF4-FFF2-40B4-BE49-F238E27FC236}">
                  <a16:creationId xmlns:a16="http://schemas.microsoft.com/office/drawing/2014/main" id="{2634D25F-E3FB-8689-A3E4-83C7186A1025}"/>
                </a:ext>
              </a:extLst>
            </p:cNvPr>
            <p:cNvSpPr/>
            <p:nvPr/>
          </p:nvSpPr>
          <p:spPr>
            <a:xfrm>
              <a:off x="5596895" y="2839184"/>
              <a:ext cx="32430" cy="44606"/>
            </a:xfrm>
            <a:custGeom>
              <a:avLst/>
              <a:gdLst>
                <a:gd name="connsiteX0" fmla="*/ 13382 w 32430"/>
                <a:gd name="connsiteY0" fmla="*/ 44607 h 44606"/>
                <a:gd name="connsiteX1" fmla="*/ 13382 w 32430"/>
                <a:gd name="connsiteY1" fmla="*/ 25987 h 44606"/>
                <a:gd name="connsiteX2" fmla="*/ 0 w 32430"/>
                <a:gd name="connsiteY2" fmla="*/ 25987 h 44606"/>
                <a:gd name="connsiteX3" fmla="*/ 0 w 32430"/>
                <a:gd name="connsiteY3" fmla="*/ 18352 h 44606"/>
                <a:gd name="connsiteX4" fmla="*/ 13382 w 32430"/>
                <a:gd name="connsiteY4" fmla="*/ 18352 h 44606"/>
                <a:gd name="connsiteX5" fmla="*/ 13382 w 32430"/>
                <a:gd name="connsiteY5" fmla="*/ 0 h 44606"/>
                <a:gd name="connsiteX6" fmla="*/ 19048 w 32430"/>
                <a:gd name="connsiteY6" fmla="*/ 0 h 44606"/>
                <a:gd name="connsiteX7" fmla="*/ 19048 w 32430"/>
                <a:gd name="connsiteY7" fmla="*/ 18352 h 44606"/>
                <a:gd name="connsiteX8" fmla="*/ 32430 w 32430"/>
                <a:gd name="connsiteY8" fmla="*/ 18352 h 44606"/>
                <a:gd name="connsiteX9" fmla="*/ 32430 w 32430"/>
                <a:gd name="connsiteY9" fmla="*/ 25987 h 44606"/>
                <a:gd name="connsiteX10" fmla="*/ 19048 w 32430"/>
                <a:gd name="connsiteY10" fmla="*/ 25987 h 44606"/>
                <a:gd name="connsiteX11" fmla="*/ 19048 w 32430"/>
                <a:gd name="connsiteY11" fmla="*/ 44607 h 44606"/>
                <a:gd name="connsiteX12" fmla="*/ 13382 w 32430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30" h="44606">
                  <a:moveTo>
                    <a:pt x="13382" y="44607"/>
                  </a:moveTo>
                  <a:lnTo>
                    <a:pt x="13382" y="25987"/>
                  </a:lnTo>
                  <a:lnTo>
                    <a:pt x="0" y="25987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048" y="0"/>
                  </a:lnTo>
                  <a:lnTo>
                    <a:pt x="19048" y="18352"/>
                  </a:lnTo>
                  <a:lnTo>
                    <a:pt x="32430" y="18352"/>
                  </a:lnTo>
                  <a:lnTo>
                    <a:pt x="32430" y="25987"/>
                  </a:lnTo>
                  <a:lnTo>
                    <a:pt x="19048" y="25987"/>
                  </a:lnTo>
                  <a:lnTo>
                    <a:pt x="19048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93" name="Freihandform: Form 892">
              <a:extLst>
                <a:ext uri="{FF2B5EF4-FFF2-40B4-BE49-F238E27FC236}">
                  <a16:creationId xmlns:a16="http://schemas.microsoft.com/office/drawing/2014/main" id="{1D728F48-3BEC-B327-CB55-CF4766AF2681}"/>
                </a:ext>
              </a:extLst>
            </p:cNvPr>
            <p:cNvSpPr/>
            <p:nvPr/>
          </p:nvSpPr>
          <p:spPr>
            <a:xfrm>
              <a:off x="5606663" y="2839184"/>
              <a:ext cx="32430" cy="44606"/>
            </a:xfrm>
            <a:custGeom>
              <a:avLst/>
              <a:gdLst>
                <a:gd name="connsiteX0" fmla="*/ 13382 w 32430"/>
                <a:gd name="connsiteY0" fmla="*/ 44607 h 44606"/>
                <a:gd name="connsiteX1" fmla="*/ 13382 w 32430"/>
                <a:gd name="connsiteY1" fmla="*/ 25987 h 44606"/>
                <a:gd name="connsiteX2" fmla="*/ 0 w 32430"/>
                <a:gd name="connsiteY2" fmla="*/ 25987 h 44606"/>
                <a:gd name="connsiteX3" fmla="*/ 0 w 32430"/>
                <a:gd name="connsiteY3" fmla="*/ 18352 h 44606"/>
                <a:gd name="connsiteX4" fmla="*/ 13382 w 32430"/>
                <a:gd name="connsiteY4" fmla="*/ 18352 h 44606"/>
                <a:gd name="connsiteX5" fmla="*/ 13382 w 32430"/>
                <a:gd name="connsiteY5" fmla="*/ 0 h 44606"/>
                <a:gd name="connsiteX6" fmla="*/ 19048 w 32430"/>
                <a:gd name="connsiteY6" fmla="*/ 0 h 44606"/>
                <a:gd name="connsiteX7" fmla="*/ 19048 w 32430"/>
                <a:gd name="connsiteY7" fmla="*/ 18352 h 44606"/>
                <a:gd name="connsiteX8" fmla="*/ 32430 w 32430"/>
                <a:gd name="connsiteY8" fmla="*/ 18352 h 44606"/>
                <a:gd name="connsiteX9" fmla="*/ 32430 w 32430"/>
                <a:gd name="connsiteY9" fmla="*/ 25987 h 44606"/>
                <a:gd name="connsiteX10" fmla="*/ 19048 w 32430"/>
                <a:gd name="connsiteY10" fmla="*/ 25987 h 44606"/>
                <a:gd name="connsiteX11" fmla="*/ 19048 w 32430"/>
                <a:gd name="connsiteY11" fmla="*/ 44607 h 44606"/>
                <a:gd name="connsiteX12" fmla="*/ 13382 w 32430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30" h="44606">
                  <a:moveTo>
                    <a:pt x="13382" y="44607"/>
                  </a:moveTo>
                  <a:lnTo>
                    <a:pt x="13382" y="25987"/>
                  </a:lnTo>
                  <a:lnTo>
                    <a:pt x="0" y="25987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048" y="0"/>
                  </a:lnTo>
                  <a:lnTo>
                    <a:pt x="19048" y="18352"/>
                  </a:lnTo>
                  <a:lnTo>
                    <a:pt x="32430" y="18352"/>
                  </a:lnTo>
                  <a:lnTo>
                    <a:pt x="32430" y="25987"/>
                  </a:lnTo>
                  <a:lnTo>
                    <a:pt x="19048" y="25987"/>
                  </a:lnTo>
                  <a:lnTo>
                    <a:pt x="19048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94" name="Freihandform: Form 893">
              <a:extLst>
                <a:ext uri="{FF2B5EF4-FFF2-40B4-BE49-F238E27FC236}">
                  <a16:creationId xmlns:a16="http://schemas.microsoft.com/office/drawing/2014/main" id="{EDF80D2D-AEC1-40C1-333E-98B1F615B0F0}"/>
                </a:ext>
              </a:extLst>
            </p:cNvPr>
            <p:cNvSpPr/>
            <p:nvPr/>
          </p:nvSpPr>
          <p:spPr>
            <a:xfrm>
              <a:off x="5621413" y="2839184"/>
              <a:ext cx="29890" cy="44606"/>
            </a:xfrm>
            <a:custGeom>
              <a:avLst/>
              <a:gdLst>
                <a:gd name="connsiteX0" fmla="*/ 13382 w 29890"/>
                <a:gd name="connsiteY0" fmla="*/ 44607 h 44606"/>
                <a:gd name="connsiteX1" fmla="*/ 13382 w 29890"/>
                <a:gd name="connsiteY1" fmla="*/ 25987 h 44606"/>
                <a:gd name="connsiteX2" fmla="*/ 0 w 29890"/>
                <a:gd name="connsiteY2" fmla="*/ 25987 h 44606"/>
                <a:gd name="connsiteX3" fmla="*/ 0 w 29890"/>
                <a:gd name="connsiteY3" fmla="*/ 18352 h 44606"/>
                <a:gd name="connsiteX4" fmla="*/ 13382 w 29890"/>
                <a:gd name="connsiteY4" fmla="*/ 18352 h 44606"/>
                <a:gd name="connsiteX5" fmla="*/ 13382 w 29890"/>
                <a:gd name="connsiteY5" fmla="*/ 0 h 44606"/>
                <a:gd name="connsiteX6" fmla="*/ 19048 w 29890"/>
                <a:gd name="connsiteY6" fmla="*/ 0 h 44606"/>
                <a:gd name="connsiteX7" fmla="*/ 19048 w 29890"/>
                <a:gd name="connsiteY7" fmla="*/ 18352 h 44606"/>
                <a:gd name="connsiteX8" fmla="*/ 29890 w 29890"/>
                <a:gd name="connsiteY8" fmla="*/ 18352 h 44606"/>
                <a:gd name="connsiteX9" fmla="*/ 29890 w 29890"/>
                <a:gd name="connsiteY9" fmla="*/ 25987 h 44606"/>
                <a:gd name="connsiteX10" fmla="*/ 19048 w 29890"/>
                <a:gd name="connsiteY10" fmla="*/ 25987 h 44606"/>
                <a:gd name="connsiteX11" fmla="*/ 19048 w 29890"/>
                <a:gd name="connsiteY11" fmla="*/ 44607 h 44606"/>
                <a:gd name="connsiteX12" fmla="*/ 13382 w 29890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890" h="44606">
                  <a:moveTo>
                    <a:pt x="13382" y="44607"/>
                  </a:moveTo>
                  <a:lnTo>
                    <a:pt x="13382" y="25987"/>
                  </a:lnTo>
                  <a:lnTo>
                    <a:pt x="0" y="25987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048" y="0"/>
                  </a:lnTo>
                  <a:lnTo>
                    <a:pt x="19048" y="18352"/>
                  </a:lnTo>
                  <a:lnTo>
                    <a:pt x="29890" y="18352"/>
                  </a:lnTo>
                  <a:lnTo>
                    <a:pt x="29890" y="25987"/>
                  </a:lnTo>
                  <a:lnTo>
                    <a:pt x="19048" y="25987"/>
                  </a:lnTo>
                  <a:lnTo>
                    <a:pt x="19048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95" name="Freihandform: Form 894">
              <a:extLst>
                <a:ext uri="{FF2B5EF4-FFF2-40B4-BE49-F238E27FC236}">
                  <a16:creationId xmlns:a16="http://schemas.microsoft.com/office/drawing/2014/main" id="{E3D2FDCF-7E06-BCC4-F611-AAD62F593BC2}"/>
                </a:ext>
              </a:extLst>
            </p:cNvPr>
            <p:cNvSpPr/>
            <p:nvPr/>
          </p:nvSpPr>
          <p:spPr>
            <a:xfrm>
              <a:off x="5623855" y="2839184"/>
              <a:ext cx="27448" cy="44606"/>
            </a:xfrm>
            <a:custGeom>
              <a:avLst/>
              <a:gdLst>
                <a:gd name="connsiteX0" fmla="*/ 13382 w 27448"/>
                <a:gd name="connsiteY0" fmla="*/ 44607 h 44606"/>
                <a:gd name="connsiteX1" fmla="*/ 13382 w 27448"/>
                <a:gd name="connsiteY1" fmla="*/ 25987 h 44606"/>
                <a:gd name="connsiteX2" fmla="*/ 0 w 27448"/>
                <a:gd name="connsiteY2" fmla="*/ 25987 h 44606"/>
                <a:gd name="connsiteX3" fmla="*/ 0 w 27448"/>
                <a:gd name="connsiteY3" fmla="*/ 18352 h 44606"/>
                <a:gd name="connsiteX4" fmla="*/ 13382 w 27448"/>
                <a:gd name="connsiteY4" fmla="*/ 18352 h 44606"/>
                <a:gd name="connsiteX5" fmla="*/ 13382 w 27448"/>
                <a:gd name="connsiteY5" fmla="*/ 0 h 44606"/>
                <a:gd name="connsiteX6" fmla="*/ 19048 w 27448"/>
                <a:gd name="connsiteY6" fmla="*/ 0 h 44606"/>
                <a:gd name="connsiteX7" fmla="*/ 19048 w 27448"/>
                <a:gd name="connsiteY7" fmla="*/ 18352 h 44606"/>
                <a:gd name="connsiteX8" fmla="*/ 27448 w 27448"/>
                <a:gd name="connsiteY8" fmla="*/ 18352 h 44606"/>
                <a:gd name="connsiteX9" fmla="*/ 27448 w 27448"/>
                <a:gd name="connsiteY9" fmla="*/ 25987 h 44606"/>
                <a:gd name="connsiteX10" fmla="*/ 19048 w 27448"/>
                <a:gd name="connsiteY10" fmla="*/ 25987 h 44606"/>
                <a:gd name="connsiteX11" fmla="*/ 19048 w 27448"/>
                <a:gd name="connsiteY11" fmla="*/ 44607 h 44606"/>
                <a:gd name="connsiteX12" fmla="*/ 13382 w 27448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7448" h="44606">
                  <a:moveTo>
                    <a:pt x="13382" y="44607"/>
                  </a:moveTo>
                  <a:lnTo>
                    <a:pt x="13382" y="25987"/>
                  </a:lnTo>
                  <a:lnTo>
                    <a:pt x="0" y="25987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048" y="0"/>
                  </a:lnTo>
                  <a:lnTo>
                    <a:pt x="19048" y="18352"/>
                  </a:lnTo>
                  <a:lnTo>
                    <a:pt x="27448" y="18352"/>
                  </a:lnTo>
                  <a:lnTo>
                    <a:pt x="27448" y="25987"/>
                  </a:lnTo>
                  <a:lnTo>
                    <a:pt x="19048" y="25987"/>
                  </a:lnTo>
                  <a:lnTo>
                    <a:pt x="19048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896" name="Grafik 539">
            <a:extLst>
              <a:ext uri="{FF2B5EF4-FFF2-40B4-BE49-F238E27FC236}">
                <a16:creationId xmlns:a16="http://schemas.microsoft.com/office/drawing/2014/main" id="{FD440961-2DB8-0A0F-D786-32CD1EBF6428}"/>
              </a:ext>
            </a:extLst>
          </p:cNvPr>
          <p:cNvGrpSpPr/>
          <p:nvPr/>
        </p:nvGrpSpPr>
        <p:grpSpPr>
          <a:xfrm>
            <a:off x="1857741" y="1384276"/>
            <a:ext cx="3723388" cy="1058911"/>
            <a:chOff x="1928012" y="1581082"/>
            <a:chExt cx="3723388" cy="1058911"/>
          </a:xfrm>
          <a:solidFill>
            <a:schemeClr val="accent6"/>
          </a:solidFill>
        </p:grpSpPr>
        <p:sp>
          <p:nvSpPr>
            <p:cNvPr id="897" name="Freihandform: Form 896">
              <a:extLst>
                <a:ext uri="{FF2B5EF4-FFF2-40B4-BE49-F238E27FC236}">
                  <a16:creationId xmlns:a16="http://schemas.microsoft.com/office/drawing/2014/main" id="{FB842D43-A0F9-64C8-5727-546AF1A4B9C5}"/>
                </a:ext>
              </a:extLst>
            </p:cNvPr>
            <p:cNvSpPr/>
            <p:nvPr/>
          </p:nvSpPr>
          <p:spPr>
            <a:xfrm>
              <a:off x="1928012" y="1581082"/>
              <a:ext cx="32527" cy="44606"/>
            </a:xfrm>
            <a:custGeom>
              <a:avLst/>
              <a:gdLst>
                <a:gd name="connsiteX0" fmla="*/ 13382 w 32527"/>
                <a:gd name="connsiteY0" fmla="*/ 44607 h 44606"/>
                <a:gd name="connsiteX1" fmla="*/ 13382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352 h 44606"/>
                <a:gd name="connsiteX4" fmla="*/ 13382 w 32527"/>
                <a:gd name="connsiteY4" fmla="*/ 18352 h 44606"/>
                <a:gd name="connsiteX5" fmla="*/ 13382 w 32527"/>
                <a:gd name="connsiteY5" fmla="*/ 0 h 44606"/>
                <a:gd name="connsiteX6" fmla="*/ 19048 w 32527"/>
                <a:gd name="connsiteY6" fmla="*/ 0 h 44606"/>
                <a:gd name="connsiteX7" fmla="*/ 19048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6121 h 44606"/>
                <a:gd name="connsiteX10" fmla="*/ 19048 w 32527"/>
                <a:gd name="connsiteY10" fmla="*/ 26121 h 44606"/>
                <a:gd name="connsiteX11" fmla="*/ 19048 w 32527"/>
                <a:gd name="connsiteY11" fmla="*/ 44607 h 44606"/>
                <a:gd name="connsiteX12" fmla="*/ 13382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048" y="0"/>
                  </a:lnTo>
                  <a:lnTo>
                    <a:pt x="19048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048" y="26121"/>
                  </a:lnTo>
                  <a:lnTo>
                    <a:pt x="19048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98" name="Freihandform: Form 897">
              <a:extLst>
                <a:ext uri="{FF2B5EF4-FFF2-40B4-BE49-F238E27FC236}">
                  <a16:creationId xmlns:a16="http://schemas.microsoft.com/office/drawing/2014/main" id="{A33BDE35-E491-E9E5-392A-FB2485B32838}"/>
                </a:ext>
              </a:extLst>
            </p:cNvPr>
            <p:cNvSpPr/>
            <p:nvPr/>
          </p:nvSpPr>
          <p:spPr>
            <a:xfrm>
              <a:off x="2359955" y="1662661"/>
              <a:ext cx="32429" cy="44606"/>
            </a:xfrm>
            <a:custGeom>
              <a:avLst/>
              <a:gdLst>
                <a:gd name="connsiteX0" fmla="*/ 13382 w 32429"/>
                <a:gd name="connsiteY0" fmla="*/ 44607 h 44606"/>
                <a:gd name="connsiteX1" fmla="*/ 13382 w 32429"/>
                <a:gd name="connsiteY1" fmla="*/ 26121 h 44606"/>
                <a:gd name="connsiteX2" fmla="*/ 0 w 32429"/>
                <a:gd name="connsiteY2" fmla="*/ 26121 h 44606"/>
                <a:gd name="connsiteX3" fmla="*/ 0 w 32429"/>
                <a:gd name="connsiteY3" fmla="*/ 18486 h 44606"/>
                <a:gd name="connsiteX4" fmla="*/ 13382 w 32429"/>
                <a:gd name="connsiteY4" fmla="*/ 18486 h 44606"/>
                <a:gd name="connsiteX5" fmla="*/ 13382 w 32429"/>
                <a:gd name="connsiteY5" fmla="*/ 0 h 44606"/>
                <a:gd name="connsiteX6" fmla="*/ 19048 w 32429"/>
                <a:gd name="connsiteY6" fmla="*/ 0 h 44606"/>
                <a:gd name="connsiteX7" fmla="*/ 19048 w 32429"/>
                <a:gd name="connsiteY7" fmla="*/ 18486 h 44606"/>
                <a:gd name="connsiteX8" fmla="*/ 32430 w 32429"/>
                <a:gd name="connsiteY8" fmla="*/ 18486 h 44606"/>
                <a:gd name="connsiteX9" fmla="*/ 32430 w 32429"/>
                <a:gd name="connsiteY9" fmla="*/ 26121 h 44606"/>
                <a:gd name="connsiteX10" fmla="*/ 19048 w 32429"/>
                <a:gd name="connsiteY10" fmla="*/ 26121 h 44606"/>
                <a:gd name="connsiteX11" fmla="*/ 19048 w 32429"/>
                <a:gd name="connsiteY11" fmla="*/ 44607 h 44606"/>
                <a:gd name="connsiteX12" fmla="*/ 13382 w 32429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29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486"/>
                  </a:lnTo>
                  <a:lnTo>
                    <a:pt x="13382" y="18486"/>
                  </a:lnTo>
                  <a:lnTo>
                    <a:pt x="13382" y="0"/>
                  </a:lnTo>
                  <a:lnTo>
                    <a:pt x="19048" y="0"/>
                  </a:lnTo>
                  <a:lnTo>
                    <a:pt x="19048" y="18486"/>
                  </a:lnTo>
                  <a:lnTo>
                    <a:pt x="32430" y="18486"/>
                  </a:lnTo>
                  <a:lnTo>
                    <a:pt x="32430" y="26121"/>
                  </a:lnTo>
                  <a:lnTo>
                    <a:pt x="19048" y="26121"/>
                  </a:lnTo>
                  <a:lnTo>
                    <a:pt x="19048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99" name="Freihandform: Form 898">
              <a:extLst>
                <a:ext uri="{FF2B5EF4-FFF2-40B4-BE49-F238E27FC236}">
                  <a16:creationId xmlns:a16="http://schemas.microsoft.com/office/drawing/2014/main" id="{DC58DA45-9B71-F3F3-6402-49C9254AA3F9}"/>
                </a:ext>
              </a:extLst>
            </p:cNvPr>
            <p:cNvSpPr/>
            <p:nvPr/>
          </p:nvSpPr>
          <p:spPr>
            <a:xfrm>
              <a:off x="2524352" y="1806930"/>
              <a:ext cx="32429" cy="44606"/>
            </a:xfrm>
            <a:custGeom>
              <a:avLst/>
              <a:gdLst>
                <a:gd name="connsiteX0" fmla="*/ 13382 w 32429"/>
                <a:gd name="connsiteY0" fmla="*/ 44607 h 44606"/>
                <a:gd name="connsiteX1" fmla="*/ 13382 w 32429"/>
                <a:gd name="connsiteY1" fmla="*/ 26121 h 44606"/>
                <a:gd name="connsiteX2" fmla="*/ 0 w 32429"/>
                <a:gd name="connsiteY2" fmla="*/ 26121 h 44606"/>
                <a:gd name="connsiteX3" fmla="*/ 0 w 32429"/>
                <a:gd name="connsiteY3" fmla="*/ 18352 h 44606"/>
                <a:gd name="connsiteX4" fmla="*/ 13382 w 32429"/>
                <a:gd name="connsiteY4" fmla="*/ 18352 h 44606"/>
                <a:gd name="connsiteX5" fmla="*/ 13382 w 32429"/>
                <a:gd name="connsiteY5" fmla="*/ 0 h 44606"/>
                <a:gd name="connsiteX6" fmla="*/ 19048 w 32429"/>
                <a:gd name="connsiteY6" fmla="*/ 0 h 44606"/>
                <a:gd name="connsiteX7" fmla="*/ 19048 w 32429"/>
                <a:gd name="connsiteY7" fmla="*/ 18352 h 44606"/>
                <a:gd name="connsiteX8" fmla="*/ 32430 w 32429"/>
                <a:gd name="connsiteY8" fmla="*/ 18352 h 44606"/>
                <a:gd name="connsiteX9" fmla="*/ 32430 w 32429"/>
                <a:gd name="connsiteY9" fmla="*/ 26121 h 44606"/>
                <a:gd name="connsiteX10" fmla="*/ 19048 w 32429"/>
                <a:gd name="connsiteY10" fmla="*/ 26121 h 44606"/>
                <a:gd name="connsiteX11" fmla="*/ 19048 w 32429"/>
                <a:gd name="connsiteY11" fmla="*/ 44607 h 44606"/>
                <a:gd name="connsiteX12" fmla="*/ 13382 w 32429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29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048" y="0"/>
                  </a:lnTo>
                  <a:lnTo>
                    <a:pt x="19048" y="18352"/>
                  </a:lnTo>
                  <a:lnTo>
                    <a:pt x="32430" y="18352"/>
                  </a:lnTo>
                  <a:lnTo>
                    <a:pt x="32430" y="26121"/>
                  </a:lnTo>
                  <a:lnTo>
                    <a:pt x="19048" y="26121"/>
                  </a:lnTo>
                  <a:lnTo>
                    <a:pt x="19048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00" name="Freihandform: Form 899">
              <a:extLst>
                <a:ext uri="{FF2B5EF4-FFF2-40B4-BE49-F238E27FC236}">
                  <a16:creationId xmlns:a16="http://schemas.microsoft.com/office/drawing/2014/main" id="{A7E6F594-79F2-DBCA-F58B-D0C4BB551825}"/>
                </a:ext>
              </a:extLst>
            </p:cNvPr>
            <p:cNvSpPr/>
            <p:nvPr/>
          </p:nvSpPr>
          <p:spPr>
            <a:xfrm>
              <a:off x="2902278" y="2098281"/>
              <a:ext cx="32527" cy="44740"/>
            </a:xfrm>
            <a:custGeom>
              <a:avLst/>
              <a:gdLst>
                <a:gd name="connsiteX0" fmla="*/ 13382 w 32527"/>
                <a:gd name="connsiteY0" fmla="*/ 44741 h 44740"/>
                <a:gd name="connsiteX1" fmla="*/ 13382 w 32527"/>
                <a:gd name="connsiteY1" fmla="*/ 26121 h 44740"/>
                <a:gd name="connsiteX2" fmla="*/ 0 w 32527"/>
                <a:gd name="connsiteY2" fmla="*/ 26121 h 44740"/>
                <a:gd name="connsiteX3" fmla="*/ 0 w 32527"/>
                <a:gd name="connsiteY3" fmla="*/ 18486 h 44740"/>
                <a:gd name="connsiteX4" fmla="*/ 13382 w 32527"/>
                <a:gd name="connsiteY4" fmla="*/ 18486 h 44740"/>
                <a:gd name="connsiteX5" fmla="*/ 13382 w 32527"/>
                <a:gd name="connsiteY5" fmla="*/ 0 h 44740"/>
                <a:gd name="connsiteX6" fmla="*/ 19048 w 32527"/>
                <a:gd name="connsiteY6" fmla="*/ 0 h 44740"/>
                <a:gd name="connsiteX7" fmla="*/ 19048 w 32527"/>
                <a:gd name="connsiteY7" fmla="*/ 18486 h 44740"/>
                <a:gd name="connsiteX8" fmla="*/ 32528 w 32527"/>
                <a:gd name="connsiteY8" fmla="*/ 18486 h 44740"/>
                <a:gd name="connsiteX9" fmla="*/ 32528 w 32527"/>
                <a:gd name="connsiteY9" fmla="*/ 26121 h 44740"/>
                <a:gd name="connsiteX10" fmla="*/ 19048 w 32527"/>
                <a:gd name="connsiteY10" fmla="*/ 26121 h 44740"/>
                <a:gd name="connsiteX11" fmla="*/ 19048 w 32527"/>
                <a:gd name="connsiteY11" fmla="*/ 44741 h 44740"/>
                <a:gd name="connsiteX12" fmla="*/ 13382 w 32527"/>
                <a:gd name="connsiteY12" fmla="*/ 44741 h 44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740">
                  <a:moveTo>
                    <a:pt x="13382" y="44741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486"/>
                  </a:lnTo>
                  <a:lnTo>
                    <a:pt x="13382" y="18486"/>
                  </a:lnTo>
                  <a:lnTo>
                    <a:pt x="13382" y="0"/>
                  </a:lnTo>
                  <a:lnTo>
                    <a:pt x="19048" y="0"/>
                  </a:lnTo>
                  <a:lnTo>
                    <a:pt x="19048" y="18486"/>
                  </a:lnTo>
                  <a:lnTo>
                    <a:pt x="32528" y="18486"/>
                  </a:lnTo>
                  <a:lnTo>
                    <a:pt x="32528" y="26121"/>
                  </a:lnTo>
                  <a:lnTo>
                    <a:pt x="19048" y="26121"/>
                  </a:lnTo>
                  <a:lnTo>
                    <a:pt x="19048" y="44741"/>
                  </a:lnTo>
                  <a:lnTo>
                    <a:pt x="13382" y="44741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01" name="Freihandform: Form 900">
              <a:extLst>
                <a:ext uri="{FF2B5EF4-FFF2-40B4-BE49-F238E27FC236}">
                  <a16:creationId xmlns:a16="http://schemas.microsoft.com/office/drawing/2014/main" id="{82ED927B-A72C-73F7-A047-166DBA43C20F}"/>
                </a:ext>
              </a:extLst>
            </p:cNvPr>
            <p:cNvSpPr/>
            <p:nvPr/>
          </p:nvSpPr>
          <p:spPr>
            <a:xfrm>
              <a:off x="3628631" y="2309126"/>
              <a:ext cx="32527" cy="44606"/>
            </a:xfrm>
            <a:custGeom>
              <a:avLst/>
              <a:gdLst>
                <a:gd name="connsiteX0" fmla="*/ 13480 w 32527"/>
                <a:gd name="connsiteY0" fmla="*/ 44607 h 44606"/>
                <a:gd name="connsiteX1" fmla="*/ 13480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352 h 44606"/>
                <a:gd name="connsiteX4" fmla="*/ 13480 w 32527"/>
                <a:gd name="connsiteY4" fmla="*/ 18352 h 44606"/>
                <a:gd name="connsiteX5" fmla="*/ 13480 w 32527"/>
                <a:gd name="connsiteY5" fmla="*/ 0 h 44606"/>
                <a:gd name="connsiteX6" fmla="*/ 19145 w 32527"/>
                <a:gd name="connsiteY6" fmla="*/ 0 h 44606"/>
                <a:gd name="connsiteX7" fmla="*/ 19145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6121 h 44606"/>
                <a:gd name="connsiteX10" fmla="*/ 19145 w 32527"/>
                <a:gd name="connsiteY10" fmla="*/ 26121 h 44606"/>
                <a:gd name="connsiteX11" fmla="*/ 19145 w 32527"/>
                <a:gd name="connsiteY11" fmla="*/ 44607 h 44606"/>
                <a:gd name="connsiteX12" fmla="*/ 13480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480" y="44607"/>
                  </a:moveTo>
                  <a:lnTo>
                    <a:pt x="13480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480" y="18352"/>
                  </a:lnTo>
                  <a:lnTo>
                    <a:pt x="13480" y="0"/>
                  </a:lnTo>
                  <a:lnTo>
                    <a:pt x="19145" y="0"/>
                  </a:lnTo>
                  <a:lnTo>
                    <a:pt x="19145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145" y="26121"/>
                  </a:lnTo>
                  <a:lnTo>
                    <a:pt x="19145" y="44607"/>
                  </a:lnTo>
                  <a:lnTo>
                    <a:pt x="13480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02" name="Freihandform: Form 901">
              <a:extLst>
                <a:ext uri="{FF2B5EF4-FFF2-40B4-BE49-F238E27FC236}">
                  <a16:creationId xmlns:a16="http://schemas.microsoft.com/office/drawing/2014/main" id="{9CA8A73A-4056-1D0B-2CBD-D9F62DEB36FB}"/>
                </a:ext>
              </a:extLst>
            </p:cNvPr>
            <p:cNvSpPr/>
            <p:nvPr/>
          </p:nvSpPr>
          <p:spPr>
            <a:xfrm>
              <a:off x="3648265" y="2309126"/>
              <a:ext cx="32527" cy="44606"/>
            </a:xfrm>
            <a:custGeom>
              <a:avLst/>
              <a:gdLst>
                <a:gd name="connsiteX0" fmla="*/ 13480 w 32527"/>
                <a:gd name="connsiteY0" fmla="*/ 44607 h 44606"/>
                <a:gd name="connsiteX1" fmla="*/ 13480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352 h 44606"/>
                <a:gd name="connsiteX4" fmla="*/ 13480 w 32527"/>
                <a:gd name="connsiteY4" fmla="*/ 18352 h 44606"/>
                <a:gd name="connsiteX5" fmla="*/ 13480 w 32527"/>
                <a:gd name="connsiteY5" fmla="*/ 0 h 44606"/>
                <a:gd name="connsiteX6" fmla="*/ 19145 w 32527"/>
                <a:gd name="connsiteY6" fmla="*/ 0 h 44606"/>
                <a:gd name="connsiteX7" fmla="*/ 19145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6121 h 44606"/>
                <a:gd name="connsiteX10" fmla="*/ 19145 w 32527"/>
                <a:gd name="connsiteY10" fmla="*/ 26121 h 44606"/>
                <a:gd name="connsiteX11" fmla="*/ 19145 w 32527"/>
                <a:gd name="connsiteY11" fmla="*/ 44607 h 44606"/>
                <a:gd name="connsiteX12" fmla="*/ 13480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480" y="44607"/>
                  </a:moveTo>
                  <a:lnTo>
                    <a:pt x="13480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480" y="18352"/>
                  </a:lnTo>
                  <a:lnTo>
                    <a:pt x="13480" y="0"/>
                  </a:lnTo>
                  <a:lnTo>
                    <a:pt x="19145" y="0"/>
                  </a:lnTo>
                  <a:lnTo>
                    <a:pt x="19145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145" y="26121"/>
                  </a:lnTo>
                  <a:lnTo>
                    <a:pt x="19145" y="44607"/>
                  </a:lnTo>
                  <a:lnTo>
                    <a:pt x="13480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03" name="Freihandform: Form 902">
              <a:extLst>
                <a:ext uri="{FF2B5EF4-FFF2-40B4-BE49-F238E27FC236}">
                  <a16:creationId xmlns:a16="http://schemas.microsoft.com/office/drawing/2014/main" id="{4B4ED994-35D0-5B32-10E1-75A710561671}"/>
                </a:ext>
              </a:extLst>
            </p:cNvPr>
            <p:cNvSpPr/>
            <p:nvPr/>
          </p:nvSpPr>
          <p:spPr>
            <a:xfrm>
              <a:off x="3743992" y="2309126"/>
              <a:ext cx="32527" cy="44606"/>
            </a:xfrm>
            <a:custGeom>
              <a:avLst/>
              <a:gdLst>
                <a:gd name="connsiteX0" fmla="*/ 13382 w 32527"/>
                <a:gd name="connsiteY0" fmla="*/ 44607 h 44606"/>
                <a:gd name="connsiteX1" fmla="*/ 13382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352 h 44606"/>
                <a:gd name="connsiteX4" fmla="*/ 13382 w 32527"/>
                <a:gd name="connsiteY4" fmla="*/ 18352 h 44606"/>
                <a:gd name="connsiteX5" fmla="*/ 13382 w 32527"/>
                <a:gd name="connsiteY5" fmla="*/ 0 h 44606"/>
                <a:gd name="connsiteX6" fmla="*/ 19145 w 32527"/>
                <a:gd name="connsiteY6" fmla="*/ 0 h 44606"/>
                <a:gd name="connsiteX7" fmla="*/ 19145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6121 h 44606"/>
                <a:gd name="connsiteX10" fmla="*/ 19145 w 32527"/>
                <a:gd name="connsiteY10" fmla="*/ 26121 h 44606"/>
                <a:gd name="connsiteX11" fmla="*/ 19145 w 32527"/>
                <a:gd name="connsiteY11" fmla="*/ 44607 h 44606"/>
                <a:gd name="connsiteX12" fmla="*/ 13382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145" y="0"/>
                  </a:lnTo>
                  <a:lnTo>
                    <a:pt x="19145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145" y="26121"/>
                  </a:lnTo>
                  <a:lnTo>
                    <a:pt x="19145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04" name="Freihandform: Form 903">
              <a:extLst>
                <a:ext uri="{FF2B5EF4-FFF2-40B4-BE49-F238E27FC236}">
                  <a16:creationId xmlns:a16="http://schemas.microsoft.com/office/drawing/2014/main" id="{BEB5370A-6246-DBB1-C887-2B9933F739D2}"/>
                </a:ext>
              </a:extLst>
            </p:cNvPr>
            <p:cNvSpPr/>
            <p:nvPr/>
          </p:nvSpPr>
          <p:spPr>
            <a:xfrm>
              <a:off x="3748876" y="2309126"/>
              <a:ext cx="32527" cy="44606"/>
            </a:xfrm>
            <a:custGeom>
              <a:avLst/>
              <a:gdLst>
                <a:gd name="connsiteX0" fmla="*/ 13480 w 32527"/>
                <a:gd name="connsiteY0" fmla="*/ 44607 h 44606"/>
                <a:gd name="connsiteX1" fmla="*/ 13480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352 h 44606"/>
                <a:gd name="connsiteX4" fmla="*/ 13480 w 32527"/>
                <a:gd name="connsiteY4" fmla="*/ 18352 h 44606"/>
                <a:gd name="connsiteX5" fmla="*/ 13480 w 32527"/>
                <a:gd name="connsiteY5" fmla="*/ 0 h 44606"/>
                <a:gd name="connsiteX6" fmla="*/ 19145 w 32527"/>
                <a:gd name="connsiteY6" fmla="*/ 0 h 44606"/>
                <a:gd name="connsiteX7" fmla="*/ 19145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6121 h 44606"/>
                <a:gd name="connsiteX10" fmla="*/ 19145 w 32527"/>
                <a:gd name="connsiteY10" fmla="*/ 26121 h 44606"/>
                <a:gd name="connsiteX11" fmla="*/ 19145 w 32527"/>
                <a:gd name="connsiteY11" fmla="*/ 44607 h 44606"/>
                <a:gd name="connsiteX12" fmla="*/ 13480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480" y="44607"/>
                  </a:moveTo>
                  <a:lnTo>
                    <a:pt x="13480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480" y="18352"/>
                  </a:lnTo>
                  <a:lnTo>
                    <a:pt x="13480" y="0"/>
                  </a:lnTo>
                  <a:lnTo>
                    <a:pt x="19145" y="0"/>
                  </a:lnTo>
                  <a:lnTo>
                    <a:pt x="19145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145" y="26121"/>
                  </a:lnTo>
                  <a:lnTo>
                    <a:pt x="19145" y="44607"/>
                  </a:lnTo>
                  <a:lnTo>
                    <a:pt x="13480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05" name="Freihandform: Form 904">
              <a:extLst>
                <a:ext uri="{FF2B5EF4-FFF2-40B4-BE49-F238E27FC236}">
                  <a16:creationId xmlns:a16="http://schemas.microsoft.com/office/drawing/2014/main" id="{CEFF57C8-A02B-62A6-7D11-A2B2C1FBFB18}"/>
                </a:ext>
              </a:extLst>
            </p:cNvPr>
            <p:cNvSpPr/>
            <p:nvPr/>
          </p:nvSpPr>
          <p:spPr>
            <a:xfrm>
              <a:off x="4141552" y="2443348"/>
              <a:ext cx="32527" cy="44606"/>
            </a:xfrm>
            <a:custGeom>
              <a:avLst/>
              <a:gdLst>
                <a:gd name="connsiteX0" fmla="*/ 13480 w 32527"/>
                <a:gd name="connsiteY0" fmla="*/ 44607 h 44606"/>
                <a:gd name="connsiteX1" fmla="*/ 13480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352 h 44606"/>
                <a:gd name="connsiteX4" fmla="*/ 13480 w 32527"/>
                <a:gd name="connsiteY4" fmla="*/ 18352 h 44606"/>
                <a:gd name="connsiteX5" fmla="*/ 13480 w 32527"/>
                <a:gd name="connsiteY5" fmla="*/ 0 h 44606"/>
                <a:gd name="connsiteX6" fmla="*/ 19145 w 32527"/>
                <a:gd name="connsiteY6" fmla="*/ 0 h 44606"/>
                <a:gd name="connsiteX7" fmla="*/ 19145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6121 h 44606"/>
                <a:gd name="connsiteX10" fmla="*/ 19145 w 32527"/>
                <a:gd name="connsiteY10" fmla="*/ 26121 h 44606"/>
                <a:gd name="connsiteX11" fmla="*/ 19145 w 32527"/>
                <a:gd name="connsiteY11" fmla="*/ 44607 h 44606"/>
                <a:gd name="connsiteX12" fmla="*/ 13480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480" y="44607"/>
                  </a:moveTo>
                  <a:lnTo>
                    <a:pt x="13480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480" y="18352"/>
                  </a:lnTo>
                  <a:lnTo>
                    <a:pt x="13480" y="0"/>
                  </a:lnTo>
                  <a:lnTo>
                    <a:pt x="19145" y="0"/>
                  </a:lnTo>
                  <a:lnTo>
                    <a:pt x="19145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145" y="26121"/>
                  </a:lnTo>
                  <a:lnTo>
                    <a:pt x="19145" y="44607"/>
                  </a:lnTo>
                  <a:lnTo>
                    <a:pt x="13480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06" name="Freihandform: Form 905">
              <a:extLst>
                <a:ext uri="{FF2B5EF4-FFF2-40B4-BE49-F238E27FC236}">
                  <a16:creationId xmlns:a16="http://schemas.microsoft.com/office/drawing/2014/main" id="{C55F461A-7768-6BEC-95CB-F472DF5EB93D}"/>
                </a:ext>
              </a:extLst>
            </p:cNvPr>
            <p:cNvSpPr/>
            <p:nvPr/>
          </p:nvSpPr>
          <p:spPr>
            <a:xfrm>
              <a:off x="4193127" y="2466121"/>
              <a:ext cx="32527" cy="44606"/>
            </a:xfrm>
            <a:custGeom>
              <a:avLst/>
              <a:gdLst>
                <a:gd name="connsiteX0" fmla="*/ 13382 w 32527"/>
                <a:gd name="connsiteY0" fmla="*/ 44607 h 44606"/>
                <a:gd name="connsiteX1" fmla="*/ 13382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352 h 44606"/>
                <a:gd name="connsiteX4" fmla="*/ 13382 w 32527"/>
                <a:gd name="connsiteY4" fmla="*/ 18352 h 44606"/>
                <a:gd name="connsiteX5" fmla="*/ 13382 w 32527"/>
                <a:gd name="connsiteY5" fmla="*/ 0 h 44606"/>
                <a:gd name="connsiteX6" fmla="*/ 19145 w 32527"/>
                <a:gd name="connsiteY6" fmla="*/ 0 h 44606"/>
                <a:gd name="connsiteX7" fmla="*/ 19145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6121 h 44606"/>
                <a:gd name="connsiteX10" fmla="*/ 19145 w 32527"/>
                <a:gd name="connsiteY10" fmla="*/ 26121 h 44606"/>
                <a:gd name="connsiteX11" fmla="*/ 19145 w 32527"/>
                <a:gd name="connsiteY11" fmla="*/ 44607 h 44606"/>
                <a:gd name="connsiteX12" fmla="*/ 13382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145" y="0"/>
                  </a:lnTo>
                  <a:lnTo>
                    <a:pt x="19145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145" y="26121"/>
                  </a:lnTo>
                  <a:lnTo>
                    <a:pt x="19145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07" name="Freihandform: Form 906">
              <a:extLst>
                <a:ext uri="{FF2B5EF4-FFF2-40B4-BE49-F238E27FC236}">
                  <a16:creationId xmlns:a16="http://schemas.microsoft.com/office/drawing/2014/main" id="{974E26A6-7ADD-AFB6-D472-9D47510DF700}"/>
                </a:ext>
              </a:extLst>
            </p:cNvPr>
            <p:cNvSpPr/>
            <p:nvPr/>
          </p:nvSpPr>
          <p:spPr>
            <a:xfrm>
              <a:off x="4205435" y="2466121"/>
              <a:ext cx="32527" cy="44606"/>
            </a:xfrm>
            <a:custGeom>
              <a:avLst/>
              <a:gdLst>
                <a:gd name="connsiteX0" fmla="*/ 13382 w 32527"/>
                <a:gd name="connsiteY0" fmla="*/ 44607 h 44606"/>
                <a:gd name="connsiteX1" fmla="*/ 13382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352 h 44606"/>
                <a:gd name="connsiteX4" fmla="*/ 13382 w 32527"/>
                <a:gd name="connsiteY4" fmla="*/ 18352 h 44606"/>
                <a:gd name="connsiteX5" fmla="*/ 13382 w 32527"/>
                <a:gd name="connsiteY5" fmla="*/ 0 h 44606"/>
                <a:gd name="connsiteX6" fmla="*/ 19048 w 32527"/>
                <a:gd name="connsiteY6" fmla="*/ 0 h 44606"/>
                <a:gd name="connsiteX7" fmla="*/ 19048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6121 h 44606"/>
                <a:gd name="connsiteX10" fmla="*/ 19048 w 32527"/>
                <a:gd name="connsiteY10" fmla="*/ 26121 h 44606"/>
                <a:gd name="connsiteX11" fmla="*/ 19048 w 32527"/>
                <a:gd name="connsiteY11" fmla="*/ 44607 h 44606"/>
                <a:gd name="connsiteX12" fmla="*/ 13382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048" y="0"/>
                  </a:lnTo>
                  <a:lnTo>
                    <a:pt x="19048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048" y="26121"/>
                  </a:lnTo>
                  <a:lnTo>
                    <a:pt x="19048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08" name="Freihandform: Form 907">
              <a:extLst>
                <a:ext uri="{FF2B5EF4-FFF2-40B4-BE49-F238E27FC236}">
                  <a16:creationId xmlns:a16="http://schemas.microsoft.com/office/drawing/2014/main" id="{992B9C2B-DF70-7C07-9572-4C2F91D14E61}"/>
                </a:ext>
              </a:extLst>
            </p:cNvPr>
            <p:cNvSpPr/>
            <p:nvPr/>
          </p:nvSpPr>
          <p:spPr>
            <a:xfrm>
              <a:off x="4274104" y="2513273"/>
              <a:ext cx="32527" cy="44606"/>
            </a:xfrm>
            <a:custGeom>
              <a:avLst/>
              <a:gdLst>
                <a:gd name="connsiteX0" fmla="*/ 13382 w 32527"/>
                <a:gd name="connsiteY0" fmla="*/ 44607 h 44606"/>
                <a:gd name="connsiteX1" fmla="*/ 13382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352 h 44606"/>
                <a:gd name="connsiteX4" fmla="*/ 13382 w 32527"/>
                <a:gd name="connsiteY4" fmla="*/ 18352 h 44606"/>
                <a:gd name="connsiteX5" fmla="*/ 13382 w 32527"/>
                <a:gd name="connsiteY5" fmla="*/ 0 h 44606"/>
                <a:gd name="connsiteX6" fmla="*/ 19048 w 32527"/>
                <a:gd name="connsiteY6" fmla="*/ 0 h 44606"/>
                <a:gd name="connsiteX7" fmla="*/ 19048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6121 h 44606"/>
                <a:gd name="connsiteX10" fmla="*/ 19048 w 32527"/>
                <a:gd name="connsiteY10" fmla="*/ 26121 h 44606"/>
                <a:gd name="connsiteX11" fmla="*/ 19048 w 32527"/>
                <a:gd name="connsiteY11" fmla="*/ 44607 h 44606"/>
                <a:gd name="connsiteX12" fmla="*/ 13382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048" y="0"/>
                  </a:lnTo>
                  <a:lnTo>
                    <a:pt x="19048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048" y="26121"/>
                  </a:lnTo>
                  <a:lnTo>
                    <a:pt x="19048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09" name="Freihandform: Form 908">
              <a:extLst>
                <a:ext uri="{FF2B5EF4-FFF2-40B4-BE49-F238E27FC236}">
                  <a16:creationId xmlns:a16="http://schemas.microsoft.com/office/drawing/2014/main" id="{E55B217B-3612-D7DD-83E9-B3424D8B76EB}"/>
                </a:ext>
              </a:extLst>
            </p:cNvPr>
            <p:cNvSpPr/>
            <p:nvPr/>
          </p:nvSpPr>
          <p:spPr>
            <a:xfrm>
              <a:off x="4497402" y="2537385"/>
              <a:ext cx="32527" cy="44606"/>
            </a:xfrm>
            <a:custGeom>
              <a:avLst/>
              <a:gdLst>
                <a:gd name="connsiteX0" fmla="*/ 13480 w 32527"/>
                <a:gd name="connsiteY0" fmla="*/ 44607 h 44606"/>
                <a:gd name="connsiteX1" fmla="*/ 13480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352 h 44606"/>
                <a:gd name="connsiteX4" fmla="*/ 13480 w 32527"/>
                <a:gd name="connsiteY4" fmla="*/ 18352 h 44606"/>
                <a:gd name="connsiteX5" fmla="*/ 13480 w 32527"/>
                <a:gd name="connsiteY5" fmla="*/ 0 h 44606"/>
                <a:gd name="connsiteX6" fmla="*/ 19145 w 32527"/>
                <a:gd name="connsiteY6" fmla="*/ 0 h 44606"/>
                <a:gd name="connsiteX7" fmla="*/ 19145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6121 h 44606"/>
                <a:gd name="connsiteX10" fmla="*/ 19145 w 32527"/>
                <a:gd name="connsiteY10" fmla="*/ 26121 h 44606"/>
                <a:gd name="connsiteX11" fmla="*/ 19145 w 32527"/>
                <a:gd name="connsiteY11" fmla="*/ 44607 h 44606"/>
                <a:gd name="connsiteX12" fmla="*/ 13480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480" y="44607"/>
                  </a:moveTo>
                  <a:lnTo>
                    <a:pt x="13480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480" y="18352"/>
                  </a:lnTo>
                  <a:lnTo>
                    <a:pt x="13480" y="0"/>
                  </a:lnTo>
                  <a:lnTo>
                    <a:pt x="19145" y="0"/>
                  </a:lnTo>
                  <a:lnTo>
                    <a:pt x="19145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145" y="26121"/>
                  </a:lnTo>
                  <a:lnTo>
                    <a:pt x="19145" y="44607"/>
                  </a:lnTo>
                  <a:lnTo>
                    <a:pt x="13480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10" name="Freihandform: Form 909">
              <a:extLst>
                <a:ext uri="{FF2B5EF4-FFF2-40B4-BE49-F238E27FC236}">
                  <a16:creationId xmlns:a16="http://schemas.microsoft.com/office/drawing/2014/main" id="{4E64183A-E470-D7F7-3DB8-DE805B0EBA5D}"/>
                </a:ext>
              </a:extLst>
            </p:cNvPr>
            <p:cNvSpPr/>
            <p:nvPr/>
          </p:nvSpPr>
          <p:spPr>
            <a:xfrm>
              <a:off x="4509710" y="2537385"/>
              <a:ext cx="32527" cy="44606"/>
            </a:xfrm>
            <a:custGeom>
              <a:avLst/>
              <a:gdLst>
                <a:gd name="connsiteX0" fmla="*/ 13382 w 32527"/>
                <a:gd name="connsiteY0" fmla="*/ 44607 h 44606"/>
                <a:gd name="connsiteX1" fmla="*/ 13382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352 h 44606"/>
                <a:gd name="connsiteX4" fmla="*/ 13382 w 32527"/>
                <a:gd name="connsiteY4" fmla="*/ 18352 h 44606"/>
                <a:gd name="connsiteX5" fmla="*/ 13382 w 32527"/>
                <a:gd name="connsiteY5" fmla="*/ 0 h 44606"/>
                <a:gd name="connsiteX6" fmla="*/ 19146 w 32527"/>
                <a:gd name="connsiteY6" fmla="*/ 0 h 44606"/>
                <a:gd name="connsiteX7" fmla="*/ 19146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6121 h 44606"/>
                <a:gd name="connsiteX10" fmla="*/ 19146 w 32527"/>
                <a:gd name="connsiteY10" fmla="*/ 26121 h 44606"/>
                <a:gd name="connsiteX11" fmla="*/ 19146 w 32527"/>
                <a:gd name="connsiteY11" fmla="*/ 44607 h 44606"/>
                <a:gd name="connsiteX12" fmla="*/ 13382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146" y="0"/>
                  </a:lnTo>
                  <a:lnTo>
                    <a:pt x="19146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146" y="26121"/>
                  </a:lnTo>
                  <a:lnTo>
                    <a:pt x="19146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11" name="Freihandform: Form 910">
              <a:extLst>
                <a:ext uri="{FF2B5EF4-FFF2-40B4-BE49-F238E27FC236}">
                  <a16:creationId xmlns:a16="http://schemas.microsoft.com/office/drawing/2014/main" id="{7F489823-C7CA-67F8-E1EE-9993B845C9D9}"/>
                </a:ext>
              </a:extLst>
            </p:cNvPr>
            <p:cNvSpPr/>
            <p:nvPr/>
          </p:nvSpPr>
          <p:spPr>
            <a:xfrm>
              <a:off x="4519478" y="2537385"/>
              <a:ext cx="32527" cy="44606"/>
            </a:xfrm>
            <a:custGeom>
              <a:avLst/>
              <a:gdLst>
                <a:gd name="connsiteX0" fmla="*/ 13382 w 32527"/>
                <a:gd name="connsiteY0" fmla="*/ 44607 h 44606"/>
                <a:gd name="connsiteX1" fmla="*/ 13382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352 h 44606"/>
                <a:gd name="connsiteX4" fmla="*/ 13382 w 32527"/>
                <a:gd name="connsiteY4" fmla="*/ 18352 h 44606"/>
                <a:gd name="connsiteX5" fmla="*/ 13382 w 32527"/>
                <a:gd name="connsiteY5" fmla="*/ 0 h 44606"/>
                <a:gd name="connsiteX6" fmla="*/ 19146 w 32527"/>
                <a:gd name="connsiteY6" fmla="*/ 0 h 44606"/>
                <a:gd name="connsiteX7" fmla="*/ 19146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6121 h 44606"/>
                <a:gd name="connsiteX10" fmla="*/ 19146 w 32527"/>
                <a:gd name="connsiteY10" fmla="*/ 26121 h 44606"/>
                <a:gd name="connsiteX11" fmla="*/ 19146 w 32527"/>
                <a:gd name="connsiteY11" fmla="*/ 44607 h 44606"/>
                <a:gd name="connsiteX12" fmla="*/ 13382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146" y="0"/>
                  </a:lnTo>
                  <a:lnTo>
                    <a:pt x="19146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146" y="26121"/>
                  </a:lnTo>
                  <a:lnTo>
                    <a:pt x="19146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12" name="Freihandform: Form 911">
              <a:extLst>
                <a:ext uri="{FF2B5EF4-FFF2-40B4-BE49-F238E27FC236}">
                  <a16:creationId xmlns:a16="http://schemas.microsoft.com/office/drawing/2014/main" id="{37E7E536-87E2-1B58-279E-7E9AD1403584}"/>
                </a:ext>
              </a:extLst>
            </p:cNvPr>
            <p:cNvSpPr/>
            <p:nvPr/>
          </p:nvSpPr>
          <p:spPr>
            <a:xfrm>
              <a:off x="4612763" y="2537385"/>
              <a:ext cx="32527" cy="44606"/>
            </a:xfrm>
            <a:custGeom>
              <a:avLst/>
              <a:gdLst>
                <a:gd name="connsiteX0" fmla="*/ 13382 w 32527"/>
                <a:gd name="connsiteY0" fmla="*/ 44607 h 44606"/>
                <a:gd name="connsiteX1" fmla="*/ 13382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352 h 44606"/>
                <a:gd name="connsiteX4" fmla="*/ 13382 w 32527"/>
                <a:gd name="connsiteY4" fmla="*/ 18352 h 44606"/>
                <a:gd name="connsiteX5" fmla="*/ 13382 w 32527"/>
                <a:gd name="connsiteY5" fmla="*/ 0 h 44606"/>
                <a:gd name="connsiteX6" fmla="*/ 19145 w 32527"/>
                <a:gd name="connsiteY6" fmla="*/ 0 h 44606"/>
                <a:gd name="connsiteX7" fmla="*/ 19145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6121 h 44606"/>
                <a:gd name="connsiteX10" fmla="*/ 19145 w 32527"/>
                <a:gd name="connsiteY10" fmla="*/ 26121 h 44606"/>
                <a:gd name="connsiteX11" fmla="*/ 19145 w 32527"/>
                <a:gd name="connsiteY11" fmla="*/ 44607 h 44606"/>
                <a:gd name="connsiteX12" fmla="*/ 13382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145" y="0"/>
                  </a:lnTo>
                  <a:lnTo>
                    <a:pt x="19145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145" y="26121"/>
                  </a:lnTo>
                  <a:lnTo>
                    <a:pt x="19145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13" name="Freihandform: Form 912">
              <a:extLst>
                <a:ext uri="{FF2B5EF4-FFF2-40B4-BE49-F238E27FC236}">
                  <a16:creationId xmlns:a16="http://schemas.microsoft.com/office/drawing/2014/main" id="{F7A32029-3D8B-4680-CCC2-4FB7F985A608}"/>
                </a:ext>
              </a:extLst>
            </p:cNvPr>
            <p:cNvSpPr/>
            <p:nvPr/>
          </p:nvSpPr>
          <p:spPr>
            <a:xfrm>
              <a:off x="4678990" y="2537385"/>
              <a:ext cx="32527" cy="44606"/>
            </a:xfrm>
            <a:custGeom>
              <a:avLst/>
              <a:gdLst>
                <a:gd name="connsiteX0" fmla="*/ 13480 w 32527"/>
                <a:gd name="connsiteY0" fmla="*/ 44607 h 44606"/>
                <a:gd name="connsiteX1" fmla="*/ 13480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352 h 44606"/>
                <a:gd name="connsiteX4" fmla="*/ 13480 w 32527"/>
                <a:gd name="connsiteY4" fmla="*/ 18352 h 44606"/>
                <a:gd name="connsiteX5" fmla="*/ 13480 w 32527"/>
                <a:gd name="connsiteY5" fmla="*/ 0 h 44606"/>
                <a:gd name="connsiteX6" fmla="*/ 19145 w 32527"/>
                <a:gd name="connsiteY6" fmla="*/ 0 h 44606"/>
                <a:gd name="connsiteX7" fmla="*/ 19145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6121 h 44606"/>
                <a:gd name="connsiteX10" fmla="*/ 19145 w 32527"/>
                <a:gd name="connsiteY10" fmla="*/ 26121 h 44606"/>
                <a:gd name="connsiteX11" fmla="*/ 19145 w 32527"/>
                <a:gd name="connsiteY11" fmla="*/ 44607 h 44606"/>
                <a:gd name="connsiteX12" fmla="*/ 13480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480" y="44607"/>
                  </a:moveTo>
                  <a:lnTo>
                    <a:pt x="13480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480" y="18352"/>
                  </a:lnTo>
                  <a:lnTo>
                    <a:pt x="13480" y="0"/>
                  </a:lnTo>
                  <a:lnTo>
                    <a:pt x="19145" y="0"/>
                  </a:lnTo>
                  <a:lnTo>
                    <a:pt x="19145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145" y="26121"/>
                  </a:lnTo>
                  <a:lnTo>
                    <a:pt x="19145" y="44607"/>
                  </a:lnTo>
                  <a:lnTo>
                    <a:pt x="13480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14" name="Freihandform: Form 913">
              <a:extLst>
                <a:ext uri="{FF2B5EF4-FFF2-40B4-BE49-F238E27FC236}">
                  <a16:creationId xmlns:a16="http://schemas.microsoft.com/office/drawing/2014/main" id="{E73F9F12-AA62-F981-DD10-7290C8C7F338}"/>
                </a:ext>
              </a:extLst>
            </p:cNvPr>
            <p:cNvSpPr/>
            <p:nvPr/>
          </p:nvSpPr>
          <p:spPr>
            <a:xfrm>
              <a:off x="4713374" y="2537385"/>
              <a:ext cx="32527" cy="44606"/>
            </a:xfrm>
            <a:custGeom>
              <a:avLst/>
              <a:gdLst>
                <a:gd name="connsiteX0" fmla="*/ 13382 w 32527"/>
                <a:gd name="connsiteY0" fmla="*/ 44607 h 44606"/>
                <a:gd name="connsiteX1" fmla="*/ 13382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352 h 44606"/>
                <a:gd name="connsiteX4" fmla="*/ 13382 w 32527"/>
                <a:gd name="connsiteY4" fmla="*/ 18352 h 44606"/>
                <a:gd name="connsiteX5" fmla="*/ 13382 w 32527"/>
                <a:gd name="connsiteY5" fmla="*/ 0 h 44606"/>
                <a:gd name="connsiteX6" fmla="*/ 19146 w 32527"/>
                <a:gd name="connsiteY6" fmla="*/ 0 h 44606"/>
                <a:gd name="connsiteX7" fmla="*/ 19146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6121 h 44606"/>
                <a:gd name="connsiteX10" fmla="*/ 19146 w 32527"/>
                <a:gd name="connsiteY10" fmla="*/ 26121 h 44606"/>
                <a:gd name="connsiteX11" fmla="*/ 19146 w 32527"/>
                <a:gd name="connsiteY11" fmla="*/ 44607 h 44606"/>
                <a:gd name="connsiteX12" fmla="*/ 13382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146" y="0"/>
                  </a:lnTo>
                  <a:lnTo>
                    <a:pt x="19146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146" y="26121"/>
                  </a:lnTo>
                  <a:lnTo>
                    <a:pt x="19146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15" name="Freihandform: Form 914">
              <a:extLst>
                <a:ext uri="{FF2B5EF4-FFF2-40B4-BE49-F238E27FC236}">
                  <a16:creationId xmlns:a16="http://schemas.microsoft.com/office/drawing/2014/main" id="{8442C74A-5660-E27D-D08B-3A87C7683B74}"/>
                </a:ext>
              </a:extLst>
            </p:cNvPr>
            <p:cNvSpPr/>
            <p:nvPr/>
          </p:nvSpPr>
          <p:spPr>
            <a:xfrm>
              <a:off x="4865560" y="2564577"/>
              <a:ext cx="32527" cy="44740"/>
            </a:xfrm>
            <a:custGeom>
              <a:avLst/>
              <a:gdLst>
                <a:gd name="connsiteX0" fmla="*/ 13382 w 32527"/>
                <a:gd name="connsiteY0" fmla="*/ 44741 h 44740"/>
                <a:gd name="connsiteX1" fmla="*/ 13382 w 32527"/>
                <a:gd name="connsiteY1" fmla="*/ 26121 h 44740"/>
                <a:gd name="connsiteX2" fmla="*/ 0 w 32527"/>
                <a:gd name="connsiteY2" fmla="*/ 26121 h 44740"/>
                <a:gd name="connsiteX3" fmla="*/ 0 w 32527"/>
                <a:gd name="connsiteY3" fmla="*/ 18352 h 44740"/>
                <a:gd name="connsiteX4" fmla="*/ 13382 w 32527"/>
                <a:gd name="connsiteY4" fmla="*/ 18352 h 44740"/>
                <a:gd name="connsiteX5" fmla="*/ 13382 w 32527"/>
                <a:gd name="connsiteY5" fmla="*/ 0 h 44740"/>
                <a:gd name="connsiteX6" fmla="*/ 19145 w 32527"/>
                <a:gd name="connsiteY6" fmla="*/ 0 h 44740"/>
                <a:gd name="connsiteX7" fmla="*/ 19145 w 32527"/>
                <a:gd name="connsiteY7" fmla="*/ 18352 h 44740"/>
                <a:gd name="connsiteX8" fmla="*/ 32528 w 32527"/>
                <a:gd name="connsiteY8" fmla="*/ 18352 h 44740"/>
                <a:gd name="connsiteX9" fmla="*/ 32528 w 32527"/>
                <a:gd name="connsiteY9" fmla="*/ 26121 h 44740"/>
                <a:gd name="connsiteX10" fmla="*/ 19145 w 32527"/>
                <a:gd name="connsiteY10" fmla="*/ 26121 h 44740"/>
                <a:gd name="connsiteX11" fmla="*/ 19145 w 32527"/>
                <a:gd name="connsiteY11" fmla="*/ 44741 h 44740"/>
                <a:gd name="connsiteX12" fmla="*/ 13382 w 32527"/>
                <a:gd name="connsiteY12" fmla="*/ 44741 h 44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740">
                  <a:moveTo>
                    <a:pt x="13382" y="44741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145" y="0"/>
                  </a:lnTo>
                  <a:lnTo>
                    <a:pt x="19145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145" y="26121"/>
                  </a:lnTo>
                  <a:lnTo>
                    <a:pt x="19145" y="44741"/>
                  </a:lnTo>
                  <a:lnTo>
                    <a:pt x="13382" y="44741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16" name="Freihandform: Form 915">
              <a:extLst>
                <a:ext uri="{FF2B5EF4-FFF2-40B4-BE49-F238E27FC236}">
                  <a16:creationId xmlns:a16="http://schemas.microsoft.com/office/drawing/2014/main" id="{29EF066C-7234-ADFA-A77B-17CEE778766C}"/>
                </a:ext>
              </a:extLst>
            </p:cNvPr>
            <p:cNvSpPr/>
            <p:nvPr/>
          </p:nvSpPr>
          <p:spPr>
            <a:xfrm>
              <a:off x="4890078" y="2564577"/>
              <a:ext cx="32430" cy="44740"/>
            </a:xfrm>
            <a:custGeom>
              <a:avLst/>
              <a:gdLst>
                <a:gd name="connsiteX0" fmla="*/ 13382 w 32430"/>
                <a:gd name="connsiteY0" fmla="*/ 44741 h 44740"/>
                <a:gd name="connsiteX1" fmla="*/ 13382 w 32430"/>
                <a:gd name="connsiteY1" fmla="*/ 26121 h 44740"/>
                <a:gd name="connsiteX2" fmla="*/ 0 w 32430"/>
                <a:gd name="connsiteY2" fmla="*/ 26121 h 44740"/>
                <a:gd name="connsiteX3" fmla="*/ 0 w 32430"/>
                <a:gd name="connsiteY3" fmla="*/ 18352 h 44740"/>
                <a:gd name="connsiteX4" fmla="*/ 13382 w 32430"/>
                <a:gd name="connsiteY4" fmla="*/ 18352 h 44740"/>
                <a:gd name="connsiteX5" fmla="*/ 13382 w 32430"/>
                <a:gd name="connsiteY5" fmla="*/ 0 h 44740"/>
                <a:gd name="connsiteX6" fmla="*/ 19048 w 32430"/>
                <a:gd name="connsiteY6" fmla="*/ 0 h 44740"/>
                <a:gd name="connsiteX7" fmla="*/ 19048 w 32430"/>
                <a:gd name="connsiteY7" fmla="*/ 18352 h 44740"/>
                <a:gd name="connsiteX8" fmla="*/ 32430 w 32430"/>
                <a:gd name="connsiteY8" fmla="*/ 18352 h 44740"/>
                <a:gd name="connsiteX9" fmla="*/ 32430 w 32430"/>
                <a:gd name="connsiteY9" fmla="*/ 26121 h 44740"/>
                <a:gd name="connsiteX10" fmla="*/ 19048 w 32430"/>
                <a:gd name="connsiteY10" fmla="*/ 26121 h 44740"/>
                <a:gd name="connsiteX11" fmla="*/ 19048 w 32430"/>
                <a:gd name="connsiteY11" fmla="*/ 44741 h 44740"/>
                <a:gd name="connsiteX12" fmla="*/ 13382 w 32430"/>
                <a:gd name="connsiteY12" fmla="*/ 44741 h 44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30" h="44740">
                  <a:moveTo>
                    <a:pt x="13382" y="44741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048" y="0"/>
                  </a:lnTo>
                  <a:lnTo>
                    <a:pt x="19048" y="18352"/>
                  </a:lnTo>
                  <a:lnTo>
                    <a:pt x="32430" y="18352"/>
                  </a:lnTo>
                  <a:lnTo>
                    <a:pt x="32430" y="26121"/>
                  </a:lnTo>
                  <a:lnTo>
                    <a:pt x="19048" y="26121"/>
                  </a:lnTo>
                  <a:lnTo>
                    <a:pt x="19048" y="44741"/>
                  </a:lnTo>
                  <a:lnTo>
                    <a:pt x="13382" y="44741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17" name="Freihandform: Form 916">
              <a:extLst>
                <a:ext uri="{FF2B5EF4-FFF2-40B4-BE49-F238E27FC236}">
                  <a16:creationId xmlns:a16="http://schemas.microsoft.com/office/drawing/2014/main" id="{40363D01-34E2-7F89-65ED-F56A7F2E4CEA}"/>
                </a:ext>
              </a:extLst>
            </p:cNvPr>
            <p:cNvSpPr/>
            <p:nvPr/>
          </p:nvSpPr>
          <p:spPr>
            <a:xfrm>
              <a:off x="4909712" y="2564577"/>
              <a:ext cx="32527" cy="44740"/>
            </a:xfrm>
            <a:custGeom>
              <a:avLst/>
              <a:gdLst>
                <a:gd name="connsiteX0" fmla="*/ 13382 w 32527"/>
                <a:gd name="connsiteY0" fmla="*/ 44741 h 44740"/>
                <a:gd name="connsiteX1" fmla="*/ 13382 w 32527"/>
                <a:gd name="connsiteY1" fmla="*/ 26121 h 44740"/>
                <a:gd name="connsiteX2" fmla="*/ 0 w 32527"/>
                <a:gd name="connsiteY2" fmla="*/ 26121 h 44740"/>
                <a:gd name="connsiteX3" fmla="*/ 0 w 32527"/>
                <a:gd name="connsiteY3" fmla="*/ 18352 h 44740"/>
                <a:gd name="connsiteX4" fmla="*/ 13382 w 32527"/>
                <a:gd name="connsiteY4" fmla="*/ 18352 h 44740"/>
                <a:gd name="connsiteX5" fmla="*/ 13382 w 32527"/>
                <a:gd name="connsiteY5" fmla="*/ 0 h 44740"/>
                <a:gd name="connsiteX6" fmla="*/ 19048 w 32527"/>
                <a:gd name="connsiteY6" fmla="*/ 0 h 44740"/>
                <a:gd name="connsiteX7" fmla="*/ 19048 w 32527"/>
                <a:gd name="connsiteY7" fmla="*/ 18352 h 44740"/>
                <a:gd name="connsiteX8" fmla="*/ 32528 w 32527"/>
                <a:gd name="connsiteY8" fmla="*/ 18352 h 44740"/>
                <a:gd name="connsiteX9" fmla="*/ 32528 w 32527"/>
                <a:gd name="connsiteY9" fmla="*/ 26121 h 44740"/>
                <a:gd name="connsiteX10" fmla="*/ 19048 w 32527"/>
                <a:gd name="connsiteY10" fmla="*/ 26121 h 44740"/>
                <a:gd name="connsiteX11" fmla="*/ 19048 w 32527"/>
                <a:gd name="connsiteY11" fmla="*/ 44741 h 44740"/>
                <a:gd name="connsiteX12" fmla="*/ 13382 w 32527"/>
                <a:gd name="connsiteY12" fmla="*/ 44741 h 44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740">
                  <a:moveTo>
                    <a:pt x="13382" y="44741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048" y="0"/>
                  </a:lnTo>
                  <a:lnTo>
                    <a:pt x="19048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048" y="26121"/>
                  </a:lnTo>
                  <a:lnTo>
                    <a:pt x="19048" y="44741"/>
                  </a:lnTo>
                  <a:lnTo>
                    <a:pt x="13382" y="44741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18" name="Freihandform: Form 917">
              <a:extLst>
                <a:ext uri="{FF2B5EF4-FFF2-40B4-BE49-F238E27FC236}">
                  <a16:creationId xmlns:a16="http://schemas.microsoft.com/office/drawing/2014/main" id="{8C8496BA-48F9-4D7C-F35F-FC24869EA450}"/>
                </a:ext>
              </a:extLst>
            </p:cNvPr>
            <p:cNvSpPr/>
            <p:nvPr/>
          </p:nvSpPr>
          <p:spPr>
            <a:xfrm>
              <a:off x="4939211" y="2564577"/>
              <a:ext cx="32430" cy="44740"/>
            </a:xfrm>
            <a:custGeom>
              <a:avLst/>
              <a:gdLst>
                <a:gd name="connsiteX0" fmla="*/ 13382 w 32430"/>
                <a:gd name="connsiteY0" fmla="*/ 44741 h 44740"/>
                <a:gd name="connsiteX1" fmla="*/ 13382 w 32430"/>
                <a:gd name="connsiteY1" fmla="*/ 26121 h 44740"/>
                <a:gd name="connsiteX2" fmla="*/ 0 w 32430"/>
                <a:gd name="connsiteY2" fmla="*/ 26121 h 44740"/>
                <a:gd name="connsiteX3" fmla="*/ 0 w 32430"/>
                <a:gd name="connsiteY3" fmla="*/ 18352 h 44740"/>
                <a:gd name="connsiteX4" fmla="*/ 13382 w 32430"/>
                <a:gd name="connsiteY4" fmla="*/ 18352 h 44740"/>
                <a:gd name="connsiteX5" fmla="*/ 13382 w 32430"/>
                <a:gd name="connsiteY5" fmla="*/ 0 h 44740"/>
                <a:gd name="connsiteX6" fmla="*/ 19048 w 32430"/>
                <a:gd name="connsiteY6" fmla="*/ 0 h 44740"/>
                <a:gd name="connsiteX7" fmla="*/ 19048 w 32430"/>
                <a:gd name="connsiteY7" fmla="*/ 18352 h 44740"/>
                <a:gd name="connsiteX8" fmla="*/ 32430 w 32430"/>
                <a:gd name="connsiteY8" fmla="*/ 18352 h 44740"/>
                <a:gd name="connsiteX9" fmla="*/ 32430 w 32430"/>
                <a:gd name="connsiteY9" fmla="*/ 26121 h 44740"/>
                <a:gd name="connsiteX10" fmla="*/ 19048 w 32430"/>
                <a:gd name="connsiteY10" fmla="*/ 26121 h 44740"/>
                <a:gd name="connsiteX11" fmla="*/ 19048 w 32430"/>
                <a:gd name="connsiteY11" fmla="*/ 44741 h 44740"/>
                <a:gd name="connsiteX12" fmla="*/ 13382 w 32430"/>
                <a:gd name="connsiteY12" fmla="*/ 44741 h 44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30" h="44740">
                  <a:moveTo>
                    <a:pt x="13382" y="44741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048" y="0"/>
                  </a:lnTo>
                  <a:lnTo>
                    <a:pt x="19048" y="18352"/>
                  </a:lnTo>
                  <a:lnTo>
                    <a:pt x="32430" y="18352"/>
                  </a:lnTo>
                  <a:lnTo>
                    <a:pt x="32430" y="26121"/>
                  </a:lnTo>
                  <a:lnTo>
                    <a:pt x="19048" y="26121"/>
                  </a:lnTo>
                  <a:lnTo>
                    <a:pt x="19048" y="44741"/>
                  </a:lnTo>
                  <a:lnTo>
                    <a:pt x="13382" y="44741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19" name="Freihandform: Form 918">
              <a:extLst>
                <a:ext uri="{FF2B5EF4-FFF2-40B4-BE49-F238E27FC236}">
                  <a16:creationId xmlns:a16="http://schemas.microsoft.com/office/drawing/2014/main" id="{90AB3402-1F26-F862-71E9-52E4C22928FB}"/>
                </a:ext>
              </a:extLst>
            </p:cNvPr>
            <p:cNvSpPr/>
            <p:nvPr/>
          </p:nvSpPr>
          <p:spPr>
            <a:xfrm>
              <a:off x="4958748" y="2564577"/>
              <a:ext cx="32527" cy="44740"/>
            </a:xfrm>
            <a:custGeom>
              <a:avLst/>
              <a:gdLst>
                <a:gd name="connsiteX0" fmla="*/ 13382 w 32527"/>
                <a:gd name="connsiteY0" fmla="*/ 44741 h 44740"/>
                <a:gd name="connsiteX1" fmla="*/ 13382 w 32527"/>
                <a:gd name="connsiteY1" fmla="*/ 26121 h 44740"/>
                <a:gd name="connsiteX2" fmla="*/ 0 w 32527"/>
                <a:gd name="connsiteY2" fmla="*/ 26121 h 44740"/>
                <a:gd name="connsiteX3" fmla="*/ 0 w 32527"/>
                <a:gd name="connsiteY3" fmla="*/ 18352 h 44740"/>
                <a:gd name="connsiteX4" fmla="*/ 13382 w 32527"/>
                <a:gd name="connsiteY4" fmla="*/ 18352 h 44740"/>
                <a:gd name="connsiteX5" fmla="*/ 13382 w 32527"/>
                <a:gd name="connsiteY5" fmla="*/ 0 h 44740"/>
                <a:gd name="connsiteX6" fmla="*/ 19146 w 32527"/>
                <a:gd name="connsiteY6" fmla="*/ 0 h 44740"/>
                <a:gd name="connsiteX7" fmla="*/ 19146 w 32527"/>
                <a:gd name="connsiteY7" fmla="*/ 18352 h 44740"/>
                <a:gd name="connsiteX8" fmla="*/ 32528 w 32527"/>
                <a:gd name="connsiteY8" fmla="*/ 18352 h 44740"/>
                <a:gd name="connsiteX9" fmla="*/ 32528 w 32527"/>
                <a:gd name="connsiteY9" fmla="*/ 26121 h 44740"/>
                <a:gd name="connsiteX10" fmla="*/ 19146 w 32527"/>
                <a:gd name="connsiteY10" fmla="*/ 26121 h 44740"/>
                <a:gd name="connsiteX11" fmla="*/ 19146 w 32527"/>
                <a:gd name="connsiteY11" fmla="*/ 44741 h 44740"/>
                <a:gd name="connsiteX12" fmla="*/ 13382 w 32527"/>
                <a:gd name="connsiteY12" fmla="*/ 44741 h 44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740">
                  <a:moveTo>
                    <a:pt x="13382" y="44741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146" y="0"/>
                  </a:lnTo>
                  <a:lnTo>
                    <a:pt x="19146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146" y="26121"/>
                  </a:lnTo>
                  <a:lnTo>
                    <a:pt x="19146" y="44741"/>
                  </a:lnTo>
                  <a:lnTo>
                    <a:pt x="13382" y="44741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20" name="Freihandform: Form 919">
              <a:extLst>
                <a:ext uri="{FF2B5EF4-FFF2-40B4-BE49-F238E27FC236}">
                  <a16:creationId xmlns:a16="http://schemas.microsoft.com/office/drawing/2014/main" id="{17D1A9C0-7970-53A5-0EC8-57C9F2574F9D}"/>
                </a:ext>
              </a:extLst>
            </p:cNvPr>
            <p:cNvSpPr/>
            <p:nvPr/>
          </p:nvSpPr>
          <p:spPr>
            <a:xfrm>
              <a:off x="4983363" y="2595387"/>
              <a:ext cx="32430" cy="44606"/>
            </a:xfrm>
            <a:custGeom>
              <a:avLst/>
              <a:gdLst>
                <a:gd name="connsiteX0" fmla="*/ 13382 w 32430"/>
                <a:gd name="connsiteY0" fmla="*/ 44607 h 44606"/>
                <a:gd name="connsiteX1" fmla="*/ 13382 w 32430"/>
                <a:gd name="connsiteY1" fmla="*/ 26121 h 44606"/>
                <a:gd name="connsiteX2" fmla="*/ 0 w 32430"/>
                <a:gd name="connsiteY2" fmla="*/ 26121 h 44606"/>
                <a:gd name="connsiteX3" fmla="*/ 0 w 32430"/>
                <a:gd name="connsiteY3" fmla="*/ 18352 h 44606"/>
                <a:gd name="connsiteX4" fmla="*/ 13382 w 32430"/>
                <a:gd name="connsiteY4" fmla="*/ 18352 h 44606"/>
                <a:gd name="connsiteX5" fmla="*/ 13382 w 32430"/>
                <a:gd name="connsiteY5" fmla="*/ 0 h 44606"/>
                <a:gd name="connsiteX6" fmla="*/ 19048 w 32430"/>
                <a:gd name="connsiteY6" fmla="*/ 0 h 44606"/>
                <a:gd name="connsiteX7" fmla="*/ 19048 w 32430"/>
                <a:gd name="connsiteY7" fmla="*/ 18352 h 44606"/>
                <a:gd name="connsiteX8" fmla="*/ 32430 w 32430"/>
                <a:gd name="connsiteY8" fmla="*/ 18352 h 44606"/>
                <a:gd name="connsiteX9" fmla="*/ 32430 w 32430"/>
                <a:gd name="connsiteY9" fmla="*/ 26121 h 44606"/>
                <a:gd name="connsiteX10" fmla="*/ 19048 w 32430"/>
                <a:gd name="connsiteY10" fmla="*/ 26121 h 44606"/>
                <a:gd name="connsiteX11" fmla="*/ 19048 w 32430"/>
                <a:gd name="connsiteY11" fmla="*/ 44607 h 44606"/>
                <a:gd name="connsiteX12" fmla="*/ 13382 w 32430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30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048" y="0"/>
                  </a:lnTo>
                  <a:lnTo>
                    <a:pt x="19048" y="18352"/>
                  </a:lnTo>
                  <a:lnTo>
                    <a:pt x="32430" y="18352"/>
                  </a:lnTo>
                  <a:lnTo>
                    <a:pt x="32430" y="26121"/>
                  </a:lnTo>
                  <a:lnTo>
                    <a:pt x="19048" y="26121"/>
                  </a:lnTo>
                  <a:lnTo>
                    <a:pt x="19048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21" name="Freihandform: Form 920">
              <a:extLst>
                <a:ext uri="{FF2B5EF4-FFF2-40B4-BE49-F238E27FC236}">
                  <a16:creationId xmlns:a16="http://schemas.microsoft.com/office/drawing/2014/main" id="{4BDB400D-BF1A-F21A-D3EA-CCD57C697E04}"/>
                </a:ext>
              </a:extLst>
            </p:cNvPr>
            <p:cNvSpPr/>
            <p:nvPr/>
          </p:nvSpPr>
          <p:spPr>
            <a:xfrm>
              <a:off x="4988247" y="2595387"/>
              <a:ext cx="32527" cy="44606"/>
            </a:xfrm>
            <a:custGeom>
              <a:avLst/>
              <a:gdLst>
                <a:gd name="connsiteX0" fmla="*/ 13382 w 32527"/>
                <a:gd name="connsiteY0" fmla="*/ 44607 h 44606"/>
                <a:gd name="connsiteX1" fmla="*/ 13382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352 h 44606"/>
                <a:gd name="connsiteX4" fmla="*/ 13382 w 32527"/>
                <a:gd name="connsiteY4" fmla="*/ 18352 h 44606"/>
                <a:gd name="connsiteX5" fmla="*/ 13382 w 32527"/>
                <a:gd name="connsiteY5" fmla="*/ 0 h 44606"/>
                <a:gd name="connsiteX6" fmla="*/ 19145 w 32527"/>
                <a:gd name="connsiteY6" fmla="*/ 0 h 44606"/>
                <a:gd name="connsiteX7" fmla="*/ 19145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6121 h 44606"/>
                <a:gd name="connsiteX10" fmla="*/ 19145 w 32527"/>
                <a:gd name="connsiteY10" fmla="*/ 26121 h 44606"/>
                <a:gd name="connsiteX11" fmla="*/ 19145 w 32527"/>
                <a:gd name="connsiteY11" fmla="*/ 44607 h 44606"/>
                <a:gd name="connsiteX12" fmla="*/ 13382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145" y="0"/>
                  </a:lnTo>
                  <a:lnTo>
                    <a:pt x="19145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145" y="26121"/>
                  </a:lnTo>
                  <a:lnTo>
                    <a:pt x="19145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22" name="Freihandform: Form 921">
              <a:extLst>
                <a:ext uri="{FF2B5EF4-FFF2-40B4-BE49-F238E27FC236}">
                  <a16:creationId xmlns:a16="http://schemas.microsoft.com/office/drawing/2014/main" id="{3087A291-34CB-E93C-91C2-A7639B4FDB18}"/>
                </a:ext>
              </a:extLst>
            </p:cNvPr>
            <p:cNvSpPr/>
            <p:nvPr/>
          </p:nvSpPr>
          <p:spPr>
            <a:xfrm>
              <a:off x="5000457" y="2595387"/>
              <a:ext cx="32527" cy="44606"/>
            </a:xfrm>
            <a:custGeom>
              <a:avLst/>
              <a:gdLst>
                <a:gd name="connsiteX0" fmla="*/ 13480 w 32527"/>
                <a:gd name="connsiteY0" fmla="*/ 44607 h 44606"/>
                <a:gd name="connsiteX1" fmla="*/ 13480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352 h 44606"/>
                <a:gd name="connsiteX4" fmla="*/ 13480 w 32527"/>
                <a:gd name="connsiteY4" fmla="*/ 18352 h 44606"/>
                <a:gd name="connsiteX5" fmla="*/ 13480 w 32527"/>
                <a:gd name="connsiteY5" fmla="*/ 0 h 44606"/>
                <a:gd name="connsiteX6" fmla="*/ 19145 w 32527"/>
                <a:gd name="connsiteY6" fmla="*/ 0 h 44606"/>
                <a:gd name="connsiteX7" fmla="*/ 19145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6121 h 44606"/>
                <a:gd name="connsiteX10" fmla="*/ 19145 w 32527"/>
                <a:gd name="connsiteY10" fmla="*/ 26121 h 44606"/>
                <a:gd name="connsiteX11" fmla="*/ 19145 w 32527"/>
                <a:gd name="connsiteY11" fmla="*/ 44607 h 44606"/>
                <a:gd name="connsiteX12" fmla="*/ 13480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480" y="44607"/>
                  </a:moveTo>
                  <a:lnTo>
                    <a:pt x="13480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480" y="18352"/>
                  </a:lnTo>
                  <a:lnTo>
                    <a:pt x="13480" y="0"/>
                  </a:lnTo>
                  <a:lnTo>
                    <a:pt x="19145" y="0"/>
                  </a:lnTo>
                  <a:lnTo>
                    <a:pt x="19145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145" y="26121"/>
                  </a:lnTo>
                  <a:lnTo>
                    <a:pt x="19145" y="44607"/>
                  </a:lnTo>
                  <a:lnTo>
                    <a:pt x="13480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23" name="Freihandform: Form 922">
              <a:extLst>
                <a:ext uri="{FF2B5EF4-FFF2-40B4-BE49-F238E27FC236}">
                  <a16:creationId xmlns:a16="http://schemas.microsoft.com/office/drawing/2014/main" id="{21671E77-30E6-ED1A-CADE-656111CFC6CE}"/>
                </a:ext>
              </a:extLst>
            </p:cNvPr>
            <p:cNvSpPr/>
            <p:nvPr/>
          </p:nvSpPr>
          <p:spPr>
            <a:xfrm>
              <a:off x="5022631" y="2595387"/>
              <a:ext cx="32430" cy="44606"/>
            </a:xfrm>
            <a:custGeom>
              <a:avLst/>
              <a:gdLst>
                <a:gd name="connsiteX0" fmla="*/ 13382 w 32430"/>
                <a:gd name="connsiteY0" fmla="*/ 44607 h 44606"/>
                <a:gd name="connsiteX1" fmla="*/ 13382 w 32430"/>
                <a:gd name="connsiteY1" fmla="*/ 26121 h 44606"/>
                <a:gd name="connsiteX2" fmla="*/ 0 w 32430"/>
                <a:gd name="connsiteY2" fmla="*/ 26121 h 44606"/>
                <a:gd name="connsiteX3" fmla="*/ 0 w 32430"/>
                <a:gd name="connsiteY3" fmla="*/ 18352 h 44606"/>
                <a:gd name="connsiteX4" fmla="*/ 13382 w 32430"/>
                <a:gd name="connsiteY4" fmla="*/ 18352 h 44606"/>
                <a:gd name="connsiteX5" fmla="*/ 13382 w 32430"/>
                <a:gd name="connsiteY5" fmla="*/ 0 h 44606"/>
                <a:gd name="connsiteX6" fmla="*/ 19048 w 32430"/>
                <a:gd name="connsiteY6" fmla="*/ 0 h 44606"/>
                <a:gd name="connsiteX7" fmla="*/ 19048 w 32430"/>
                <a:gd name="connsiteY7" fmla="*/ 18352 h 44606"/>
                <a:gd name="connsiteX8" fmla="*/ 32430 w 32430"/>
                <a:gd name="connsiteY8" fmla="*/ 18352 h 44606"/>
                <a:gd name="connsiteX9" fmla="*/ 32430 w 32430"/>
                <a:gd name="connsiteY9" fmla="*/ 26121 h 44606"/>
                <a:gd name="connsiteX10" fmla="*/ 19048 w 32430"/>
                <a:gd name="connsiteY10" fmla="*/ 26121 h 44606"/>
                <a:gd name="connsiteX11" fmla="*/ 19048 w 32430"/>
                <a:gd name="connsiteY11" fmla="*/ 44607 h 44606"/>
                <a:gd name="connsiteX12" fmla="*/ 13382 w 32430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30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048" y="0"/>
                  </a:lnTo>
                  <a:lnTo>
                    <a:pt x="19048" y="18352"/>
                  </a:lnTo>
                  <a:lnTo>
                    <a:pt x="32430" y="18352"/>
                  </a:lnTo>
                  <a:lnTo>
                    <a:pt x="32430" y="26121"/>
                  </a:lnTo>
                  <a:lnTo>
                    <a:pt x="19048" y="26121"/>
                  </a:lnTo>
                  <a:lnTo>
                    <a:pt x="19048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24" name="Freihandform: Form 923">
              <a:extLst>
                <a:ext uri="{FF2B5EF4-FFF2-40B4-BE49-F238E27FC236}">
                  <a16:creationId xmlns:a16="http://schemas.microsoft.com/office/drawing/2014/main" id="{8156A668-431A-B97C-2B61-88E9387DC205}"/>
                </a:ext>
              </a:extLst>
            </p:cNvPr>
            <p:cNvSpPr/>
            <p:nvPr/>
          </p:nvSpPr>
          <p:spPr>
            <a:xfrm>
              <a:off x="5037283" y="2595387"/>
              <a:ext cx="32527" cy="44606"/>
            </a:xfrm>
            <a:custGeom>
              <a:avLst/>
              <a:gdLst>
                <a:gd name="connsiteX0" fmla="*/ 13480 w 32527"/>
                <a:gd name="connsiteY0" fmla="*/ 44607 h 44606"/>
                <a:gd name="connsiteX1" fmla="*/ 13480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352 h 44606"/>
                <a:gd name="connsiteX4" fmla="*/ 13480 w 32527"/>
                <a:gd name="connsiteY4" fmla="*/ 18352 h 44606"/>
                <a:gd name="connsiteX5" fmla="*/ 13480 w 32527"/>
                <a:gd name="connsiteY5" fmla="*/ 0 h 44606"/>
                <a:gd name="connsiteX6" fmla="*/ 19145 w 32527"/>
                <a:gd name="connsiteY6" fmla="*/ 0 h 44606"/>
                <a:gd name="connsiteX7" fmla="*/ 19145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6121 h 44606"/>
                <a:gd name="connsiteX10" fmla="*/ 19145 w 32527"/>
                <a:gd name="connsiteY10" fmla="*/ 26121 h 44606"/>
                <a:gd name="connsiteX11" fmla="*/ 19145 w 32527"/>
                <a:gd name="connsiteY11" fmla="*/ 44607 h 44606"/>
                <a:gd name="connsiteX12" fmla="*/ 13480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480" y="44607"/>
                  </a:moveTo>
                  <a:lnTo>
                    <a:pt x="13480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480" y="18352"/>
                  </a:lnTo>
                  <a:lnTo>
                    <a:pt x="13480" y="0"/>
                  </a:lnTo>
                  <a:lnTo>
                    <a:pt x="19145" y="0"/>
                  </a:lnTo>
                  <a:lnTo>
                    <a:pt x="19145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145" y="26121"/>
                  </a:lnTo>
                  <a:lnTo>
                    <a:pt x="19145" y="44607"/>
                  </a:lnTo>
                  <a:lnTo>
                    <a:pt x="13480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25" name="Freihandform: Form 924">
              <a:extLst>
                <a:ext uri="{FF2B5EF4-FFF2-40B4-BE49-F238E27FC236}">
                  <a16:creationId xmlns:a16="http://schemas.microsoft.com/office/drawing/2014/main" id="{5268FB1C-739C-F384-F161-2979AF725A8A}"/>
                </a:ext>
              </a:extLst>
            </p:cNvPr>
            <p:cNvSpPr/>
            <p:nvPr/>
          </p:nvSpPr>
          <p:spPr>
            <a:xfrm>
              <a:off x="5054573" y="2595387"/>
              <a:ext cx="32429" cy="44606"/>
            </a:xfrm>
            <a:custGeom>
              <a:avLst/>
              <a:gdLst>
                <a:gd name="connsiteX0" fmla="*/ 13382 w 32429"/>
                <a:gd name="connsiteY0" fmla="*/ 44607 h 44606"/>
                <a:gd name="connsiteX1" fmla="*/ 13382 w 32429"/>
                <a:gd name="connsiteY1" fmla="*/ 26121 h 44606"/>
                <a:gd name="connsiteX2" fmla="*/ 0 w 32429"/>
                <a:gd name="connsiteY2" fmla="*/ 26121 h 44606"/>
                <a:gd name="connsiteX3" fmla="*/ 0 w 32429"/>
                <a:gd name="connsiteY3" fmla="*/ 18352 h 44606"/>
                <a:gd name="connsiteX4" fmla="*/ 13382 w 32429"/>
                <a:gd name="connsiteY4" fmla="*/ 18352 h 44606"/>
                <a:gd name="connsiteX5" fmla="*/ 13382 w 32429"/>
                <a:gd name="connsiteY5" fmla="*/ 0 h 44606"/>
                <a:gd name="connsiteX6" fmla="*/ 19048 w 32429"/>
                <a:gd name="connsiteY6" fmla="*/ 0 h 44606"/>
                <a:gd name="connsiteX7" fmla="*/ 19048 w 32429"/>
                <a:gd name="connsiteY7" fmla="*/ 18352 h 44606"/>
                <a:gd name="connsiteX8" fmla="*/ 32430 w 32429"/>
                <a:gd name="connsiteY8" fmla="*/ 18352 h 44606"/>
                <a:gd name="connsiteX9" fmla="*/ 32430 w 32429"/>
                <a:gd name="connsiteY9" fmla="*/ 26121 h 44606"/>
                <a:gd name="connsiteX10" fmla="*/ 19048 w 32429"/>
                <a:gd name="connsiteY10" fmla="*/ 26121 h 44606"/>
                <a:gd name="connsiteX11" fmla="*/ 19048 w 32429"/>
                <a:gd name="connsiteY11" fmla="*/ 44607 h 44606"/>
                <a:gd name="connsiteX12" fmla="*/ 13382 w 32429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29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048" y="0"/>
                  </a:lnTo>
                  <a:lnTo>
                    <a:pt x="19048" y="18352"/>
                  </a:lnTo>
                  <a:lnTo>
                    <a:pt x="32430" y="18352"/>
                  </a:lnTo>
                  <a:lnTo>
                    <a:pt x="32430" y="26121"/>
                  </a:lnTo>
                  <a:lnTo>
                    <a:pt x="19048" y="26121"/>
                  </a:lnTo>
                  <a:lnTo>
                    <a:pt x="19048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26" name="Freihandform: Form 925">
              <a:extLst>
                <a:ext uri="{FF2B5EF4-FFF2-40B4-BE49-F238E27FC236}">
                  <a16:creationId xmlns:a16="http://schemas.microsoft.com/office/drawing/2014/main" id="{E2E16D53-EB3F-8F8A-6EF7-715BD491D1E5}"/>
                </a:ext>
              </a:extLst>
            </p:cNvPr>
            <p:cNvSpPr/>
            <p:nvPr/>
          </p:nvSpPr>
          <p:spPr>
            <a:xfrm>
              <a:off x="5057015" y="2595387"/>
              <a:ext cx="32429" cy="44606"/>
            </a:xfrm>
            <a:custGeom>
              <a:avLst/>
              <a:gdLst>
                <a:gd name="connsiteX0" fmla="*/ 13382 w 32429"/>
                <a:gd name="connsiteY0" fmla="*/ 44607 h 44606"/>
                <a:gd name="connsiteX1" fmla="*/ 13382 w 32429"/>
                <a:gd name="connsiteY1" fmla="*/ 26121 h 44606"/>
                <a:gd name="connsiteX2" fmla="*/ 0 w 32429"/>
                <a:gd name="connsiteY2" fmla="*/ 26121 h 44606"/>
                <a:gd name="connsiteX3" fmla="*/ 0 w 32429"/>
                <a:gd name="connsiteY3" fmla="*/ 18352 h 44606"/>
                <a:gd name="connsiteX4" fmla="*/ 13382 w 32429"/>
                <a:gd name="connsiteY4" fmla="*/ 18352 h 44606"/>
                <a:gd name="connsiteX5" fmla="*/ 13382 w 32429"/>
                <a:gd name="connsiteY5" fmla="*/ 0 h 44606"/>
                <a:gd name="connsiteX6" fmla="*/ 19048 w 32429"/>
                <a:gd name="connsiteY6" fmla="*/ 0 h 44606"/>
                <a:gd name="connsiteX7" fmla="*/ 19048 w 32429"/>
                <a:gd name="connsiteY7" fmla="*/ 18352 h 44606"/>
                <a:gd name="connsiteX8" fmla="*/ 32430 w 32429"/>
                <a:gd name="connsiteY8" fmla="*/ 18352 h 44606"/>
                <a:gd name="connsiteX9" fmla="*/ 32430 w 32429"/>
                <a:gd name="connsiteY9" fmla="*/ 26121 h 44606"/>
                <a:gd name="connsiteX10" fmla="*/ 19048 w 32429"/>
                <a:gd name="connsiteY10" fmla="*/ 26121 h 44606"/>
                <a:gd name="connsiteX11" fmla="*/ 19048 w 32429"/>
                <a:gd name="connsiteY11" fmla="*/ 44607 h 44606"/>
                <a:gd name="connsiteX12" fmla="*/ 13382 w 32429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29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048" y="0"/>
                  </a:lnTo>
                  <a:lnTo>
                    <a:pt x="19048" y="18352"/>
                  </a:lnTo>
                  <a:lnTo>
                    <a:pt x="32430" y="18352"/>
                  </a:lnTo>
                  <a:lnTo>
                    <a:pt x="32430" y="26121"/>
                  </a:lnTo>
                  <a:lnTo>
                    <a:pt x="19048" y="26121"/>
                  </a:lnTo>
                  <a:lnTo>
                    <a:pt x="19048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27" name="Freihandform: Form 926">
              <a:extLst>
                <a:ext uri="{FF2B5EF4-FFF2-40B4-BE49-F238E27FC236}">
                  <a16:creationId xmlns:a16="http://schemas.microsoft.com/office/drawing/2014/main" id="{E4456903-A1F3-B555-6218-4F00CDC734A2}"/>
                </a:ext>
              </a:extLst>
            </p:cNvPr>
            <p:cNvSpPr/>
            <p:nvPr/>
          </p:nvSpPr>
          <p:spPr>
            <a:xfrm>
              <a:off x="5061801" y="2595387"/>
              <a:ext cx="32527" cy="44606"/>
            </a:xfrm>
            <a:custGeom>
              <a:avLst/>
              <a:gdLst>
                <a:gd name="connsiteX0" fmla="*/ 13480 w 32527"/>
                <a:gd name="connsiteY0" fmla="*/ 44607 h 44606"/>
                <a:gd name="connsiteX1" fmla="*/ 13480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352 h 44606"/>
                <a:gd name="connsiteX4" fmla="*/ 13480 w 32527"/>
                <a:gd name="connsiteY4" fmla="*/ 18352 h 44606"/>
                <a:gd name="connsiteX5" fmla="*/ 13480 w 32527"/>
                <a:gd name="connsiteY5" fmla="*/ 0 h 44606"/>
                <a:gd name="connsiteX6" fmla="*/ 19145 w 32527"/>
                <a:gd name="connsiteY6" fmla="*/ 0 h 44606"/>
                <a:gd name="connsiteX7" fmla="*/ 19145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6121 h 44606"/>
                <a:gd name="connsiteX10" fmla="*/ 19145 w 32527"/>
                <a:gd name="connsiteY10" fmla="*/ 26121 h 44606"/>
                <a:gd name="connsiteX11" fmla="*/ 19145 w 32527"/>
                <a:gd name="connsiteY11" fmla="*/ 44607 h 44606"/>
                <a:gd name="connsiteX12" fmla="*/ 13480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480" y="44607"/>
                  </a:moveTo>
                  <a:lnTo>
                    <a:pt x="13480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480" y="18352"/>
                  </a:lnTo>
                  <a:lnTo>
                    <a:pt x="13480" y="0"/>
                  </a:lnTo>
                  <a:lnTo>
                    <a:pt x="19145" y="0"/>
                  </a:lnTo>
                  <a:lnTo>
                    <a:pt x="19145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145" y="26121"/>
                  </a:lnTo>
                  <a:lnTo>
                    <a:pt x="19145" y="44607"/>
                  </a:lnTo>
                  <a:lnTo>
                    <a:pt x="13480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28" name="Freihandform: Form 927">
              <a:extLst>
                <a:ext uri="{FF2B5EF4-FFF2-40B4-BE49-F238E27FC236}">
                  <a16:creationId xmlns:a16="http://schemas.microsoft.com/office/drawing/2014/main" id="{B489E3BA-21FE-0C6E-1C2F-62A03D89AE4D}"/>
                </a:ext>
              </a:extLst>
            </p:cNvPr>
            <p:cNvSpPr/>
            <p:nvPr/>
          </p:nvSpPr>
          <p:spPr>
            <a:xfrm>
              <a:off x="5147760" y="2595387"/>
              <a:ext cx="32527" cy="44606"/>
            </a:xfrm>
            <a:custGeom>
              <a:avLst/>
              <a:gdLst>
                <a:gd name="connsiteX0" fmla="*/ 13382 w 32527"/>
                <a:gd name="connsiteY0" fmla="*/ 44607 h 44606"/>
                <a:gd name="connsiteX1" fmla="*/ 13382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352 h 44606"/>
                <a:gd name="connsiteX4" fmla="*/ 13382 w 32527"/>
                <a:gd name="connsiteY4" fmla="*/ 18352 h 44606"/>
                <a:gd name="connsiteX5" fmla="*/ 13382 w 32527"/>
                <a:gd name="connsiteY5" fmla="*/ 0 h 44606"/>
                <a:gd name="connsiteX6" fmla="*/ 19146 w 32527"/>
                <a:gd name="connsiteY6" fmla="*/ 0 h 44606"/>
                <a:gd name="connsiteX7" fmla="*/ 19146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6121 h 44606"/>
                <a:gd name="connsiteX10" fmla="*/ 19146 w 32527"/>
                <a:gd name="connsiteY10" fmla="*/ 26121 h 44606"/>
                <a:gd name="connsiteX11" fmla="*/ 19146 w 32527"/>
                <a:gd name="connsiteY11" fmla="*/ 44607 h 44606"/>
                <a:gd name="connsiteX12" fmla="*/ 13382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146" y="0"/>
                  </a:lnTo>
                  <a:lnTo>
                    <a:pt x="19146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146" y="26121"/>
                  </a:lnTo>
                  <a:lnTo>
                    <a:pt x="19146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29" name="Freihandform: Form 928">
              <a:extLst>
                <a:ext uri="{FF2B5EF4-FFF2-40B4-BE49-F238E27FC236}">
                  <a16:creationId xmlns:a16="http://schemas.microsoft.com/office/drawing/2014/main" id="{7A9295DD-F2C4-76E2-2850-63575C29685D}"/>
                </a:ext>
              </a:extLst>
            </p:cNvPr>
            <p:cNvSpPr/>
            <p:nvPr/>
          </p:nvSpPr>
          <p:spPr>
            <a:xfrm>
              <a:off x="5157625" y="2595387"/>
              <a:ext cx="32430" cy="44606"/>
            </a:xfrm>
            <a:custGeom>
              <a:avLst/>
              <a:gdLst>
                <a:gd name="connsiteX0" fmla="*/ 13382 w 32430"/>
                <a:gd name="connsiteY0" fmla="*/ 44607 h 44606"/>
                <a:gd name="connsiteX1" fmla="*/ 13382 w 32430"/>
                <a:gd name="connsiteY1" fmla="*/ 26121 h 44606"/>
                <a:gd name="connsiteX2" fmla="*/ 0 w 32430"/>
                <a:gd name="connsiteY2" fmla="*/ 26121 h 44606"/>
                <a:gd name="connsiteX3" fmla="*/ 0 w 32430"/>
                <a:gd name="connsiteY3" fmla="*/ 18352 h 44606"/>
                <a:gd name="connsiteX4" fmla="*/ 13382 w 32430"/>
                <a:gd name="connsiteY4" fmla="*/ 18352 h 44606"/>
                <a:gd name="connsiteX5" fmla="*/ 13382 w 32430"/>
                <a:gd name="connsiteY5" fmla="*/ 0 h 44606"/>
                <a:gd name="connsiteX6" fmla="*/ 19048 w 32430"/>
                <a:gd name="connsiteY6" fmla="*/ 0 h 44606"/>
                <a:gd name="connsiteX7" fmla="*/ 19048 w 32430"/>
                <a:gd name="connsiteY7" fmla="*/ 18352 h 44606"/>
                <a:gd name="connsiteX8" fmla="*/ 32430 w 32430"/>
                <a:gd name="connsiteY8" fmla="*/ 18352 h 44606"/>
                <a:gd name="connsiteX9" fmla="*/ 32430 w 32430"/>
                <a:gd name="connsiteY9" fmla="*/ 26121 h 44606"/>
                <a:gd name="connsiteX10" fmla="*/ 19048 w 32430"/>
                <a:gd name="connsiteY10" fmla="*/ 26121 h 44606"/>
                <a:gd name="connsiteX11" fmla="*/ 19048 w 32430"/>
                <a:gd name="connsiteY11" fmla="*/ 44607 h 44606"/>
                <a:gd name="connsiteX12" fmla="*/ 13382 w 32430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30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048" y="0"/>
                  </a:lnTo>
                  <a:lnTo>
                    <a:pt x="19048" y="18352"/>
                  </a:lnTo>
                  <a:lnTo>
                    <a:pt x="32430" y="18352"/>
                  </a:lnTo>
                  <a:lnTo>
                    <a:pt x="32430" y="26121"/>
                  </a:lnTo>
                  <a:lnTo>
                    <a:pt x="19048" y="26121"/>
                  </a:lnTo>
                  <a:lnTo>
                    <a:pt x="19048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30" name="Freihandform: Form 929">
              <a:extLst>
                <a:ext uri="{FF2B5EF4-FFF2-40B4-BE49-F238E27FC236}">
                  <a16:creationId xmlns:a16="http://schemas.microsoft.com/office/drawing/2014/main" id="{97CED992-B64F-E92B-82BB-C7707EB978C0}"/>
                </a:ext>
              </a:extLst>
            </p:cNvPr>
            <p:cNvSpPr/>
            <p:nvPr/>
          </p:nvSpPr>
          <p:spPr>
            <a:xfrm>
              <a:off x="5221411" y="2595387"/>
              <a:ext cx="32430" cy="44606"/>
            </a:xfrm>
            <a:custGeom>
              <a:avLst/>
              <a:gdLst>
                <a:gd name="connsiteX0" fmla="*/ 13382 w 32430"/>
                <a:gd name="connsiteY0" fmla="*/ 44607 h 44606"/>
                <a:gd name="connsiteX1" fmla="*/ 13382 w 32430"/>
                <a:gd name="connsiteY1" fmla="*/ 26121 h 44606"/>
                <a:gd name="connsiteX2" fmla="*/ 0 w 32430"/>
                <a:gd name="connsiteY2" fmla="*/ 26121 h 44606"/>
                <a:gd name="connsiteX3" fmla="*/ 0 w 32430"/>
                <a:gd name="connsiteY3" fmla="*/ 18352 h 44606"/>
                <a:gd name="connsiteX4" fmla="*/ 13382 w 32430"/>
                <a:gd name="connsiteY4" fmla="*/ 18352 h 44606"/>
                <a:gd name="connsiteX5" fmla="*/ 13382 w 32430"/>
                <a:gd name="connsiteY5" fmla="*/ 0 h 44606"/>
                <a:gd name="connsiteX6" fmla="*/ 19048 w 32430"/>
                <a:gd name="connsiteY6" fmla="*/ 0 h 44606"/>
                <a:gd name="connsiteX7" fmla="*/ 19048 w 32430"/>
                <a:gd name="connsiteY7" fmla="*/ 18352 h 44606"/>
                <a:gd name="connsiteX8" fmla="*/ 32430 w 32430"/>
                <a:gd name="connsiteY8" fmla="*/ 18352 h 44606"/>
                <a:gd name="connsiteX9" fmla="*/ 32430 w 32430"/>
                <a:gd name="connsiteY9" fmla="*/ 26121 h 44606"/>
                <a:gd name="connsiteX10" fmla="*/ 19048 w 32430"/>
                <a:gd name="connsiteY10" fmla="*/ 26121 h 44606"/>
                <a:gd name="connsiteX11" fmla="*/ 19048 w 32430"/>
                <a:gd name="connsiteY11" fmla="*/ 44607 h 44606"/>
                <a:gd name="connsiteX12" fmla="*/ 13382 w 32430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30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048" y="0"/>
                  </a:lnTo>
                  <a:lnTo>
                    <a:pt x="19048" y="18352"/>
                  </a:lnTo>
                  <a:lnTo>
                    <a:pt x="32430" y="18352"/>
                  </a:lnTo>
                  <a:lnTo>
                    <a:pt x="32430" y="26121"/>
                  </a:lnTo>
                  <a:lnTo>
                    <a:pt x="19048" y="26121"/>
                  </a:lnTo>
                  <a:lnTo>
                    <a:pt x="19048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31" name="Freihandform: Form 930">
              <a:extLst>
                <a:ext uri="{FF2B5EF4-FFF2-40B4-BE49-F238E27FC236}">
                  <a16:creationId xmlns:a16="http://schemas.microsoft.com/office/drawing/2014/main" id="{CC19237F-167B-2E4C-479C-3E7FDFF954F4}"/>
                </a:ext>
              </a:extLst>
            </p:cNvPr>
            <p:cNvSpPr/>
            <p:nvPr/>
          </p:nvSpPr>
          <p:spPr>
            <a:xfrm>
              <a:off x="5280312" y="2595387"/>
              <a:ext cx="32527" cy="44606"/>
            </a:xfrm>
            <a:custGeom>
              <a:avLst/>
              <a:gdLst>
                <a:gd name="connsiteX0" fmla="*/ 13382 w 32527"/>
                <a:gd name="connsiteY0" fmla="*/ 44607 h 44606"/>
                <a:gd name="connsiteX1" fmla="*/ 13382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352 h 44606"/>
                <a:gd name="connsiteX4" fmla="*/ 13382 w 32527"/>
                <a:gd name="connsiteY4" fmla="*/ 18352 h 44606"/>
                <a:gd name="connsiteX5" fmla="*/ 13382 w 32527"/>
                <a:gd name="connsiteY5" fmla="*/ 0 h 44606"/>
                <a:gd name="connsiteX6" fmla="*/ 19048 w 32527"/>
                <a:gd name="connsiteY6" fmla="*/ 0 h 44606"/>
                <a:gd name="connsiteX7" fmla="*/ 19048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6121 h 44606"/>
                <a:gd name="connsiteX10" fmla="*/ 19048 w 32527"/>
                <a:gd name="connsiteY10" fmla="*/ 26121 h 44606"/>
                <a:gd name="connsiteX11" fmla="*/ 19048 w 32527"/>
                <a:gd name="connsiteY11" fmla="*/ 44607 h 44606"/>
                <a:gd name="connsiteX12" fmla="*/ 13382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048" y="0"/>
                  </a:lnTo>
                  <a:lnTo>
                    <a:pt x="19048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048" y="26121"/>
                  </a:lnTo>
                  <a:lnTo>
                    <a:pt x="19048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32" name="Freihandform: Form 931">
              <a:extLst>
                <a:ext uri="{FF2B5EF4-FFF2-40B4-BE49-F238E27FC236}">
                  <a16:creationId xmlns:a16="http://schemas.microsoft.com/office/drawing/2014/main" id="{EB3CDFD5-2889-DAA3-DA01-DB3ECBED41BB}"/>
                </a:ext>
              </a:extLst>
            </p:cNvPr>
            <p:cNvSpPr/>
            <p:nvPr/>
          </p:nvSpPr>
          <p:spPr>
            <a:xfrm>
              <a:off x="5312156" y="2595387"/>
              <a:ext cx="32527" cy="44606"/>
            </a:xfrm>
            <a:custGeom>
              <a:avLst/>
              <a:gdLst>
                <a:gd name="connsiteX0" fmla="*/ 13382 w 32527"/>
                <a:gd name="connsiteY0" fmla="*/ 44607 h 44606"/>
                <a:gd name="connsiteX1" fmla="*/ 13382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352 h 44606"/>
                <a:gd name="connsiteX4" fmla="*/ 13382 w 32527"/>
                <a:gd name="connsiteY4" fmla="*/ 18352 h 44606"/>
                <a:gd name="connsiteX5" fmla="*/ 13382 w 32527"/>
                <a:gd name="connsiteY5" fmla="*/ 0 h 44606"/>
                <a:gd name="connsiteX6" fmla="*/ 19145 w 32527"/>
                <a:gd name="connsiteY6" fmla="*/ 0 h 44606"/>
                <a:gd name="connsiteX7" fmla="*/ 19145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6121 h 44606"/>
                <a:gd name="connsiteX10" fmla="*/ 19145 w 32527"/>
                <a:gd name="connsiteY10" fmla="*/ 26121 h 44606"/>
                <a:gd name="connsiteX11" fmla="*/ 19145 w 32527"/>
                <a:gd name="connsiteY11" fmla="*/ 44607 h 44606"/>
                <a:gd name="connsiteX12" fmla="*/ 13382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145" y="0"/>
                  </a:lnTo>
                  <a:lnTo>
                    <a:pt x="19145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145" y="26121"/>
                  </a:lnTo>
                  <a:lnTo>
                    <a:pt x="19145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33" name="Freihandform: Form 932">
              <a:extLst>
                <a:ext uri="{FF2B5EF4-FFF2-40B4-BE49-F238E27FC236}">
                  <a16:creationId xmlns:a16="http://schemas.microsoft.com/office/drawing/2014/main" id="{EBBBD7BA-4A0C-BA67-69B3-405CC4FA63BC}"/>
                </a:ext>
              </a:extLst>
            </p:cNvPr>
            <p:cNvSpPr/>
            <p:nvPr/>
          </p:nvSpPr>
          <p:spPr>
            <a:xfrm>
              <a:off x="5331790" y="2595387"/>
              <a:ext cx="32527" cy="44606"/>
            </a:xfrm>
            <a:custGeom>
              <a:avLst/>
              <a:gdLst>
                <a:gd name="connsiteX0" fmla="*/ 13382 w 32527"/>
                <a:gd name="connsiteY0" fmla="*/ 44607 h 44606"/>
                <a:gd name="connsiteX1" fmla="*/ 13382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352 h 44606"/>
                <a:gd name="connsiteX4" fmla="*/ 13382 w 32527"/>
                <a:gd name="connsiteY4" fmla="*/ 18352 h 44606"/>
                <a:gd name="connsiteX5" fmla="*/ 13382 w 32527"/>
                <a:gd name="connsiteY5" fmla="*/ 0 h 44606"/>
                <a:gd name="connsiteX6" fmla="*/ 19146 w 32527"/>
                <a:gd name="connsiteY6" fmla="*/ 0 h 44606"/>
                <a:gd name="connsiteX7" fmla="*/ 19146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6121 h 44606"/>
                <a:gd name="connsiteX10" fmla="*/ 19146 w 32527"/>
                <a:gd name="connsiteY10" fmla="*/ 26121 h 44606"/>
                <a:gd name="connsiteX11" fmla="*/ 19146 w 32527"/>
                <a:gd name="connsiteY11" fmla="*/ 44607 h 44606"/>
                <a:gd name="connsiteX12" fmla="*/ 13382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146" y="0"/>
                  </a:lnTo>
                  <a:lnTo>
                    <a:pt x="19146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146" y="26121"/>
                  </a:lnTo>
                  <a:lnTo>
                    <a:pt x="19146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34" name="Freihandform: Form 933">
              <a:extLst>
                <a:ext uri="{FF2B5EF4-FFF2-40B4-BE49-F238E27FC236}">
                  <a16:creationId xmlns:a16="http://schemas.microsoft.com/office/drawing/2014/main" id="{11C31986-292F-CB25-D25F-64EDB043CF9C}"/>
                </a:ext>
              </a:extLst>
            </p:cNvPr>
            <p:cNvSpPr/>
            <p:nvPr/>
          </p:nvSpPr>
          <p:spPr>
            <a:xfrm>
              <a:off x="5366174" y="2595387"/>
              <a:ext cx="32429" cy="44606"/>
            </a:xfrm>
            <a:custGeom>
              <a:avLst/>
              <a:gdLst>
                <a:gd name="connsiteX0" fmla="*/ 13382 w 32429"/>
                <a:gd name="connsiteY0" fmla="*/ 44607 h 44606"/>
                <a:gd name="connsiteX1" fmla="*/ 13382 w 32429"/>
                <a:gd name="connsiteY1" fmla="*/ 26121 h 44606"/>
                <a:gd name="connsiteX2" fmla="*/ 0 w 32429"/>
                <a:gd name="connsiteY2" fmla="*/ 26121 h 44606"/>
                <a:gd name="connsiteX3" fmla="*/ 0 w 32429"/>
                <a:gd name="connsiteY3" fmla="*/ 18352 h 44606"/>
                <a:gd name="connsiteX4" fmla="*/ 13382 w 32429"/>
                <a:gd name="connsiteY4" fmla="*/ 18352 h 44606"/>
                <a:gd name="connsiteX5" fmla="*/ 13382 w 32429"/>
                <a:gd name="connsiteY5" fmla="*/ 0 h 44606"/>
                <a:gd name="connsiteX6" fmla="*/ 19048 w 32429"/>
                <a:gd name="connsiteY6" fmla="*/ 0 h 44606"/>
                <a:gd name="connsiteX7" fmla="*/ 19048 w 32429"/>
                <a:gd name="connsiteY7" fmla="*/ 18352 h 44606"/>
                <a:gd name="connsiteX8" fmla="*/ 32430 w 32429"/>
                <a:gd name="connsiteY8" fmla="*/ 18352 h 44606"/>
                <a:gd name="connsiteX9" fmla="*/ 32430 w 32429"/>
                <a:gd name="connsiteY9" fmla="*/ 26121 h 44606"/>
                <a:gd name="connsiteX10" fmla="*/ 19048 w 32429"/>
                <a:gd name="connsiteY10" fmla="*/ 26121 h 44606"/>
                <a:gd name="connsiteX11" fmla="*/ 19048 w 32429"/>
                <a:gd name="connsiteY11" fmla="*/ 44607 h 44606"/>
                <a:gd name="connsiteX12" fmla="*/ 13382 w 32429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29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048" y="0"/>
                  </a:lnTo>
                  <a:lnTo>
                    <a:pt x="19048" y="18352"/>
                  </a:lnTo>
                  <a:lnTo>
                    <a:pt x="32430" y="18352"/>
                  </a:lnTo>
                  <a:lnTo>
                    <a:pt x="32430" y="26121"/>
                  </a:lnTo>
                  <a:lnTo>
                    <a:pt x="19048" y="26121"/>
                  </a:lnTo>
                  <a:lnTo>
                    <a:pt x="19048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35" name="Freihandform: Form 934">
              <a:extLst>
                <a:ext uri="{FF2B5EF4-FFF2-40B4-BE49-F238E27FC236}">
                  <a16:creationId xmlns:a16="http://schemas.microsoft.com/office/drawing/2014/main" id="{38C86C82-1B60-ACDA-0AD1-7550B3C24DF4}"/>
                </a:ext>
              </a:extLst>
            </p:cNvPr>
            <p:cNvSpPr/>
            <p:nvPr/>
          </p:nvSpPr>
          <p:spPr>
            <a:xfrm>
              <a:off x="5388249" y="2595387"/>
              <a:ext cx="32527" cy="44606"/>
            </a:xfrm>
            <a:custGeom>
              <a:avLst/>
              <a:gdLst>
                <a:gd name="connsiteX0" fmla="*/ 13382 w 32527"/>
                <a:gd name="connsiteY0" fmla="*/ 44607 h 44606"/>
                <a:gd name="connsiteX1" fmla="*/ 13382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352 h 44606"/>
                <a:gd name="connsiteX4" fmla="*/ 13382 w 32527"/>
                <a:gd name="connsiteY4" fmla="*/ 18352 h 44606"/>
                <a:gd name="connsiteX5" fmla="*/ 13382 w 32527"/>
                <a:gd name="connsiteY5" fmla="*/ 0 h 44606"/>
                <a:gd name="connsiteX6" fmla="*/ 19048 w 32527"/>
                <a:gd name="connsiteY6" fmla="*/ 0 h 44606"/>
                <a:gd name="connsiteX7" fmla="*/ 19048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6121 h 44606"/>
                <a:gd name="connsiteX10" fmla="*/ 19048 w 32527"/>
                <a:gd name="connsiteY10" fmla="*/ 26121 h 44606"/>
                <a:gd name="connsiteX11" fmla="*/ 19048 w 32527"/>
                <a:gd name="connsiteY11" fmla="*/ 44607 h 44606"/>
                <a:gd name="connsiteX12" fmla="*/ 13382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048" y="0"/>
                  </a:lnTo>
                  <a:lnTo>
                    <a:pt x="19048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048" y="26121"/>
                  </a:lnTo>
                  <a:lnTo>
                    <a:pt x="19048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36" name="Freihandform: Form 935">
              <a:extLst>
                <a:ext uri="{FF2B5EF4-FFF2-40B4-BE49-F238E27FC236}">
                  <a16:creationId xmlns:a16="http://schemas.microsoft.com/office/drawing/2014/main" id="{D3D3E4D3-6287-64F1-F755-2A1E53E2DF0F}"/>
                </a:ext>
              </a:extLst>
            </p:cNvPr>
            <p:cNvSpPr/>
            <p:nvPr/>
          </p:nvSpPr>
          <p:spPr>
            <a:xfrm>
              <a:off x="5412767" y="2595387"/>
              <a:ext cx="32527" cy="44606"/>
            </a:xfrm>
            <a:custGeom>
              <a:avLst/>
              <a:gdLst>
                <a:gd name="connsiteX0" fmla="*/ 13382 w 32527"/>
                <a:gd name="connsiteY0" fmla="*/ 44607 h 44606"/>
                <a:gd name="connsiteX1" fmla="*/ 13382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352 h 44606"/>
                <a:gd name="connsiteX4" fmla="*/ 13382 w 32527"/>
                <a:gd name="connsiteY4" fmla="*/ 18352 h 44606"/>
                <a:gd name="connsiteX5" fmla="*/ 13382 w 32527"/>
                <a:gd name="connsiteY5" fmla="*/ 0 h 44606"/>
                <a:gd name="connsiteX6" fmla="*/ 19145 w 32527"/>
                <a:gd name="connsiteY6" fmla="*/ 0 h 44606"/>
                <a:gd name="connsiteX7" fmla="*/ 19145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6121 h 44606"/>
                <a:gd name="connsiteX10" fmla="*/ 19145 w 32527"/>
                <a:gd name="connsiteY10" fmla="*/ 26121 h 44606"/>
                <a:gd name="connsiteX11" fmla="*/ 19145 w 32527"/>
                <a:gd name="connsiteY11" fmla="*/ 44607 h 44606"/>
                <a:gd name="connsiteX12" fmla="*/ 13382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145" y="0"/>
                  </a:lnTo>
                  <a:lnTo>
                    <a:pt x="19145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145" y="26121"/>
                  </a:lnTo>
                  <a:lnTo>
                    <a:pt x="19145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37" name="Freihandform: Form 936">
              <a:extLst>
                <a:ext uri="{FF2B5EF4-FFF2-40B4-BE49-F238E27FC236}">
                  <a16:creationId xmlns:a16="http://schemas.microsoft.com/office/drawing/2014/main" id="{A19C5C22-E7C4-7F9B-511F-76D6B999E4C7}"/>
                </a:ext>
              </a:extLst>
            </p:cNvPr>
            <p:cNvSpPr/>
            <p:nvPr/>
          </p:nvSpPr>
          <p:spPr>
            <a:xfrm>
              <a:off x="5417749" y="2595387"/>
              <a:ext cx="32430" cy="44606"/>
            </a:xfrm>
            <a:custGeom>
              <a:avLst/>
              <a:gdLst>
                <a:gd name="connsiteX0" fmla="*/ 13382 w 32430"/>
                <a:gd name="connsiteY0" fmla="*/ 44607 h 44606"/>
                <a:gd name="connsiteX1" fmla="*/ 13382 w 32430"/>
                <a:gd name="connsiteY1" fmla="*/ 26121 h 44606"/>
                <a:gd name="connsiteX2" fmla="*/ 0 w 32430"/>
                <a:gd name="connsiteY2" fmla="*/ 26121 h 44606"/>
                <a:gd name="connsiteX3" fmla="*/ 0 w 32430"/>
                <a:gd name="connsiteY3" fmla="*/ 18352 h 44606"/>
                <a:gd name="connsiteX4" fmla="*/ 13382 w 32430"/>
                <a:gd name="connsiteY4" fmla="*/ 18352 h 44606"/>
                <a:gd name="connsiteX5" fmla="*/ 13382 w 32430"/>
                <a:gd name="connsiteY5" fmla="*/ 0 h 44606"/>
                <a:gd name="connsiteX6" fmla="*/ 19048 w 32430"/>
                <a:gd name="connsiteY6" fmla="*/ 0 h 44606"/>
                <a:gd name="connsiteX7" fmla="*/ 19048 w 32430"/>
                <a:gd name="connsiteY7" fmla="*/ 18352 h 44606"/>
                <a:gd name="connsiteX8" fmla="*/ 32430 w 32430"/>
                <a:gd name="connsiteY8" fmla="*/ 18352 h 44606"/>
                <a:gd name="connsiteX9" fmla="*/ 32430 w 32430"/>
                <a:gd name="connsiteY9" fmla="*/ 26121 h 44606"/>
                <a:gd name="connsiteX10" fmla="*/ 19048 w 32430"/>
                <a:gd name="connsiteY10" fmla="*/ 26121 h 44606"/>
                <a:gd name="connsiteX11" fmla="*/ 19048 w 32430"/>
                <a:gd name="connsiteY11" fmla="*/ 44607 h 44606"/>
                <a:gd name="connsiteX12" fmla="*/ 13382 w 32430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30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048" y="0"/>
                  </a:lnTo>
                  <a:lnTo>
                    <a:pt x="19048" y="18352"/>
                  </a:lnTo>
                  <a:lnTo>
                    <a:pt x="32430" y="18352"/>
                  </a:lnTo>
                  <a:lnTo>
                    <a:pt x="32430" y="26121"/>
                  </a:lnTo>
                  <a:lnTo>
                    <a:pt x="19048" y="26121"/>
                  </a:lnTo>
                  <a:lnTo>
                    <a:pt x="19048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38" name="Freihandform: Form 937">
              <a:extLst>
                <a:ext uri="{FF2B5EF4-FFF2-40B4-BE49-F238E27FC236}">
                  <a16:creationId xmlns:a16="http://schemas.microsoft.com/office/drawing/2014/main" id="{15A96CE8-7FBB-07A4-F246-A5170E10D486}"/>
                </a:ext>
              </a:extLst>
            </p:cNvPr>
            <p:cNvSpPr/>
            <p:nvPr/>
          </p:nvSpPr>
          <p:spPr>
            <a:xfrm>
              <a:off x="5427517" y="2595387"/>
              <a:ext cx="32430" cy="44606"/>
            </a:xfrm>
            <a:custGeom>
              <a:avLst/>
              <a:gdLst>
                <a:gd name="connsiteX0" fmla="*/ 13382 w 32430"/>
                <a:gd name="connsiteY0" fmla="*/ 44607 h 44606"/>
                <a:gd name="connsiteX1" fmla="*/ 13382 w 32430"/>
                <a:gd name="connsiteY1" fmla="*/ 26121 h 44606"/>
                <a:gd name="connsiteX2" fmla="*/ 0 w 32430"/>
                <a:gd name="connsiteY2" fmla="*/ 26121 h 44606"/>
                <a:gd name="connsiteX3" fmla="*/ 0 w 32430"/>
                <a:gd name="connsiteY3" fmla="*/ 18352 h 44606"/>
                <a:gd name="connsiteX4" fmla="*/ 13382 w 32430"/>
                <a:gd name="connsiteY4" fmla="*/ 18352 h 44606"/>
                <a:gd name="connsiteX5" fmla="*/ 13382 w 32430"/>
                <a:gd name="connsiteY5" fmla="*/ 0 h 44606"/>
                <a:gd name="connsiteX6" fmla="*/ 19048 w 32430"/>
                <a:gd name="connsiteY6" fmla="*/ 0 h 44606"/>
                <a:gd name="connsiteX7" fmla="*/ 19048 w 32430"/>
                <a:gd name="connsiteY7" fmla="*/ 18352 h 44606"/>
                <a:gd name="connsiteX8" fmla="*/ 32430 w 32430"/>
                <a:gd name="connsiteY8" fmla="*/ 18352 h 44606"/>
                <a:gd name="connsiteX9" fmla="*/ 32430 w 32430"/>
                <a:gd name="connsiteY9" fmla="*/ 26121 h 44606"/>
                <a:gd name="connsiteX10" fmla="*/ 19048 w 32430"/>
                <a:gd name="connsiteY10" fmla="*/ 26121 h 44606"/>
                <a:gd name="connsiteX11" fmla="*/ 19048 w 32430"/>
                <a:gd name="connsiteY11" fmla="*/ 44607 h 44606"/>
                <a:gd name="connsiteX12" fmla="*/ 13382 w 32430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30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048" y="0"/>
                  </a:lnTo>
                  <a:lnTo>
                    <a:pt x="19048" y="18352"/>
                  </a:lnTo>
                  <a:lnTo>
                    <a:pt x="32430" y="18352"/>
                  </a:lnTo>
                  <a:lnTo>
                    <a:pt x="32430" y="26121"/>
                  </a:lnTo>
                  <a:lnTo>
                    <a:pt x="19048" y="26121"/>
                  </a:lnTo>
                  <a:lnTo>
                    <a:pt x="19048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39" name="Freihandform: Form 938">
              <a:extLst>
                <a:ext uri="{FF2B5EF4-FFF2-40B4-BE49-F238E27FC236}">
                  <a16:creationId xmlns:a16="http://schemas.microsoft.com/office/drawing/2014/main" id="{7F472FB9-4F98-1806-F991-4F5B15635BF6}"/>
                </a:ext>
              </a:extLst>
            </p:cNvPr>
            <p:cNvSpPr/>
            <p:nvPr/>
          </p:nvSpPr>
          <p:spPr>
            <a:xfrm>
              <a:off x="5466784" y="2595387"/>
              <a:ext cx="32527" cy="44606"/>
            </a:xfrm>
            <a:custGeom>
              <a:avLst/>
              <a:gdLst>
                <a:gd name="connsiteX0" fmla="*/ 13382 w 32527"/>
                <a:gd name="connsiteY0" fmla="*/ 44607 h 44606"/>
                <a:gd name="connsiteX1" fmla="*/ 13382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352 h 44606"/>
                <a:gd name="connsiteX4" fmla="*/ 13382 w 32527"/>
                <a:gd name="connsiteY4" fmla="*/ 18352 h 44606"/>
                <a:gd name="connsiteX5" fmla="*/ 13382 w 32527"/>
                <a:gd name="connsiteY5" fmla="*/ 0 h 44606"/>
                <a:gd name="connsiteX6" fmla="*/ 19048 w 32527"/>
                <a:gd name="connsiteY6" fmla="*/ 0 h 44606"/>
                <a:gd name="connsiteX7" fmla="*/ 19048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6121 h 44606"/>
                <a:gd name="connsiteX10" fmla="*/ 19048 w 32527"/>
                <a:gd name="connsiteY10" fmla="*/ 26121 h 44606"/>
                <a:gd name="connsiteX11" fmla="*/ 19048 w 32527"/>
                <a:gd name="connsiteY11" fmla="*/ 44607 h 44606"/>
                <a:gd name="connsiteX12" fmla="*/ 13382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048" y="0"/>
                  </a:lnTo>
                  <a:lnTo>
                    <a:pt x="19048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048" y="26121"/>
                  </a:lnTo>
                  <a:lnTo>
                    <a:pt x="19048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40" name="Freihandform: Form 939">
              <a:extLst>
                <a:ext uri="{FF2B5EF4-FFF2-40B4-BE49-F238E27FC236}">
                  <a16:creationId xmlns:a16="http://schemas.microsoft.com/office/drawing/2014/main" id="{1C694F0D-1ECB-4B76-158A-7B03CC94F250}"/>
                </a:ext>
              </a:extLst>
            </p:cNvPr>
            <p:cNvSpPr/>
            <p:nvPr/>
          </p:nvSpPr>
          <p:spPr>
            <a:xfrm>
              <a:off x="5481534" y="2595387"/>
              <a:ext cx="32527" cy="44606"/>
            </a:xfrm>
            <a:custGeom>
              <a:avLst/>
              <a:gdLst>
                <a:gd name="connsiteX0" fmla="*/ 13382 w 32527"/>
                <a:gd name="connsiteY0" fmla="*/ 44607 h 44606"/>
                <a:gd name="connsiteX1" fmla="*/ 13382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352 h 44606"/>
                <a:gd name="connsiteX4" fmla="*/ 13382 w 32527"/>
                <a:gd name="connsiteY4" fmla="*/ 18352 h 44606"/>
                <a:gd name="connsiteX5" fmla="*/ 13382 w 32527"/>
                <a:gd name="connsiteY5" fmla="*/ 0 h 44606"/>
                <a:gd name="connsiteX6" fmla="*/ 19145 w 32527"/>
                <a:gd name="connsiteY6" fmla="*/ 0 h 44606"/>
                <a:gd name="connsiteX7" fmla="*/ 19145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6121 h 44606"/>
                <a:gd name="connsiteX10" fmla="*/ 19145 w 32527"/>
                <a:gd name="connsiteY10" fmla="*/ 26121 h 44606"/>
                <a:gd name="connsiteX11" fmla="*/ 19145 w 32527"/>
                <a:gd name="connsiteY11" fmla="*/ 44607 h 44606"/>
                <a:gd name="connsiteX12" fmla="*/ 13382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145" y="0"/>
                  </a:lnTo>
                  <a:lnTo>
                    <a:pt x="19145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145" y="26121"/>
                  </a:lnTo>
                  <a:lnTo>
                    <a:pt x="19145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41" name="Freihandform: Form 940">
              <a:extLst>
                <a:ext uri="{FF2B5EF4-FFF2-40B4-BE49-F238E27FC236}">
                  <a16:creationId xmlns:a16="http://schemas.microsoft.com/office/drawing/2014/main" id="{0EB19CA8-8818-80A0-837A-E5E7EB155897}"/>
                </a:ext>
              </a:extLst>
            </p:cNvPr>
            <p:cNvSpPr/>
            <p:nvPr/>
          </p:nvSpPr>
          <p:spPr>
            <a:xfrm>
              <a:off x="5491302" y="2595387"/>
              <a:ext cx="32527" cy="44606"/>
            </a:xfrm>
            <a:custGeom>
              <a:avLst/>
              <a:gdLst>
                <a:gd name="connsiteX0" fmla="*/ 13382 w 32527"/>
                <a:gd name="connsiteY0" fmla="*/ 44607 h 44606"/>
                <a:gd name="connsiteX1" fmla="*/ 13382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352 h 44606"/>
                <a:gd name="connsiteX4" fmla="*/ 13382 w 32527"/>
                <a:gd name="connsiteY4" fmla="*/ 18352 h 44606"/>
                <a:gd name="connsiteX5" fmla="*/ 13382 w 32527"/>
                <a:gd name="connsiteY5" fmla="*/ 0 h 44606"/>
                <a:gd name="connsiteX6" fmla="*/ 19145 w 32527"/>
                <a:gd name="connsiteY6" fmla="*/ 0 h 44606"/>
                <a:gd name="connsiteX7" fmla="*/ 19145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6121 h 44606"/>
                <a:gd name="connsiteX10" fmla="*/ 19145 w 32527"/>
                <a:gd name="connsiteY10" fmla="*/ 26121 h 44606"/>
                <a:gd name="connsiteX11" fmla="*/ 19145 w 32527"/>
                <a:gd name="connsiteY11" fmla="*/ 44607 h 44606"/>
                <a:gd name="connsiteX12" fmla="*/ 13382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145" y="0"/>
                  </a:lnTo>
                  <a:lnTo>
                    <a:pt x="19145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145" y="26121"/>
                  </a:lnTo>
                  <a:lnTo>
                    <a:pt x="19145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42" name="Freihandform: Form 941">
              <a:extLst>
                <a:ext uri="{FF2B5EF4-FFF2-40B4-BE49-F238E27FC236}">
                  <a16:creationId xmlns:a16="http://schemas.microsoft.com/office/drawing/2014/main" id="{5FF2E4CF-EAC5-C857-4287-CAACC362425E}"/>
                </a:ext>
              </a:extLst>
            </p:cNvPr>
            <p:cNvSpPr/>
            <p:nvPr/>
          </p:nvSpPr>
          <p:spPr>
            <a:xfrm>
              <a:off x="5540436" y="2595387"/>
              <a:ext cx="32527" cy="44606"/>
            </a:xfrm>
            <a:custGeom>
              <a:avLst/>
              <a:gdLst>
                <a:gd name="connsiteX0" fmla="*/ 13382 w 32527"/>
                <a:gd name="connsiteY0" fmla="*/ 44607 h 44606"/>
                <a:gd name="connsiteX1" fmla="*/ 13382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352 h 44606"/>
                <a:gd name="connsiteX4" fmla="*/ 13382 w 32527"/>
                <a:gd name="connsiteY4" fmla="*/ 18352 h 44606"/>
                <a:gd name="connsiteX5" fmla="*/ 13382 w 32527"/>
                <a:gd name="connsiteY5" fmla="*/ 0 h 44606"/>
                <a:gd name="connsiteX6" fmla="*/ 19048 w 32527"/>
                <a:gd name="connsiteY6" fmla="*/ 0 h 44606"/>
                <a:gd name="connsiteX7" fmla="*/ 19048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6121 h 44606"/>
                <a:gd name="connsiteX10" fmla="*/ 19048 w 32527"/>
                <a:gd name="connsiteY10" fmla="*/ 26121 h 44606"/>
                <a:gd name="connsiteX11" fmla="*/ 19048 w 32527"/>
                <a:gd name="connsiteY11" fmla="*/ 44607 h 44606"/>
                <a:gd name="connsiteX12" fmla="*/ 13382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048" y="0"/>
                  </a:lnTo>
                  <a:lnTo>
                    <a:pt x="19048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048" y="26121"/>
                  </a:lnTo>
                  <a:lnTo>
                    <a:pt x="19048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43" name="Freihandform: Form 942">
              <a:extLst>
                <a:ext uri="{FF2B5EF4-FFF2-40B4-BE49-F238E27FC236}">
                  <a16:creationId xmlns:a16="http://schemas.microsoft.com/office/drawing/2014/main" id="{A6B2455B-58FC-51EE-BA6B-BC88C64A16B0}"/>
                </a:ext>
              </a:extLst>
            </p:cNvPr>
            <p:cNvSpPr/>
            <p:nvPr/>
          </p:nvSpPr>
          <p:spPr>
            <a:xfrm>
              <a:off x="5569838" y="2595387"/>
              <a:ext cx="32527" cy="44606"/>
            </a:xfrm>
            <a:custGeom>
              <a:avLst/>
              <a:gdLst>
                <a:gd name="connsiteX0" fmla="*/ 13382 w 32527"/>
                <a:gd name="connsiteY0" fmla="*/ 44607 h 44606"/>
                <a:gd name="connsiteX1" fmla="*/ 13382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352 h 44606"/>
                <a:gd name="connsiteX4" fmla="*/ 13382 w 32527"/>
                <a:gd name="connsiteY4" fmla="*/ 18352 h 44606"/>
                <a:gd name="connsiteX5" fmla="*/ 13382 w 32527"/>
                <a:gd name="connsiteY5" fmla="*/ 0 h 44606"/>
                <a:gd name="connsiteX6" fmla="*/ 19145 w 32527"/>
                <a:gd name="connsiteY6" fmla="*/ 0 h 44606"/>
                <a:gd name="connsiteX7" fmla="*/ 19145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6121 h 44606"/>
                <a:gd name="connsiteX10" fmla="*/ 19145 w 32527"/>
                <a:gd name="connsiteY10" fmla="*/ 26121 h 44606"/>
                <a:gd name="connsiteX11" fmla="*/ 19145 w 32527"/>
                <a:gd name="connsiteY11" fmla="*/ 44607 h 44606"/>
                <a:gd name="connsiteX12" fmla="*/ 13382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145" y="0"/>
                  </a:lnTo>
                  <a:lnTo>
                    <a:pt x="19145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145" y="26121"/>
                  </a:lnTo>
                  <a:lnTo>
                    <a:pt x="19145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44" name="Freihandform: Form 943">
              <a:extLst>
                <a:ext uri="{FF2B5EF4-FFF2-40B4-BE49-F238E27FC236}">
                  <a16:creationId xmlns:a16="http://schemas.microsoft.com/office/drawing/2014/main" id="{B5820AB5-F16E-D6CF-E88C-33EE07692628}"/>
                </a:ext>
              </a:extLst>
            </p:cNvPr>
            <p:cNvSpPr/>
            <p:nvPr/>
          </p:nvSpPr>
          <p:spPr>
            <a:xfrm>
              <a:off x="5599337" y="2595387"/>
              <a:ext cx="32527" cy="44606"/>
            </a:xfrm>
            <a:custGeom>
              <a:avLst/>
              <a:gdLst>
                <a:gd name="connsiteX0" fmla="*/ 13382 w 32527"/>
                <a:gd name="connsiteY0" fmla="*/ 44607 h 44606"/>
                <a:gd name="connsiteX1" fmla="*/ 13382 w 32527"/>
                <a:gd name="connsiteY1" fmla="*/ 26121 h 44606"/>
                <a:gd name="connsiteX2" fmla="*/ 0 w 32527"/>
                <a:gd name="connsiteY2" fmla="*/ 26121 h 44606"/>
                <a:gd name="connsiteX3" fmla="*/ 0 w 32527"/>
                <a:gd name="connsiteY3" fmla="*/ 18352 h 44606"/>
                <a:gd name="connsiteX4" fmla="*/ 13382 w 32527"/>
                <a:gd name="connsiteY4" fmla="*/ 18352 h 44606"/>
                <a:gd name="connsiteX5" fmla="*/ 13382 w 32527"/>
                <a:gd name="connsiteY5" fmla="*/ 0 h 44606"/>
                <a:gd name="connsiteX6" fmla="*/ 19145 w 32527"/>
                <a:gd name="connsiteY6" fmla="*/ 0 h 44606"/>
                <a:gd name="connsiteX7" fmla="*/ 19145 w 32527"/>
                <a:gd name="connsiteY7" fmla="*/ 18352 h 44606"/>
                <a:gd name="connsiteX8" fmla="*/ 32528 w 32527"/>
                <a:gd name="connsiteY8" fmla="*/ 18352 h 44606"/>
                <a:gd name="connsiteX9" fmla="*/ 32528 w 32527"/>
                <a:gd name="connsiteY9" fmla="*/ 26121 h 44606"/>
                <a:gd name="connsiteX10" fmla="*/ 19145 w 32527"/>
                <a:gd name="connsiteY10" fmla="*/ 26121 h 44606"/>
                <a:gd name="connsiteX11" fmla="*/ 19145 w 32527"/>
                <a:gd name="connsiteY11" fmla="*/ 44607 h 44606"/>
                <a:gd name="connsiteX12" fmla="*/ 13382 w 32527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27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145" y="0"/>
                  </a:lnTo>
                  <a:lnTo>
                    <a:pt x="19145" y="18352"/>
                  </a:lnTo>
                  <a:lnTo>
                    <a:pt x="32528" y="18352"/>
                  </a:lnTo>
                  <a:lnTo>
                    <a:pt x="32528" y="26121"/>
                  </a:lnTo>
                  <a:lnTo>
                    <a:pt x="19145" y="26121"/>
                  </a:lnTo>
                  <a:lnTo>
                    <a:pt x="19145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45" name="Freihandform: Form 944">
              <a:extLst>
                <a:ext uri="{FF2B5EF4-FFF2-40B4-BE49-F238E27FC236}">
                  <a16:creationId xmlns:a16="http://schemas.microsoft.com/office/drawing/2014/main" id="{60B91AB6-CEC5-AE9E-B563-657DC4E35C48}"/>
                </a:ext>
              </a:extLst>
            </p:cNvPr>
            <p:cNvSpPr/>
            <p:nvPr/>
          </p:nvSpPr>
          <p:spPr>
            <a:xfrm>
              <a:off x="5618971" y="2595387"/>
              <a:ext cx="32429" cy="44606"/>
            </a:xfrm>
            <a:custGeom>
              <a:avLst/>
              <a:gdLst>
                <a:gd name="connsiteX0" fmla="*/ 13284 w 32429"/>
                <a:gd name="connsiteY0" fmla="*/ 44607 h 44606"/>
                <a:gd name="connsiteX1" fmla="*/ 13284 w 32429"/>
                <a:gd name="connsiteY1" fmla="*/ 26121 h 44606"/>
                <a:gd name="connsiteX2" fmla="*/ 0 w 32429"/>
                <a:gd name="connsiteY2" fmla="*/ 26121 h 44606"/>
                <a:gd name="connsiteX3" fmla="*/ 0 w 32429"/>
                <a:gd name="connsiteY3" fmla="*/ 18352 h 44606"/>
                <a:gd name="connsiteX4" fmla="*/ 13284 w 32429"/>
                <a:gd name="connsiteY4" fmla="*/ 18352 h 44606"/>
                <a:gd name="connsiteX5" fmla="*/ 13284 w 32429"/>
                <a:gd name="connsiteY5" fmla="*/ 0 h 44606"/>
                <a:gd name="connsiteX6" fmla="*/ 19048 w 32429"/>
                <a:gd name="connsiteY6" fmla="*/ 0 h 44606"/>
                <a:gd name="connsiteX7" fmla="*/ 19048 w 32429"/>
                <a:gd name="connsiteY7" fmla="*/ 18352 h 44606"/>
                <a:gd name="connsiteX8" fmla="*/ 32430 w 32429"/>
                <a:gd name="connsiteY8" fmla="*/ 18352 h 44606"/>
                <a:gd name="connsiteX9" fmla="*/ 32430 w 32429"/>
                <a:gd name="connsiteY9" fmla="*/ 26121 h 44606"/>
                <a:gd name="connsiteX10" fmla="*/ 19048 w 32429"/>
                <a:gd name="connsiteY10" fmla="*/ 26121 h 44606"/>
                <a:gd name="connsiteX11" fmla="*/ 19048 w 32429"/>
                <a:gd name="connsiteY11" fmla="*/ 44607 h 44606"/>
                <a:gd name="connsiteX12" fmla="*/ 13284 w 32429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29" h="44606">
                  <a:moveTo>
                    <a:pt x="13284" y="44607"/>
                  </a:moveTo>
                  <a:lnTo>
                    <a:pt x="13284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284" y="18352"/>
                  </a:lnTo>
                  <a:lnTo>
                    <a:pt x="13284" y="0"/>
                  </a:lnTo>
                  <a:lnTo>
                    <a:pt x="19048" y="0"/>
                  </a:lnTo>
                  <a:lnTo>
                    <a:pt x="19048" y="18352"/>
                  </a:lnTo>
                  <a:lnTo>
                    <a:pt x="32430" y="18352"/>
                  </a:lnTo>
                  <a:lnTo>
                    <a:pt x="32430" y="26121"/>
                  </a:lnTo>
                  <a:lnTo>
                    <a:pt x="19048" y="26121"/>
                  </a:lnTo>
                  <a:lnTo>
                    <a:pt x="19048" y="44607"/>
                  </a:lnTo>
                  <a:lnTo>
                    <a:pt x="13284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46" name="Freihandform: Form 945">
              <a:extLst>
                <a:ext uri="{FF2B5EF4-FFF2-40B4-BE49-F238E27FC236}">
                  <a16:creationId xmlns:a16="http://schemas.microsoft.com/office/drawing/2014/main" id="{D2C26A9C-D02E-6493-B220-CFAF3E0C0326}"/>
                </a:ext>
              </a:extLst>
            </p:cNvPr>
            <p:cNvSpPr/>
            <p:nvPr/>
          </p:nvSpPr>
          <p:spPr>
            <a:xfrm>
              <a:off x="5628739" y="2595387"/>
              <a:ext cx="22661" cy="44606"/>
            </a:xfrm>
            <a:custGeom>
              <a:avLst/>
              <a:gdLst>
                <a:gd name="connsiteX0" fmla="*/ 13382 w 22661"/>
                <a:gd name="connsiteY0" fmla="*/ 44607 h 44606"/>
                <a:gd name="connsiteX1" fmla="*/ 13382 w 22661"/>
                <a:gd name="connsiteY1" fmla="*/ 26121 h 44606"/>
                <a:gd name="connsiteX2" fmla="*/ 0 w 22661"/>
                <a:gd name="connsiteY2" fmla="*/ 26121 h 44606"/>
                <a:gd name="connsiteX3" fmla="*/ 0 w 22661"/>
                <a:gd name="connsiteY3" fmla="*/ 18352 h 44606"/>
                <a:gd name="connsiteX4" fmla="*/ 13382 w 22661"/>
                <a:gd name="connsiteY4" fmla="*/ 18352 h 44606"/>
                <a:gd name="connsiteX5" fmla="*/ 13382 w 22661"/>
                <a:gd name="connsiteY5" fmla="*/ 0 h 44606"/>
                <a:gd name="connsiteX6" fmla="*/ 19145 w 22661"/>
                <a:gd name="connsiteY6" fmla="*/ 0 h 44606"/>
                <a:gd name="connsiteX7" fmla="*/ 19145 w 22661"/>
                <a:gd name="connsiteY7" fmla="*/ 18352 h 44606"/>
                <a:gd name="connsiteX8" fmla="*/ 22662 w 22661"/>
                <a:gd name="connsiteY8" fmla="*/ 18352 h 44606"/>
                <a:gd name="connsiteX9" fmla="*/ 22662 w 22661"/>
                <a:gd name="connsiteY9" fmla="*/ 26121 h 44606"/>
                <a:gd name="connsiteX10" fmla="*/ 19145 w 22661"/>
                <a:gd name="connsiteY10" fmla="*/ 26121 h 44606"/>
                <a:gd name="connsiteX11" fmla="*/ 19145 w 22661"/>
                <a:gd name="connsiteY11" fmla="*/ 44607 h 44606"/>
                <a:gd name="connsiteX12" fmla="*/ 13382 w 22661"/>
                <a:gd name="connsiteY12" fmla="*/ 44607 h 4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2661" h="44606">
                  <a:moveTo>
                    <a:pt x="13382" y="44607"/>
                  </a:moveTo>
                  <a:lnTo>
                    <a:pt x="13382" y="26121"/>
                  </a:lnTo>
                  <a:lnTo>
                    <a:pt x="0" y="26121"/>
                  </a:lnTo>
                  <a:lnTo>
                    <a:pt x="0" y="18352"/>
                  </a:lnTo>
                  <a:lnTo>
                    <a:pt x="13382" y="18352"/>
                  </a:lnTo>
                  <a:lnTo>
                    <a:pt x="13382" y="0"/>
                  </a:lnTo>
                  <a:lnTo>
                    <a:pt x="19145" y="0"/>
                  </a:lnTo>
                  <a:lnTo>
                    <a:pt x="19145" y="18352"/>
                  </a:lnTo>
                  <a:lnTo>
                    <a:pt x="22662" y="18352"/>
                  </a:lnTo>
                  <a:lnTo>
                    <a:pt x="22662" y="26121"/>
                  </a:lnTo>
                  <a:lnTo>
                    <a:pt x="19145" y="26121"/>
                  </a:lnTo>
                  <a:lnTo>
                    <a:pt x="19145" y="44607"/>
                  </a:lnTo>
                  <a:lnTo>
                    <a:pt x="13382" y="4460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947" name="Textfeld 946">
            <a:extLst>
              <a:ext uri="{FF2B5EF4-FFF2-40B4-BE49-F238E27FC236}">
                <a16:creationId xmlns:a16="http://schemas.microsoft.com/office/drawing/2014/main" id="{06EE327A-51C3-1C0D-57E2-3AB8275431CD}"/>
              </a:ext>
            </a:extLst>
          </p:cNvPr>
          <p:cNvSpPr txBox="1"/>
          <p:nvPr/>
        </p:nvSpPr>
        <p:spPr>
          <a:xfrm>
            <a:off x="2002980" y="2148407"/>
            <a:ext cx="431314" cy="276999"/>
          </a:xfrm>
          <a:prstGeom prst="rect">
            <a:avLst/>
          </a:prstGeom>
          <a:noFill/>
        </p:spPr>
        <p:txBody>
          <a:bodyPr wrap="square" lIns="36000" rIns="36000">
            <a:spAutoFit/>
          </a:bodyPr>
          <a:lstStyle/>
          <a:p>
            <a:pPr algn="ctr"/>
            <a:r>
              <a:rPr lang="de-DE" sz="1200" b="1" dirty="0">
                <a:solidFill>
                  <a:srgbClr val="FF585D"/>
                </a:solidFill>
                <a:latin typeface="Arial" panose="020B0604020202020204"/>
              </a:rPr>
              <a:t>63 </a:t>
            </a: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FF585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</a:t>
            </a:r>
            <a:endParaRPr lang="de-DE" b="1" dirty="0"/>
          </a:p>
        </p:txBody>
      </p:sp>
      <p:sp>
        <p:nvSpPr>
          <p:cNvPr id="948" name="Textfeld 947">
            <a:extLst>
              <a:ext uri="{FF2B5EF4-FFF2-40B4-BE49-F238E27FC236}">
                <a16:creationId xmlns:a16="http://schemas.microsoft.com/office/drawing/2014/main" id="{633D0D85-0521-F451-37DE-2A84C67480D8}"/>
              </a:ext>
            </a:extLst>
          </p:cNvPr>
          <p:cNvSpPr txBox="1"/>
          <p:nvPr/>
        </p:nvSpPr>
        <p:spPr>
          <a:xfrm>
            <a:off x="2887085" y="2437111"/>
            <a:ext cx="431314" cy="276999"/>
          </a:xfrm>
          <a:prstGeom prst="rect">
            <a:avLst/>
          </a:prstGeom>
          <a:noFill/>
        </p:spPr>
        <p:txBody>
          <a:bodyPr wrap="square" lIns="36000" rIns="36000">
            <a:spAutoFit/>
          </a:bodyPr>
          <a:lstStyle/>
          <a:p>
            <a:pPr algn="ctr"/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FF585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1 %</a:t>
            </a:r>
            <a:endParaRPr lang="de-DE" b="1" dirty="0"/>
          </a:p>
        </p:txBody>
      </p:sp>
      <p:sp>
        <p:nvSpPr>
          <p:cNvPr id="949" name="Textfeld 948">
            <a:extLst>
              <a:ext uri="{FF2B5EF4-FFF2-40B4-BE49-F238E27FC236}">
                <a16:creationId xmlns:a16="http://schemas.microsoft.com/office/drawing/2014/main" id="{28E1A1CB-3054-FEAC-1465-8298E91B608E}"/>
              </a:ext>
            </a:extLst>
          </p:cNvPr>
          <p:cNvSpPr txBox="1"/>
          <p:nvPr/>
        </p:nvSpPr>
        <p:spPr>
          <a:xfrm>
            <a:off x="3795212" y="2544344"/>
            <a:ext cx="431314" cy="276999"/>
          </a:xfrm>
          <a:prstGeom prst="rect">
            <a:avLst/>
          </a:prstGeom>
          <a:noFill/>
        </p:spPr>
        <p:txBody>
          <a:bodyPr wrap="square" lIns="36000" rIns="36000">
            <a:spAutoFit/>
          </a:bodyPr>
          <a:lstStyle/>
          <a:p>
            <a:pPr algn="ctr"/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FF585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7 %</a:t>
            </a:r>
            <a:endParaRPr lang="de-DE" b="1" dirty="0"/>
          </a:p>
        </p:txBody>
      </p:sp>
      <p:sp>
        <p:nvSpPr>
          <p:cNvPr id="950" name="Textfeld 949">
            <a:extLst>
              <a:ext uri="{FF2B5EF4-FFF2-40B4-BE49-F238E27FC236}">
                <a16:creationId xmlns:a16="http://schemas.microsoft.com/office/drawing/2014/main" id="{29B9B847-4579-A703-E6A3-CE4CCB7C3421}"/>
              </a:ext>
            </a:extLst>
          </p:cNvPr>
          <p:cNvSpPr txBox="1"/>
          <p:nvPr/>
        </p:nvSpPr>
        <p:spPr>
          <a:xfrm>
            <a:off x="4679662" y="2611548"/>
            <a:ext cx="431314" cy="276999"/>
          </a:xfrm>
          <a:prstGeom prst="rect">
            <a:avLst/>
          </a:prstGeom>
          <a:noFill/>
        </p:spPr>
        <p:txBody>
          <a:bodyPr wrap="square" lIns="36000" rIns="36000">
            <a:spAutoFit/>
          </a:bodyPr>
          <a:lstStyle/>
          <a:p>
            <a:pPr algn="ctr"/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FF585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3 %</a:t>
            </a:r>
            <a:endParaRPr lang="de-DE" b="1" dirty="0"/>
          </a:p>
        </p:txBody>
      </p:sp>
      <p:sp>
        <p:nvSpPr>
          <p:cNvPr id="951" name="Textfeld 950">
            <a:extLst>
              <a:ext uri="{FF2B5EF4-FFF2-40B4-BE49-F238E27FC236}">
                <a16:creationId xmlns:a16="http://schemas.microsoft.com/office/drawing/2014/main" id="{9CE470E1-D21B-DC43-4199-1778BFE1B492}"/>
              </a:ext>
            </a:extLst>
          </p:cNvPr>
          <p:cNvSpPr txBox="1"/>
          <p:nvPr/>
        </p:nvSpPr>
        <p:spPr>
          <a:xfrm>
            <a:off x="4148796" y="2083389"/>
            <a:ext cx="431314" cy="276999"/>
          </a:xfrm>
          <a:prstGeom prst="rect">
            <a:avLst/>
          </a:prstGeom>
          <a:noFill/>
        </p:spPr>
        <p:txBody>
          <a:bodyPr wrap="square" lIns="36000" rIns="36000">
            <a:spAutoFit/>
          </a:bodyPr>
          <a:lstStyle/>
          <a:p>
            <a:pPr algn="ctr"/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7 %</a:t>
            </a:r>
            <a:endParaRPr lang="de-DE" b="1" dirty="0">
              <a:solidFill>
                <a:schemeClr val="accent6"/>
              </a:solidFill>
            </a:endParaRPr>
          </a:p>
        </p:txBody>
      </p:sp>
      <p:sp>
        <p:nvSpPr>
          <p:cNvPr id="952" name="Textfeld 951">
            <a:extLst>
              <a:ext uri="{FF2B5EF4-FFF2-40B4-BE49-F238E27FC236}">
                <a16:creationId xmlns:a16="http://schemas.microsoft.com/office/drawing/2014/main" id="{1DAE6C17-ACDB-7A0E-E726-44BD8EC17E62}"/>
              </a:ext>
            </a:extLst>
          </p:cNvPr>
          <p:cNvSpPr txBox="1"/>
          <p:nvPr/>
        </p:nvSpPr>
        <p:spPr>
          <a:xfrm>
            <a:off x="5047063" y="2149005"/>
            <a:ext cx="431314" cy="276999"/>
          </a:xfrm>
          <a:prstGeom prst="rect">
            <a:avLst/>
          </a:prstGeom>
          <a:noFill/>
        </p:spPr>
        <p:txBody>
          <a:bodyPr wrap="square" lIns="36000" rIns="36000">
            <a:spAutoFit/>
          </a:bodyPr>
          <a:lstStyle/>
          <a:p>
            <a:pPr algn="ctr"/>
            <a:r>
              <a:rPr lang="de-DE" sz="1200" b="1" dirty="0">
                <a:solidFill>
                  <a:schemeClr val="accent6"/>
                </a:solidFill>
                <a:latin typeface="Arial" panose="020B0604020202020204"/>
              </a:rPr>
              <a:t>53 </a:t>
            </a: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</a:t>
            </a:r>
            <a:endParaRPr lang="de-DE" b="1" dirty="0">
              <a:solidFill>
                <a:schemeClr val="accent6"/>
              </a:solidFill>
            </a:endParaRPr>
          </a:p>
        </p:txBody>
      </p:sp>
      <p:sp>
        <p:nvSpPr>
          <p:cNvPr id="953" name="Textfeld 952">
            <a:extLst>
              <a:ext uri="{FF2B5EF4-FFF2-40B4-BE49-F238E27FC236}">
                <a16:creationId xmlns:a16="http://schemas.microsoft.com/office/drawing/2014/main" id="{E1AF4396-8497-0859-CE3B-8285766EC14F}"/>
              </a:ext>
            </a:extLst>
          </p:cNvPr>
          <p:cNvSpPr txBox="1"/>
          <p:nvPr/>
        </p:nvSpPr>
        <p:spPr>
          <a:xfrm>
            <a:off x="1125273" y="3083400"/>
            <a:ext cx="1653550" cy="461665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r>
              <a:rPr lang="de-DE" sz="800" b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reignisse/</a:t>
            </a:r>
            <a:r>
              <a:rPr lang="de-DE" sz="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</a:t>
            </a:r>
            <a:r>
              <a:rPr lang="de-DE" sz="800" b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tient*innen</a:t>
            </a:r>
            <a:br>
              <a:rPr lang="de-DE" sz="800" b="0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de-DE" sz="800" b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FS, </a:t>
            </a:r>
            <a:r>
              <a:rPr lang="de-DE" sz="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onate</a:t>
            </a:r>
            <a:r>
              <a:rPr lang="de-DE" sz="800" b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, </a:t>
            </a:r>
            <a:r>
              <a:rPr lang="de-DE" sz="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</a:t>
            </a:r>
            <a:r>
              <a:rPr lang="de-DE" sz="800" b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dian (95%-KI)</a:t>
            </a:r>
          </a:p>
          <a:p>
            <a:r>
              <a:rPr lang="de-DE" sz="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HR (95%-KI) vs. TT</a:t>
            </a:r>
          </a:p>
        </p:txBody>
      </p:sp>
      <p:sp>
        <p:nvSpPr>
          <p:cNvPr id="954" name="Textfeld 953">
            <a:extLst>
              <a:ext uri="{FF2B5EF4-FFF2-40B4-BE49-F238E27FC236}">
                <a16:creationId xmlns:a16="http://schemas.microsoft.com/office/drawing/2014/main" id="{E124920F-33B1-CF78-5280-E85093CEFE34}"/>
              </a:ext>
            </a:extLst>
          </p:cNvPr>
          <p:cNvSpPr txBox="1"/>
          <p:nvPr/>
        </p:nvSpPr>
        <p:spPr>
          <a:xfrm>
            <a:off x="3191084" y="2960290"/>
            <a:ext cx="1075203" cy="584775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pPr algn="ctr"/>
            <a:r>
              <a:rPr lang="de-DE" sz="800" b="1" dirty="0">
                <a:solidFill>
                  <a:schemeClr val="accent2"/>
                </a:solidFill>
              </a:rPr>
              <a:t>PD1</a:t>
            </a:r>
          </a:p>
          <a:p>
            <a:pPr algn="ctr"/>
            <a:r>
              <a:rPr lang="de-DE" sz="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265/479</a:t>
            </a:r>
          </a:p>
          <a:p>
            <a:pPr algn="ctr"/>
            <a:r>
              <a:rPr lang="de-DE" sz="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24,7 (18,4–41,1)</a:t>
            </a:r>
          </a:p>
          <a:p>
            <a:pPr algn="ctr"/>
            <a:r>
              <a:rPr lang="de-DE" sz="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1,61 (1,22–2,11)</a:t>
            </a:r>
          </a:p>
        </p:txBody>
      </p:sp>
      <p:sp>
        <p:nvSpPr>
          <p:cNvPr id="955" name="Textfeld 954">
            <a:extLst>
              <a:ext uri="{FF2B5EF4-FFF2-40B4-BE49-F238E27FC236}">
                <a16:creationId xmlns:a16="http://schemas.microsoft.com/office/drawing/2014/main" id="{FB33A8DD-6BFA-4C01-9B00-E38B95C7EB25}"/>
              </a:ext>
            </a:extLst>
          </p:cNvPr>
          <p:cNvSpPr txBox="1"/>
          <p:nvPr/>
        </p:nvSpPr>
        <p:spPr>
          <a:xfrm>
            <a:off x="4173047" y="2960290"/>
            <a:ext cx="910791" cy="584775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pPr algn="ctr"/>
            <a:r>
              <a:rPr lang="de-DE" sz="800" b="1" dirty="0">
                <a:solidFill>
                  <a:schemeClr val="accent6"/>
                </a:solidFill>
              </a:rPr>
              <a:t>TT</a:t>
            </a:r>
          </a:p>
          <a:p>
            <a:pPr algn="ctr"/>
            <a:r>
              <a:rPr lang="de-DE" sz="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49/110</a:t>
            </a:r>
          </a:p>
          <a:p>
            <a:pPr algn="ctr"/>
            <a:r>
              <a:rPr lang="de-DE" sz="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NR (34,8–NR)</a:t>
            </a:r>
          </a:p>
          <a:p>
            <a:pPr algn="ctr"/>
            <a:r>
              <a:rPr lang="de-DE" sz="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-</a:t>
            </a:r>
          </a:p>
        </p:txBody>
      </p:sp>
      <p:sp>
        <p:nvSpPr>
          <p:cNvPr id="956" name="Textfeld 955">
            <a:extLst>
              <a:ext uri="{FF2B5EF4-FFF2-40B4-BE49-F238E27FC236}">
                <a16:creationId xmlns:a16="http://schemas.microsoft.com/office/drawing/2014/main" id="{6F96B3A3-46B9-89A1-EB33-612F19F3727D}"/>
              </a:ext>
            </a:extLst>
          </p:cNvPr>
          <p:cNvSpPr txBox="1"/>
          <p:nvPr/>
        </p:nvSpPr>
        <p:spPr>
          <a:xfrm>
            <a:off x="2380847" y="1357095"/>
            <a:ext cx="431314" cy="276999"/>
          </a:xfrm>
          <a:prstGeom prst="rect">
            <a:avLst/>
          </a:prstGeom>
          <a:noFill/>
        </p:spPr>
        <p:txBody>
          <a:bodyPr wrap="square" lIns="36000" rIns="36000">
            <a:spAutoFit/>
          </a:bodyPr>
          <a:lstStyle/>
          <a:p>
            <a:pPr algn="ctr"/>
            <a:r>
              <a:rPr lang="de-DE" sz="1200" b="1" dirty="0">
                <a:solidFill>
                  <a:schemeClr val="accent6"/>
                </a:solidFill>
                <a:latin typeface="Arial" panose="020B0604020202020204"/>
              </a:rPr>
              <a:t>91 </a:t>
            </a: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</a:t>
            </a:r>
            <a:endParaRPr lang="de-DE" b="1" dirty="0">
              <a:solidFill>
                <a:schemeClr val="accent6"/>
              </a:solidFill>
            </a:endParaRPr>
          </a:p>
        </p:txBody>
      </p:sp>
      <p:sp>
        <p:nvSpPr>
          <p:cNvPr id="957" name="Textfeld 956">
            <a:extLst>
              <a:ext uri="{FF2B5EF4-FFF2-40B4-BE49-F238E27FC236}">
                <a16:creationId xmlns:a16="http://schemas.microsoft.com/office/drawing/2014/main" id="{BFBC92AD-287C-9102-B55D-1C7EEB2A253E}"/>
              </a:ext>
            </a:extLst>
          </p:cNvPr>
          <p:cNvSpPr txBox="1"/>
          <p:nvPr/>
        </p:nvSpPr>
        <p:spPr>
          <a:xfrm>
            <a:off x="3239727" y="1807149"/>
            <a:ext cx="431314" cy="276999"/>
          </a:xfrm>
          <a:prstGeom prst="rect">
            <a:avLst/>
          </a:prstGeom>
          <a:noFill/>
        </p:spPr>
        <p:txBody>
          <a:bodyPr wrap="square" lIns="36000" rIns="36000">
            <a:spAutoFit/>
          </a:bodyPr>
          <a:lstStyle/>
          <a:p>
            <a:pPr algn="ctr"/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69 %</a:t>
            </a:r>
            <a:endParaRPr lang="de-DE" b="1" dirty="0">
              <a:solidFill>
                <a:schemeClr val="accent6"/>
              </a:solidFill>
            </a:endParaRPr>
          </a:p>
        </p:txBody>
      </p:sp>
      <p:graphicFrame>
        <p:nvGraphicFramePr>
          <p:cNvPr id="958" name="Tabelle 957">
            <a:extLst>
              <a:ext uri="{FF2B5EF4-FFF2-40B4-BE49-F238E27FC236}">
                <a16:creationId xmlns:a16="http://schemas.microsoft.com/office/drawing/2014/main" id="{FFD1803C-5529-780C-8977-9851A223116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68950614"/>
              </p:ext>
            </p:extLst>
          </p:nvPr>
        </p:nvGraphicFramePr>
        <p:xfrm>
          <a:off x="6428195" y="4239694"/>
          <a:ext cx="4949318" cy="304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9938">
                  <a:extLst>
                    <a:ext uri="{9D8B030D-6E8A-4147-A177-3AD203B41FA5}">
                      <a16:colId xmlns:a16="http://schemas.microsoft.com/office/drawing/2014/main" val="1378299196"/>
                    </a:ext>
                  </a:extLst>
                </a:gridCol>
                <a:gridCol w="449938">
                  <a:extLst>
                    <a:ext uri="{9D8B030D-6E8A-4147-A177-3AD203B41FA5}">
                      <a16:colId xmlns:a16="http://schemas.microsoft.com/office/drawing/2014/main" val="2720059670"/>
                    </a:ext>
                  </a:extLst>
                </a:gridCol>
                <a:gridCol w="449938">
                  <a:extLst>
                    <a:ext uri="{9D8B030D-6E8A-4147-A177-3AD203B41FA5}">
                      <a16:colId xmlns:a16="http://schemas.microsoft.com/office/drawing/2014/main" val="3558843235"/>
                    </a:ext>
                  </a:extLst>
                </a:gridCol>
                <a:gridCol w="449938">
                  <a:extLst>
                    <a:ext uri="{9D8B030D-6E8A-4147-A177-3AD203B41FA5}">
                      <a16:colId xmlns:a16="http://schemas.microsoft.com/office/drawing/2014/main" val="642524864"/>
                    </a:ext>
                  </a:extLst>
                </a:gridCol>
                <a:gridCol w="449938">
                  <a:extLst>
                    <a:ext uri="{9D8B030D-6E8A-4147-A177-3AD203B41FA5}">
                      <a16:colId xmlns:a16="http://schemas.microsoft.com/office/drawing/2014/main" val="400611306"/>
                    </a:ext>
                  </a:extLst>
                </a:gridCol>
                <a:gridCol w="449938">
                  <a:extLst>
                    <a:ext uri="{9D8B030D-6E8A-4147-A177-3AD203B41FA5}">
                      <a16:colId xmlns:a16="http://schemas.microsoft.com/office/drawing/2014/main" val="3315586355"/>
                    </a:ext>
                  </a:extLst>
                </a:gridCol>
                <a:gridCol w="449938">
                  <a:extLst>
                    <a:ext uri="{9D8B030D-6E8A-4147-A177-3AD203B41FA5}">
                      <a16:colId xmlns:a16="http://schemas.microsoft.com/office/drawing/2014/main" val="1430594064"/>
                    </a:ext>
                  </a:extLst>
                </a:gridCol>
                <a:gridCol w="449938">
                  <a:extLst>
                    <a:ext uri="{9D8B030D-6E8A-4147-A177-3AD203B41FA5}">
                      <a16:colId xmlns:a16="http://schemas.microsoft.com/office/drawing/2014/main" val="3098826525"/>
                    </a:ext>
                  </a:extLst>
                </a:gridCol>
                <a:gridCol w="449938">
                  <a:extLst>
                    <a:ext uri="{9D8B030D-6E8A-4147-A177-3AD203B41FA5}">
                      <a16:colId xmlns:a16="http://schemas.microsoft.com/office/drawing/2014/main" val="3997508032"/>
                    </a:ext>
                  </a:extLst>
                </a:gridCol>
                <a:gridCol w="449938">
                  <a:extLst>
                    <a:ext uri="{9D8B030D-6E8A-4147-A177-3AD203B41FA5}">
                      <a16:colId xmlns:a16="http://schemas.microsoft.com/office/drawing/2014/main" val="2238665104"/>
                    </a:ext>
                  </a:extLst>
                </a:gridCol>
                <a:gridCol w="449938">
                  <a:extLst>
                    <a:ext uri="{9D8B030D-6E8A-4147-A177-3AD203B41FA5}">
                      <a16:colId xmlns:a16="http://schemas.microsoft.com/office/drawing/2014/main" val="197371410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de-DE" sz="1000" b="1" dirty="0">
                          <a:solidFill>
                            <a:schemeClr val="accent2"/>
                          </a:solidFill>
                        </a:rPr>
                        <a:t>PD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2"/>
                          </a:solidFill>
                        </a:rPr>
                        <a:t>12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2"/>
                          </a:solidFill>
                        </a:rPr>
                        <a:t>9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2"/>
                          </a:solidFill>
                        </a:rPr>
                        <a:t>7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2"/>
                          </a:solidFill>
                        </a:rPr>
                        <a:t>6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2"/>
                          </a:solidFill>
                        </a:rPr>
                        <a:t>5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2"/>
                          </a:solidFill>
                        </a:rPr>
                        <a:t>5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2"/>
                          </a:solidFill>
                        </a:rPr>
                        <a:t>5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2"/>
                          </a:solidFill>
                        </a:rPr>
                        <a:t>4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2"/>
                          </a:solidFill>
                        </a:rPr>
                        <a:t>2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2"/>
                          </a:solidFill>
                        </a:rPr>
                        <a:t>2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35971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de-DE" sz="1000" b="1" dirty="0">
                          <a:solidFill>
                            <a:schemeClr val="accent6"/>
                          </a:solidFill>
                        </a:rPr>
                        <a:t>TT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6"/>
                          </a:solidFill>
                        </a:rPr>
                        <a:t>1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6"/>
                          </a:solidFill>
                        </a:rPr>
                        <a:t>10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6"/>
                          </a:solidFill>
                        </a:rPr>
                        <a:t>9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6"/>
                          </a:solidFill>
                        </a:rPr>
                        <a:t>8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6"/>
                          </a:solidFill>
                        </a:rPr>
                        <a:t>7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6"/>
                          </a:solidFill>
                        </a:rPr>
                        <a:t>6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6"/>
                          </a:solidFill>
                        </a:rPr>
                        <a:t>5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6"/>
                          </a:solidFill>
                        </a:rPr>
                        <a:t>4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6"/>
                          </a:solidFill>
                        </a:rPr>
                        <a:t>3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6"/>
                          </a:solidFill>
                        </a:rPr>
                        <a:t>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80541496"/>
                  </a:ext>
                </a:extLst>
              </a:tr>
            </a:tbl>
          </a:graphicData>
        </a:graphic>
      </p:graphicFrame>
      <p:sp>
        <p:nvSpPr>
          <p:cNvPr id="959" name="Textfeld 958">
            <a:extLst>
              <a:ext uri="{FF2B5EF4-FFF2-40B4-BE49-F238E27FC236}">
                <a16:creationId xmlns:a16="http://schemas.microsoft.com/office/drawing/2014/main" id="{8AE47E5F-B778-BD3C-4EDC-CF0E1E0D4ABC}"/>
              </a:ext>
            </a:extLst>
          </p:cNvPr>
          <p:cNvSpPr txBox="1"/>
          <p:nvPr/>
        </p:nvSpPr>
        <p:spPr>
          <a:xfrm>
            <a:off x="6325358" y="833548"/>
            <a:ext cx="479867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600" b="1" dirty="0">
                <a:solidFill>
                  <a:schemeClr val="accent6"/>
                </a:solidFill>
              </a:rPr>
              <a:t>Nur BRAF-mutierte Patient*innen</a:t>
            </a:r>
          </a:p>
        </p:txBody>
      </p:sp>
      <p:sp>
        <p:nvSpPr>
          <p:cNvPr id="960" name="Textfeld 959">
            <a:extLst>
              <a:ext uri="{FF2B5EF4-FFF2-40B4-BE49-F238E27FC236}">
                <a16:creationId xmlns:a16="http://schemas.microsoft.com/office/drawing/2014/main" id="{F931B520-52E2-F41A-2F8D-7AB0E6D0C2F2}"/>
              </a:ext>
            </a:extLst>
          </p:cNvPr>
          <p:cNvSpPr txBox="1"/>
          <p:nvPr/>
        </p:nvSpPr>
        <p:spPr>
          <a:xfrm>
            <a:off x="6364122" y="3981049"/>
            <a:ext cx="2238559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Anzahl unter Risiko</a:t>
            </a:r>
          </a:p>
        </p:txBody>
      </p:sp>
      <p:graphicFrame>
        <p:nvGraphicFramePr>
          <p:cNvPr id="961" name="Diagramm 960">
            <a:extLst>
              <a:ext uri="{FF2B5EF4-FFF2-40B4-BE49-F238E27FC236}">
                <a16:creationId xmlns:a16="http://schemas.microsoft.com/office/drawing/2014/main" id="{54934E7D-5781-EAF2-3FCE-52123D9ACBA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62518971"/>
              </p:ext>
            </p:extLst>
          </p:nvPr>
        </p:nvGraphicFramePr>
        <p:xfrm>
          <a:off x="6097166" y="1254386"/>
          <a:ext cx="5331506" cy="28266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962" name="Gerader Verbinder 961">
            <a:extLst>
              <a:ext uri="{FF2B5EF4-FFF2-40B4-BE49-F238E27FC236}">
                <a16:creationId xmlns:a16="http://schemas.microsoft.com/office/drawing/2014/main" id="{678D8F3D-C718-E581-D678-E2CADB0EE774}"/>
              </a:ext>
            </a:extLst>
          </p:cNvPr>
          <p:cNvCxnSpPr>
            <a:cxnSpLocks/>
          </p:cNvCxnSpPr>
          <p:nvPr/>
        </p:nvCxnSpPr>
        <p:spPr>
          <a:xfrm>
            <a:off x="10641955" y="2446382"/>
            <a:ext cx="0" cy="1140951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3" name="Gerader Verbinder 962">
            <a:extLst>
              <a:ext uri="{FF2B5EF4-FFF2-40B4-BE49-F238E27FC236}">
                <a16:creationId xmlns:a16="http://schemas.microsoft.com/office/drawing/2014/main" id="{96C6B960-1135-128F-7CEB-D73FE7B04534}"/>
              </a:ext>
            </a:extLst>
          </p:cNvPr>
          <p:cNvCxnSpPr>
            <a:cxnSpLocks/>
          </p:cNvCxnSpPr>
          <p:nvPr/>
        </p:nvCxnSpPr>
        <p:spPr>
          <a:xfrm>
            <a:off x="7954075" y="1598657"/>
            <a:ext cx="0" cy="1988676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4" name="Gerader Verbinder 963">
            <a:extLst>
              <a:ext uri="{FF2B5EF4-FFF2-40B4-BE49-F238E27FC236}">
                <a16:creationId xmlns:a16="http://schemas.microsoft.com/office/drawing/2014/main" id="{B40A4B94-C6E2-E74C-A81F-2E21A9FD5CA4}"/>
              </a:ext>
            </a:extLst>
          </p:cNvPr>
          <p:cNvCxnSpPr>
            <a:cxnSpLocks/>
          </p:cNvCxnSpPr>
          <p:nvPr/>
        </p:nvCxnSpPr>
        <p:spPr>
          <a:xfrm>
            <a:off x="8842402" y="2055857"/>
            <a:ext cx="0" cy="1531476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5" name="Gerader Verbinder 964">
            <a:extLst>
              <a:ext uri="{FF2B5EF4-FFF2-40B4-BE49-F238E27FC236}">
                <a16:creationId xmlns:a16="http://schemas.microsoft.com/office/drawing/2014/main" id="{D82EEE83-544E-3BD4-CC52-59F94408799E}"/>
              </a:ext>
            </a:extLst>
          </p:cNvPr>
          <p:cNvCxnSpPr>
            <a:cxnSpLocks/>
          </p:cNvCxnSpPr>
          <p:nvPr/>
        </p:nvCxnSpPr>
        <p:spPr>
          <a:xfrm>
            <a:off x="9749265" y="2365419"/>
            <a:ext cx="0" cy="1221914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6" name="Freihandform: Form 965">
            <a:extLst>
              <a:ext uri="{FF2B5EF4-FFF2-40B4-BE49-F238E27FC236}">
                <a16:creationId xmlns:a16="http://schemas.microsoft.com/office/drawing/2014/main" id="{3326E8FD-64EC-B354-DAEB-8992456B208B}"/>
              </a:ext>
            </a:extLst>
          </p:cNvPr>
          <p:cNvSpPr/>
          <p:nvPr/>
        </p:nvSpPr>
        <p:spPr>
          <a:xfrm>
            <a:off x="7052659" y="1357339"/>
            <a:ext cx="4076713" cy="1206049"/>
          </a:xfrm>
          <a:custGeom>
            <a:avLst/>
            <a:gdLst>
              <a:gd name="connsiteX0" fmla="*/ 0 w 4076713"/>
              <a:gd name="connsiteY0" fmla="*/ 14358 h 1206049"/>
              <a:gd name="connsiteX1" fmla="*/ 29174 w 4076713"/>
              <a:gd name="connsiteY1" fmla="*/ 14358 h 1206049"/>
              <a:gd name="connsiteX2" fmla="*/ 29174 w 4076713"/>
              <a:gd name="connsiteY2" fmla="*/ 25259 h 1206049"/>
              <a:gd name="connsiteX3" fmla="*/ 30735 w 4076713"/>
              <a:gd name="connsiteY3" fmla="*/ 30311 h 1206049"/>
              <a:gd name="connsiteX4" fmla="*/ 34443 w 4076713"/>
              <a:gd name="connsiteY4" fmla="*/ 32438 h 1206049"/>
              <a:gd name="connsiteX5" fmla="*/ 58640 w 4076713"/>
              <a:gd name="connsiteY5" fmla="*/ 32438 h 1206049"/>
              <a:gd name="connsiteX6" fmla="*/ 58640 w 4076713"/>
              <a:gd name="connsiteY6" fmla="*/ 61419 h 1206049"/>
              <a:gd name="connsiteX7" fmla="*/ 60201 w 4076713"/>
              <a:gd name="connsiteY7" fmla="*/ 66471 h 1206049"/>
              <a:gd name="connsiteX8" fmla="*/ 63909 w 4076713"/>
              <a:gd name="connsiteY8" fmla="*/ 68598 h 1206049"/>
              <a:gd name="connsiteX9" fmla="*/ 80789 w 4076713"/>
              <a:gd name="connsiteY9" fmla="*/ 68598 h 1206049"/>
              <a:gd name="connsiteX10" fmla="*/ 80789 w 4076713"/>
              <a:gd name="connsiteY10" fmla="*/ 79632 h 1206049"/>
              <a:gd name="connsiteX11" fmla="*/ 82350 w 4076713"/>
              <a:gd name="connsiteY11" fmla="*/ 84684 h 1206049"/>
              <a:gd name="connsiteX12" fmla="*/ 86058 w 4076713"/>
              <a:gd name="connsiteY12" fmla="*/ 86811 h 1206049"/>
              <a:gd name="connsiteX13" fmla="*/ 88497 w 4076713"/>
              <a:gd name="connsiteY13" fmla="*/ 86811 h 1206049"/>
              <a:gd name="connsiteX14" fmla="*/ 88497 w 4076713"/>
              <a:gd name="connsiteY14" fmla="*/ 79632 h 1206049"/>
              <a:gd name="connsiteX15" fmla="*/ 83228 w 4076713"/>
              <a:gd name="connsiteY15" fmla="*/ 79632 h 1206049"/>
              <a:gd name="connsiteX16" fmla="*/ 83228 w 4076713"/>
              <a:gd name="connsiteY16" fmla="*/ 97712 h 1206049"/>
              <a:gd name="connsiteX17" fmla="*/ 84789 w 4076713"/>
              <a:gd name="connsiteY17" fmla="*/ 102764 h 1206049"/>
              <a:gd name="connsiteX18" fmla="*/ 88497 w 4076713"/>
              <a:gd name="connsiteY18" fmla="*/ 104891 h 1206049"/>
              <a:gd name="connsiteX19" fmla="*/ 134746 w 4076713"/>
              <a:gd name="connsiteY19" fmla="*/ 104891 h 1206049"/>
              <a:gd name="connsiteX20" fmla="*/ 134746 w 4076713"/>
              <a:gd name="connsiteY20" fmla="*/ 115925 h 1206049"/>
              <a:gd name="connsiteX21" fmla="*/ 136307 w 4076713"/>
              <a:gd name="connsiteY21" fmla="*/ 120977 h 1206049"/>
              <a:gd name="connsiteX22" fmla="*/ 140014 w 4076713"/>
              <a:gd name="connsiteY22" fmla="*/ 123104 h 1206049"/>
              <a:gd name="connsiteX23" fmla="*/ 154455 w 4076713"/>
              <a:gd name="connsiteY23" fmla="*/ 123104 h 1206049"/>
              <a:gd name="connsiteX24" fmla="*/ 154455 w 4076713"/>
              <a:gd name="connsiteY24" fmla="*/ 134006 h 1206049"/>
              <a:gd name="connsiteX25" fmla="*/ 156016 w 4076713"/>
              <a:gd name="connsiteY25" fmla="*/ 139057 h 1206049"/>
              <a:gd name="connsiteX26" fmla="*/ 159724 w 4076713"/>
              <a:gd name="connsiteY26" fmla="*/ 141184 h 1206049"/>
              <a:gd name="connsiteX27" fmla="*/ 174067 w 4076713"/>
              <a:gd name="connsiteY27" fmla="*/ 141184 h 1206049"/>
              <a:gd name="connsiteX28" fmla="*/ 174067 w 4076713"/>
              <a:gd name="connsiteY28" fmla="*/ 152219 h 1206049"/>
              <a:gd name="connsiteX29" fmla="*/ 175628 w 4076713"/>
              <a:gd name="connsiteY29" fmla="*/ 157270 h 1206049"/>
              <a:gd name="connsiteX30" fmla="*/ 179336 w 4076713"/>
              <a:gd name="connsiteY30" fmla="*/ 159397 h 1206049"/>
              <a:gd name="connsiteX31" fmla="*/ 186361 w 4076713"/>
              <a:gd name="connsiteY31" fmla="*/ 159397 h 1206049"/>
              <a:gd name="connsiteX32" fmla="*/ 186361 w 4076713"/>
              <a:gd name="connsiteY32" fmla="*/ 170299 h 1206049"/>
              <a:gd name="connsiteX33" fmla="*/ 187922 w 4076713"/>
              <a:gd name="connsiteY33" fmla="*/ 175351 h 1206049"/>
              <a:gd name="connsiteX34" fmla="*/ 191630 w 4076713"/>
              <a:gd name="connsiteY34" fmla="*/ 177478 h 1206049"/>
              <a:gd name="connsiteX35" fmla="*/ 208509 w 4076713"/>
              <a:gd name="connsiteY35" fmla="*/ 177478 h 1206049"/>
              <a:gd name="connsiteX36" fmla="*/ 208509 w 4076713"/>
              <a:gd name="connsiteY36" fmla="*/ 188512 h 1206049"/>
              <a:gd name="connsiteX37" fmla="*/ 210070 w 4076713"/>
              <a:gd name="connsiteY37" fmla="*/ 193564 h 1206049"/>
              <a:gd name="connsiteX38" fmla="*/ 213778 w 4076713"/>
              <a:gd name="connsiteY38" fmla="*/ 195691 h 1206049"/>
              <a:gd name="connsiteX39" fmla="*/ 233000 w 4076713"/>
              <a:gd name="connsiteY39" fmla="*/ 195691 h 1206049"/>
              <a:gd name="connsiteX40" fmla="*/ 233000 w 4076713"/>
              <a:gd name="connsiteY40" fmla="*/ 206592 h 1206049"/>
              <a:gd name="connsiteX41" fmla="*/ 234561 w 4076713"/>
              <a:gd name="connsiteY41" fmla="*/ 211644 h 1206049"/>
              <a:gd name="connsiteX42" fmla="*/ 238269 w 4076713"/>
              <a:gd name="connsiteY42" fmla="*/ 213771 h 1206049"/>
              <a:gd name="connsiteX43" fmla="*/ 252709 w 4076713"/>
              <a:gd name="connsiteY43" fmla="*/ 213771 h 1206049"/>
              <a:gd name="connsiteX44" fmla="*/ 252709 w 4076713"/>
              <a:gd name="connsiteY44" fmla="*/ 224672 h 1206049"/>
              <a:gd name="connsiteX45" fmla="*/ 254270 w 4076713"/>
              <a:gd name="connsiteY45" fmla="*/ 229724 h 1206049"/>
              <a:gd name="connsiteX46" fmla="*/ 257978 w 4076713"/>
              <a:gd name="connsiteY46" fmla="*/ 231851 h 1206049"/>
              <a:gd name="connsiteX47" fmla="*/ 262564 w 4076713"/>
              <a:gd name="connsiteY47" fmla="*/ 231851 h 1206049"/>
              <a:gd name="connsiteX48" fmla="*/ 262564 w 4076713"/>
              <a:gd name="connsiteY48" fmla="*/ 242885 h 1206049"/>
              <a:gd name="connsiteX49" fmla="*/ 264125 w 4076713"/>
              <a:gd name="connsiteY49" fmla="*/ 247937 h 1206049"/>
              <a:gd name="connsiteX50" fmla="*/ 267833 w 4076713"/>
              <a:gd name="connsiteY50" fmla="*/ 250064 h 1206049"/>
              <a:gd name="connsiteX51" fmla="*/ 289591 w 4076713"/>
              <a:gd name="connsiteY51" fmla="*/ 250064 h 1206049"/>
              <a:gd name="connsiteX52" fmla="*/ 289591 w 4076713"/>
              <a:gd name="connsiteY52" fmla="*/ 260965 h 1206049"/>
              <a:gd name="connsiteX53" fmla="*/ 291152 w 4076713"/>
              <a:gd name="connsiteY53" fmla="*/ 266017 h 1206049"/>
              <a:gd name="connsiteX54" fmla="*/ 294860 w 4076713"/>
              <a:gd name="connsiteY54" fmla="*/ 268144 h 1206049"/>
              <a:gd name="connsiteX55" fmla="*/ 299738 w 4076713"/>
              <a:gd name="connsiteY55" fmla="*/ 268144 h 1206049"/>
              <a:gd name="connsiteX56" fmla="*/ 299738 w 4076713"/>
              <a:gd name="connsiteY56" fmla="*/ 260965 h 1206049"/>
              <a:gd name="connsiteX57" fmla="*/ 294469 w 4076713"/>
              <a:gd name="connsiteY57" fmla="*/ 260965 h 1206049"/>
              <a:gd name="connsiteX58" fmla="*/ 294469 w 4076713"/>
              <a:gd name="connsiteY58" fmla="*/ 279045 h 1206049"/>
              <a:gd name="connsiteX59" fmla="*/ 296031 w 4076713"/>
              <a:gd name="connsiteY59" fmla="*/ 284097 h 1206049"/>
              <a:gd name="connsiteX60" fmla="*/ 299738 w 4076713"/>
              <a:gd name="connsiteY60" fmla="*/ 286224 h 1206049"/>
              <a:gd name="connsiteX61" fmla="*/ 328912 w 4076713"/>
              <a:gd name="connsiteY61" fmla="*/ 286224 h 1206049"/>
              <a:gd name="connsiteX62" fmla="*/ 328912 w 4076713"/>
              <a:gd name="connsiteY62" fmla="*/ 297391 h 1206049"/>
              <a:gd name="connsiteX63" fmla="*/ 330473 w 4076713"/>
              <a:gd name="connsiteY63" fmla="*/ 302443 h 1206049"/>
              <a:gd name="connsiteX64" fmla="*/ 334181 w 4076713"/>
              <a:gd name="connsiteY64" fmla="*/ 304570 h 1206049"/>
              <a:gd name="connsiteX65" fmla="*/ 338767 w 4076713"/>
              <a:gd name="connsiteY65" fmla="*/ 304570 h 1206049"/>
              <a:gd name="connsiteX66" fmla="*/ 338767 w 4076713"/>
              <a:gd name="connsiteY66" fmla="*/ 315737 h 1206049"/>
              <a:gd name="connsiteX67" fmla="*/ 340328 w 4076713"/>
              <a:gd name="connsiteY67" fmla="*/ 320789 h 1206049"/>
              <a:gd name="connsiteX68" fmla="*/ 344036 w 4076713"/>
              <a:gd name="connsiteY68" fmla="*/ 322916 h 1206049"/>
              <a:gd name="connsiteX69" fmla="*/ 363257 w 4076713"/>
              <a:gd name="connsiteY69" fmla="*/ 322916 h 1206049"/>
              <a:gd name="connsiteX70" fmla="*/ 363257 w 4076713"/>
              <a:gd name="connsiteY70" fmla="*/ 334083 h 1206049"/>
              <a:gd name="connsiteX71" fmla="*/ 364818 w 4076713"/>
              <a:gd name="connsiteY71" fmla="*/ 339135 h 1206049"/>
              <a:gd name="connsiteX72" fmla="*/ 368526 w 4076713"/>
              <a:gd name="connsiteY72" fmla="*/ 341262 h 1206049"/>
              <a:gd name="connsiteX73" fmla="*/ 373404 w 4076713"/>
              <a:gd name="connsiteY73" fmla="*/ 341262 h 1206049"/>
              <a:gd name="connsiteX74" fmla="*/ 373404 w 4076713"/>
              <a:gd name="connsiteY74" fmla="*/ 334083 h 1206049"/>
              <a:gd name="connsiteX75" fmla="*/ 368136 w 4076713"/>
              <a:gd name="connsiteY75" fmla="*/ 334083 h 1206049"/>
              <a:gd name="connsiteX76" fmla="*/ 368136 w 4076713"/>
              <a:gd name="connsiteY76" fmla="*/ 352296 h 1206049"/>
              <a:gd name="connsiteX77" fmla="*/ 369697 w 4076713"/>
              <a:gd name="connsiteY77" fmla="*/ 357348 h 1206049"/>
              <a:gd name="connsiteX78" fmla="*/ 373404 w 4076713"/>
              <a:gd name="connsiteY78" fmla="*/ 359475 h 1206049"/>
              <a:gd name="connsiteX79" fmla="*/ 375844 w 4076713"/>
              <a:gd name="connsiteY79" fmla="*/ 359475 h 1206049"/>
              <a:gd name="connsiteX80" fmla="*/ 375844 w 4076713"/>
              <a:gd name="connsiteY80" fmla="*/ 352296 h 1206049"/>
              <a:gd name="connsiteX81" fmla="*/ 370575 w 4076713"/>
              <a:gd name="connsiteY81" fmla="*/ 352296 h 1206049"/>
              <a:gd name="connsiteX82" fmla="*/ 370575 w 4076713"/>
              <a:gd name="connsiteY82" fmla="*/ 370509 h 1206049"/>
              <a:gd name="connsiteX83" fmla="*/ 372136 w 4076713"/>
              <a:gd name="connsiteY83" fmla="*/ 375561 h 1206049"/>
              <a:gd name="connsiteX84" fmla="*/ 375844 w 4076713"/>
              <a:gd name="connsiteY84" fmla="*/ 377688 h 1206049"/>
              <a:gd name="connsiteX85" fmla="*/ 417214 w 4076713"/>
              <a:gd name="connsiteY85" fmla="*/ 377688 h 1206049"/>
              <a:gd name="connsiteX86" fmla="*/ 417214 w 4076713"/>
              <a:gd name="connsiteY86" fmla="*/ 388855 h 1206049"/>
              <a:gd name="connsiteX87" fmla="*/ 418775 w 4076713"/>
              <a:gd name="connsiteY87" fmla="*/ 393907 h 1206049"/>
              <a:gd name="connsiteX88" fmla="*/ 422483 w 4076713"/>
              <a:gd name="connsiteY88" fmla="*/ 396034 h 1206049"/>
              <a:gd name="connsiteX89" fmla="*/ 427361 w 4076713"/>
              <a:gd name="connsiteY89" fmla="*/ 396034 h 1206049"/>
              <a:gd name="connsiteX90" fmla="*/ 427361 w 4076713"/>
              <a:gd name="connsiteY90" fmla="*/ 388855 h 1206049"/>
              <a:gd name="connsiteX91" fmla="*/ 422092 w 4076713"/>
              <a:gd name="connsiteY91" fmla="*/ 388855 h 1206049"/>
              <a:gd name="connsiteX92" fmla="*/ 422092 w 4076713"/>
              <a:gd name="connsiteY92" fmla="*/ 407068 h 1206049"/>
              <a:gd name="connsiteX93" fmla="*/ 423654 w 4076713"/>
              <a:gd name="connsiteY93" fmla="*/ 412120 h 1206049"/>
              <a:gd name="connsiteX94" fmla="*/ 427361 w 4076713"/>
              <a:gd name="connsiteY94" fmla="*/ 414247 h 1206049"/>
              <a:gd name="connsiteX95" fmla="*/ 429800 w 4076713"/>
              <a:gd name="connsiteY95" fmla="*/ 414247 h 1206049"/>
              <a:gd name="connsiteX96" fmla="*/ 429800 w 4076713"/>
              <a:gd name="connsiteY96" fmla="*/ 407068 h 1206049"/>
              <a:gd name="connsiteX97" fmla="*/ 424532 w 4076713"/>
              <a:gd name="connsiteY97" fmla="*/ 407068 h 1206049"/>
              <a:gd name="connsiteX98" fmla="*/ 424532 w 4076713"/>
              <a:gd name="connsiteY98" fmla="*/ 425282 h 1206049"/>
              <a:gd name="connsiteX99" fmla="*/ 426093 w 4076713"/>
              <a:gd name="connsiteY99" fmla="*/ 430333 h 1206049"/>
              <a:gd name="connsiteX100" fmla="*/ 429800 w 4076713"/>
              <a:gd name="connsiteY100" fmla="*/ 432460 h 1206049"/>
              <a:gd name="connsiteX101" fmla="*/ 439265 w 4076713"/>
              <a:gd name="connsiteY101" fmla="*/ 432460 h 1206049"/>
              <a:gd name="connsiteX102" fmla="*/ 439265 w 4076713"/>
              <a:gd name="connsiteY102" fmla="*/ 443628 h 1206049"/>
              <a:gd name="connsiteX103" fmla="*/ 440826 w 4076713"/>
              <a:gd name="connsiteY103" fmla="*/ 448679 h 1206049"/>
              <a:gd name="connsiteX104" fmla="*/ 444534 w 4076713"/>
              <a:gd name="connsiteY104" fmla="*/ 450806 h 1206049"/>
              <a:gd name="connsiteX105" fmla="*/ 446973 w 4076713"/>
              <a:gd name="connsiteY105" fmla="*/ 450806 h 1206049"/>
              <a:gd name="connsiteX106" fmla="*/ 446973 w 4076713"/>
              <a:gd name="connsiteY106" fmla="*/ 443628 h 1206049"/>
              <a:gd name="connsiteX107" fmla="*/ 441704 w 4076713"/>
              <a:gd name="connsiteY107" fmla="*/ 443628 h 1206049"/>
              <a:gd name="connsiteX108" fmla="*/ 441704 w 4076713"/>
              <a:gd name="connsiteY108" fmla="*/ 461841 h 1206049"/>
              <a:gd name="connsiteX109" fmla="*/ 443265 w 4076713"/>
              <a:gd name="connsiteY109" fmla="*/ 466892 h 1206049"/>
              <a:gd name="connsiteX110" fmla="*/ 446973 w 4076713"/>
              <a:gd name="connsiteY110" fmla="*/ 469019 h 1206049"/>
              <a:gd name="connsiteX111" fmla="*/ 451852 w 4076713"/>
              <a:gd name="connsiteY111" fmla="*/ 469019 h 1206049"/>
              <a:gd name="connsiteX112" fmla="*/ 451852 w 4076713"/>
              <a:gd name="connsiteY112" fmla="*/ 461841 h 1206049"/>
              <a:gd name="connsiteX113" fmla="*/ 446583 w 4076713"/>
              <a:gd name="connsiteY113" fmla="*/ 461841 h 1206049"/>
              <a:gd name="connsiteX114" fmla="*/ 446583 w 4076713"/>
              <a:gd name="connsiteY114" fmla="*/ 480054 h 1206049"/>
              <a:gd name="connsiteX115" fmla="*/ 448144 w 4076713"/>
              <a:gd name="connsiteY115" fmla="*/ 485105 h 1206049"/>
              <a:gd name="connsiteX116" fmla="*/ 451852 w 4076713"/>
              <a:gd name="connsiteY116" fmla="*/ 487233 h 1206049"/>
              <a:gd name="connsiteX117" fmla="*/ 478488 w 4076713"/>
              <a:gd name="connsiteY117" fmla="*/ 487233 h 1206049"/>
              <a:gd name="connsiteX118" fmla="*/ 478488 w 4076713"/>
              <a:gd name="connsiteY118" fmla="*/ 498400 h 1206049"/>
              <a:gd name="connsiteX119" fmla="*/ 480050 w 4076713"/>
              <a:gd name="connsiteY119" fmla="*/ 503451 h 1206049"/>
              <a:gd name="connsiteX120" fmla="*/ 483757 w 4076713"/>
              <a:gd name="connsiteY120" fmla="*/ 505579 h 1206049"/>
              <a:gd name="connsiteX121" fmla="*/ 486197 w 4076713"/>
              <a:gd name="connsiteY121" fmla="*/ 505579 h 1206049"/>
              <a:gd name="connsiteX122" fmla="*/ 486197 w 4076713"/>
              <a:gd name="connsiteY122" fmla="*/ 498400 h 1206049"/>
              <a:gd name="connsiteX123" fmla="*/ 480928 w 4076713"/>
              <a:gd name="connsiteY123" fmla="*/ 498400 h 1206049"/>
              <a:gd name="connsiteX124" fmla="*/ 480928 w 4076713"/>
              <a:gd name="connsiteY124" fmla="*/ 516613 h 1206049"/>
              <a:gd name="connsiteX125" fmla="*/ 482489 w 4076713"/>
              <a:gd name="connsiteY125" fmla="*/ 521664 h 1206049"/>
              <a:gd name="connsiteX126" fmla="*/ 486197 w 4076713"/>
              <a:gd name="connsiteY126" fmla="*/ 523792 h 1206049"/>
              <a:gd name="connsiteX127" fmla="*/ 507955 w 4076713"/>
              <a:gd name="connsiteY127" fmla="*/ 523792 h 1206049"/>
              <a:gd name="connsiteX128" fmla="*/ 507955 w 4076713"/>
              <a:gd name="connsiteY128" fmla="*/ 534959 h 1206049"/>
              <a:gd name="connsiteX129" fmla="*/ 509516 w 4076713"/>
              <a:gd name="connsiteY129" fmla="*/ 540011 h 1206049"/>
              <a:gd name="connsiteX130" fmla="*/ 513224 w 4076713"/>
              <a:gd name="connsiteY130" fmla="*/ 542138 h 1206049"/>
              <a:gd name="connsiteX131" fmla="*/ 515370 w 4076713"/>
              <a:gd name="connsiteY131" fmla="*/ 542138 h 1206049"/>
              <a:gd name="connsiteX132" fmla="*/ 515370 w 4076713"/>
              <a:gd name="connsiteY132" fmla="*/ 553438 h 1206049"/>
              <a:gd name="connsiteX133" fmla="*/ 516931 w 4076713"/>
              <a:gd name="connsiteY133" fmla="*/ 558489 h 1206049"/>
              <a:gd name="connsiteX134" fmla="*/ 520639 w 4076713"/>
              <a:gd name="connsiteY134" fmla="*/ 560617 h 1206049"/>
              <a:gd name="connsiteX135" fmla="*/ 525127 w 4076713"/>
              <a:gd name="connsiteY135" fmla="*/ 560617 h 1206049"/>
              <a:gd name="connsiteX136" fmla="*/ 525127 w 4076713"/>
              <a:gd name="connsiteY136" fmla="*/ 571917 h 1206049"/>
              <a:gd name="connsiteX137" fmla="*/ 526689 w 4076713"/>
              <a:gd name="connsiteY137" fmla="*/ 576968 h 1206049"/>
              <a:gd name="connsiteX138" fmla="*/ 530396 w 4076713"/>
              <a:gd name="connsiteY138" fmla="*/ 579095 h 1206049"/>
              <a:gd name="connsiteX139" fmla="*/ 554594 w 4076713"/>
              <a:gd name="connsiteY139" fmla="*/ 579095 h 1206049"/>
              <a:gd name="connsiteX140" fmla="*/ 554594 w 4076713"/>
              <a:gd name="connsiteY140" fmla="*/ 590396 h 1206049"/>
              <a:gd name="connsiteX141" fmla="*/ 556155 w 4076713"/>
              <a:gd name="connsiteY141" fmla="*/ 595447 h 1206049"/>
              <a:gd name="connsiteX142" fmla="*/ 559863 w 4076713"/>
              <a:gd name="connsiteY142" fmla="*/ 597574 h 1206049"/>
              <a:gd name="connsiteX143" fmla="*/ 562302 w 4076713"/>
              <a:gd name="connsiteY143" fmla="*/ 597574 h 1206049"/>
              <a:gd name="connsiteX144" fmla="*/ 562302 w 4076713"/>
              <a:gd name="connsiteY144" fmla="*/ 590396 h 1206049"/>
              <a:gd name="connsiteX145" fmla="*/ 557033 w 4076713"/>
              <a:gd name="connsiteY145" fmla="*/ 590396 h 1206049"/>
              <a:gd name="connsiteX146" fmla="*/ 557033 w 4076713"/>
              <a:gd name="connsiteY146" fmla="*/ 608874 h 1206049"/>
              <a:gd name="connsiteX147" fmla="*/ 558594 w 4076713"/>
              <a:gd name="connsiteY147" fmla="*/ 613926 h 1206049"/>
              <a:gd name="connsiteX148" fmla="*/ 562302 w 4076713"/>
              <a:gd name="connsiteY148" fmla="*/ 616053 h 1206049"/>
              <a:gd name="connsiteX149" fmla="*/ 564741 w 4076713"/>
              <a:gd name="connsiteY149" fmla="*/ 616053 h 1206049"/>
              <a:gd name="connsiteX150" fmla="*/ 564741 w 4076713"/>
              <a:gd name="connsiteY150" fmla="*/ 608874 h 1206049"/>
              <a:gd name="connsiteX151" fmla="*/ 559472 w 4076713"/>
              <a:gd name="connsiteY151" fmla="*/ 608874 h 1206049"/>
              <a:gd name="connsiteX152" fmla="*/ 559472 w 4076713"/>
              <a:gd name="connsiteY152" fmla="*/ 627353 h 1206049"/>
              <a:gd name="connsiteX153" fmla="*/ 561034 w 4076713"/>
              <a:gd name="connsiteY153" fmla="*/ 632405 h 1206049"/>
              <a:gd name="connsiteX154" fmla="*/ 564741 w 4076713"/>
              <a:gd name="connsiteY154" fmla="*/ 634532 h 1206049"/>
              <a:gd name="connsiteX155" fmla="*/ 569327 w 4076713"/>
              <a:gd name="connsiteY155" fmla="*/ 634532 h 1206049"/>
              <a:gd name="connsiteX156" fmla="*/ 569327 w 4076713"/>
              <a:gd name="connsiteY156" fmla="*/ 645832 h 1206049"/>
              <a:gd name="connsiteX157" fmla="*/ 570888 w 4076713"/>
              <a:gd name="connsiteY157" fmla="*/ 650884 h 1206049"/>
              <a:gd name="connsiteX158" fmla="*/ 574596 w 4076713"/>
              <a:gd name="connsiteY158" fmla="*/ 653011 h 1206049"/>
              <a:gd name="connsiteX159" fmla="*/ 591378 w 4076713"/>
              <a:gd name="connsiteY159" fmla="*/ 653011 h 1206049"/>
              <a:gd name="connsiteX160" fmla="*/ 591378 w 4076713"/>
              <a:gd name="connsiteY160" fmla="*/ 664311 h 1206049"/>
              <a:gd name="connsiteX161" fmla="*/ 592939 w 4076713"/>
              <a:gd name="connsiteY161" fmla="*/ 669363 h 1206049"/>
              <a:gd name="connsiteX162" fmla="*/ 596647 w 4076713"/>
              <a:gd name="connsiteY162" fmla="*/ 671490 h 1206049"/>
              <a:gd name="connsiteX163" fmla="*/ 611088 w 4076713"/>
              <a:gd name="connsiteY163" fmla="*/ 671490 h 1206049"/>
              <a:gd name="connsiteX164" fmla="*/ 611088 w 4076713"/>
              <a:gd name="connsiteY164" fmla="*/ 682790 h 1206049"/>
              <a:gd name="connsiteX165" fmla="*/ 612649 w 4076713"/>
              <a:gd name="connsiteY165" fmla="*/ 687842 h 1206049"/>
              <a:gd name="connsiteX166" fmla="*/ 616356 w 4076713"/>
              <a:gd name="connsiteY166" fmla="*/ 689969 h 1206049"/>
              <a:gd name="connsiteX167" fmla="*/ 662605 w 4076713"/>
              <a:gd name="connsiteY167" fmla="*/ 689969 h 1206049"/>
              <a:gd name="connsiteX168" fmla="*/ 662605 w 4076713"/>
              <a:gd name="connsiteY168" fmla="*/ 701269 h 1206049"/>
              <a:gd name="connsiteX169" fmla="*/ 664166 w 4076713"/>
              <a:gd name="connsiteY169" fmla="*/ 706321 h 1206049"/>
              <a:gd name="connsiteX170" fmla="*/ 667874 w 4076713"/>
              <a:gd name="connsiteY170" fmla="*/ 708448 h 1206049"/>
              <a:gd name="connsiteX171" fmla="*/ 670313 w 4076713"/>
              <a:gd name="connsiteY171" fmla="*/ 708448 h 1206049"/>
              <a:gd name="connsiteX172" fmla="*/ 670313 w 4076713"/>
              <a:gd name="connsiteY172" fmla="*/ 701269 h 1206049"/>
              <a:gd name="connsiteX173" fmla="*/ 665142 w 4076713"/>
              <a:gd name="connsiteY173" fmla="*/ 701269 h 1206049"/>
              <a:gd name="connsiteX174" fmla="*/ 665142 w 4076713"/>
              <a:gd name="connsiteY174" fmla="*/ 756706 h 1206049"/>
              <a:gd name="connsiteX175" fmla="*/ 666703 w 4076713"/>
              <a:gd name="connsiteY175" fmla="*/ 761758 h 1206049"/>
              <a:gd name="connsiteX176" fmla="*/ 670411 w 4076713"/>
              <a:gd name="connsiteY176" fmla="*/ 763885 h 1206049"/>
              <a:gd name="connsiteX177" fmla="*/ 728953 w 4076713"/>
              <a:gd name="connsiteY177" fmla="*/ 763885 h 1206049"/>
              <a:gd name="connsiteX178" fmla="*/ 728953 w 4076713"/>
              <a:gd name="connsiteY178" fmla="*/ 775185 h 1206049"/>
              <a:gd name="connsiteX179" fmla="*/ 730515 w 4076713"/>
              <a:gd name="connsiteY179" fmla="*/ 780237 h 1206049"/>
              <a:gd name="connsiteX180" fmla="*/ 734222 w 4076713"/>
              <a:gd name="connsiteY180" fmla="*/ 782364 h 1206049"/>
              <a:gd name="connsiteX181" fmla="*/ 738808 w 4076713"/>
              <a:gd name="connsiteY181" fmla="*/ 782364 h 1206049"/>
              <a:gd name="connsiteX182" fmla="*/ 738808 w 4076713"/>
              <a:gd name="connsiteY182" fmla="*/ 793664 h 1206049"/>
              <a:gd name="connsiteX183" fmla="*/ 740369 w 4076713"/>
              <a:gd name="connsiteY183" fmla="*/ 798716 h 1206049"/>
              <a:gd name="connsiteX184" fmla="*/ 744077 w 4076713"/>
              <a:gd name="connsiteY184" fmla="*/ 800843 h 1206049"/>
              <a:gd name="connsiteX185" fmla="*/ 756078 w 4076713"/>
              <a:gd name="connsiteY185" fmla="*/ 800843 h 1206049"/>
              <a:gd name="connsiteX186" fmla="*/ 756078 w 4076713"/>
              <a:gd name="connsiteY186" fmla="*/ 812143 h 1206049"/>
              <a:gd name="connsiteX187" fmla="*/ 757639 w 4076713"/>
              <a:gd name="connsiteY187" fmla="*/ 817195 h 1206049"/>
              <a:gd name="connsiteX188" fmla="*/ 761347 w 4076713"/>
              <a:gd name="connsiteY188" fmla="*/ 819322 h 1206049"/>
              <a:gd name="connsiteX189" fmla="*/ 802717 w 4076713"/>
              <a:gd name="connsiteY189" fmla="*/ 819322 h 1206049"/>
              <a:gd name="connsiteX190" fmla="*/ 802717 w 4076713"/>
              <a:gd name="connsiteY190" fmla="*/ 830622 h 1206049"/>
              <a:gd name="connsiteX191" fmla="*/ 804278 w 4076713"/>
              <a:gd name="connsiteY191" fmla="*/ 835674 h 1206049"/>
              <a:gd name="connsiteX192" fmla="*/ 807986 w 4076713"/>
              <a:gd name="connsiteY192" fmla="*/ 837801 h 1206049"/>
              <a:gd name="connsiteX193" fmla="*/ 810425 w 4076713"/>
              <a:gd name="connsiteY193" fmla="*/ 837801 h 1206049"/>
              <a:gd name="connsiteX194" fmla="*/ 810425 w 4076713"/>
              <a:gd name="connsiteY194" fmla="*/ 830622 h 1206049"/>
              <a:gd name="connsiteX195" fmla="*/ 805156 w 4076713"/>
              <a:gd name="connsiteY195" fmla="*/ 830622 h 1206049"/>
              <a:gd name="connsiteX196" fmla="*/ 805156 w 4076713"/>
              <a:gd name="connsiteY196" fmla="*/ 849101 h 1206049"/>
              <a:gd name="connsiteX197" fmla="*/ 806717 w 4076713"/>
              <a:gd name="connsiteY197" fmla="*/ 854152 h 1206049"/>
              <a:gd name="connsiteX198" fmla="*/ 810425 w 4076713"/>
              <a:gd name="connsiteY198" fmla="*/ 856280 h 1206049"/>
              <a:gd name="connsiteX199" fmla="*/ 837062 w 4076713"/>
              <a:gd name="connsiteY199" fmla="*/ 856280 h 1206049"/>
              <a:gd name="connsiteX200" fmla="*/ 837062 w 4076713"/>
              <a:gd name="connsiteY200" fmla="*/ 867978 h 1206049"/>
              <a:gd name="connsiteX201" fmla="*/ 838623 w 4076713"/>
              <a:gd name="connsiteY201" fmla="*/ 873030 h 1206049"/>
              <a:gd name="connsiteX202" fmla="*/ 842331 w 4076713"/>
              <a:gd name="connsiteY202" fmla="*/ 875157 h 1206049"/>
              <a:gd name="connsiteX203" fmla="*/ 854235 w 4076713"/>
              <a:gd name="connsiteY203" fmla="*/ 875157 h 1206049"/>
              <a:gd name="connsiteX204" fmla="*/ 854235 w 4076713"/>
              <a:gd name="connsiteY204" fmla="*/ 886723 h 1206049"/>
              <a:gd name="connsiteX205" fmla="*/ 855796 w 4076713"/>
              <a:gd name="connsiteY205" fmla="*/ 891775 h 1206049"/>
              <a:gd name="connsiteX206" fmla="*/ 859503 w 4076713"/>
              <a:gd name="connsiteY206" fmla="*/ 893902 h 1206049"/>
              <a:gd name="connsiteX207" fmla="*/ 927803 w 4076713"/>
              <a:gd name="connsiteY207" fmla="*/ 893902 h 1206049"/>
              <a:gd name="connsiteX208" fmla="*/ 927803 w 4076713"/>
              <a:gd name="connsiteY208" fmla="*/ 905867 h 1206049"/>
              <a:gd name="connsiteX209" fmla="*/ 929364 w 4076713"/>
              <a:gd name="connsiteY209" fmla="*/ 910919 h 1206049"/>
              <a:gd name="connsiteX210" fmla="*/ 933072 w 4076713"/>
              <a:gd name="connsiteY210" fmla="*/ 913046 h 1206049"/>
              <a:gd name="connsiteX211" fmla="*/ 964587 w 4076713"/>
              <a:gd name="connsiteY211" fmla="*/ 913046 h 1206049"/>
              <a:gd name="connsiteX212" fmla="*/ 964587 w 4076713"/>
              <a:gd name="connsiteY212" fmla="*/ 924878 h 1206049"/>
              <a:gd name="connsiteX213" fmla="*/ 966149 w 4076713"/>
              <a:gd name="connsiteY213" fmla="*/ 929929 h 1206049"/>
              <a:gd name="connsiteX214" fmla="*/ 969856 w 4076713"/>
              <a:gd name="connsiteY214" fmla="*/ 932057 h 1206049"/>
              <a:gd name="connsiteX215" fmla="*/ 1060305 w 4076713"/>
              <a:gd name="connsiteY215" fmla="*/ 932057 h 1206049"/>
              <a:gd name="connsiteX216" fmla="*/ 1060305 w 4076713"/>
              <a:gd name="connsiteY216" fmla="*/ 943888 h 1206049"/>
              <a:gd name="connsiteX217" fmla="*/ 1061866 w 4076713"/>
              <a:gd name="connsiteY217" fmla="*/ 948940 h 1206049"/>
              <a:gd name="connsiteX218" fmla="*/ 1065574 w 4076713"/>
              <a:gd name="connsiteY218" fmla="*/ 951067 h 1206049"/>
              <a:gd name="connsiteX219" fmla="*/ 1119140 w 4076713"/>
              <a:gd name="connsiteY219" fmla="*/ 951067 h 1206049"/>
              <a:gd name="connsiteX220" fmla="*/ 1119140 w 4076713"/>
              <a:gd name="connsiteY220" fmla="*/ 962899 h 1206049"/>
              <a:gd name="connsiteX221" fmla="*/ 1120701 w 4076713"/>
              <a:gd name="connsiteY221" fmla="*/ 967951 h 1206049"/>
              <a:gd name="connsiteX222" fmla="*/ 1124409 w 4076713"/>
              <a:gd name="connsiteY222" fmla="*/ 970078 h 1206049"/>
              <a:gd name="connsiteX223" fmla="*/ 1175536 w 4076713"/>
              <a:gd name="connsiteY223" fmla="*/ 970078 h 1206049"/>
              <a:gd name="connsiteX224" fmla="*/ 1175536 w 4076713"/>
              <a:gd name="connsiteY224" fmla="*/ 981910 h 1206049"/>
              <a:gd name="connsiteX225" fmla="*/ 1177097 w 4076713"/>
              <a:gd name="connsiteY225" fmla="*/ 986962 h 1206049"/>
              <a:gd name="connsiteX226" fmla="*/ 1180805 w 4076713"/>
              <a:gd name="connsiteY226" fmla="*/ 989089 h 1206049"/>
              <a:gd name="connsiteX227" fmla="*/ 1239348 w 4076713"/>
              <a:gd name="connsiteY227" fmla="*/ 989089 h 1206049"/>
              <a:gd name="connsiteX228" fmla="*/ 1239348 w 4076713"/>
              <a:gd name="connsiteY228" fmla="*/ 1000920 h 1206049"/>
              <a:gd name="connsiteX229" fmla="*/ 1240909 w 4076713"/>
              <a:gd name="connsiteY229" fmla="*/ 1005972 h 1206049"/>
              <a:gd name="connsiteX230" fmla="*/ 1244616 w 4076713"/>
              <a:gd name="connsiteY230" fmla="*/ 1008099 h 1206049"/>
              <a:gd name="connsiteX231" fmla="*/ 1337407 w 4076713"/>
              <a:gd name="connsiteY231" fmla="*/ 1008099 h 1206049"/>
              <a:gd name="connsiteX232" fmla="*/ 1337407 w 4076713"/>
              <a:gd name="connsiteY232" fmla="*/ 1019931 h 1206049"/>
              <a:gd name="connsiteX233" fmla="*/ 1338968 w 4076713"/>
              <a:gd name="connsiteY233" fmla="*/ 1024983 h 1206049"/>
              <a:gd name="connsiteX234" fmla="*/ 1342675 w 4076713"/>
              <a:gd name="connsiteY234" fmla="*/ 1027110 h 1206049"/>
              <a:gd name="connsiteX235" fmla="*/ 1349700 w 4076713"/>
              <a:gd name="connsiteY235" fmla="*/ 1027110 h 1206049"/>
              <a:gd name="connsiteX236" fmla="*/ 1349700 w 4076713"/>
              <a:gd name="connsiteY236" fmla="*/ 1038942 h 1206049"/>
              <a:gd name="connsiteX237" fmla="*/ 1351262 w 4076713"/>
              <a:gd name="connsiteY237" fmla="*/ 1043994 h 1206049"/>
              <a:gd name="connsiteX238" fmla="*/ 1354969 w 4076713"/>
              <a:gd name="connsiteY238" fmla="*/ 1046121 h 1206049"/>
              <a:gd name="connsiteX239" fmla="*/ 1369410 w 4076713"/>
              <a:gd name="connsiteY239" fmla="*/ 1046121 h 1206049"/>
              <a:gd name="connsiteX240" fmla="*/ 1369410 w 4076713"/>
              <a:gd name="connsiteY240" fmla="*/ 1057953 h 1206049"/>
              <a:gd name="connsiteX241" fmla="*/ 1370971 w 4076713"/>
              <a:gd name="connsiteY241" fmla="*/ 1063004 h 1206049"/>
              <a:gd name="connsiteX242" fmla="*/ 1374679 w 4076713"/>
              <a:gd name="connsiteY242" fmla="*/ 1065132 h 1206049"/>
              <a:gd name="connsiteX243" fmla="*/ 1384143 w 4076713"/>
              <a:gd name="connsiteY243" fmla="*/ 1065132 h 1206049"/>
              <a:gd name="connsiteX244" fmla="*/ 1384143 w 4076713"/>
              <a:gd name="connsiteY244" fmla="*/ 1076963 h 1206049"/>
              <a:gd name="connsiteX245" fmla="*/ 1385704 w 4076713"/>
              <a:gd name="connsiteY245" fmla="*/ 1082015 h 1206049"/>
              <a:gd name="connsiteX246" fmla="*/ 1389412 w 4076713"/>
              <a:gd name="connsiteY246" fmla="*/ 1084142 h 1206049"/>
              <a:gd name="connsiteX247" fmla="*/ 1536159 w 4076713"/>
              <a:gd name="connsiteY247" fmla="*/ 1084142 h 1206049"/>
              <a:gd name="connsiteX248" fmla="*/ 1536159 w 4076713"/>
              <a:gd name="connsiteY248" fmla="*/ 1096240 h 1206049"/>
              <a:gd name="connsiteX249" fmla="*/ 1537720 w 4076713"/>
              <a:gd name="connsiteY249" fmla="*/ 1101292 h 1206049"/>
              <a:gd name="connsiteX250" fmla="*/ 1541428 w 4076713"/>
              <a:gd name="connsiteY250" fmla="*/ 1103419 h 1206049"/>
              <a:gd name="connsiteX251" fmla="*/ 1656366 w 4076713"/>
              <a:gd name="connsiteY251" fmla="*/ 1103419 h 1206049"/>
              <a:gd name="connsiteX252" fmla="*/ 1656366 w 4076713"/>
              <a:gd name="connsiteY252" fmla="*/ 1115650 h 1206049"/>
              <a:gd name="connsiteX253" fmla="*/ 1657927 w 4076713"/>
              <a:gd name="connsiteY253" fmla="*/ 1120701 h 1206049"/>
              <a:gd name="connsiteX254" fmla="*/ 1661635 w 4076713"/>
              <a:gd name="connsiteY254" fmla="*/ 1122828 h 1206049"/>
              <a:gd name="connsiteX255" fmla="*/ 1825555 w 4076713"/>
              <a:gd name="connsiteY255" fmla="*/ 1122828 h 1206049"/>
              <a:gd name="connsiteX256" fmla="*/ 1825555 w 4076713"/>
              <a:gd name="connsiteY256" fmla="*/ 1134926 h 1206049"/>
              <a:gd name="connsiteX257" fmla="*/ 1827116 w 4076713"/>
              <a:gd name="connsiteY257" fmla="*/ 1139978 h 1206049"/>
              <a:gd name="connsiteX258" fmla="*/ 1830823 w 4076713"/>
              <a:gd name="connsiteY258" fmla="*/ 1142105 h 1206049"/>
              <a:gd name="connsiteX259" fmla="*/ 2247257 w 4076713"/>
              <a:gd name="connsiteY259" fmla="*/ 1142105 h 1206049"/>
              <a:gd name="connsiteX260" fmla="*/ 2247257 w 4076713"/>
              <a:gd name="connsiteY260" fmla="*/ 1154601 h 1206049"/>
              <a:gd name="connsiteX261" fmla="*/ 2248818 w 4076713"/>
              <a:gd name="connsiteY261" fmla="*/ 1159653 h 1206049"/>
              <a:gd name="connsiteX262" fmla="*/ 2252525 w 4076713"/>
              <a:gd name="connsiteY262" fmla="*/ 1161780 h 1206049"/>
              <a:gd name="connsiteX263" fmla="*/ 2963038 w 4076713"/>
              <a:gd name="connsiteY263" fmla="*/ 1161780 h 1206049"/>
              <a:gd name="connsiteX264" fmla="*/ 2963038 w 4076713"/>
              <a:gd name="connsiteY264" fmla="*/ 1176271 h 1206049"/>
              <a:gd name="connsiteX265" fmla="*/ 2964599 w 4076713"/>
              <a:gd name="connsiteY265" fmla="*/ 1181323 h 1206049"/>
              <a:gd name="connsiteX266" fmla="*/ 2968307 w 4076713"/>
              <a:gd name="connsiteY266" fmla="*/ 1183450 h 1206049"/>
              <a:gd name="connsiteX267" fmla="*/ 3051340 w 4076713"/>
              <a:gd name="connsiteY267" fmla="*/ 1183450 h 1206049"/>
              <a:gd name="connsiteX268" fmla="*/ 3051340 w 4076713"/>
              <a:gd name="connsiteY268" fmla="*/ 1198871 h 1206049"/>
              <a:gd name="connsiteX269" fmla="*/ 3052901 w 4076713"/>
              <a:gd name="connsiteY269" fmla="*/ 1203923 h 1206049"/>
              <a:gd name="connsiteX270" fmla="*/ 3056608 w 4076713"/>
              <a:gd name="connsiteY270" fmla="*/ 1206050 h 1206049"/>
              <a:gd name="connsiteX271" fmla="*/ 4076714 w 4076713"/>
              <a:gd name="connsiteY271" fmla="*/ 1206050 h 1206049"/>
              <a:gd name="connsiteX272" fmla="*/ 4076714 w 4076713"/>
              <a:gd name="connsiteY272" fmla="*/ 1191825 h 1206049"/>
              <a:gd name="connsiteX273" fmla="*/ 3061780 w 4076713"/>
              <a:gd name="connsiteY273" fmla="*/ 1191825 h 1206049"/>
              <a:gd name="connsiteX274" fmla="*/ 3061780 w 4076713"/>
              <a:gd name="connsiteY274" fmla="*/ 1176404 h 1206049"/>
              <a:gd name="connsiteX275" fmla="*/ 3060219 w 4076713"/>
              <a:gd name="connsiteY275" fmla="*/ 1171352 h 1206049"/>
              <a:gd name="connsiteX276" fmla="*/ 3056511 w 4076713"/>
              <a:gd name="connsiteY276" fmla="*/ 1169225 h 1206049"/>
              <a:gd name="connsiteX277" fmla="*/ 2973478 w 4076713"/>
              <a:gd name="connsiteY277" fmla="*/ 1169225 h 1206049"/>
              <a:gd name="connsiteX278" fmla="*/ 2973478 w 4076713"/>
              <a:gd name="connsiteY278" fmla="*/ 1154734 h 1206049"/>
              <a:gd name="connsiteX279" fmla="*/ 2971917 w 4076713"/>
              <a:gd name="connsiteY279" fmla="*/ 1149683 h 1206049"/>
              <a:gd name="connsiteX280" fmla="*/ 2968209 w 4076713"/>
              <a:gd name="connsiteY280" fmla="*/ 1147556 h 1206049"/>
              <a:gd name="connsiteX281" fmla="*/ 2257697 w 4076713"/>
              <a:gd name="connsiteY281" fmla="*/ 1147556 h 1206049"/>
              <a:gd name="connsiteX282" fmla="*/ 2257697 w 4076713"/>
              <a:gd name="connsiteY282" fmla="*/ 1135059 h 1206049"/>
              <a:gd name="connsiteX283" fmla="*/ 2256136 w 4076713"/>
              <a:gd name="connsiteY283" fmla="*/ 1130007 h 1206049"/>
              <a:gd name="connsiteX284" fmla="*/ 2252428 w 4076713"/>
              <a:gd name="connsiteY284" fmla="*/ 1127880 h 1206049"/>
              <a:gd name="connsiteX285" fmla="*/ 1835995 w 4076713"/>
              <a:gd name="connsiteY285" fmla="*/ 1127880 h 1206049"/>
              <a:gd name="connsiteX286" fmla="*/ 1835995 w 4076713"/>
              <a:gd name="connsiteY286" fmla="*/ 1115782 h 1206049"/>
              <a:gd name="connsiteX287" fmla="*/ 1834433 w 4076713"/>
              <a:gd name="connsiteY287" fmla="*/ 1110731 h 1206049"/>
              <a:gd name="connsiteX288" fmla="*/ 1830726 w 4076713"/>
              <a:gd name="connsiteY288" fmla="*/ 1108604 h 1206049"/>
              <a:gd name="connsiteX289" fmla="*/ 1666806 w 4076713"/>
              <a:gd name="connsiteY289" fmla="*/ 1108604 h 1206049"/>
              <a:gd name="connsiteX290" fmla="*/ 1666806 w 4076713"/>
              <a:gd name="connsiteY290" fmla="*/ 1096373 h 1206049"/>
              <a:gd name="connsiteX291" fmla="*/ 1665245 w 4076713"/>
              <a:gd name="connsiteY291" fmla="*/ 1091321 h 1206049"/>
              <a:gd name="connsiteX292" fmla="*/ 1661537 w 4076713"/>
              <a:gd name="connsiteY292" fmla="*/ 1089194 h 1206049"/>
              <a:gd name="connsiteX293" fmla="*/ 1546599 w 4076713"/>
              <a:gd name="connsiteY293" fmla="*/ 1089194 h 1206049"/>
              <a:gd name="connsiteX294" fmla="*/ 1546599 w 4076713"/>
              <a:gd name="connsiteY294" fmla="*/ 1077096 h 1206049"/>
              <a:gd name="connsiteX295" fmla="*/ 1545038 w 4076713"/>
              <a:gd name="connsiteY295" fmla="*/ 1072044 h 1206049"/>
              <a:gd name="connsiteX296" fmla="*/ 1541330 w 4076713"/>
              <a:gd name="connsiteY296" fmla="*/ 1069917 h 1206049"/>
              <a:gd name="connsiteX297" fmla="*/ 1394583 w 4076713"/>
              <a:gd name="connsiteY297" fmla="*/ 1069917 h 1206049"/>
              <a:gd name="connsiteX298" fmla="*/ 1394583 w 4076713"/>
              <a:gd name="connsiteY298" fmla="*/ 1058086 h 1206049"/>
              <a:gd name="connsiteX299" fmla="*/ 1393022 w 4076713"/>
              <a:gd name="connsiteY299" fmla="*/ 1053034 h 1206049"/>
              <a:gd name="connsiteX300" fmla="*/ 1389314 w 4076713"/>
              <a:gd name="connsiteY300" fmla="*/ 1050907 h 1206049"/>
              <a:gd name="connsiteX301" fmla="*/ 1379850 w 4076713"/>
              <a:gd name="connsiteY301" fmla="*/ 1050907 h 1206049"/>
              <a:gd name="connsiteX302" fmla="*/ 1379850 w 4076713"/>
              <a:gd name="connsiteY302" fmla="*/ 1039075 h 1206049"/>
              <a:gd name="connsiteX303" fmla="*/ 1378289 w 4076713"/>
              <a:gd name="connsiteY303" fmla="*/ 1034023 h 1206049"/>
              <a:gd name="connsiteX304" fmla="*/ 1374581 w 4076713"/>
              <a:gd name="connsiteY304" fmla="*/ 1031896 h 1206049"/>
              <a:gd name="connsiteX305" fmla="*/ 1360140 w 4076713"/>
              <a:gd name="connsiteY305" fmla="*/ 1031896 h 1206049"/>
              <a:gd name="connsiteX306" fmla="*/ 1360140 w 4076713"/>
              <a:gd name="connsiteY306" fmla="*/ 1020064 h 1206049"/>
              <a:gd name="connsiteX307" fmla="*/ 1358579 w 4076713"/>
              <a:gd name="connsiteY307" fmla="*/ 1015012 h 1206049"/>
              <a:gd name="connsiteX308" fmla="*/ 1354872 w 4076713"/>
              <a:gd name="connsiteY308" fmla="*/ 1012885 h 1206049"/>
              <a:gd name="connsiteX309" fmla="*/ 1347847 w 4076713"/>
              <a:gd name="connsiteY309" fmla="*/ 1012885 h 1206049"/>
              <a:gd name="connsiteX310" fmla="*/ 1347847 w 4076713"/>
              <a:gd name="connsiteY310" fmla="*/ 1001053 h 1206049"/>
              <a:gd name="connsiteX311" fmla="*/ 1346285 w 4076713"/>
              <a:gd name="connsiteY311" fmla="*/ 996002 h 1206049"/>
              <a:gd name="connsiteX312" fmla="*/ 1342578 w 4076713"/>
              <a:gd name="connsiteY312" fmla="*/ 993875 h 1206049"/>
              <a:gd name="connsiteX313" fmla="*/ 1249788 w 4076713"/>
              <a:gd name="connsiteY313" fmla="*/ 993875 h 1206049"/>
              <a:gd name="connsiteX314" fmla="*/ 1249788 w 4076713"/>
              <a:gd name="connsiteY314" fmla="*/ 982043 h 1206049"/>
              <a:gd name="connsiteX315" fmla="*/ 1248227 w 4076713"/>
              <a:gd name="connsiteY315" fmla="*/ 976991 h 1206049"/>
              <a:gd name="connsiteX316" fmla="*/ 1244519 w 4076713"/>
              <a:gd name="connsiteY316" fmla="*/ 974864 h 1206049"/>
              <a:gd name="connsiteX317" fmla="*/ 1185976 w 4076713"/>
              <a:gd name="connsiteY317" fmla="*/ 974864 h 1206049"/>
              <a:gd name="connsiteX318" fmla="*/ 1185976 w 4076713"/>
              <a:gd name="connsiteY318" fmla="*/ 963032 h 1206049"/>
              <a:gd name="connsiteX319" fmla="*/ 1184415 w 4076713"/>
              <a:gd name="connsiteY319" fmla="*/ 957980 h 1206049"/>
              <a:gd name="connsiteX320" fmla="*/ 1180707 w 4076713"/>
              <a:gd name="connsiteY320" fmla="*/ 955853 h 1206049"/>
              <a:gd name="connsiteX321" fmla="*/ 1129580 w 4076713"/>
              <a:gd name="connsiteY321" fmla="*/ 955853 h 1206049"/>
              <a:gd name="connsiteX322" fmla="*/ 1129580 w 4076713"/>
              <a:gd name="connsiteY322" fmla="*/ 944021 h 1206049"/>
              <a:gd name="connsiteX323" fmla="*/ 1128019 w 4076713"/>
              <a:gd name="connsiteY323" fmla="*/ 938970 h 1206049"/>
              <a:gd name="connsiteX324" fmla="*/ 1124311 w 4076713"/>
              <a:gd name="connsiteY324" fmla="*/ 936842 h 1206049"/>
              <a:gd name="connsiteX325" fmla="*/ 1070745 w 4076713"/>
              <a:gd name="connsiteY325" fmla="*/ 936842 h 1206049"/>
              <a:gd name="connsiteX326" fmla="*/ 1070745 w 4076713"/>
              <a:gd name="connsiteY326" fmla="*/ 925011 h 1206049"/>
              <a:gd name="connsiteX327" fmla="*/ 1069184 w 4076713"/>
              <a:gd name="connsiteY327" fmla="*/ 919959 h 1206049"/>
              <a:gd name="connsiteX328" fmla="*/ 1065476 w 4076713"/>
              <a:gd name="connsiteY328" fmla="*/ 917832 h 1206049"/>
              <a:gd name="connsiteX329" fmla="*/ 975028 w 4076713"/>
              <a:gd name="connsiteY329" fmla="*/ 917832 h 1206049"/>
              <a:gd name="connsiteX330" fmla="*/ 975028 w 4076713"/>
              <a:gd name="connsiteY330" fmla="*/ 906000 h 1206049"/>
              <a:gd name="connsiteX331" fmla="*/ 973466 w 4076713"/>
              <a:gd name="connsiteY331" fmla="*/ 900948 h 1206049"/>
              <a:gd name="connsiteX332" fmla="*/ 969759 w 4076713"/>
              <a:gd name="connsiteY332" fmla="*/ 898821 h 1206049"/>
              <a:gd name="connsiteX333" fmla="*/ 938243 w 4076713"/>
              <a:gd name="connsiteY333" fmla="*/ 898821 h 1206049"/>
              <a:gd name="connsiteX334" fmla="*/ 938243 w 4076713"/>
              <a:gd name="connsiteY334" fmla="*/ 886989 h 1206049"/>
              <a:gd name="connsiteX335" fmla="*/ 936682 w 4076713"/>
              <a:gd name="connsiteY335" fmla="*/ 881937 h 1206049"/>
              <a:gd name="connsiteX336" fmla="*/ 932974 w 4076713"/>
              <a:gd name="connsiteY336" fmla="*/ 879810 h 1206049"/>
              <a:gd name="connsiteX337" fmla="*/ 864675 w 4076713"/>
              <a:gd name="connsiteY337" fmla="*/ 879810 h 1206049"/>
              <a:gd name="connsiteX338" fmla="*/ 864675 w 4076713"/>
              <a:gd name="connsiteY338" fmla="*/ 868244 h 1206049"/>
              <a:gd name="connsiteX339" fmla="*/ 863114 w 4076713"/>
              <a:gd name="connsiteY339" fmla="*/ 863193 h 1206049"/>
              <a:gd name="connsiteX340" fmla="*/ 859406 w 4076713"/>
              <a:gd name="connsiteY340" fmla="*/ 861066 h 1206049"/>
              <a:gd name="connsiteX341" fmla="*/ 847405 w 4076713"/>
              <a:gd name="connsiteY341" fmla="*/ 861066 h 1206049"/>
              <a:gd name="connsiteX342" fmla="*/ 847405 w 4076713"/>
              <a:gd name="connsiteY342" fmla="*/ 849500 h 1206049"/>
              <a:gd name="connsiteX343" fmla="*/ 845844 w 4076713"/>
              <a:gd name="connsiteY343" fmla="*/ 844448 h 1206049"/>
              <a:gd name="connsiteX344" fmla="*/ 842136 w 4076713"/>
              <a:gd name="connsiteY344" fmla="*/ 842321 h 1206049"/>
              <a:gd name="connsiteX345" fmla="*/ 815499 w 4076713"/>
              <a:gd name="connsiteY345" fmla="*/ 842321 h 1206049"/>
              <a:gd name="connsiteX346" fmla="*/ 815499 w 4076713"/>
              <a:gd name="connsiteY346" fmla="*/ 831021 h 1206049"/>
              <a:gd name="connsiteX347" fmla="*/ 813938 w 4076713"/>
              <a:gd name="connsiteY347" fmla="*/ 825969 h 1206049"/>
              <a:gd name="connsiteX348" fmla="*/ 810230 w 4076713"/>
              <a:gd name="connsiteY348" fmla="*/ 823842 h 1206049"/>
              <a:gd name="connsiteX349" fmla="*/ 807791 w 4076713"/>
              <a:gd name="connsiteY349" fmla="*/ 823842 h 1206049"/>
              <a:gd name="connsiteX350" fmla="*/ 807791 w 4076713"/>
              <a:gd name="connsiteY350" fmla="*/ 831021 h 1206049"/>
              <a:gd name="connsiteX351" fmla="*/ 813060 w 4076713"/>
              <a:gd name="connsiteY351" fmla="*/ 831021 h 1206049"/>
              <a:gd name="connsiteX352" fmla="*/ 813060 w 4076713"/>
              <a:gd name="connsiteY352" fmla="*/ 812542 h 1206049"/>
              <a:gd name="connsiteX353" fmla="*/ 811498 w 4076713"/>
              <a:gd name="connsiteY353" fmla="*/ 807490 h 1206049"/>
              <a:gd name="connsiteX354" fmla="*/ 807791 w 4076713"/>
              <a:gd name="connsiteY354" fmla="*/ 805363 h 1206049"/>
              <a:gd name="connsiteX355" fmla="*/ 766421 w 4076713"/>
              <a:gd name="connsiteY355" fmla="*/ 805363 h 1206049"/>
              <a:gd name="connsiteX356" fmla="*/ 766421 w 4076713"/>
              <a:gd name="connsiteY356" fmla="*/ 794063 h 1206049"/>
              <a:gd name="connsiteX357" fmla="*/ 764860 w 4076713"/>
              <a:gd name="connsiteY357" fmla="*/ 789011 h 1206049"/>
              <a:gd name="connsiteX358" fmla="*/ 761152 w 4076713"/>
              <a:gd name="connsiteY358" fmla="*/ 786884 h 1206049"/>
              <a:gd name="connsiteX359" fmla="*/ 749248 w 4076713"/>
              <a:gd name="connsiteY359" fmla="*/ 786884 h 1206049"/>
              <a:gd name="connsiteX360" fmla="*/ 749248 w 4076713"/>
              <a:gd name="connsiteY360" fmla="*/ 775584 h 1206049"/>
              <a:gd name="connsiteX361" fmla="*/ 747687 w 4076713"/>
              <a:gd name="connsiteY361" fmla="*/ 770532 h 1206049"/>
              <a:gd name="connsiteX362" fmla="*/ 743979 w 4076713"/>
              <a:gd name="connsiteY362" fmla="*/ 768405 h 1206049"/>
              <a:gd name="connsiteX363" fmla="*/ 739393 w 4076713"/>
              <a:gd name="connsiteY363" fmla="*/ 768405 h 1206049"/>
              <a:gd name="connsiteX364" fmla="*/ 739393 w 4076713"/>
              <a:gd name="connsiteY364" fmla="*/ 757105 h 1206049"/>
              <a:gd name="connsiteX365" fmla="*/ 737832 w 4076713"/>
              <a:gd name="connsiteY365" fmla="*/ 752053 h 1206049"/>
              <a:gd name="connsiteX366" fmla="*/ 734125 w 4076713"/>
              <a:gd name="connsiteY366" fmla="*/ 749926 h 1206049"/>
              <a:gd name="connsiteX367" fmla="*/ 675582 w 4076713"/>
              <a:gd name="connsiteY367" fmla="*/ 749926 h 1206049"/>
              <a:gd name="connsiteX368" fmla="*/ 675582 w 4076713"/>
              <a:gd name="connsiteY368" fmla="*/ 701668 h 1206049"/>
              <a:gd name="connsiteX369" fmla="*/ 674021 w 4076713"/>
              <a:gd name="connsiteY369" fmla="*/ 696616 h 1206049"/>
              <a:gd name="connsiteX370" fmla="*/ 670313 w 4076713"/>
              <a:gd name="connsiteY370" fmla="*/ 694489 h 1206049"/>
              <a:gd name="connsiteX371" fmla="*/ 667874 w 4076713"/>
              <a:gd name="connsiteY371" fmla="*/ 694489 h 1206049"/>
              <a:gd name="connsiteX372" fmla="*/ 667874 w 4076713"/>
              <a:gd name="connsiteY372" fmla="*/ 701668 h 1206049"/>
              <a:gd name="connsiteX373" fmla="*/ 673143 w 4076713"/>
              <a:gd name="connsiteY373" fmla="*/ 701668 h 1206049"/>
              <a:gd name="connsiteX374" fmla="*/ 673143 w 4076713"/>
              <a:gd name="connsiteY374" fmla="*/ 683189 h 1206049"/>
              <a:gd name="connsiteX375" fmla="*/ 671582 w 4076713"/>
              <a:gd name="connsiteY375" fmla="*/ 678137 h 1206049"/>
              <a:gd name="connsiteX376" fmla="*/ 667874 w 4076713"/>
              <a:gd name="connsiteY376" fmla="*/ 676010 h 1206049"/>
              <a:gd name="connsiteX377" fmla="*/ 621625 w 4076713"/>
              <a:gd name="connsiteY377" fmla="*/ 676010 h 1206049"/>
              <a:gd name="connsiteX378" fmla="*/ 621625 w 4076713"/>
              <a:gd name="connsiteY378" fmla="*/ 664710 h 1206049"/>
              <a:gd name="connsiteX379" fmla="*/ 620064 w 4076713"/>
              <a:gd name="connsiteY379" fmla="*/ 659658 h 1206049"/>
              <a:gd name="connsiteX380" fmla="*/ 616356 w 4076713"/>
              <a:gd name="connsiteY380" fmla="*/ 657531 h 1206049"/>
              <a:gd name="connsiteX381" fmla="*/ 601916 w 4076713"/>
              <a:gd name="connsiteY381" fmla="*/ 657531 h 1206049"/>
              <a:gd name="connsiteX382" fmla="*/ 601916 w 4076713"/>
              <a:gd name="connsiteY382" fmla="*/ 646231 h 1206049"/>
              <a:gd name="connsiteX383" fmla="*/ 600355 w 4076713"/>
              <a:gd name="connsiteY383" fmla="*/ 641179 h 1206049"/>
              <a:gd name="connsiteX384" fmla="*/ 596647 w 4076713"/>
              <a:gd name="connsiteY384" fmla="*/ 639052 h 1206049"/>
              <a:gd name="connsiteX385" fmla="*/ 579865 w 4076713"/>
              <a:gd name="connsiteY385" fmla="*/ 639052 h 1206049"/>
              <a:gd name="connsiteX386" fmla="*/ 579865 w 4076713"/>
              <a:gd name="connsiteY386" fmla="*/ 627752 h 1206049"/>
              <a:gd name="connsiteX387" fmla="*/ 578304 w 4076713"/>
              <a:gd name="connsiteY387" fmla="*/ 622700 h 1206049"/>
              <a:gd name="connsiteX388" fmla="*/ 574596 w 4076713"/>
              <a:gd name="connsiteY388" fmla="*/ 620573 h 1206049"/>
              <a:gd name="connsiteX389" fmla="*/ 570010 w 4076713"/>
              <a:gd name="connsiteY389" fmla="*/ 620573 h 1206049"/>
              <a:gd name="connsiteX390" fmla="*/ 570010 w 4076713"/>
              <a:gd name="connsiteY390" fmla="*/ 609140 h 1206049"/>
              <a:gd name="connsiteX391" fmla="*/ 568449 w 4076713"/>
              <a:gd name="connsiteY391" fmla="*/ 604089 h 1206049"/>
              <a:gd name="connsiteX392" fmla="*/ 564741 w 4076713"/>
              <a:gd name="connsiteY392" fmla="*/ 601962 h 1206049"/>
              <a:gd name="connsiteX393" fmla="*/ 562302 w 4076713"/>
              <a:gd name="connsiteY393" fmla="*/ 601962 h 1206049"/>
              <a:gd name="connsiteX394" fmla="*/ 562302 w 4076713"/>
              <a:gd name="connsiteY394" fmla="*/ 609140 h 1206049"/>
              <a:gd name="connsiteX395" fmla="*/ 567571 w 4076713"/>
              <a:gd name="connsiteY395" fmla="*/ 609140 h 1206049"/>
              <a:gd name="connsiteX396" fmla="*/ 567571 w 4076713"/>
              <a:gd name="connsiteY396" fmla="*/ 590661 h 1206049"/>
              <a:gd name="connsiteX397" fmla="*/ 566010 w 4076713"/>
              <a:gd name="connsiteY397" fmla="*/ 585610 h 1206049"/>
              <a:gd name="connsiteX398" fmla="*/ 562302 w 4076713"/>
              <a:gd name="connsiteY398" fmla="*/ 583483 h 1206049"/>
              <a:gd name="connsiteX399" fmla="*/ 559863 w 4076713"/>
              <a:gd name="connsiteY399" fmla="*/ 583483 h 1206049"/>
              <a:gd name="connsiteX400" fmla="*/ 559863 w 4076713"/>
              <a:gd name="connsiteY400" fmla="*/ 590661 h 1206049"/>
              <a:gd name="connsiteX401" fmla="*/ 565132 w 4076713"/>
              <a:gd name="connsiteY401" fmla="*/ 590661 h 1206049"/>
              <a:gd name="connsiteX402" fmla="*/ 565132 w 4076713"/>
              <a:gd name="connsiteY402" fmla="*/ 572182 h 1206049"/>
              <a:gd name="connsiteX403" fmla="*/ 563570 w 4076713"/>
              <a:gd name="connsiteY403" fmla="*/ 567131 h 1206049"/>
              <a:gd name="connsiteX404" fmla="*/ 559863 w 4076713"/>
              <a:gd name="connsiteY404" fmla="*/ 565004 h 1206049"/>
              <a:gd name="connsiteX405" fmla="*/ 535665 w 4076713"/>
              <a:gd name="connsiteY405" fmla="*/ 565004 h 1206049"/>
              <a:gd name="connsiteX406" fmla="*/ 535665 w 4076713"/>
              <a:gd name="connsiteY406" fmla="*/ 553704 h 1206049"/>
              <a:gd name="connsiteX407" fmla="*/ 534104 w 4076713"/>
              <a:gd name="connsiteY407" fmla="*/ 548652 h 1206049"/>
              <a:gd name="connsiteX408" fmla="*/ 530396 w 4076713"/>
              <a:gd name="connsiteY408" fmla="*/ 546525 h 1206049"/>
              <a:gd name="connsiteX409" fmla="*/ 525908 w 4076713"/>
              <a:gd name="connsiteY409" fmla="*/ 546525 h 1206049"/>
              <a:gd name="connsiteX410" fmla="*/ 525908 w 4076713"/>
              <a:gd name="connsiteY410" fmla="*/ 535225 h 1206049"/>
              <a:gd name="connsiteX411" fmla="*/ 524347 w 4076713"/>
              <a:gd name="connsiteY411" fmla="*/ 530173 h 1206049"/>
              <a:gd name="connsiteX412" fmla="*/ 520639 w 4076713"/>
              <a:gd name="connsiteY412" fmla="*/ 528046 h 1206049"/>
              <a:gd name="connsiteX413" fmla="*/ 518493 w 4076713"/>
              <a:gd name="connsiteY413" fmla="*/ 528046 h 1206049"/>
              <a:gd name="connsiteX414" fmla="*/ 518493 w 4076713"/>
              <a:gd name="connsiteY414" fmla="*/ 516879 h 1206049"/>
              <a:gd name="connsiteX415" fmla="*/ 516931 w 4076713"/>
              <a:gd name="connsiteY415" fmla="*/ 511827 h 1206049"/>
              <a:gd name="connsiteX416" fmla="*/ 513224 w 4076713"/>
              <a:gd name="connsiteY416" fmla="*/ 509700 h 1206049"/>
              <a:gd name="connsiteX417" fmla="*/ 491465 w 4076713"/>
              <a:gd name="connsiteY417" fmla="*/ 509700 h 1206049"/>
              <a:gd name="connsiteX418" fmla="*/ 491465 w 4076713"/>
              <a:gd name="connsiteY418" fmla="*/ 498533 h 1206049"/>
              <a:gd name="connsiteX419" fmla="*/ 489904 w 4076713"/>
              <a:gd name="connsiteY419" fmla="*/ 493481 h 1206049"/>
              <a:gd name="connsiteX420" fmla="*/ 486197 w 4076713"/>
              <a:gd name="connsiteY420" fmla="*/ 491354 h 1206049"/>
              <a:gd name="connsiteX421" fmla="*/ 483757 w 4076713"/>
              <a:gd name="connsiteY421" fmla="*/ 491354 h 1206049"/>
              <a:gd name="connsiteX422" fmla="*/ 483757 w 4076713"/>
              <a:gd name="connsiteY422" fmla="*/ 498400 h 1206049"/>
              <a:gd name="connsiteX423" fmla="*/ 489026 w 4076713"/>
              <a:gd name="connsiteY423" fmla="*/ 498400 h 1206049"/>
              <a:gd name="connsiteX424" fmla="*/ 489026 w 4076713"/>
              <a:gd name="connsiteY424" fmla="*/ 480054 h 1206049"/>
              <a:gd name="connsiteX425" fmla="*/ 487465 w 4076713"/>
              <a:gd name="connsiteY425" fmla="*/ 475002 h 1206049"/>
              <a:gd name="connsiteX426" fmla="*/ 483757 w 4076713"/>
              <a:gd name="connsiteY426" fmla="*/ 472875 h 1206049"/>
              <a:gd name="connsiteX427" fmla="*/ 457120 w 4076713"/>
              <a:gd name="connsiteY427" fmla="*/ 472875 h 1206049"/>
              <a:gd name="connsiteX428" fmla="*/ 457120 w 4076713"/>
              <a:gd name="connsiteY428" fmla="*/ 461708 h 1206049"/>
              <a:gd name="connsiteX429" fmla="*/ 455559 w 4076713"/>
              <a:gd name="connsiteY429" fmla="*/ 456656 h 1206049"/>
              <a:gd name="connsiteX430" fmla="*/ 451852 w 4076713"/>
              <a:gd name="connsiteY430" fmla="*/ 454529 h 1206049"/>
              <a:gd name="connsiteX431" fmla="*/ 446973 w 4076713"/>
              <a:gd name="connsiteY431" fmla="*/ 454529 h 1206049"/>
              <a:gd name="connsiteX432" fmla="*/ 446973 w 4076713"/>
              <a:gd name="connsiteY432" fmla="*/ 461575 h 1206049"/>
              <a:gd name="connsiteX433" fmla="*/ 452242 w 4076713"/>
              <a:gd name="connsiteY433" fmla="*/ 461575 h 1206049"/>
              <a:gd name="connsiteX434" fmla="*/ 452242 w 4076713"/>
              <a:gd name="connsiteY434" fmla="*/ 443362 h 1206049"/>
              <a:gd name="connsiteX435" fmla="*/ 450681 w 4076713"/>
              <a:gd name="connsiteY435" fmla="*/ 438310 h 1206049"/>
              <a:gd name="connsiteX436" fmla="*/ 446973 w 4076713"/>
              <a:gd name="connsiteY436" fmla="*/ 436183 h 1206049"/>
              <a:gd name="connsiteX437" fmla="*/ 444534 w 4076713"/>
              <a:gd name="connsiteY437" fmla="*/ 436183 h 1206049"/>
              <a:gd name="connsiteX438" fmla="*/ 444534 w 4076713"/>
              <a:gd name="connsiteY438" fmla="*/ 443362 h 1206049"/>
              <a:gd name="connsiteX439" fmla="*/ 449803 w 4076713"/>
              <a:gd name="connsiteY439" fmla="*/ 443362 h 1206049"/>
              <a:gd name="connsiteX440" fmla="*/ 449803 w 4076713"/>
              <a:gd name="connsiteY440" fmla="*/ 425149 h 1206049"/>
              <a:gd name="connsiteX441" fmla="*/ 448241 w 4076713"/>
              <a:gd name="connsiteY441" fmla="*/ 420097 h 1206049"/>
              <a:gd name="connsiteX442" fmla="*/ 444534 w 4076713"/>
              <a:gd name="connsiteY442" fmla="*/ 417970 h 1206049"/>
              <a:gd name="connsiteX443" fmla="*/ 435069 w 4076713"/>
              <a:gd name="connsiteY443" fmla="*/ 417970 h 1206049"/>
              <a:gd name="connsiteX444" fmla="*/ 435069 w 4076713"/>
              <a:gd name="connsiteY444" fmla="*/ 406803 h 1206049"/>
              <a:gd name="connsiteX445" fmla="*/ 433508 w 4076713"/>
              <a:gd name="connsiteY445" fmla="*/ 401751 h 1206049"/>
              <a:gd name="connsiteX446" fmla="*/ 429800 w 4076713"/>
              <a:gd name="connsiteY446" fmla="*/ 399624 h 1206049"/>
              <a:gd name="connsiteX447" fmla="*/ 427361 w 4076713"/>
              <a:gd name="connsiteY447" fmla="*/ 399624 h 1206049"/>
              <a:gd name="connsiteX448" fmla="*/ 427361 w 4076713"/>
              <a:gd name="connsiteY448" fmla="*/ 406803 h 1206049"/>
              <a:gd name="connsiteX449" fmla="*/ 432533 w 4076713"/>
              <a:gd name="connsiteY449" fmla="*/ 406803 h 1206049"/>
              <a:gd name="connsiteX450" fmla="*/ 432533 w 4076713"/>
              <a:gd name="connsiteY450" fmla="*/ 388590 h 1206049"/>
              <a:gd name="connsiteX451" fmla="*/ 430971 w 4076713"/>
              <a:gd name="connsiteY451" fmla="*/ 383538 h 1206049"/>
              <a:gd name="connsiteX452" fmla="*/ 427264 w 4076713"/>
              <a:gd name="connsiteY452" fmla="*/ 381411 h 1206049"/>
              <a:gd name="connsiteX453" fmla="*/ 422385 w 4076713"/>
              <a:gd name="connsiteY453" fmla="*/ 381411 h 1206049"/>
              <a:gd name="connsiteX454" fmla="*/ 422385 w 4076713"/>
              <a:gd name="connsiteY454" fmla="*/ 388590 h 1206049"/>
              <a:gd name="connsiteX455" fmla="*/ 427654 w 4076713"/>
              <a:gd name="connsiteY455" fmla="*/ 388590 h 1206049"/>
              <a:gd name="connsiteX456" fmla="*/ 427654 w 4076713"/>
              <a:gd name="connsiteY456" fmla="*/ 370376 h 1206049"/>
              <a:gd name="connsiteX457" fmla="*/ 426093 w 4076713"/>
              <a:gd name="connsiteY457" fmla="*/ 365325 h 1206049"/>
              <a:gd name="connsiteX458" fmla="*/ 422385 w 4076713"/>
              <a:gd name="connsiteY458" fmla="*/ 363198 h 1206049"/>
              <a:gd name="connsiteX459" fmla="*/ 381015 w 4076713"/>
              <a:gd name="connsiteY459" fmla="*/ 363198 h 1206049"/>
              <a:gd name="connsiteX460" fmla="*/ 381015 w 4076713"/>
              <a:gd name="connsiteY460" fmla="*/ 352030 h 1206049"/>
              <a:gd name="connsiteX461" fmla="*/ 379454 w 4076713"/>
              <a:gd name="connsiteY461" fmla="*/ 346979 h 1206049"/>
              <a:gd name="connsiteX462" fmla="*/ 375746 w 4076713"/>
              <a:gd name="connsiteY462" fmla="*/ 344852 h 1206049"/>
              <a:gd name="connsiteX463" fmla="*/ 373307 w 4076713"/>
              <a:gd name="connsiteY463" fmla="*/ 344852 h 1206049"/>
              <a:gd name="connsiteX464" fmla="*/ 373307 w 4076713"/>
              <a:gd name="connsiteY464" fmla="*/ 352030 h 1206049"/>
              <a:gd name="connsiteX465" fmla="*/ 378576 w 4076713"/>
              <a:gd name="connsiteY465" fmla="*/ 352030 h 1206049"/>
              <a:gd name="connsiteX466" fmla="*/ 378576 w 4076713"/>
              <a:gd name="connsiteY466" fmla="*/ 333817 h 1206049"/>
              <a:gd name="connsiteX467" fmla="*/ 377015 w 4076713"/>
              <a:gd name="connsiteY467" fmla="*/ 328766 h 1206049"/>
              <a:gd name="connsiteX468" fmla="*/ 373307 w 4076713"/>
              <a:gd name="connsiteY468" fmla="*/ 326639 h 1206049"/>
              <a:gd name="connsiteX469" fmla="*/ 368428 w 4076713"/>
              <a:gd name="connsiteY469" fmla="*/ 326639 h 1206049"/>
              <a:gd name="connsiteX470" fmla="*/ 368428 w 4076713"/>
              <a:gd name="connsiteY470" fmla="*/ 333817 h 1206049"/>
              <a:gd name="connsiteX471" fmla="*/ 373697 w 4076713"/>
              <a:gd name="connsiteY471" fmla="*/ 333817 h 1206049"/>
              <a:gd name="connsiteX472" fmla="*/ 373697 w 4076713"/>
              <a:gd name="connsiteY472" fmla="*/ 315604 h 1206049"/>
              <a:gd name="connsiteX473" fmla="*/ 372136 w 4076713"/>
              <a:gd name="connsiteY473" fmla="*/ 310553 h 1206049"/>
              <a:gd name="connsiteX474" fmla="*/ 368428 w 4076713"/>
              <a:gd name="connsiteY474" fmla="*/ 308426 h 1206049"/>
              <a:gd name="connsiteX475" fmla="*/ 349207 w 4076713"/>
              <a:gd name="connsiteY475" fmla="*/ 308426 h 1206049"/>
              <a:gd name="connsiteX476" fmla="*/ 349207 w 4076713"/>
              <a:gd name="connsiteY476" fmla="*/ 297258 h 1206049"/>
              <a:gd name="connsiteX477" fmla="*/ 347646 w 4076713"/>
              <a:gd name="connsiteY477" fmla="*/ 292207 h 1206049"/>
              <a:gd name="connsiteX478" fmla="*/ 343938 w 4076713"/>
              <a:gd name="connsiteY478" fmla="*/ 290079 h 1206049"/>
              <a:gd name="connsiteX479" fmla="*/ 339352 w 4076713"/>
              <a:gd name="connsiteY479" fmla="*/ 290079 h 1206049"/>
              <a:gd name="connsiteX480" fmla="*/ 339352 w 4076713"/>
              <a:gd name="connsiteY480" fmla="*/ 278912 h 1206049"/>
              <a:gd name="connsiteX481" fmla="*/ 337791 w 4076713"/>
              <a:gd name="connsiteY481" fmla="*/ 273861 h 1206049"/>
              <a:gd name="connsiteX482" fmla="*/ 334083 w 4076713"/>
              <a:gd name="connsiteY482" fmla="*/ 271734 h 1206049"/>
              <a:gd name="connsiteX483" fmla="*/ 304910 w 4076713"/>
              <a:gd name="connsiteY483" fmla="*/ 271734 h 1206049"/>
              <a:gd name="connsiteX484" fmla="*/ 304910 w 4076713"/>
              <a:gd name="connsiteY484" fmla="*/ 260699 h 1206049"/>
              <a:gd name="connsiteX485" fmla="*/ 303348 w 4076713"/>
              <a:gd name="connsiteY485" fmla="*/ 255648 h 1206049"/>
              <a:gd name="connsiteX486" fmla="*/ 299641 w 4076713"/>
              <a:gd name="connsiteY486" fmla="*/ 253520 h 1206049"/>
              <a:gd name="connsiteX487" fmla="*/ 294762 w 4076713"/>
              <a:gd name="connsiteY487" fmla="*/ 253520 h 1206049"/>
              <a:gd name="connsiteX488" fmla="*/ 294762 w 4076713"/>
              <a:gd name="connsiteY488" fmla="*/ 260699 h 1206049"/>
              <a:gd name="connsiteX489" fmla="*/ 300031 w 4076713"/>
              <a:gd name="connsiteY489" fmla="*/ 260699 h 1206049"/>
              <a:gd name="connsiteX490" fmla="*/ 300031 w 4076713"/>
              <a:gd name="connsiteY490" fmla="*/ 242619 h 1206049"/>
              <a:gd name="connsiteX491" fmla="*/ 298470 w 4076713"/>
              <a:gd name="connsiteY491" fmla="*/ 237567 h 1206049"/>
              <a:gd name="connsiteX492" fmla="*/ 294762 w 4076713"/>
              <a:gd name="connsiteY492" fmla="*/ 235440 h 1206049"/>
              <a:gd name="connsiteX493" fmla="*/ 273004 w 4076713"/>
              <a:gd name="connsiteY493" fmla="*/ 235440 h 1206049"/>
              <a:gd name="connsiteX494" fmla="*/ 273004 w 4076713"/>
              <a:gd name="connsiteY494" fmla="*/ 224406 h 1206049"/>
              <a:gd name="connsiteX495" fmla="*/ 271443 w 4076713"/>
              <a:gd name="connsiteY495" fmla="*/ 219354 h 1206049"/>
              <a:gd name="connsiteX496" fmla="*/ 267735 w 4076713"/>
              <a:gd name="connsiteY496" fmla="*/ 217227 h 1206049"/>
              <a:gd name="connsiteX497" fmla="*/ 263149 w 4076713"/>
              <a:gd name="connsiteY497" fmla="*/ 217227 h 1206049"/>
              <a:gd name="connsiteX498" fmla="*/ 263149 w 4076713"/>
              <a:gd name="connsiteY498" fmla="*/ 206326 h 1206049"/>
              <a:gd name="connsiteX499" fmla="*/ 261588 w 4076713"/>
              <a:gd name="connsiteY499" fmla="*/ 201274 h 1206049"/>
              <a:gd name="connsiteX500" fmla="*/ 257880 w 4076713"/>
              <a:gd name="connsiteY500" fmla="*/ 199147 h 1206049"/>
              <a:gd name="connsiteX501" fmla="*/ 243537 w 4076713"/>
              <a:gd name="connsiteY501" fmla="*/ 199147 h 1206049"/>
              <a:gd name="connsiteX502" fmla="*/ 243537 w 4076713"/>
              <a:gd name="connsiteY502" fmla="*/ 188246 h 1206049"/>
              <a:gd name="connsiteX503" fmla="*/ 241976 w 4076713"/>
              <a:gd name="connsiteY503" fmla="*/ 183194 h 1206049"/>
              <a:gd name="connsiteX504" fmla="*/ 238269 w 4076713"/>
              <a:gd name="connsiteY504" fmla="*/ 181067 h 1206049"/>
              <a:gd name="connsiteX505" fmla="*/ 219047 w 4076713"/>
              <a:gd name="connsiteY505" fmla="*/ 181067 h 1206049"/>
              <a:gd name="connsiteX506" fmla="*/ 219047 w 4076713"/>
              <a:gd name="connsiteY506" fmla="*/ 170033 h 1206049"/>
              <a:gd name="connsiteX507" fmla="*/ 217486 w 4076713"/>
              <a:gd name="connsiteY507" fmla="*/ 164981 h 1206049"/>
              <a:gd name="connsiteX508" fmla="*/ 213778 w 4076713"/>
              <a:gd name="connsiteY508" fmla="*/ 162854 h 1206049"/>
              <a:gd name="connsiteX509" fmla="*/ 196898 w 4076713"/>
              <a:gd name="connsiteY509" fmla="*/ 162854 h 1206049"/>
              <a:gd name="connsiteX510" fmla="*/ 196898 w 4076713"/>
              <a:gd name="connsiteY510" fmla="*/ 151953 h 1206049"/>
              <a:gd name="connsiteX511" fmla="*/ 195337 w 4076713"/>
              <a:gd name="connsiteY511" fmla="*/ 146901 h 1206049"/>
              <a:gd name="connsiteX512" fmla="*/ 191630 w 4076713"/>
              <a:gd name="connsiteY512" fmla="*/ 144774 h 1206049"/>
              <a:gd name="connsiteX513" fmla="*/ 184604 w 4076713"/>
              <a:gd name="connsiteY513" fmla="*/ 144774 h 1206049"/>
              <a:gd name="connsiteX514" fmla="*/ 184604 w 4076713"/>
              <a:gd name="connsiteY514" fmla="*/ 133740 h 1206049"/>
              <a:gd name="connsiteX515" fmla="*/ 183043 w 4076713"/>
              <a:gd name="connsiteY515" fmla="*/ 128688 h 1206049"/>
              <a:gd name="connsiteX516" fmla="*/ 179336 w 4076713"/>
              <a:gd name="connsiteY516" fmla="*/ 126561 h 1206049"/>
              <a:gd name="connsiteX517" fmla="*/ 164993 w 4076713"/>
              <a:gd name="connsiteY517" fmla="*/ 126561 h 1206049"/>
              <a:gd name="connsiteX518" fmla="*/ 164993 w 4076713"/>
              <a:gd name="connsiteY518" fmla="*/ 115660 h 1206049"/>
              <a:gd name="connsiteX519" fmla="*/ 163432 w 4076713"/>
              <a:gd name="connsiteY519" fmla="*/ 110608 h 1206049"/>
              <a:gd name="connsiteX520" fmla="*/ 159724 w 4076713"/>
              <a:gd name="connsiteY520" fmla="*/ 108481 h 1206049"/>
              <a:gd name="connsiteX521" fmla="*/ 145283 w 4076713"/>
              <a:gd name="connsiteY521" fmla="*/ 108481 h 1206049"/>
              <a:gd name="connsiteX522" fmla="*/ 145283 w 4076713"/>
              <a:gd name="connsiteY522" fmla="*/ 97447 h 1206049"/>
              <a:gd name="connsiteX523" fmla="*/ 143722 w 4076713"/>
              <a:gd name="connsiteY523" fmla="*/ 92395 h 1206049"/>
              <a:gd name="connsiteX524" fmla="*/ 140014 w 4076713"/>
              <a:gd name="connsiteY524" fmla="*/ 90268 h 1206049"/>
              <a:gd name="connsiteX525" fmla="*/ 93766 w 4076713"/>
              <a:gd name="connsiteY525" fmla="*/ 90268 h 1206049"/>
              <a:gd name="connsiteX526" fmla="*/ 93766 w 4076713"/>
              <a:gd name="connsiteY526" fmla="*/ 79366 h 1206049"/>
              <a:gd name="connsiteX527" fmla="*/ 92205 w 4076713"/>
              <a:gd name="connsiteY527" fmla="*/ 74315 h 1206049"/>
              <a:gd name="connsiteX528" fmla="*/ 88497 w 4076713"/>
              <a:gd name="connsiteY528" fmla="*/ 72188 h 1206049"/>
              <a:gd name="connsiteX529" fmla="*/ 86058 w 4076713"/>
              <a:gd name="connsiteY529" fmla="*/ 72188 h 1206049"/>
              <a:gd name="connsiteX530" fmla="*/ 86058 w 4076713"/>
              <a:gd name="connsiteY530" fmla="*/ 79366 h 1206049"/>
              <a:gd name="connsiteX531" fmla="*/ 91327 w 4076713"/>
              <a:gd name="connsiteY531" fmla="*/ 79366 h 1206049"/>
              <a:gd name="connsiteX532" fmla="*/ 91327 w 4076713"/>
              <a:gd name="connsiteY532" fmla="*/ 61286 h 1206049"/>
              <a:gd name="connsiteX533" fmla="*/ 89765 w 4076713"/>
              <a:gd name="connsiteY533" fmla="*/ 56234 h 1206049"/>
              <a:gd name="connsiteX534" fmla="*/ 86058 w 4076713"/>
              <a:gd name="connsiteY534" fmla="*/ 54107 h 1206049"/>
              <a:gd name="connsiteX535" fmla="*/ 69178 w 4076713"/>
              <a:gd name="connsiteY535" fmla="*/ 54107 h 1206049"/>
              <a:gd name="connsiteX536" fmla="*/ 69178 w 4076713"/>
              <a:gd name="connsiteY536" fmla="*/ 25259 h 1206049"/>
              <a:gd name="connsiteX537" fmla="*/ 67617 w 4076713"/>
              <a:gd name="connsiteY537" fmla="*/ 20207 h 1206049"/>
              <a:gd name="connsiteX538" fmla="*/ 63909 w 4076713"/>
              <a:gd name="connsiteY538" fmla="*/ 18080 h 1206049"/>
              <a:gd name="connsiteX539" fmla="*/ 39711 w 4076713"/>
              <a:gd name="connsiteY539" fmla="*/ 18080 h 1206049"/>
              <a:gd name="connsiteX540" fmla="*/ 39711 w 4076713"/>
              <a:gd name="connsiteY540" fmla="*/ 7179 h 1206049"/>
              <a:gd name="connsiteX541" fmla="*/ 38150 w 4076713"/>
              <a:gd name="connsiteY541" fmla="*/ 2127 h 1206049"/>
              <a:gd name="connsiteX542" fmla="*/ 34443 w 4076713"/>
              <a:gd name="connsiteY542" fmla="*/ 0 h 1206049"/>
              <a:gd name="connsiteX543" fmla="*/ 0 w 4076713"/>
              <a:gd name="connsiteY543" fmla="*/ 0 h 1206049"/>
              <a:gd name="connsiteX544" fmla="*/ 0 w 4076713"/>
              <a:gd name="connsiteY544" fmla="*/ 14225 h 1206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</a:cxnLst>
            <a:rect l="l" t="t" r="r" b="b"/>
            <a:pathLst>
              <a:path w="4076713" h="1206049">
                <a:moveTo>
                  <a:pt x="0" y="14358"/>
                </a:moveTo>
                <a:lnTo>
                  <a:pt x="29174" y="14358"/>
                </a:lnTo>
                <a:lnTo>
                  <a:pt x="29174" y="25259"/>
                </a:lnTo>
                <a:cubicBezTo>
                  <a:pt x="29174" y="27120"/>
                  <a:pt x="29759" y="28981"/>
                  <a:pt x="30735" y="30311"/>
                </a:cubicBezTo>
                <a:cubicBezTo>
                  <a:pt x="31711" y="31640"/>
                  <a:pt x="33077" y="32438"/>
                  <a:pt x="34443" y="32438"/>
                </a:cubicBezTo>
                <a:lnTo>
                  <a:pt x="58640" y="32438"/>
                </a:lnTo>
                <a:lnTo>
                  <a:pt x="58640" y="61419"/>
                </a:lnTo>
                <a:cubicBezTo>
                  <a:pt x="58640" y="63280"/>
                  <a:pt x="59226" y="65142"/>
                  <a:pt x="60201" y="66471"/>
                </a:cubicBezTo>
                <a:cubicBezTo>
                  <a:pt x="61177" y="67800"/>
                  <a:pt x="62543" y="68598"/>
                  <a:pt x="63909" y="68598"/>
                </a:cubicBezTo>
                <a:lnTo>
                  <a:pt x="80789" y="68598"/>
                </a:lnTo>
                <a:lnTo>
                  <a:pt x="80789" y="79632"/>
                </a:lnTo>
                <a:cubicBezTo>
                  <a:pt x="80789" y="81493"/>
                  <a:pt x="81374" y="83355"/>
                  <a:pt x="82350" y="84684"/>
                </a:cubicBezTo>
                <a:cubicBezTo>
                  <a:pt x="83326" y="86013"/>
                  <a:pt x="84692" y="86811"/>
                  <a:pt x="86058" y="86811"/>
                </a:cubicBezTo>
                <a:lnTo>
                  <a:pt x="88497" y="86811"/>
                </a:lnTo>
                <a:lnTo>
                  <a:pt x="88497" y="79632"/>
                </a:lnTo>
                <a:lnTo>
                  <a:pt x="83228" y="79632"/>
                </a:lnTo>
                <a:lnTo>
                  <a:pt x="83228" y="97712"/>
                </a:lnTo>
                <a:cubicBezTo>
                  <a:pt x="83228" y="99574"/>
                  <a:pt x="83814" y="101435"/>
                  <a:pt x="84789" y="102764"/>
                </a:cubicBezTo>
                <a:cubicBezTo>
                  <a:pt x="85765" y="104094"/>
                  <a:pt x="87131" y="104891"/>
                  <a:pt x="88497" y="104891"/>
                </a:cubicBezTo>
                <a:lnTo>
                  <a:pt x="134746" y="104891"/>
                </a:lnTo>
                <a:lnTo>
                  <a:pt x="134746" y="115925"/>
                </a:lnTo>
                <a:cubicBezTo>
                  <a:pt x="134746" y="117787"/>
                  <a:pt x="135331" y="119648"/>
                  <a:pt x="136307" y="120977"/>
                </a:cubicBezTo>
                <a:cubicBezTo>
                  <a:pt x="137282" y="122307"/>
                  <a:pt x="138648" y="123104"/>
                  <a:pt x="140014" y="123104"/>
                </a:cubicBezTo>
                <a:lnTo>
                  <a:pt x="154455" y="123104"/>
                </a:lnTo>
                <a:lnTo>
                  <a:pt x="154455" y="134006"/>
                </a:lnTo>
                <a:cubicBezTo>
                  <a:pt x="154455" y="135867"/>
                  <a:pt x="155040" y="137728"/>
                  <a:pt x="156016" y="139057"/>
                </a:cubicBezTo>
                <a:cubicBezTo>
                  <a:pt x="156992" y="140387"/>
                  <a:pt x="158358" y="141184"/>
                  <a:pt x="159724" y="141184"/>
                </a:cubicBezTo>
                <a:lnTo>
                  <a:pt x="174067" y="141184"/>
                </a:lnTo>
                <a:lnTo>
                  <a:pt x="174067" y="152219"/>
                </a:lnTo>
                <a:cubicBezTo>
                  <a:pt x="174067" y="154080"/>
                  <a:pt x="174652" y="155941"/>
                  <a:pt x="175628" y="157270"/>
                </a:cubicBezTo>
                <a:cubicBezTo>
                  <a:pt x="176604" y="158600"/>
                  <a:pt x="177970" y="159397"/>
                  <a:pt x="179336" y="159397"/>
                </a:cubicBezTo>
                <a:lnTo>
                  <a:pt x="186361" y="159397"/>
                </a:lnTo>
                <a:lnTo>
                  <a:pt x="186361" y="170299"/>
                </a:lnTo>
                <a:cubicBezTo>
                  <a:pt x="186361" y="172160"/>
                  <a:pt x="186946" y="174021"/>
                  <a:pt x="187922" y="175351"/>
                </a:cubicBezTo>
                <a:cubicBezTo>
                  <a:pt x="188898" y="176680"/>
                  <a:pt x="190264" y="177478"/>
                  <a:pt x="191630" y="177478"/>
                </a:cubicBezTo>
                <a:lnTo>
                  <a:pt x="208509" y="177478"/>
                </a:lnTo>
                <a:lnTo>
                  <a:pt x="208509" y="188512"/>
                </a:lnTo>
                <a:cubicBezTo>
                  <a:pt x="208509" y="190373"/>
                  <a:pt x="209095" y="192234"/>
                  <a:pt x="210070" y="193564"/>
                </a:cubicBezTo>
                <a:cubicBezTo>
                  <a:pt x="211046" y="194893"/>
                  <a:pt x="212412" y="195691"/>
                  <a:pt x="213778" y="195691"/>
                </a:cubicBezTo>
                <a:lnTo>
                  <a:pt x="233000" y="195691"/>
                </a:lnTo>
                <a:lnTo>
                  <a:pt x="233000" y="206592"/>
                </a:lnTo>
                <a:cubicBezTo>
                  <a:pt x="233000" y="208453"/>
                  <a:pt x="233585" y="210314"/>
                  <a:pt x="234561" y="211644"/>
                </a:cubicBezTo>
                <a:cubicBezTo>
                  <a:pt x="235537" y="212973"/>
                  <a:pt x="236903" y="213771"/>
                  <a:pt x="238269" y="213771"/>
                </a:cubicBezTo>
                <a:lnTo>
                  <a:pt x="252709" y="213771"/>
                </a:lnTo>
                <a:lnTo>
                  <a:pt x="252709" y="224672"/>
                </a:lnTo>
                <a:cubicBezTo>
                  <a:pt x="252709" y="226533"/>
                  <a:pt x="253294" y="228394"/>
                  <a:pt x="254270" y="229724"/>
                </a:cubicBezTo>
                <a:cubicBezTo>
                  <a:pt x="255246" y="231053"/>
                  <a:pt x="256612" y="231851"/>
                  <a:pt x="257978" y="231851"/>
                </a:cubicBezTo>
                <a:lnTo>
                  <a:pt x="262564" y="231851"/>
                </a:lnTo>
                <a:lnTo>
                  <a:pt x="262564" y="242885"/>
                </a:lnTo>
                <a:cubicBezTo>
                  <a:pt x="262564" y="244746"/>
                  <a:pt x="263149" y="246607"/>
                  <a:pt x="264125" y="247937"/>
                </a:cubicBezTo>
                <a:cubicBezTo>
                  <a:pt x="265101" y="249266"/>
                  <a:pt x="266467" y="250064"/>
                  <a:pt x="267833" y="250064"/>
                </a:cubicBezTo>
                <a:lnTo>
                  <a:pt x="289591" y="250064"/>
                </a:lnTo>
                <a:lnTo>
                  <a:pt x="289591" y="260965"/>
                </a:lnTo>
                <a:cubicBezTo>
                  <a:pt x="289591" y="262826"/>
                  <a:pt x="290176" y="264688"/>
                  <a:pt x="291152" y="266017"/>
                </a:cubicBezTo>
                <a:cubicBezTo>
                  <a:pt x="292128" y="267346"/>
                  <a:pt x="293494" y="268144"/>
                  <a:pt x="294860" y="268144"/>
                </a:cubicBezTo>
                <a:lnTo>
                  <a:pt x="299738" y="268144"/>
                </a:lnTo>
                <a:lnTo>
                  <a:pt x="299738" y="260965"/>
                </a:lnTo>
                <a:lnTo>
                  <a:pt x="294469" y="260965"/>
                </a:lnTo>
                <a:lnTo>
                  <a:pt x="294469" y="279045"/>
                </a:lnTo>
                <a:cubicBezTo>
                  <a:pt x="294469" y="280907"/>
                  <a:pt x="295055" y="282768"/>
                  <a:pt x="296031" y="284097"/>
                </a:cubicBezTo>
                <a:cubicBezTo>
                  <a:pt x="297006" y="285427"/>
                  <a:pt x="298372" y="286224"/>
                  <a:pt x="299738" y="286224"/>
                </a:cubicBezTo>
                <a:lnTo>
                  <a:pt x="328912" y="286224"/>
                </a:lnTo>
                <a:lnTo>
                  <a:pt x="328912" y="297391"/>
                </a:lnTo>
                <a:cubicBezTo>
                  <a:pt x="328912" y="299253"/>
                  <a:pt x="329497" y="301114"/>
                  <a:pt x="330473" y="302443"/>
                </a:cubicBezTo>
                <a:cubicBezTo>
                  <a:pt x="331449" y="303773"/>
                  <a:pt x="332815" y="304570"/>
                  <a:pt x="334181" y="304570"/>
                </a:cubicBezTo>
                <a:lnTo>
                  <a:pt x="338767" y="304570"/>
                </a:lnTo>
                <a:lnTo>
                  <a:pt x="338767" y="315737"/>
                </a:lnTo>
                <a:cubicBezTo>
                  <a:pt x="338767" y="317598"/>
                  <a:pt x="339352" y="319460"/>
                  <a:pt x="340328" y="320789"/>
                </a:cubicBezTo>
                <a:cubicBezTo>
                  <a:pt x="341304" y="322119"/>
                  <a:pt x="342670" y="322916"/>
                  <a:pt x="344036" y="322916"/>
                </a:cubicBezTo>
                <a:lnTo>
                  <a:pt x="363257" y="322916"/>
                </a:lnTo>
                <a:lnTo>
                  <a:pt x="363257" y="334083"/>
                </a:lnTo>
                <a:cubicBezTo>
                  <a:pt x="363257" y="335945"/>
                  <a:pt x="363842" y="337806"/>
                  <a:pt x="364818" y="339135"/>
                </a:cubicBezTo>
                <a:cubicBezTo>
                  <a:pt x="365794" y="340465"/>
                  <a:pt x="367160" y="341262"/>
                  <a:pt x="368526" y="341262"/>
                </a:cubicBezTo>
                <a:lnTo>
                  <a:pt x="373404" y="341262"/>
                </a:lnTo>
                <a:lnTo>
                  <a:pt x="373404" y="334083"/>
                </a:lnTo>
                <a:lnTo>
                  <a:pt x="368136" y="334083"/>
                </a:lnTo>
                <a:lnTo>
                  <a:pt x="368136" y="352296"/>
                </a:lnTo>
                <a:cubicBezTo>
                  <a:pt x="368136" y="354158"/>
                  <a:pt x="368721" y="356019"/>
                  <a:pt x="369697" y="357348"/>
                </a:cubicBezTo>
                <a:cubicBezTo>
                  <a:pt x="370672" y="358678"/>
                  <a:pt x="372038" y="359475"/>
                  <a:pt x="373404" y="359475"/>
                </a:cubicBezTo>
                <a:lnTo>
                  <a:pt x="375844" y="359475"/>
                </a:lnTo>
                <a:lnTo>
                  <a:pt x="375844" y="352296"/>
                </a:lnTo>
                <a:lnTo>
                  <a:pt x="370575" y="352296"/>
                </a:lnTo>
                <a:lnTo>
                  <a:pt x="370575" y="370509"/>
                </a:lnTo>
                <a:cubicBezTo>
                  <a:pt x="370575" y="372371"/>
                  <a:pt x="371160" y="374232"/>
                  <a:pt x="372136" y="375561"/>
                </a:cubicBezTo>
                <a:cubicBezTo>
                  <a:pt x="373112" y="376891"/>
                  <a:pt x="374478" y="377688"/>
                  <a:pt x="375844" y="377688"/>
                </a:cubicBezTo>
                <a:lnTo>
                  <a:pt x="417214" y="377688"/>
                </a:lnTo>
                <a:lnTo>
                  <a:pt x="417214" y="388855"/>
                </a:lnTo>
                <a:cubicBezTo>
                  <a:pt x="417214" y="390717"/>
                  <a:pt x="417799" y="392578"/>
                  <a:pt x="418775" y="393907"/>
                </a:cubicBezTo>
                <a:cubicBezTo>
                  <a:pt x="419751" y="395237"/>
                  <a:pt x="421117" y="396034"/>
                  <a:pt x="422483" y="396034"/>
                </a:cubicBezTo>
                <a:lnTo>
                  <a:pt x="427361" y="396034"/>
                </a:lnTo>
                <a:lnTo>
                  <a:pt x="427361" y="388855"/>
                </a:lnTo>
                <a:lnTo>
                  <a:pt x="422092" y="388855"/>
                </a:lnTo>
                <a:lnTo>
                  <a:pt x="422092" y="407068"/>
                </a:lnTo>
                <a:cubicBezTo>
                  <a:pt x="422092" y="408930"/>
                  <a:pt x="422678" y="410791"/>
                  <a:pt x="423654" y="412120"/>
                </a:cubicBezTo>
                <a:cubicBezTo>
                  <a:pt x="424629" y="413450"/>
                  <a:pt x="425995" y="414247"/>
                  <a:pt x="427361" y="414247"/>
                </a:cubicBezTo>
                <a:lnTo>
                  <a:pt x="429800" y="414247"/>
                </a:lnTo>
                <a:lnTo>
                  <a:pt x="429800" y="407068"/>
                </a:lnTo>
                <a:lnTo>
                  <a:pt x="424532" y="407068"/>
                </a:lnTo>
                <a:lnTo>
                  <a:pt x="424532" y="425282"/>
                </a:lnTo>
                <a:cubicBezTo>
                  <a:pt x="424532" y="427143"/>
                  <a:pt x="425117" y="429004"/>
                  <a:pt x="426093" y="430333"/>
                </a:cubicBezTo>
                <a:cubicBezTo>
                  <a:pt x="427069" y="431663"/>
                  <a:pt x="428435" y="432460"/>
                  <a:pt x="429800" y="432460"/>
                </a:cubicBezTo>
                <a:lnTo>
                  <a:pt x="439265" y="432460"/>
                </a:lnTo>
                <a:lnTo>
                  <a:pt x="439265" y="443628"/>
                </a:lnTo>
                <a:cubicBezTo>
                  <a:pt x="439265" y="445489"/>
                  <a:pt x="439850" y="447350"/>
                  <a:pt x="440826" y="448679"/>
                </a:cubicBezTo>
                <a:cubicBezTo>
                  <a:pt x="441802" y="450009"/>
                  <a:pt x="443168" y="450806"/>
                  <a:pt x="444534" y="450806"/>
                </a:cubicBezTo>
                <a:lnTo>
                  <a:pt x="446973" y="450806"/>
                </a:lnTo>
                <a:lnTo>
                  <a:pt x="446973" y="443628"/>
                </a:lnTo>
                <a:lnTo>
                  <a:pt x="441704" y="443628"/>
                </a:lnTo>
                <a:lnTo>
                  <a:pt x="441704" y="461841"/>
                </a:lnTo>
                <a:cubicBezTo>
                  <a:pt x="441704" y="463702"/>
                  <a:pt x="442290" y="465563"/>
                  <a:pt x="443265" y="466892"/>
                </a:cubicBezTo>
                <a:cubicBezTo>
                  <a:pt x="444241" y="468222"/>
                  <a:pt x="445607" y="469019"/>
                  <a:pt x="446973" y="469019"/>
                </a:cubicBezTo>
                <a:lnTo>
                  <a:pt x="451852" y="469019"/>
                </a:lnTo>
                <a:lnTo>
                  <a:pt x="451852" y="461841"/>
                </a:lnTo>
                <a:lnTo>
                  <a:pt x="446583" y="461841"/>
                </a:lnTo>
                <a:lnTo>
                  <a:pt x="446583" y="480054"/>
                </a:lnTo>
                <a:cubicBezTo>
                  <a:pt x="446583" y="481915"/>
                  <a:pt x="447168" y="483776"/>
                  <a:pt x="448144" y="485105"/>
                </a:cubicBezTo>
                <a:cubicBezTo>
                  <a:pt x="449120" y="486435"/>
                  <a:pt x="450486" y="487233"/>
                  <a:pt x="451852" y="487233"/>
                </a:cubicBezTo>
                <a:lnTo>
                  <a:pt x="478488" y="487233"/>
                </a:lnTo>
                <a:lnTo>
                  <a:pt x="478488" y="498400"/>
                </a:lnTo>
                <a:cubicBezTo>
                  <a:pt x="478488" y="500261"/>
                  <a:pt x="479074" y="502122"/>
                  <a:pt x="480050" y="503451"/>
                </a:cubicBezTo>
                <a:cubicBezTo>
                  <a:pt x="481025" y="504781"/>
                  <a:pt x="482391" y="505579"/>
                  <a:pt x="483757" y="505579"/>
                </a:cubicBezTo>
                <a:lnTo>
                  <a:pt x="486197" y="505579"/>
                </a:lnTo>
                <a:lnTo>
                  <a:pt x="486197" y="498400"/>
                </a:lnTo>
                <a:lnTo>
                  <a:pt x="480928" y="498400"/>
                </a:lnTo>
                <a:lnTo>
                  <a:pt x="480928" y="516613"/>
                </a:lnTo>
                <a:cubicBezTo>
                  <a:pt x="480928" y="518474"/>
                  <a:pt x="481513" y="520335"/>
                  <a:pt x="482489" y="521664"/>
                </a:cubicBezTo>
                <a:cubicBezTo>
                  <a:pt x="483465" y="522994"/>
                  <a:pt x="484831" y="523792"/>
                  <a:pt x="486197" y="523792"/>
                </a:cubicBezTo>
                <a:lnTo>
                  <a:pt x="507955" y="523792"/>
                </a:lnTo>
                <a:lnTo>
                  <a:pt x="507955" y="534959"/>
                </a:lnTo>
                <a:cubicBezTo>
                  <a:pt x="507955" y="536820"/>
                  <a:pt x="508540" y="538681"/>
                  <a:pt x="509516" y="540011"/>
                </a:cubicBezTo>
                <a:cubicBezTo>
                  <a:pt x="510492" y="541340"/>
                  <a:pt x="511858" y="542138"/>
                  <a:pt x="513224" y="542138"/>
                </a:cubicBezTo>
                <a:lnTo>
                  <a:pt x="515370" y="542138"/>
                </a:lnTo>
                <a:lnTo>
                  <a:pt x="515370" y="553438"/>
                </a:lnTo>
                <a:cubicBezTo>
                  <a:pt x="515370" y="555299"/>
                  <a:pt x="515956" y="557160"/>
                  <a:pt x="516931" y="558489"/>
                </a:cubicBezTo>
                <a:cubicBezTo>
                  <a:pt x="517907" y="559819"/>
                  <a:pt x="519273" y="560617"/>
                  <a:pt x="520639" y="560617"/>
                </a:cubicBezTo>
                <a:lnTo>
                  <a:pt x="525127" y="560617"/>
                </a:lnTo>
                <a:lnTo>
                  <a:pt x="525127" y="571917"/>
                </a:lnTo>
                <a:cubicBezTo>
                  <a:pt x="525127" y="573778"/>
                  <a:pt x="525713" y="575639"/>
                  <a:pt x="526689" y="576968"/>
                </a:cubicBezTo>
                <a:cubicBezTo>
                  <a:pt x="527664" y="578298"/>
                  <a:pt x="529030" y="579095"/>
                  <a:pt x="530396" y="579095"/>
                </a:cubicBezTo>
                <a:lnTo>
                  <a:pt x="554594" y="579095"/>
                </a:lnTo>
                <a:lnTo>
                  <a:pt x="554594" y="590396"/>
                </a:lnTo>
                <a:cubicBezTo>
                  <a:pt x="554594" y="592257"/>
                  <a:pt x="555179" y="594118"/>
                  <a:pt x="556155" y="595447"/>
                </a:cubicBezTo>
                <a:cubicBezTo>
                  <a:pt x="557131" y="596777"/>
                  <a:pt x="558497" y="597574"/>
                  <a:pt x="559863" y="597574"/>
                </a:cubicBezTo>
                <a:lnTo>
                  <a:pt x="562302" y="597574"/>
                </a:lnTo>
                <a:lnTo>
                  <a:pt x="562302" y="590396"/>
                </a:lnTo>
                <a:lnTo>
                  <a:pt x="557033" y="590396"/>
                </a:lnTo>
                <a:lnTo>
                  <a:pt x="557033" y="608874"/>
                </a:lnTo>
                <a:cubicBezTo>
                  <a:pt x="557033" y="610736"/>
                  <a:pt x="557619" y="612597"/>
                  <a:pt x="558594" y="613926"/>
                </a:cubicBezTo>
                <a:cubicBezTo>
                  <a:pt x="559570" y="615256"/>
                  <a:pt x="560936" y="616053"/>
                  <a:pt x="562302" y="616053"/>
                </a:cubicBezTo>
                <a:lnTo>
                  <a:pt x="564741" y="616053"/>
                </a:lnTo>
                <a:lnTo>
                  <a:pt x="564741" y="608874"/>
                </a:lnTo>
                <a:lnTo>
                  <a:pt x="559472" y="608874"/>
                </a:lnTo>
                <a:lnTo>
                  <a:pt x="559472" y="627353"/>
                </a:lnTo>
                <a:cubicBezTo>
                  <a:pt x="559472" y="629215"/>
                  <a:pt x="560058" y="631076"/>
                  <a:pt x="561034" y="632405"/>
                </a:cubicBezTo>
                <a:cubicBezTo>
                  <a:pt x="562009" y="633735"/>
                  <a:pt x="563375" y="634532"/>
                  <a:pt x="564741" y="634532"/>
                </a:cubicBezTo>
                <a:lnTo>
                  <a:pt x="569327" y="634532"/>
                </a:lnTo>
                <a:lnTo>
                  <a:pt x="569327" y="645832"/>
                </a:lnTo>
                <a:cubicBezTo>
                  <a:pt x="569327" y="647694"/>
                  <a:pt x="569913" y="649555"/>
                  <a:pt x="570888" y="650884"/>
                </a:cubicBezTo>
                <a:cubicBezTo>
                  <a:pt x="571864" y="652214"/>
                  <a:pt x="573230" y="653011"/>
                  <a:pt x="574596" y="653011"/>
                </a:cubicBezTo>
                <a:lnTo>
                  <a:pt x="591378" y="653011"/>
                </a:lnTo>
                <a:lnTo>
                  <a:pt x="591378" y="664311"/>
                </a:lnTo>
                <a:cubicBezTo>
                  <a:pt x="591378" y="666172"/>
                  <a:pt x="591964" y="668034"/>
                  <a:pt x="592939" y="669363"/>
                </a:cubicBezTo>
                <a:cubicBezTo>
                  <a:pt x="593915" y="670693"/>
                  <a:pt x="595281" y="671490"/>
                  <a:pt x="596647" y="671490"/>
                </a:cubicBezTo>
                <a:lnTo>
                  <a:pt x="611088" y="671490"/>
                </a:lnTo>
                <a:lnTo>
                  <a:pt x="611088" y="682790"/>
                </a:lnTo>
                <a:cubicBezTo>
                  <a:pt x="611088" y="684651"/>
                  <a:pt x="611673" y="686513"/>
                  <a:pt x="612649" y="687842"/>
                </a:cubicBezTo>
                <a:cubicBezTo>
                  <a:pt x="613624" y="689171"/>
                  <a:pt x="614990" y="689969"/>
                  <a:pt x="616356" y="689969"/>
                </a:cubicBezTo>
                <a:lnTo>
                  <a:pt x="662605" y="689969"/>
                </a:lnTo>
                <a:lnTo>
                  <a:pt x="662605" y="701269"/>
                </a:lnTo>
                <a:cubicBezTo>
                  <a:pt x="662605" y="703130"/>
                  <a:pt x="663190" y="704992"/>
                  <a:pt x="664166" y="706321"/>
                </a:cubicBezTo>
                <a:cubicBezTo>
                  <a:pt x="665142" y="707650"/>
                  <a:pt x="666508" y="708448"/>
                  <a:pt x="667874" y="708448"/>
                </a:cubicBezTo>
                <a:lnTo>
                  <a:pt x="670313" y="708448"/>
                </a:lnTo>
                <a:lnTo>
                  <a:pt x="670313" y="701269"/>
                </a:lnTo>
                <a:lnTo>
                  <a:pt x="665142" y="701269"/>
                </a:lnTo>
                <a:lnTo>
                  <a:pt x="665142" y="756706"/>
                </a:lnTo>
                <a:cubicBezTo>
                  <a:pt x="665142" y="758567"/>
                  <a:pt x="665727" y="760428"/>
                  <a:pt x="666703" y="761758"/>
                </a:cubicBezTo>
                <a:cubicBezTo>
                  <a:pt x="667679" y="763087"/>
                  <a:pt x="669045" y="763885"/>
                  <a:pt x="670411" y="763885"/>
                </a:cubicBezTo>
                <a:lnTo>
                  <a:pt x="728953" y="763885"/>
                </a:lnTo>
                <a:lnTo>
                  <a:pt x="728953" y="775185"/>
                </a:lnTo>
                <a:cubicBezTo>
                  <a:pt x="728953" y="777046"/>
                  <a:pt x="729539" y="778907"/>
                  <a:pt x="730515" y="780237"/>
                </a:cubicBezTo>
                <a:cubicBezTo>
                  <a:pt x="731490" y="781566"/>
                  <a:pt x="732856" y="782364"/>
                  <a:pt x="734222" y="782364"/>
                </a:cubicBezTo>
                <a:lnTo>
                  <a:pt x="738808" y="782364"/>
                </a:lnTo>
                <a:lnTo>
                  <a:pt x="738808" y="793664"/>
                </a:lnTo>
                <a:cubicBezTo>
                  <a:pt x="738808" y="795525"/>
                  <a:pt x="739393" y="797386"/>
                  <a:pt x="740369" y="798716"/>
                </a:cubicBezTo>
                <a:cubicBezTo>
                  <a:pt x="741345" y="800045"/>
                  <a:pt x="742711" y="800843"/>
                  <a:pt x="744077" y="800843"/>
                </a:cubicBezTo>
                <a:lnTo>
                  <a:pt x="756078" y="800843"/>
                </a:lnTo>
                <a:lnTo>
                  <a:pt x="756078" y="812143"/>
                </a:lnTo>
                <a:cubicBezTo>
                  <a:pt x="756078" y="814004"/>
                  <a:pt x="756664" y="815865"/>
                  <a:pt x="757639" y="817195"/>
                </a:cubicBezTo>
                <a:cubicBezTo>
                  <a:pt x="758615" y="818524"/>
                  <a:pt x="759981" y="819322"/>
                  <a:pt x="761347" y="819322"/>
                </a:cubicBezTo>
                <a:lnTo>
                  <a:pt x="802717" y="819322"/>
                </a:lnTo>
                <a:lnTo>
                  <a:pt x="802717" y="830622"/>
                </a:lnTo>
                <a:cubicBezTo>
                  <a:pt x="802717" y="832483"/>
                  <a:pt x="803303" y="834344"/>
                  <a:pt x="804278" y="835674"/>
                </a:cubicBezTo>
                <a:cubicBezTo>
                  <a:pt x="805254" y="837003"/>
                  <a:pt x="806620" y="837801"/>
                  <a:pt x="807986" y="837801"/>
                </a:cubicBezTo>
                <a:lnTo>
                  <a:pt x="810425" y="837801"/>
                </a:lnTo>
                <a:lnTo>
                  <a:pt x="810425" y="830622"/>
                </a:lnTo>
                <a:lnTo>
                  <a:pt x="805156" y="830622"/>
                </a:lnTo>
                <a:lnTo>
                  <a:pt x="805156" y="849101"/>
                </a:lnTo>
                <a:cubicBezTo>
                  <a:pt x="805156" y="850962"/>
                  <a:pt x="805742" y="852823"/>
                  <a:pt x="806717" y="854152"/>
                </a:cubicBezTo>
                <a:cubicBezTo>
                  <a:pt x="807693" y="855482"/>
                  <a:pt x="809059" y="856280"/>
                  <a:pt x="810425" y="856280"/>
                </a:cubicBezTo>
                <a:lnTo>
                  <a:pt x="837062" y="856280"/>
                </a:lnTo>
                <a:lnTo>
                  <a:pt x="837062" y="867978"/>
                </a:lnTo>
                <a:cubicBezTo>
                  <a:pt x="837062" y="869840"/>
                  <a:pt x="837648" y="871701"/>
                  <a:pt x="838623" y="873030"/>
                </a:cubicBezTo>
                <a:cubicBezTo>
                  <a:pt x="839599" y="874360"/>
                  <a:pt x="840965" y="875157"/>
                  <a:pt x="842331" y="875157"/>
                </a:cubicBezTo>
                <a:lnTo>
                  <a:pt x="854235" y="875157"/>
                </a:lnTo>
                <a:lnTo>
                  <a:pt x="854235" y="886723"/>
                </a:lnTo>
                <a:cubicBezTo>
                  <a:pt x="854235" y="888585"/>
                  <a:pt x="854820" y="890446"/>
                  <a:pt x="855796" y="891775"/>
                </a:cubicBezTo>
                <a:cubicBezTo>
                  <a:pt x="856771" y="893104"/>
                  <a:pt x="858137" y="893902"/>
                  <a:pt x="859503" y="893902"/>
                </a:cubicBezTo>
                <a:lnTo>
                  <a:pt x="927803" y="893902"/>
                </a:lnTo>
                <a:lnTo>
                  <a:pt x="927803" y="905867"/>
                </a:lnTo>
                <a:cubicBezTo>
                  <a:pt x="927803" y="907728"/>
                  <a:pt x="928389" y="909589"/>
                  <a:pt x="929364" y="910919"/>
                </a:cubicBezTo>
                <a:cubicBezTo>
                  <a:pt x="930340" y="912248"/>
                  <a:pt x="931706" y="913046"/>
                  <a:pt x="933072" y="913046"/>
                </a:cubicBezTo>
                <a:lnTo>
                  <a:pt x="964587" y="913046"/>
                </a:lnTo>
                <a:lnTo>
                  <a:pt x="964587" y="924878"/>
                </a:lnTo>
                <a:cubicBezTo>
                  <a:pt x="964587" y="926739"/>
                  <a:pt x="965173" y="928600"/>
                  <a:pt x="966149" y="929929"/>
                </a:cubicBezTo>
                <a:cubicBezTo>
                  <a:pt x="967124" y="931259"/>
                  <a:pt x="968490" y="932057"/>
                  <a:pt x="969856" y="932057"/>
                </a:cubicBezTo>
                <a:lnTo>
                  <a:pt x="1060305" y="932057"/>
                </a:lnTo>
                <a:lnTo>
                  <a:pt x="1060305" y="943888"/>
                </a:lnTo>
                <a:cubicBezTo>
                  <a:pt x="1060305" y="945750"/>
                  <a:pt x="1060890" y="947611"/>
                  <a:pt x="1061866" y="948940"/>
                </a:cubicBezTo>
                <a:cubicBezTo>
                  <a:pt x="1062842" y="950270"/>
                  <a:pt x="1064208" y="951067"/>
                  <a:pt x="1065574" y="951067"/>
                </a:cubicBezTo>
                <a:lnTo>
                  <a:pt x="1119140" y="951067"/>
                </a:lnTo>
                <a:lnTo>
                  <a:pt x="1119140" y="962899"/>
                </a:lnTo>
                <a:cubicBezTo>
                  <a:pt x="1119140" y="964760"/>
                  <a:pt x="1119725" y="966621"/>
                  <a:pt x="1120701" y="967951"/>
                </a:cubicBezTo>
                <a:cubicBezTo>
                  <a:pt x="1121677" y="969280"/>
                  <a:pt x="1123043" y="970078"/>
                  <a:pt x="1124409" y="970078"/>
                </a:cubicBezTo>
                <a:lnTo>
                  <a:pt x="1175536" y="970078"/>
                </a:lnTo>
                <a:lnTo>
                  <a:pt x="1175536" y="981910"/>
                </a:lnTo>
                <a:cubicBezTo>
                  <a:pt x="1175536" y="983771"/>
                  <a:pt x="1176122" y="985632"/>
                  <a:pt x="1177097" y="986962"/>
                </a:cubicBezTo>
                <a:cubicBezTo>
                  <a:pt x="1178073" y="988291"/>
                  <a:pt x="1179439" y="989089"/>
                  <a:pt x="1180805" y="989089"/>
                </a:cubicBezTo>
                <a:lnTo>
                  <a:pt x="1239348" y="989089"/>
                </a:lnTo>
                <a:lnTo>
                  <a:pt x="1239348" y="1000920"/>
                </a:lnTo>
                <a:cubicBezTo>
                  <a:pt x="1239348" y="1002782"/>
                  <a:pt x="1239933" y="1004643"/>
                  <a:pt x="1240909" y="1005972"/>
                </a:cubicBezTo>
                <a:cubicBezTo>
                  <a:pt x="1241884" y="1007302"/>
                  <a:pt x="1243250" y="1008099"/>
                  <a:pt x="1244616" y="1008099"/>
                </a:cubicBezTo>
                <a:lnTo>
                  <a:pt x="1337407" y="1008099"/>
                </a:lnTo>
                <a:lnTo>
                  <a:pt x="1337407" y="1019931"/>
                </a:lnTo>
                <a:cubicBezTo>
                  <a:pt x="1337407" y="1021792"/>
                  <a:pt x="1337992" y="1023654"/>
                  <a:pt x="1338968" y="1024983"/>
                </a:cubicBezTo>
                <a:cubicBezTo>
                  <a:pt x="1339943" y="1026312"/>
                  <a:pt x="1341309" y="1027110"/>
                  <a:pt x="1342675" y="1027110"/>
                </a:cubicBezTo>
                <a:lnTo>
                  <a:pt x="1349700" y="1027110"/>
                </a:lnTo>
                <a:lnTo>
                  <a:pt x="1349700" y="1038942"/>
                </a:lnTo>
                <a:cubicBezTo>
                  <a:pt x="1349700" y="1040803"/>
                  <a:pt x="1350286" y="1042664"/>
                  <a:pt x="1351262" y="1043994"/>
                </a:cubicBezTo>
                <a:cubicBezTo>
                  <a:pt x="1352237" y="1045323"/>
                  <a:pt x="1353603" y="1046121"/>
                  <a:pt x="1354969" y="1046121"/>
                </a:cubicBezTo>
                <a:lnTo>
                  <a:pt x="1369410" y="1046121"/>
                </a:lnTo>
                <a:lnTo>
                  <a:pt x="1369410" y="1057953"/>
                </a:lnTo>
                <a:cubicBezTo>
                  <a:pt x="1369410" y="1059814"/>
                  <a:pt x="1369995" y="1061675"/>
                  <a:pt x="1370971" y="1063004"/>
                </a:cubicBezTo>
                <a:cubicBezTo>
                  <a:pt x="1371947" y="1064334"/>
                  <a:pt x="1373313" y="1065132"/>
                  <a:pt x="1374679" y="1065132"/>
                </a:cubicBezTo>
                <a:lnTo>
                  <a:pt x="1384143" y="1065132"/>
                </a:lnTo>
                <a:lnTo>
                  <a:pt x="1384143" y="1076963"/>
                </a:lnTo>
                <a:cubicBezTo>
                  <a:pt x="1384143" y="1078825"/>
                  <a:pt x="1384728" y="1080686"/>
                  <a:pt x="1385704" y="1082015"/>
                </a:cubicBezTo>
                <a:cubicBezTo>
                  <a:pt x="1386680" y="1083345"/>
                  <a:pt x="1388046" y="1084142"/>
                  <a:pt x="1389412" y="1084142"/>
                </a:cubicBezTo>
                <a:lnTo>
                  <a:pt x="1536159" y="1084142"/>
                </a:lnTo>
                <a:lnTo>
                  <a:pt x="1536159" y="1096240"/>
                </a:lnTo>
                <a:cubicBezTo>
                  <a:pt x="1536159" y="1098101"/>
                  <a:pt x="1536744" y="1099962"/>
                  <a:pt x="1537720" y="1101292"/>
                </a:cubicBezTo>
                <a:cubicBezTo>
                  <a:pt x="1538696" y="1102621"/>
                  <a:pt x="1540062" y="1103419"/>
                  <a:pt x="1541428" y="1103419"/>
                </a:cubicBezTo>
                <a:lnTo>
                  <a:pt x="1656366" y="1103419"/>
                </a:lnTo>
                <a:lnTo>
                  <a:pt x="1656366" y="1115650"/>
                </a:lnTo>
                <a:cubicBezTo>
                  <a:pt x="1656366" y="1117511"/>
                  <a:pt x="1656952" y="1119372"/>
                  <a:pt x="1657927" y="1120701"/>
                </a:cubicBezTo>
                <a:cubicBezTo>
                  <a:pt x="1658903" y="1122031"/>
                  <a:pt x="1660269" y="1122828"/>
                  <a:pt x="1661635" y="1122828"/>
                </a:cubicBezTo>
                <a:lnTo>
                  <a:pt x="1825555" y="1122828"/>
                </a:lnTo>
                <a:lnTo>
                  <a:pt x="1825555" y="1134926"/>
                </a:lnTo>
                <a:cubicBezTo>
                  <a:pt x="1825555" y="1136787"/>
                  <a:pt x="1826140" y="1138648"/>
                  <a:pt x="1827116" y="1139978"/>
                </a:cubicBezTo>
                <a:cubicBezTo>
                  <a:pt x="1828091" y="1141307"/>
                  <a:pt x="1829457" y="1142105"/>
                  <a:pt x="1830823" y="1142105"/>
                </a:cubicBezTo>
                <a:lnTo>
                  <a:pt x="2247257" y="1142105"/>
                </a:lnTo>
                <a:lnTo>
                  <a:pt x="2247257" y="1154601"/>
                </a:lnTo>
                <a:cubicBezTo>
                  <a:pt x="2247257" y="1156463"/>
                  <a:pt x="2247842" y="1158324"/>
                  <a:pt x="2248818" y="1159653"/>
                </a:cubicBezTo>
                <a:cubicBezTo>
                  <a:pt x="2249793" y="1160983"/>
                  <a:pt x="2251159" y="1161780"/>
                  <a:pt x="2252525" y="1161780"/>
                </a:cubicBezTo>
                <a:lnTo>
                  <a:pt x="2963038" y="1161780"/>
                </a:lnTo>
                <a:lnTo>
                  <a:pt x="2963038" y="1176271"/>
                </a:lnTo>
                <a:cubicBezTo>
                  <a:pt x="2963038" y="1178132"/>
                  <a:pt x="2963623" y="1179993"/>
                  <a:pt x="2964599" y="1181323"/>
                </a:cubicBezTo>
                <a:cubicBezTo>
                  <a:pt x="2965575" y="1182652"/>
                  <a:pt x="2966941" y="1183450"/>
                  <a:pt x="2968307" y="1183450"/>
                </a:cubicBezTo>
                <a:lnTo>
                  <a:pt x="3051340" y="1183450"/>
                </a:lnTo>
                <a:lnTo>
                  <a:pt x="3051340" y="1198871"/>
                </a:lnTo>
                <a:cubicBezTo>
                  <a:pt x="3051340" y="1200732"/>
                  <a:pt x="3051925" y="1202594"/>
                  <a:pt x="3052901" y="1203923"/>
                </a:cubicBezTo>
                <a:cubicBezTo>
                  <a:pt x="3053876" y="1205252"/>
                  <a:pt x="3055243" y="1206050"/>
                  <a:pt x="3056608" y="1206050"/>
                </a:cubicBezTo>
                <a:lnTo>
                  <a:pt x="4076714" y="1206050"/>
                </a:lnTo>
                <a:lnTo>
                  <a:pt x="4076714" y="1191825"/>
                </a:lnTo>
                <a:lnTo>
                  <a:pt x="3061780" y="1191825"/>
                </a:lnTo>
                <a:lnTo>
                  <a:pt x="3061780" y="1176404"/>
                </a:lnTo>
                <a:cubicBezTo>
                  <a:pt x="3061780" y="1174543"/>
                  <a:pt x="3061194" y="1172682"/>
                  <a:pt x="3060219" y="1171352"/>
                </a:cubicBezTo>
                <a:cubicBezTo>
                  <a:pt x="3059243" y="1170023"/>
                  <a:pt x="3057877" y="1169225"/>
                  <a:pt x="3056511" y="1169225"/>
                </a:cubicBezTo>
                <a:lnTo>
                  <a:pt x="2973478" y="1169225"/>
                </a:lnTo>
                <a:lnTo>
                  <a:pt x="2973478" y="1154734"/>
                </a:lnTo>
                <a:cubicBezTo>
                  <a:pt x="2973478" y="1152873"/>
                  <a:pt x="2972893" y="1151012"/>
                  <a:pt x="2971917" y="1149683"/>
                </a:cubicBezTo>
                <a:cubicBezTo>
                  <a:pt x="2970941" y="1148353"/>
                  <a:pt x="2969575" y="1147556"/>
                  <a:pt x="2968209" y="1147556"/>
                </a:cubicBezTo>
                <a:lnTo>
                  <a:pt x="2257697" y="1147556"/>
                </a:lnTo>
                <a:lnTo>
                  <a:pt x="2257697" y="1135059"/>
                </a:lnTo>
                <a:cubicBezTo>
                  <a:pt x="2257697" y="1133198"/>
                  <a:pt x="2257111" y="1131337"/>
                  <a:pt x="2256136" y="1130007"/>
                </a:cubicBezTo>
                <a:cubicBezTo>
                  <a:pt x="2255160" y="1128678"/>
                  <a:pt x="2253794" y="1127880"/>
                  <a:pt x="2252428" y="1127880"/>
                </a:cubicBezTo>
                <a:lnTo>
                  <a:pt x="1835995" y="1127880"/>
                </a:lnTo>
                <a:lnTo>
                  <a:pt x="1835995" y="1115782"/>
                </a:lnTo>
                <a:cubicBezTo>
                  <a:pt x="1835995" y="1113921"/>
                  <a:pt x="1835409" y="1112060"/>
                  <a:pt x="1834433" y="1110731"/>
                </a:cubicBezTo>
                <a:cubicBezTo>
                  <a:pt x="1833458" y="1109401"/>
                  <a:pt x="1832092" y="1108604"/>
                  <a:pt x="1830726" y="1108604"/>
                </a:cubicBezTo>
                <a:lnTo>
                  <a:pt x="1666806" y="1108604"/>
                </a:lnTo>
                <a:lnTo>
                  <a:pt x="1666806" y="1096373"/>
                </a:lnTo>
                <a:cubicBezTo>
                  <a:pt x="1666806" y="1094512"/>
                  <a:pt x="1666221" y="1092651"/>
                  <a:pt x="1665245" y="1091321"/>
                </a:cubicBezTo>
                <a:cubicBezTo>
                  <a:pt x="1664270" y="1089992"/>
                  <a:pt x="1662903" y="1089194"/>
                  <a:pt x="1661537" y="1089194"/>
                </a:cubicBezTo>
                <a:lnTo>
                  <a:pt x="1546599" y="1089194"/>
                </a:lnTo>
                <a:lnTo>
                  <a:pt x="1546599" y="1077096"/>
                </a:lnTo>
                <a:cubicBezTo>
                  <a:pt x="1546599" y="1075235"/>
                  <a:pt x="1546013" y="1073374"/>
                  <a:pt x="1545038" y="1072044"/>
                </a:cubicBezTo>
                <a:cubicBezTo>
                  <a:pt x="1544062" y="1070715"/>
                  <a:pt x="1542696" y="1069917"/>
                  <a:pt x="1541330" y="1069917"/>
                </a:cubicBezTo>
                <a:lnTo>
                  <a:pt x="1394583" y="1069917"/>
                </a:lnTo>
                <a:lnTo>
                  <a:pt x="1394583" y="1058086"/>
                </a:lnTo>
                <a:cubicBezTo>
                  <a:pt x="1394583" y="1056224"/>
                  <a:pt x="1393998" y="1054363"/>
                  <a:pt x="1393022" y="1053034"/>
                </a:cubicBezTo>
                <a:cubicBezTo>
                  <a:pt x="1392046" y="1051704"/>
                  <a:pt x="1390680" y="1050907"/>
                  <a:pt x="1389314" y="1050907"/>
                </a:cubicBezTo>
                <a:lnTo>
                  <a:pt x="1379850" y="1050907"/>
                </a:lnTo>
                <a:lnTo>
                  <a:pt x="1379850" y="1039075"/>
                </a:lnTo>
                <a:cubicBezTo>
                  <a:pt x="1379850" y="1037214"/>
                  <a:pt x="1379264" y="1035353"/>
                  <a:pt x="1378289" y="1034023"/>
                </a:cubicBezTo>
                <a:cubicBezTo>
                  <a:pt x="1377313" y="1032694"/>
                  <a:pt x="1375947" y="1031896"/>
                  <a:pt x="1374581" y="1031896"/>
                </a:cubicBezTo>
                <a:lnTo>
                  <a:pt x="1360140" y="1031896"/>
                </a:lnTo>
                <a:lnTo>
                  <a:pt x="1360140" y="1020064"/>
                </a:lnTo>
                <a:cubicBezTo>
                  <a:pt x="1360140" y="1018203"/>
                  <a:pt x="1359555" y="1016342"/>
                  <a:pt x="1358579" y="1015012"/>
                </a:cubicBezTo>
                <a:cubicBezTo>
                  <a:pt x="1357604" y="1013683"/>
                  <a:pt x="1356238" y="1012885"/>
                  <a:pt x="1354872" y="1012885"/>
                </a:cubicBezTo>
                <a:lnTo>
                  <a:pt x="1347847" y="1012885"/>
                </a:lnTo>
                <a:lnTo>
                  <a:pt x="1347847" y="1001053"/>
                </a:lnTo>
                <a:cubicBezTo>
                  <a:pt x="1347847" y="999192"/>
                  <a:pt x="1347261" y="997331"/>
                  <a:pt x="1346285" y="996002"/>
                </a:cubicBezTo>
                <a:cubicBezTo>
                  <a:pt x="1345310" y="994672"/>
                  <a:pt x="1343944" y="993875"/>
                  <a:pt x="1342578" y="993875"/>
                </a:cubicBezTo>
                <a:lnTo>
                  <a:pt x="1249788" y="993875"/>
                </a:lnTo>
                <a:lnTo>
                  <a:pt x="1249788" y="982043"/>
                </a:lnTo>
                <a:cubicBezTo>
                  <a:pt x="1249788" y="980182"/>
                  <a:pt x="1249202" y="978320"/>
                  <a:pt x="1248227" y="976991"/>
                </a:cubicBezTo>
                <a:cubicBezTo>
                  <a:pt x="1247251" y="975661"/>
                  <a:pt x="1245885" y="974864"/>
                  <a:pt x="1244519" y="974864"/>
                </a:cubicBezTo>
                <a:lnTo>
                  <a:pt x="1185976" y="974864"/>
                </a:lnTo>
                <a:lnTo>
                  <a:pt x="1185976" y="963032"/>
                </a:lnTo>
                <a:cubicBezTo>
                  <a:pt x="1185976" y="961171"/>
                  <a:pt x="1185391" y="959310"/>
                  <a:pt x="1184415" y="957980"/>
                </a:cubicBezTo>
                <a:cubicBezTo>
                  <a:pt x="1183439" y="956651"/>
                  <a:pt x="1182073" y="955853"/>
                  <a:pt x="1180707" y="955853"/>
                </a:cubicBezTo>
                <a:lnTo>
                  <a:pt x="1129580" y="955853"/>
                </a:lnTo>
                <a:lnTo>
                  <a:pt x="1129580" y="944021"/>
                </a:lnTo>
                <a:cubicBezTo>
                  <a:pt x="1129580" y="942160"/>
                  <a:pt x="1128995" y="940299"/>
                  <a:pt x="1128019" y="938970"/>
                </a:cubicBezTo>
                <a:cubicBezTo>
                  <a:pt x="1127043" y="937640"/>
                  <a:pt x="1125677" y="936842"/>
                  <a:pt x="1124311" y="936842"/>
                </a:cubicBezTo>
                <a:lnTo>
                  <a:pt x="1070745" y="936842"/>
                </a:lnTo>
                <a:lnTo>
                  <a:pt x="1070745" y="925011"/>
                </a:lnTo>
                <a:cubicBezTo>
                  <a:pt x="1070745" y="923149"/>
                  <a:pt x="1070159" y="921288"/>
                  <a:pt x="1069184" y="919959"/>
                </a:cubicBezTo>
                <a:cubicBezTo>
                  <a:pt x="1068208" y="918629"/>
                  <a:pt x="1066842" y="917832"/>
                  <a:pt x="1065476" y="917832"/>
                </a:cubicBezTo>
                <a:lnTo>
                  <a:pt x="975028" y="917832"/>
                </a:lnTo>
                <a:lnTo>
                  <a:pt x="975028" y="906000"/>
                </a:lnTo>
                <a:cubicBezTo>
                  <a:pt x="975028" y="904139"/>
                  <a:pt x="974442" y="902278"/>
                  <a:pt x="973466" y="900948"/>
                </a:cubicBezTo>
                <a:cubicBezTo>
                  <a:pt x="972491" y="899619"/>
                  <a:pt x="971125" y="898821"/>
                  <a:pt x="969759" y="898821"/>
                </a:cubicBezTo>
                <a:lnTo>
                  <a:pt x="938243" y="898821"/>
                </a:lnTo>
                <a:lnTo>
                  <a:pt x="938243" y="886989"/>
                </a:lnTo>
                <a:cubicBezTo>
                  <a:pt x="938243" y="885128"/>
                  <a:pt x="937658" y="883267"/>
                  <a:pt x="936682" y="881937"/>
                </a:cubicBezTo>
                <a:cubicBezTo>
                  <a:pt x="935706" y="880608"/>
                  <a:pt x="934340" y="879810"/>
                  <a:pt x="932974" y="879810"/>
                </a:cubicBezTo>
                <a:lnTo>
                  <a:pt x="864675" y="879810"/>
                </a:lnTo>
                <a:lnTo>
                  <a:pt x="864675" y="868244"/>
                </a:lnTo>
                <a:cubicBezTo>
                  <a:pt x="864675" y="866383"/>
                  <a:pt x="864089" y="864522"/>
                  <a:pt x="863114" y="863193"/>
                </a:cubicBezTo>
                <a:cubicBezTo>
                  <a:pt x="862138" y="861863"/>
                  <a:pt x="860772" y="861066"/>
                  <a:pt x="859406" y="861066"/>
                </a:cubicBezTo>
                <a:lnTo>
                  <a:pt x="847405" y="861066"/>
                </a:lnTo>
                <a:lnTo>
                  <a:pt x="847405" y="849500"/>
                </a:lnTo>
                <a:cubicBezTo>
                  <a:pt x="847405" y="847638"/>
                  <a:pt x="846819" y="845777"/>
                  <a:pt x="845844" y="844448"/>
                </a:cubicBezTo>
                <a:cubicBezTo>
                  <a:pt x="844868" y="843118"/>
                  <a:pt x="843502" y="842321"/>
                  <a:pt x="842136" y="842321"/>
                </a:cubicBezTo>
                <a:lnTo>
                  <a:pt x="815499" y="842321"/>
                </a:lnTo>
                <a:lnTo>
                  <a:pt x="815499" y="831021"/>
                </a:lnTo>
                <a:cubicBezTo>
                  <a:pt x="815499" y="829159"/>
                  <a:pt x="814913" y="827298"/>
                  <a:pt x="813938" y="825969"/>
                </a:cubicBezTo>
                <a:cubicBezTo>
                  <a:pt x="812962" y="824639"/>
                  <a:pt x="811596" y="823842"/>
                  <a:pt x="810230" y="823842"/>
                </a:cubicBezTo>
                <a:lnTo>
                  <a:pt x="807791" y="823842"/>
                </a:lnTo>
                <a:lnTo>
                  <a:pt x="807791" y="831021"/>
                </a:lnTo>
                <a:lnTo>
                  <a:pt x="813060" y="831021"/>
                </a:lnTo>
                <a:lnTo>
                  <a:pt x="813060" y="812542"/>
                </a:lnTo>
                <a:cubicBezTo>
                  <a:pt x="813060" y="810680"/>
                  <a:pt x="812474" y="808819"/>
                  <a:pt x="811498" y="807490"/>
                </a:cubicBezTo>
                <a:cubicBezTo>
                  <a:pt x="810523" y="806160"/>
                  <a:pt x="809157" y="805363"/>
                  <a:pt x="807791" y="805363"/>
                </a:cubicBezTo>
                <a:lnTo>
                  <a:pt x="766421" y="805363"/>
                </a:lnTo>
                <a:lnTo>
                  <a:pt x="766421" y="794063"/>
                </a:lnTo>
                <a:cubicBezTo>
                  <a:pt x="766421" y="792202"/>
                  <a:pt x="765835" y="790340"/>
                  <a:pt x="764860" y="789011"/>
                </a:cubicBezTo>
                <a:cubicBezTo>
                  <a:pt x="763884" y="787682"/>
                  <a:pt x="762518" y="786884"/>
                  <a:pt x="761152" y="786884"/>
                </a:cubicBezTo>
                <a:lnTo>
                  <a:pt x="749248" y="786884"/>
                </a:lnTo>
                <a:lnTo>
                  <a:pt x="749248" y="775584"/>
                </a:lnTo>
                <a:cubicBezTo>
                  <a:pt x="749248" y="773723"/>
                  <a:pt x="748663" y="771861"/>
                  <a:pt x="747687" y="770532"/>
                </a:cubicBezTo>
                <a:cubicBezTo>
                  <a:pt x="746711" y="769203"/>
                  <a:pt x="745345" y="768405"/>
                  <a:pt x="743979" y="768405"/>
                </a:cubicBezTo>
                <a:lnTo>
                  <a:pt x="739393" y="768405"/>
                </a:lnTo>
                <a:lnTo>
                  <a:pt x="739393" y="757105"/>
                </a:lnTo>
                <a:cubicBezTo>
                  <a:pt x="739393" y="755244"/>
                  <a:pt x="738808" y="753382"/>
                  <a:pt x="737832" y="752053"/>
                </a:cubicBezTo>
                <a:cubicBezTo>
                  <a:pt x="736857" y="750724"/>
                  <a:pt x="735491" y="749926"/>
                  <a:pt x="734125" y="749926"/>
                </a:cubicBezTo>
                <a:lnTo>
                  <a:pt x="675582" y="749926"/>
                </a:lnTo>
                <a:lnTo>
                  <a:pt x="675582" y="701668"/>
                </a:lnTo>
                <a:cubicBezTo>
                  <a:pt x="675582" y="699807"/>
                  <a:pt x="674997" y="697946"/>
                  <a:pt x="674021" y="696616"/>
                </a:cubicBezTo>
                <a:cubicBezTo>
                  <a:pt x="673045" y="695287"/>
                  <a:pt x="671679" y="694489"/>
                  <a:pt x="670313" y="694489"/>
                </a:cubicBezTo>
                <a:lnTo>
                  <a:pt x="667874" y="694489"/>
                </a:lnTo>
                <a:lnTo>
                  <a:pt x="667874" y="701668"/>
                </a:lnTo>
                <a:lnTo>
                  <a:pt x="673143" y="701668"/>
                </a:lnTo>
                <a:lnTo>
                  <a:pt x="673143" y="683189"/>
                </a:lnTo>
                <a:cubicBezTo>
                  <a:pt x="673143" y="681328"/>
                  <a:pt x="672557" y="679467"/>
                  <a:pt x="671582" y="678137"/>
                </a:cubicBezTo>
                <a:cubicBezTo>
                  <a:pt x="670606" y="676808"/>
                  <a:pt x="669240" y="676010"/>
                  <a:pt x="667874" y="676010"/>
                </a:cubicBezTo>
                <a:lnTo>
                  <a:pt x="621625" y="676010"/>
                </a:lnTo>
                <a:lnTo>
                  <a:pt x="621625" y="664710"/>
                </a:lnTo>
                <a:cubicBezTo>
                  <a:pt x="621625" y="662849"/>
                  <a:pt x="621040" y="660988"/>
                  <a:pt x="620064" y="659658"/>
                </a:cubicBezTo>
                <a:cubicBezTo>
                  <a:pt x="619088" y="658329"/>
                  <a:pt x="617722" y="657531"/>
                  <a:pt x="616356" y="657531"/>
                </a:cubicBezTo>
                <a:lnTo>
                  <a:pt x="601916" y="657531"/>
                </a:lnTo>
                <a:lnTo>
                  <a:pt x="601916" y="646231"/>
                </a:lnTo>
                <a:cubicBezTo>
                  <a:pt x="601916" y="644370"/>
                  <a:pt x="601330" y="642509"/>
                  <a:pt x="600355" y="641179"/>
                </a:cubicBezTo>
                <a:cubicBezTo>
                  <a:pt x="599379" y="639850"/>
                  <a:pt x="598013" y="639052"/>
                  <a:pt x="596647" y="639052"/>
                </a:cubicBezTo>
                <a:lnTo>
                  <a:pt x="579865" y="639052"/>
                </a:lnTo>
                <a:lnTo>
                  <a:pt x="579865" y="627752"/>
                </a:lnTo>
                <a:cubicBezTo>
                  <a:pt x="579865" y="625891"/>
                  <a:pt x="579279" y="624030"/>
                  <a:pt x="578304" y="622700"/>
                </a:cubicBezTo>
                <a:cubicBezTo>
                  <a:pt x="577328" y="621371"/>
                  <a:pt x="575962" y="620573"/>
                  <a:pt x="574596" y="620573"/>
                </a:cubicBezTo>
                <a:lnTo>
                  <a:pt x="570010" y="620573"/>
                </a:lnTo>
                <a:lnTo>
                  <a:pt x="570010" y="609140"/>
                </a:lnTo>
                <a:cubicBezTo>
                  <a:pt x="570010" y="607279"/>
                  <a:pt x="569425" y="605418"/>
                  <a:pt x="568449" y="604089"/>
                </a:cubicBezTo>
                <a:cubicBezTo>
                  <a:pt x="567473" y="602759"/>
                  <a:pt x="566107" y="601962"/>
                  <a:pt x="564741" y="601962"/>
                </a:cubicBezTo>
                <a:lnTo>
                  <a:pt x="562302" y="601962"/>
                </a:lnTo>
                <a:lnTo>
                  <a:pt x="562302" y="609140"/>
                </a:lnTo>
                <a:lnTo>
                  <a:pt x="567571" y="609140"/>
                </a:lnTo>
                <a:lnTo>
                  <a:pt x="567571" y="590661"/>
                </a:lnTo>
                <a:cubicBezTo>
                  <a:pt x="567571" y="588800"/>
                  <a:pt x="566985" y="586939"/>
                  <a:pt x="566010" y="585610"/>
                </a:cubicBezTo>
                <a:cubicBezTo>
                  <a:pt x="565034" y="584280"/>
                  <a:pt x="563668" y="583483"/>
                  <a:pt x="562302" y="583483"/>
                </a:cubicBezTo>
                <a:lnTo>
                  <a:pt x="559863" y="583483"/>
                </a:lnTo>
                <a:lnTo>
                  <a:pt x="559863" y="590661"/>
                </a:lnTo>
                <a:lnTo>
                  <a:pt x="565132" y="590661"/>
                </a:lnTo>
                <a:lnTo>
                  <a:pt x="565132" y="572182"/>
                </a:lnTo>
                <a:cubicBezTo>
                  <a:pt x="565132" y="570321"/>
                  <a:pt x="564546" y="568460"/>
                  <a:pt x="563570" y="567131"/>
                </a:cubicBezTo>
                <a:cubicBezTo>
                  <a:pt x="562595" y="565801"/>
                  <a:pt x="561229" y="565004"/>
                  <a:pt x="559863" y="565004"/>
                </a:cubicBezTo>
                <a:lnTo>
                  <a:pt x="535665" y="565004"/>
                </a:lnTo>
                <a:lnTo>
                  <a:pt x="535665" y="553704"/>
                </a:lnTo>
                <a:cubicBezTo>
                  <a:pt x="535665" y="551842"/>
                  <a:pt x="535080" y="549981"/>
                  <a:pt x="534104" y="548652"/>
                </a:cubicBezTo>
                <a:cubicBezTo>
                  <a:pt x="533128" y="547322"/>
                  <a:pt x="531762" y="546525"/>
                  <a:pt x="530396" y="546525"/>
                </a:cubicBezTo>
                <a:lnTo>
                  <a:pt x="525908" y="546525"/>
                </a:lnTo>
                <a:lnTo>
                  <a:pt x="525908" y="535225"/>
                </a:lnTo>
                <a:cubicBezTo>
                  <a:pt x="525908" y="533363"/>
                  <a:pt x="525323" y="531502"/>
                  <a:pt x="524347" y="530173"/>
                </a:cubicBezTo>
                <a:cubicBezTo>
                  <a:pt x="523371" y="528843"/>
                  <a:pt x="522005" y="528046"/>
                  <a:pt x="520639" y="528046"/>
                </a:cubicBezTo>
                <a:lnTo>
                  <a:pt x="518493" y="528046"/>
                </a:lnTo>
                <a:lnTo>
                  <a:pt x="518493" y="516879"/>
                </a:lnTo>
                <a:cubicBezTo>
                  <a:pt x="518493" y="515017"/>
                  <a:pt x="517907" y="513156"/>
                  <a:pt x="516931" y="511827"/>
                </a:cubicBezTo>
                <a:cubicBezTo>
                  <a:pt x="515956" y="510497"/>
                  <a:pt x="514590" y="509700"/>
                  <a:pt x="513224" y="509700"/>
                </a:cubicBezTo>
                <a:lnTo>
                  <a:pt x="491465" y="509700"/>
                </a:lnTo>
                <a:lnTo>
                  <a:pt x="491465" y="498533"/>
                </a:lnTo>
                <a:cubicBezTo>
                  <a:pt x="491465" y="496671"/>
                  <a:pt x="490880" y="494810"/>
                  <a:pt x="489904" y="493481"/>
                </a:cubicBezTo>
                <a:cubicBezTo>
                  <a:pt x="488929" y="492151"/>
                  <a:pt x="487563" y="491354"/>
                  <a:pt x="486197" y="491354"/>
                </a:cubicBezTo>
                <a:lnTo>
                  <a:pt x="483757" y="491354"/>
                </a:lnTo>
                <a:lnTo>
                  <a:pt x="483757" y="498400"/>
                </a:lnTo>
                <a:lnTo>
                  <a:pt x="489026" y="498400"/>
                </a:lnTo>
                <a:lnTo>
                  <a:pt x="489026" y="480054"/>
                </a:lnTo>
                <a:cubicBezTo>
                  <a:pt x="489026" y="478192"/>
                  <a:pt x="488441" y="476331"/>
                  <a:pt x="487465" y="475002"/>
                </a:cubicBezTo>
                <a:cubicBezTo>
                  <a:pt x="486489" y="473672"/>
                  <a:pt x="485123" y="472875"/>
                  <a:pt x="483757" y="472875"/>
                </a:cubicBezTo>
                <a:lnTo>
                  <a:pt x="457120" y="472875"/>
                </a:lnTo>
                <a:lnTo>
                  <a:pt x="457120" y="461708"/>
                </a:lnTo>
                <a:cubicBezTo>
                  <a:pt x="457120" y="459846"/>
                  <a:pt x="456535" y="457985"/>
                  <a:pt x="455559" y="456656"/>
                </a:cubicBezTo>
                <a:cubicBezTo>
                  <a:pt x="454584" y="455326"/>
                  <a:pt x="453218" y="454529"/>
                  <a:pt x="451852" y="454529"/>
                </a:cubicBezTo>
                <a:lnTo>
                  <a:pt x="446973" y="454529"/>
                </a:lnTo>
                <a:lnTo>
                  <a:pt x="446973" y="461575"/>
                </a:lnTo>
                <a:lnTo>
                  <a:pt x="452242" y="461575"/>
                </a:lnTo>
                <a:lnTo>
                  <a:pt x="452242" y="443362"/>
                </a:lnTo>
                <a:cubicBezTo>
                  <a:pt x="452242" y="441500"/>
                  <a:pt x="451656" y="439639"/>
                  <a:pt x="450681" y="438310"/>
                </a:cubicBezTo>
                <a:cubicBezTo>
                  <a:pt x="449705" y="436980"/>
                  <a:pt x="448339" y="436183"/>
                  <a:pt x="446973" y="436183"/>
                </a:cubicBezTo>
                <a:lnTo>
                  <a:pt x="444534" y="436183"/>
                </a:lnTo>
                <a:lnTo>
                  <a:pt x="444534" y="443362"/>
                </a:lnTo>
                <a:lnTo>
                  <a:pt x="449803" y="443362"/>
                </a:lnTo>
                <a:lnTo>
                  <a:pt x="449803" y="425149"/>
                </a:lnTo>
                <a:cubicBezTo>
                  <a:pt x="449803" y="423287"/>
                  <a:pt x="449217" y="421426"/>
                  <a:pt x="448241" y="420097"/>
                </a:cubicBezTo>
                <a:cubicBezTo>
                  <a:pt x="447266" y="418767"/>
                  <a:pt x="445900" y="417970"/>
                  <a:pt x="444534" y="417970"/>
                </a:cubicBezTo>
                <a:lnTo>
                  <a:pt x="435069" y="417970"/>
                </a:lnTo>
                <a:lnTo>
                  <a:pt x="435069" y="406803"/>
                </a:lnTo>
                <a:cubicBezTo>
                  <a:pt x="435069" y="404941"/>
                  <a:pt x="434484" y="403080"/>
                  <a:pt x="433508" y="401751"/>
                </a:cubicBezTo>
                <a:cubicBezTo>
                  <a:pt x="432533" y="400421"/>
                  <a:pt x="431166" y="399624"/>
                  <a:pt x="429800" y="399624"/>
                </a:cubicBezTo>
                <a:lnTo>
                  <a:pt x="427361" y="399624"/>
                </a:lnTo>
                <a:lnTo>
                  <a:pt x="427361" y="406803"/>
                </a:lnTo>
                <a:lnTo>
                  <a:pt x="432533" y="406803"/>
                </a:lnTo>
                <a:lnTo>
                  <a:pt x="432533" y="388590"/>
                </a:lnTo>
                <a:cubicBezTo>
                  <a:pt x="432533" y="386728"/>
                  <a:pt x="431947" y="384867"/>
                  <a:pt x="430971" y="383538"/>
                </a:cubicBezTo>
                <a:cubicBezTo>
                  <a:pt x="429996" y="382208"/>
                  <a:pt x="428630" y="381411"/>
                  <a:pt x="427264" y="381411"/>
                </a:cubicBezTo>
                <a:lnTo>
                  <a:pt x="422385" y="381411"/>
                </a:lnTo>
                <a:lnTo>
                  <a:pt x="422385" y="388590"/>
                </a:lnTo>
                <a:lnTo>
                  <a:pt x="427654" y="388590"/>
                </a:lnTo>
                <a:lnTo>
                  <a:pt x="427654" y="370376"/>
                </a:lnTo>
                <a:cubicBezTo>
                  <a:pt x="427654" y="368515"/>
                  <a:pt x="427069" y="366654"/>
                  <a:pt x="426093" y="365325"/>
                </a:cubicBezTo>
                <a:cubicBezTo>
                  <a:pt x="425117" y="363995"/>
                  <a:pt x="423751" y="363198"/>
                  <a:pt x="422385" y="363198"/>
                </a:cubicBezTo>
                <a:lnTo>
                  <a:pt x="381015" y="363198"/>
                </a:lnTo>
                <a:lnTo>
                  <a:pt x="381015" y="352030"/>
                </a:lnTo>
                <a:cubicBezTo>
                  <a:pt x="381015" y="350169"/>
                  <a:pt x="380430" y="348308"/>
                  <a:pt x="379454" y="346979"/>
                </a:cubicBezTo>
                <a:cubicBezTo>
                  <a:pt x="378478" y="345649"/>
                  <a:pt x="377112" y="344852"/>
                  <a:pt x="375746" y="344852"/>
                </a:cubicBezTo>
                <a:lnTo>
                  <a:pt x="373307" y="344852"/>
                </a:lnTo>
                <a:lnTo>
                  <a:pt x="373307" y="352030"/>
                </a:lnTo>
                <a:lnTo>
                  <a:pt x="378576" y="352030"/>
                </a:lnTo>
                <a:lnTo>
                  <a:pt x="378576" y="333817"/>
                </a:lnTo>
                <a:cubicBezTo>
                  <a:pt x="378576" y="331956"/>
                  <a:pt x="377990" y="330095"/>
                  <a:pt x="377015" y="328766"/>
                </a:cubicBezTo>
                <a:cubicBezTo>
                  <a:pt x="376039" y="327436"/>
                  <a:pt x="374673" y="326639"/>
                  <a:pt x="373307" y="326639"/>
                </a:cubicBezTo>
                <a:lnTo>
                  <a:pt x="368428" y="326639"/>
                </a:lnTo>
                <a:lnTo>
                  <a:pt x="368428" y="333817"/>
                </a:lnTo>
                <a:lnTo>
                  <a:pt x="373697" y="333817"/>
                </a:lnTo>
                <a:lnTo>
                  <a:pt x="373697" y="315604"/>
                </a:lnTo>
                <a:cubicBezTo>
                  <a:pt x="373697" y="313743"/>
                  <a:pt x="373112" y="311882"/>
                  <a:pt x="372136" y="310553"/>
                </a:cubicBezTo>
                <a:cubicBezTo>
                  <a:pt x="371160" y="309223"/>
                  <a:pt x="369794" y="308426"/>
                  <a:pt x="368428" y="308426"/>
                </a:cubicBezTo>
                <a:lnTo>
                  <a:pt x="349207" y="308426"/>
                </a:lnTo>
                <a:lnTo>
                  <a:pt x="349207" y="297258"/>
                </a:lnTo>
                <a:cubicBezTo>
                  <a:pt x="349207" y="295397"/>
                  <a:pt x="348621" y="293536"/>
                  <a:pt x="347646" y="292207"/>
                </a:cubicBezTo>
                <a:cubicBezTo>
                  <a:pt x="346670" y="290877"/>
                  <a:pt x="345304" y="290079"/>
                  <a:pt x="343938" y="290079"/>
                </a:cubicBezTo>
                <a:lnTo>
                  <a:pt x="339352" y="290079"/>
                </a:lnTo>
                <a:lnTo>
                  <a:pt x="339352" y="278912"/>
                </a:lnTo>
                <a:cubicBezTo>
                  <a:pt x="339352" y="277051"/>
                  <a:pt x="338767" y="275190"/>
                  <a:pt x="337791" y="273861"/>
                </a:cubicBezTo>
                <a:cubicBezTo>
                  <a:pt x="336815" y="272531"/>
                  <a:pt x="335449" y="271734"/>
                  <a:pt x="334083" y="271734"/>
                </a:cubicBezTo>
                <a:lnTo>
                  <a:pt x="304910" y="271734"/>
                </a:lnTo>
                <a:lnTo>
                  <a:pt x="304910" y="260699"/>
                </a:lnTo>
                <a:cubicBezTo>
                  <a:pt x="304910" y="258838"/>
                  <a:pt x="304324" y="256977"/>
                  <a:pt x="303348" y="255648"/>
                </a:cubicBezTo>
                <a:cubicBezTo>
                  <a:pt x="302373" y="254318"/>
                  <a:pt x="301007" y="253520"/>
                  <a:pt x="299641" y="253520"/>
                </a:cubicBezTo>
                <a:lnTo>
                  <a:pt x="294762" y="253520"/>
                </a:lnTo>
                <a:lnTo>
                  <a:pt x="294762" y="260699"/>
                </a:lnTo>
                <a:lnTo>
                  <a:pt x="300031" y="260699"/>
                </a:lnTo>
                <a:lnTo>
                  <a:pt x="300031" y="242619"/>
                </a:lnTo>
                <a:cubicBezTo>
                  <a:pt x="300031" y="240758"/>
                  <a:pt x="299446" y="238897"/>
                  <a:pt x="298470" y="237567"/>
                </a:cubicBezTo>
                <a:cubicBezTo>
                  <a:pt x="297494" y="236238"/>
                  <a:pt x="296128" y="235440"/>
                  <a:pt x="294762" y="235440"/>
                </a:cubicBezTo>
                <a:lnTo>
                  <a:pt x="273004" y="235440"/>
                </a:lnTo>
                <a:lnTo>
                  <a:pt x="273004" y="224406"/>
                </a:lnTo>
                <a:cubicBezTo>
                  <a:pt x="273004" y="222545"/>
                  <a:pt x="272418" y="220684"/>
                  <a:pt x="271443" y="219354"/>
                </a:cubicBezTo>
                <a:cubicBezTo>
                  <a:pt x="270467" y="218025"/>
                  <a:pt x="269101" y="217227"/>
                  <a:pt x="267735" y="217227"/>
                </a:cubicBezTo>
                <a:lnTo>
                  <a:pt x="263149" y="217227"/>
                </a:lnTo>
                <a:lnTo>
                  <a:pt x="263149" y="206326"/>
                </a:lnTo>
                <a:cubicBezTo>
                  <a:pt x="263149" y="204465"/>
                  <a:pt x="262564" y="202604"/>
                  <a:pt x="261588" y="201274"/>
                </a:cubicBezTo>
                <a:cubicBezTo>
                  <a:pt x="260612" y="199945"/>
                  <a:pt x="259246" y="199147"/>
                  <a:pt x="257880" y="199147"/>
                </a:cubicBezTo>
                <a:lnTo>
                  <a:pt x="243537" y="199147"/>
                </a:lnTo>
                <a:lnTo>
                  <a:pt x="243537" y="188246"/>
                </a:lnTo>
                <a:cubicBezTo>
                  <a:pt x="243537" y="186385"/>
                  <a:pt x="242952" y="184524"/>
                  <a:pt x="241976" y="183194"/>
                </a:cubicBezTo>
                <a:cubicBezTo>
                  <a:pt x="241001" y="181865"/>
                  <a:pt x="239635" y="181067"/>
                  <a:pt x="238269" y="181067"/>
                </a:cubicBezTo>
                <a:lnTo>
                  <a:pt x="219047" y="181067"/>
                </a:lnTo>
                <a:lnTo>
                  <a:pt x="219047" y="170033"/>
                </a:lnTo>
                <a:cubicBezTo>
                  <a:pt x="219047" y="168172"/>
                  <a:pt x="218462" y="166310"/>
                  <a:pt x="217486" y="164981"/>
                </a:cubicBezTo>
                <a:cubicBezTo>
                  <a:pt x="216510" y="163652"/>
                  <a:pt x="215144" y="162854"/>
                  <a:pt x="213778" y="162854"/>
                </a:cubicBezTo>
                <a:lnTo>
                  <a:pt x="196898" y="162854"/>
                </a:lnTo>
                <a:lnTo>
                  <a:pt x="196898" y="151953"/>
                </a:lnTo>
                <a:cubicBezTo>
                  <a:pt x="196898" y="150092"/>
                  <a:pt x="196313" y="148230"/>
                  <a:pt x="195337" y="146901"/>
                </a:cubicBezTo>
                <a:cubicBezTo>
                  <a:pt x="194362" y="145572"/>
                  <a:pt x="192996" y="144774"/>
                  <a:pt x="191630" y="144774"/>
                </a:cubicBezTo>
                <a:lnTo>
                  <a:pt x="184604" y="144774"/>
                </a:lnTo>
                <a:lnTo>
                  <a:pt x="184604" y="133740"/>
                </a:lnTo>
                <a:cubicBezTo>
                  <a:pt x="184604" y="131878"/>
                  <a:pt x="184019" y="130017"/>
                  <a:pt x="183043" y="128688"/>
                </a:cubicBezTo>
                <a:cubicBezTo>
                  <a:pt x="182068" y="127358"/>
                  <a:pt x="180702" y="126561"/>
                  <a:pt x="179336" y="126561"/>
                </a:cubicBezTo>
                <a:lnTo>
                  <a:pt x="164993" y="126561"/>
                </a:lnTo>
                <a:lnTo>
                  <a:pt x="164993" y="115660"/>
                </a:lnTo>
                <a:cubicBezTo>
                  <a:pt x="164993" y="113798"/>
                  <a:pt x="164407" y="111937"/>
                  <a:pt x="163432" y="110608"/>
                </a:cubicBezTo>
                <a:cubicBezTo>
                  <a:pt x="162456" y="109278"/>
                  <a:pt x="161090" y="108481"/>
                  <a:pt x="159724" y="108481"/>
                </a:cubicBezTo>
                <a:lnTo>
                  <a:pt x="145283" y="108481"/>
                </a:lnTo>
                <a:lnTo>
                  <a:pt x="145283" y="97447"/>
                </a:lnTo>
                <a:cubicBezTo>
                  <a:pt x="145283" y="95585"/>
                  <a:pt x="144698" y="93724"/>
                  <a:pt x="143722" y="92395"/>
                </a:cubicBezTo>
                <a:cubicBezTo>
                  <a:pt x="142746" y="91065"/>
                  <a:pt x="141380" y="90268"/>
                  <a:pt x="140014" y="90268"/>
                </a:cubicBezTo>
                <a:lnTo>
                  <a:pt x="93766" y="90268"/>
                </a:lnTo>
                <a:lnTo>
                  <a:pt x="93766" y="79366"/>
                </a:lnTo>
                <a:cubicBezTo>
                  <a:pt x="93766" y="77505"/>
                  <a:pt x="93180" y="75644"/>
                  <a:pt x="92205" y="74315"/>
                </a:cubicBezTo>
                <a:cubicBezTo>
                  <a:pt x="91229" y="72985"/>
                  <a:pt x="89863" y="72188"/>
                  <a:pt x="88497" y="72188"/>
                </a:cubicBezTo>
                <a:lnTo>
                  <a:pt x="86058" y="72188"/>
                </a:lnTo>
                <a:lnTo>
                  <a:pt x="86058" y="79366"/>
                </a:lnTo>
                <a:lnTo>
                  <a:pt x="91327" y="79366"/>
                </a:lnTo>
                <a:lnTo>
                  <a:pt x="91327" y="61286"/>
                </a:lnTo>
                <a:cubicBezTo>
                  <a:pt x="91327" y="59425"/>
                  <a:pt x="90741" y="57564"/>
                  <a:pt x="89765" y="56234"/>
                </a:cubicBezTo>
                <a:cubicBezTo>
                  <a:pt x="88790" y="54905"/>
                  <a:pt x="87424" y="54107"/>
                  <a:pt x="86058" y="54107"/>
                </a:cubicBezTo>
                <a:lnTo>
                  <a:pt x="69178" y="54107"/>
                </a:lnTo>
                <a:lnTo>
                  <a:pt x="69178" y="25259"/>
                </a:lnTo>
                <a:cubicBezTo>
                  <a:pt x="69178" y="23398"/>
                  <a:pt x="68592" y="21537"/>
                  <a:pt x="67617" y="20207"/>
                </a:cubicBezTo>
                <a:cubicBezTo>
                  <a:pt x="66641" y="18878"/>
                  <a:pt x="65275" y="18080"/>
                  <a:pt x="63909" y="18080"/>
                </a:cubicBezTo>
                <a:lnTo>
                  <a:pt x="39711" y="18080"/>
                </a:lnTo>
                <a:lnTo>
                  <a:pt x="39711" y="7179"/>
                </a:lnTo>
                <a:cubicBezTo>
                  <a:pt x="39711" y="5318"/>
                  <a:pt x="39126" y="3456"/>
                  <a:pt x="38150" y="2127"/>
                </a:cubicBezTo>
                <a:cubicBezTo>
                  <a:pt x="37175" y="798"/>
                  <a:pt x="35809" y="0"/>
                  <a:pt x="34443" y="0"/>
                </a:cubicBezTo>
                <a:lnTo>
                  <a:pt x="0" y="0"/>
                </a:lnTo>
                <a:lnTo>
                  <a:pt x="0" y="14225"/>
                </a:lnTo>
              </a:path>
            </a:pathLst>
          </a:custGeom>
          <a:solidFill>
            <a:schemeClr val="accent2"/>
          </a:solidFill>
          <a:ln w="9753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967" name="Freihandform: Form 966">
            <a:extLst>
              <a:ext uri="{FF2B5EF4-FFF2-40B4-BE49-F238E27FC236}">
                <a16:creationId xmlns:a16="http://schemas.microsoft.com/office/drawing/2014/main" id="{8FF33368-F4FA-52B7-20DD-E336B85E2832}"/>
              </a:ext>
            </a:extLst>
          </p:cNvPr>
          <p:cNvSpPr/>
          <p:nvPr/>
        </p:nvSpPr>
        <p:spPr>
          <a:xfrm>
            <a:off x="7052659" y="1357472"/>
            <a:ext cx="4076518" cy="1063536"/>
          </a:xfrm>
          <a:custGeom>
            <a:avLst/>
            <a:gdLst>
              <a:gd name="connsiteX0" fmla="*/ 0 w 4076518"/>
              <a:gd name="connsiteY0" fmla="*/ 14225 h 1063536"/>
              <a:gd name="connsiteX1" fmla="*/ 195825 w 4076518"/>
              <a:gd name="connsiteY1" fmla="*/ 14225 h 1063536"/>
              <a:gd name="connsiteX2" fmla="*/ 195825 w 4076518"/>
              <a:gd name="connsiteY2" fmla="*/ 27120 h 1063536"/>
              <a:gd name="connsiteX3" fmla="*/ 197386 w 4076518"/>
              <a:gd name="connsiteY3" fmla="*/ 32172 h 1063536"/>
              <a:gd name="connsiteX4" fmla="*/ 201094 w 4076518"/>
              <a:gd name="connsiteY4" fmla="*/ 34299 h 1063536"/>
              <a:gd name="connsiteX5" fmla="*/ 355159 w 4076518"/>
              <a:gd name="connsiteY5" fmla="*/ 34299 h 1063536"/>
              <a:gd name="connsiteX6" fmla="*/ 355159 w 4076518"/>
              <a:gd name="connsiteY6" fmla="*/ 47194 h 1063536"/>
              <a:gd name="connsiteX7" fmla="*/ 356720 w 4076518"/>
              <a:gd name="connsiteY7" fmla="*/ 52246 h 1063536"/>
              <a:gd name="connsiteX8" fmla="*/ 360427 w 4076518"/>
              <a:gd name="connsiteY8" fmla="*/ 54373 h 1063536"/>
              <a:gd name="connsiteX9" fmla="*/ 561131 w 4076518"/>
              <a:gd name="connsiteY9" fmla="*/ 54373 h 1063536"/>
              <a:gd name="connsiteX10" fmla="*/ 561131 w 4076518"/>
              <a:gd name="connsiteY10" fmla="*/ 67402 h 1063536"/>
              <a:gd name="connsiteX11" fmla="*/ 562692 w 4076518"/>
              <a:gd name="connsiteY11" fmla="*/ 72453 h 1063536"/>
              <a:gd name="connsiteX12" fmla="*/ 566400 w 4076518"/>
              <a:gd name="connsiteY12" fmla="*/ 74580 h 1063536"/>
              <a:gd name="connsiteX13" fmla="*/ 624943 w 4076518"/>
              <a:gd name="connsiteY13" fmla="*/ 74580 h 1063536"/>
              <a:gd name="connsiteX14" fmla="*/ 624943 w 4076518"/>
              <a:gd name="connsiteY14" fmla="*/ 87742 h 1063536"/>
              <a:gd name="connsiteX15" fmla="*/ 626504 w 4076518"/>
              <a:gd name="connsiteY15" fmla="*/ 92794 h 1063536"/>
              <a:gd name="connsiteX16" fmla="*/ 630211 w 4076518"/>
              <a:gd name="connsiteY16" fmla="*/ 94921 h 1063536"/>
              <a:gd name="connsiteX17" fmla="*/ 701048 w 4076518"/>
              <a:gd name="connsiteY17" fmla="*/ 94921 h 1063536"/>
              <a:gd name="connsiteX18" fmla="*/ 701048 w 4076518"/>
              <a:gd name="connsiteY18" fmla="*/ 108082 h 1063536"/>
              <a:gd name="connsiteX19" fmla="*/ 702609 w 4076518"/>
              <a:gd name="connsiteY19" fmla="*/ 113134 h 1063536"/>
              <a:gd name="connsiteX20" fmla="*/ 706317 w 4076518"/>
              <a:gd name="connsiteY20" fmla="*/ 115261 h 1063536"/>
              <a:gd name="connsiteX21" fmla="*/ 750126 w 4076518"/>
              <a:gd name="connsiteY21" fmla="*/ 115261 h 1063536"/>
              <a:gd name="connsiteX22" fmla="*/ 750126 w 4076518"/>
              <a:gd name="connsiteY22" fmla="*/ 128422 h 1063536"/>
              <a:gd name="connsiteX23" fmla="*/ 751687 w 4076518"/>
              <a:gd name="connsiteY23" fmla="*/ 133474 h 1063536"/>
              <a:gd name="connsiteX24" fmla="*/ 755395 w 4076518"/>
              <a:gd name="connsiteY24" fmla="*/ 135601 h 1063536"/>
              <a:gd name="connsiteX25" fmla="*/ 804083 w 4076518"/>
              <a:gd name="connsiteY25" fmla="*/ 135601 h 1063536"/>
              <a:gd name="connsiteX26" fmla="*/ 804083 w 4076518"/>
              <a:gd name="connsiteY26" fmla="*/ 148895 h 1063536"/>
              <a:gd name="connsiteX27" fmla="*/ 805644 w 4076518"/>
              <a:gd name="connsiteY27" fmla="*/ 153947 h 1063536"/>
              <a:gd name="connsiteX28" fmla="*/ 809352 w 4076518"/>
              <a:gd name="connsiteY28" fmla="*/ 156074 h 1063536"/>
              <a:gd name="connsiteX29" fmla="*/ 833550 w 4076518"/>
              <a:gd name="connsiteY29" fmla="*/ 156074 h 1063536"/>
              <a:gd name="connsiteX30" fmla="*/ 833550 w 4076518"/>
              <a:gd name="connsiteY30" fmla="*/ 169368 h 1063536"/>
              <a:gd name="connsiteX31" fmla="*/ 835111 w 4076518"/>
              <a:gd name="connsiteY31" fmla="*/ 174420 h 1063536"/>
              <a:gd name="connsiteX32" fmla="*/ 838818 w 4076518"/>
              <a:gd name="connsiteY32" fmla="*/ 176547 h 1063536"/>
              <a:gd name="connsiteX33" fmla="*/ 865455 w 4076518"/>
              <a:gd name="connsiteY33" fmla="*/ 176547 h 1063536"/>
              <a:gd name="connsiteX34" fmla="*/ 865455 w 4076518"/>
              <a:gd name="connsiteY34" fmla="*/ 189841 h 1063536"/>
              <a:gd name="connsiteX35" fmla="*/ 867016 w 4076518"/>
              <a:gd name="connsiteY35" fmla="*/ 194893 h 1063536"/>
              <a:gd name="connsiteX36" fmla="*/ 870724 w 4076518"/>
              <a:gd name="connsiteY36" fmla="*/ 197020 h 1063536"/>
              <a:gd name="connsiteX37" fmla="*/ 880188 w 4076518"/>
              <a:gd name="connsiteY37" fmla="*/ 197020 h 1063536"/>
              <a:gd name="connsiteX38" fmla="*/ 880188 w 4076518"/>
              <a:gd name="connsiteY38" fmla="*/ 210314 h 1063536"/>
              <a:gd name="connsiteX39" fmla="*/ 881750 w 4076518"/>
              <a:gd name="connsiteY39" fmla="*/ 215366 h 1063536"/>
              <a:gd name="connsiteX40" fmla="*/ 885457 w 4076518"/>
              <a:gd name="connsiteY40" fmla="*/ 217493 h 1063536"/>
              <a:gd name="connsiteX41" fmla="*/ 899800 w 4076518"/>
              <a:gd name="connsiteY41" fmla="*/ 217493 h 1063536"/>
              <a:gd name="connsiteX42" fmla="*/ 899800 w 4076518"/>
              <a:gd name="connsiteY42" fmla="*/ 230787 h 1063536"/>
              <a:gd name="connsiteX43" fmla="*/ 901361 w 4076518"/>
              <a:gd name="connsiteY43" fmla="*/ 235839 h 1063536"/>
              <a:gd name="connsiteX44" fmla="*/ 905069 w 4076518"/>
              <a:gd name="connsiteY44" fmla="*/ 237966 h 1063536"/>
              <a:gd name="connsiteX45" fmla="*/ 941561 w 4076518"/>
              <a:gd name="connsiteY45" fmla="*/ 237966 h 1063536"/>
              <a:gd name="connsiteX46" fmla="*/ 941561 w 4076518"/>
              <a:gd name="connsiteY46" fmla="*/ 251260 h 1063536"/>
              <a:gd name="connsiteX47" fmla="*/ 943122 w 4076518"/>
              <a:gd name="connsiteY47" fmla="*/ 256312 h 1063536"/>
              <a:gd name="connsiteX48" fmla="*/ 946830 w 4076518"/>
              <a:gd name="connsiteY48" fmla="*/ 258439 h 1063536"/>
              <a:gd name="connsiteX49" fmla="*/ 963612 w 4076518"/>
              <a:gd name="connsiteY49" fmla="*/ 258439 h 1063536"/>
              <a:gd name="connsiteX50" fmla="*/ 963612 w 4076518"/>
              <a:gd name="connsiteY50" fmla="*/ 271734 h 1063536"/>
              <a:gd name="connsiteX51" fmla="*/ 965173 w 4076518"/>
              <a:gd name="connsiteY51" fmla="*/ 276785 h 1063536"/>
              <a:gd name="connsiteX52" fmla="*/ 968881 w 4076518"/>
              <a:gd name="connsiteY52" fmla="*/ 278912 h 1063536"/>
              <a:gd name="connsiteX53" fmla="*/ 988200 w 4076518"/>
              <a:gd name="connsiteY53" fmla="*/ 278912 h 1063536"/>
              <a:gd name="connsiteX54" fmla="*/ 988200 w 4076518"/>
              <a:gd name="connsiteY54" fmla="*/ 292472 h 1063536"/>
              <a:gd name="connsiteX55" fmla="*/ 989761 w 4076518"/>
              <a:gd name="connsiteY55" fmla="*/ 297524 h 1063536"/>
              <a:gd name="connsiteX56" fmla="*/ 993468 w 4076518"/>
              <a:gd name="connsiteY56" fmla="*/ 299651 h 1063536"/>
              <a:gd name="connsiteX57" fmla="*/ 1020105 w 4076518"/>
              <a:gd name="connsiteY57" fmla="*/ 299651 h 1063536"/>
              <a:gd name="connsiteX58" fmla="*/ 1020105 w 4076518"/>
              <a:gd name="connsiteY58" fmla="*/ 313211 h 1063536"/>
              <a:gd name="connsiteX59" fmla="*/ 1021667 w 4076518"/>
              <a:gd name="connsiteY59" fmla="*/ 318263 h 1063536"/>
              <a:gd name="connsiteX60" fmla="*/ 1025374 w 4076518"/>
              <a:gd name="connsiteY60" fmla="*/ 320390 h 1063536"/>
              <a:gd name="connsiteX61" fmla="*/ 1093674 w 4076518"/>
              <a:gd name="connsiteY61" fmla="*/ 320390 h 1063536"/>
              <a:gd name="connsiteX62" fmla="*/ 1093674 w 4076518"/>
              <a:gd name="connsiteY62" fmla="*/ 333950 h 1063536"/>
              <a:gd name="connsiteX63" fmla="*/ 1095235 w 4076518"/>
              <a:gd name="connsiteY63" fmla="*/ 339002 h 1063536"/>
              <a:gd name="connsiteX64" fmla="*/ 1098943 w 4076518"/>
              <a:gd name="connsiteY64" fmla="*/ 341129 h 1063536"/>
              <a:gd name="connsiteX65" fmla="*/ 1196611 w 4076518"/>
              <a:gd name="connsiteY65" fmla="*/ 341129 h 1063536"/>
              <a:gd name="connsiteX66" fmla="*/ 1196611 w 4076518"/>
              <a:gd name="connsiteY66" fmla="*/ 354689 h 1063536"/>
              <a:gd name="connsiteX67" fmla="*/ 1198173 w 4076518"/>
              <a:gd name="connsiteY67" fmla="*/ 359741 h 1063536"/>
              <a:gd name="connsiteX68" fmla="*/ 1201880 w 4076518"/>
              <a:gd name="connsiteY68" fmla="*/ 361868 h 1063536"/>
              <a:gd name="connsiteX69" fmla="*/ 1208905 w 4076518"/>
              <a:gd name="connsiteY69" fmla="*/ 361868 h 1063536"/>
              <a:gd name="connsiteX70" fmla="*/ 1208905 w 4076518"/>
              <a:gd name="connsiteY70" fmla="*/ 375428 h 1063536"/>
              <a:gd name="connsiteX71" fmla="*/ 1210467 w 4076518"/>
              <a:gd name="connsiteY71" fmla="*/ 380480 h 1063536"/>
              <a:gd name="connsiteX72" fmla="*/ 1214174 w 4076518"/>
              <a:gd name="connsiteY72" fmla="*/ 382607 h 1063536"/>
              <a:gd name="connsiteX73" fmla="*/ 1228615 w 4076518"/>
              <a:gd name="connsiteY73" fmla="*/ 382607 h 1063536"/>
              <a:gd name="connsiteX74" fmla="*/ 1228615 w 4076518"/>
              <a:gd name="connsiteY74" fmla="*/ 416773 h 1063536"/>
              <a:gd name="connsiteX75" fmla="*/ 1230176 w 4076518"/>
              <a:gd name="connsiteY75" fmla="*/ 421825 h 1063536"/>
              <a:gd name="connsiteX76" fmla="*/ 1233884 w 4076518"/>
              <a:gd name="connsiteY76" fmla="*/ 423952 h 1063536"/>
              <a:gd name="connsiteX77" fmla="*/ 1287450 w 4076518"/>
              <a:gd name="connsiteY77" fmla="*/ 423952 h 1063536"/>
              <a:gd name="connsiteX78" fmla="*/ 1287450 w 4076518"/>
              <a:gd name="connsiteY78" fmla="*/ 437512 h 1063536"/>
              <a:gd name="connsiteX79" fmla="*/ 1289011 w 4076518"/>
              <a:gd name="connsiteY79" fmla="*/ 442564 h 1063536"/>
              <a:gd name="connsiteX80" fmla="*/ 1292719 w 4076518"/>
              <a:gd name="connsiteY80" fmla="*/ 444691 h 1063536"/>
              <a:gd name="connsiteX81" fmla="*/ 1307159 w 4076518"/>
              <a:gd name="connsiteY81" fmla="*/ 444691 h 1063536"/>
              <a:gd name="connsiteX82" fmla="*/ 1307159 w 4076518"/>
              <a:gd name="connsiteY82" fmla="*/ 478857 h 1063536"/>
              <a:gd name="connsiteX83" fmla="*/ 1308721 w 4076518"/>
              <a:gd name="connsiteY83" fmla="*/ 483909 h 1063536"/>
              <a:gd name="connsiteX84" fmla="*/ 1312428 w 4076518"/>
              <a:gd name="connsiteY84" fmla="*/ 486036 h 1063536"/>
              <a:gd name="connsiteX85" fmla="*/ 1317307 w 4076518"/>
              <a:gd name="connsiteY85" fmla="*/ 486036 h 1063536"/>
              <a:gd name="connsiteX86" fmla="*/ 1317307 w 4076518"/>
              <a:gd name="connsiteY86" fmla="*/ 478857 h 1063536"/>
              <a:gd name="connsiteX87" fmla="*/ 1312038 w 4076518"/>
              <a:gd name="connsiteY87" fmla="*/ 478857 h 1063536"/>
              <a:gd name="connsiteX88" fmla="*/ 1312038 w 4076518"/>
              <a:gd name="connsiteY88" fmla="*/ 499463 h 1063536"/>
              <a:gd name="connsiteX89" fmla="*/ 1313599 w 4076518"/>
              <a:gd name="connsiteY89" fmla="*/ 504515 h 1063536"/>
              <a:gd name="connsiteX90" fmla="*/ 1317307 w 4076518"/>
              <a:gd name="connsiteY90" fmla="*/ 506642 h 1063536"/>
              <a:gd name="connsiteX91" fmla="*/ 1324332 w 4076518"/>
              <a:gd name="connsiteY91" fmla="*/ 506642 h 1063536"/>
              <a:gd name="connsiteX92" fmla="*/ 1324332 w 4076518"/>
              <a:gd name="connsiteY92" fmla="*/ 520202 h 1063536"/>
              <a:gd name="connsiteX93" fmla="*/ 1325893 w 4076518"/>
              <a:gd name="connsiteY93" fmla="*/ 525254 h 1063536"/>
              <a:gd name="connsiteX94" fmla="*/ 1329601 w 4076518"/>
              <a:gd name="connsiteY94" fmla="*/ 527381 h 1063536"/>
              <a:gd name="connsiteX95" fmla="*/ 1334187 w 4076518"/>
              <a:gd name="connsiteY95" fmla="*/ 527381 h 1063536"/>
              <a:gd name="connsiteX96" fmla="*/ 1334187 w 4076518"/>
              <a:gd name="connsiteY96" fmla="*/ 561547 h 1063536"/>
              <a:gd name="connsiteX97" fmla="*/ 1335748 w 4076518"/>
              <a:gd name="connsiteY97" fmla="*/ 566599 h 1063536"/>
              <a:gd name="connsiteX98" fmla="*/ 1339455 w 4076518"/>
              <a:gd name="connsiteY98" fmla="*/ 568726 h 1063536"/>
              <a:gd name="connsiteX99" fmla="*/ 1456833 w 4076518"/>
              <a:gd name="connsiteY99" fmla="*/ 568726 h 1063536"/>
              <a:gd name="connsiteX100" fmla="*/ 1456833 w 4076518"/>
              <a:gd name="connsiteY100" fmla="*/ 582552 h 1063536"/>
              <a:gd name="connsiteX101" fmla="*/ 1458395 w 4076518"/>
              <a:gd name="connsiteY101" fmla="*/ 587604 h 1063536"/>
              <a:gd name="connsiteX102" fmla="*/ 1462102 w 4076518"/>
              <a:gd name="connsiteY102" fmla="*/ 589731 h 1063536"/>
              <a:gd name="connsiteX103" fmla="*/ 1483861 w 4076518"/>
              <a:gd name="connsiteY103" fmla="*/ 589731 h 1063536"/>
              <a:gd name="connsiteX104" fmla="*/ 1483861 w 4076518"/>
              <a:gd name="connsiteY104" fmla="*/ 603557 h 1063536"/>
              <a:gd name="connsiteX105" fmla="*/ 1485422 w 4076518"/>
              <a:gd name="connsiteY105" fmla="*/ 608609 h 1063536"/>
              <a:gd name="connsiteX106" fmla="*/ 1489129 w 4076518"/>
              <a:gd name="connsiteY106" fmla="*/ 610736 h 1063536"/>
              <a:gd name="connsiteX107" fmla="*/ 1491569 w 4076518"/>
              <a:gd name="connsiteY107" fmla="*/ 610736 h 1063536"/>
              <a:gd name="connsiteX108" fmla="*/ 1491569 w 4076518"/>
              <a:gd name="connsiteY108" fmla="*/ 603557 h 1063536"/>
              <a:gd name="connsiteX109" fmla="*/ 1486300 w 4076518"/>
              <a:gd name="connsiteY109" fmla="*/ 603557 h 1063536"/>
              <a:gd name="connsiteX110" fmla="*/ 1486300 w 4076518"/>
              <a:gd name="connsiteY110" fmla="*/ 624429 h 1063536"/>
              <a:gd name="connsiteX111" fmla="*/ 1487861 w 4076518"/>
              <a:gd name="connsiteY111" fmla="*/ 629480 h 1063536"/>
              <a:gd name="connsiteX112" fmla="*/ 1491569 w 4076518"/>
              <a:gd name="connsiteY112" fmla="*/ 631608 h 1063536"/>
              <a:gd name="connsiteX113" fmla="*/ 1581920 w 4076518"/>
              <a:gd name="connsiteY113" fmla="*/ 631608 h 1063536"/>
              <a:gd name="connsiteX114" fmla="*/ 1581920 w 4076518"/>
              <a:gd name="connsiteY114" fmla="*/ 645434 h 1063536"/>
              <a:gd name="connsiteX115" fmla="*/ 1583481 w 4076518"/>
              <a:gd name="connsiteY115" fmla="*/ 650485 h 1063536"/>
              <a:gd name="connsiteX116" fmla="*/ 1587188 w 4076518"/>
              <a:gd name="connsiteY116" fmla="*/ 652612 h 1063536"/>
              <a:gd name="connsiteX117" fmla="*/ 1763402 w 4076518"/>
              <a:gd name="connsiteY117" fmla="*/ 652612 h 1063536"/>
              <a:gd name="connsiteX118" fmla="*/ 1763402 w 4076518"/>
              <a:gd name="connsiteY118" fmla="*/ 666438 h 1063536"/>
              <a:gd name="connsiteX119" fmla="*/ 1764963 w 4076518"/>
              <a:gd name="connsiteY119" fmla="*/ 671490 h 1063536"/>
              <a:gd name="connsiteX120" fmla="*/ 1768671 w 4076518"/>
              <a:gd name="connsiteY120" fmla="*/ 673617 h 1063536"/>
              <a:gd name="connsiteX121" fmla="*/ 1778135 w 4076518"/>
              <a:gd name="connsiteY121" fmla="*/ 673617 h 1063536"/>
              <a:gd name="connsiteX122" fmla="*/ 1778135 w 4076518"/>
              <a:gd name="connsiteY122" fmla="*/ 687443 h 1063536"/>
              <a:gd name="connsiteX123" fmla="*/ 1779696 w 4076518"/>
              <a:gd name="connsiteY123" fmla="*/ 692495 h 1063536"/>
              <a:gd name="connsiteX124" fmla="*/ 1783404 w 4076518"/>
              <a:gd name="connsiteY124" fmla="*/ 694622 h 1063536"/>
              <a:gd name="connsiteX125" fmla="*/ 1824774 w 4076518"/>
              <a:gd name="connsiteY125" fmla="*/ 694622 h 1063536"/>
              <a:gd name="connsiteX126" fmla="*/ 1824774 w 4076518"/>
              <a:gd name="connsiteY126" fmla="*/ 708448 h 1063536"/>
              <a:gd name="connsiteX127" fmla="*/ 1826335 w 4076518"/>
              <a:gd name="connsiteY127" fmla="*/ 713500 h 1063536"/>
              <a:gd name="connsiteX128" fmla="*/ 1830043 w 4076518"/>
              <a:gd name="connsiteY128" fmla="*/ 715627 h 1063536"/>
              <a:gd name="connsiteX129" fmla="*/ 1922833 w 4076518"/>
              <a:gd name="connsiteY129" fmla="*/ 715627 h 1063536"/>
              <a:gd name="connsiteX130" fmla="*/ 1922833 w 4076518"/>
              <a:gd name="connsiteY130" fmla="*/ 729453 h 1063536"/>
              <a:gd name="connsiteX131" fmla="*/ 1924394 w 4076518"/>
              <a:gd name="connsiteY131" fmla="*/ 734505 h 1063536"/>
              <a:gd name="connsiteX132" fmla="*/ 1928102 w 4076518"/>
              <a:gd name="connsiteY132" fmla="*/ 736632 h 1063536"/>
              <a:gd name="connsiteX133" fmla="*/ 1971911 w 4076518"/>
              <a:gd name="connsiteY133" fmla="*/ 736632 h 1063536"/>
              <a:gd name="connsiteX134" fmla="*/ 1971911 w 4076518"/>
              <a:gd name="connsiteY134" fmla="*/ 750458 h 1063536"/>
              <a:gd name="connsiteX135" fmla="*/ 1973472 w 4076518"/>
              <a:gd name="connsiteY135" fmla="*/ 755510 h 1063536"/>
              <a:gd name="connsiteX136" fmla="*/ 1977180 w 4076518"/>
              <a:gd name="connsiteY136" fmla="*/ 757637 h 1063536"/>
              <a:gd name="connsiteX137" fmla="*/ 1996401 w 4076518"/>
              <a:gd name="connsiteY137" fmla="*/ 757637 h 1063536"/>
              <a:gd name="connsiteX138" fmla="*/ 1996401 w 4076518"/>
              <a:gd name="connsiteY138" fmla="*/ 771463 h 1063536"/>
              <a:gd name="connsiteX139" fmla="*/ 1997963 w 4076518"/>
              <a:gd name="connsiteY139" fmla="*/ 776514 h 1063536"/>
              <a:gd name="connsiteX140" fmla="*/ 2001670 w 4076518"/>
              <a:gd name="connsiteY140" fmla="*/ 778641 h 1063536"/>
              <a:gd name="connsiteX141" fmla="*/ 2273503 w 4076518"/>
              <a:gd name="connsiteY141" fmla="*/ 778641 h 1063536"/>
              <a:gd name="connsiteX142" fmla="*/ 2273503 w 4076518"/>
              <a:gd name="connsiteY142" fmla="*/ 793664 h 1063536"/>
              <a:gd name="connsiteX143" fmla="*/ 2275064 w 4076518"/>
              <a:gd name="connsiteY143" fmla="*/ 798716 h 1063536"/>
              <a:gd name="connsiteX144" fmla="*/ 2278772 w 4076518"/>
              <a:gd name="connsiteY144" fmla="*/ 800843 h 1063536"/>
              <a:gd name="connsiteX145" fmla="*/ 2295554 w 4076518"/>
              <a:gd name="connsiteY145" fmla="*/ 800843 h 1063536"/>
              <a:gd name="connsiteX146" fmla="*/ 2295554 w 4076518"/>
              <a:gd name="connsiteY146" fmla="*/ 815865 h 1063536"/>
              <a:gd name="connsiteX147" fmla="*/ 2297115 w 4076518"/>
              <a:gd name="connsiteY147" fmla="*/ 820917 h 1063536"/>
              <a:gd name="connsiteX148" fmla="*/ 2300823 w 4076518"/>
              <a:gd name="connsiteY148" fmla="*/ 823044 h 1063536"/>
              <a:gd name="connsiteX149" fmla="*/ 2327460 w 4076518"/>
              <a:gd name="connsiteY149" fmla="*/ 823044 h 1063536"/>
              <a:gd name="connsiteX150" fmla="*/ 2327460 w 4076518"/>
              <a:gd name="connsiteY150" fmla="*/ 838199 h 1063536"/>
              <a:gd name="connsiteX151" fmla="*/ 2329021 w 4076518"/>
              <a:gd name="connsiteY151" fmla="*/ 843251 h 1063536"/>
              <a:gd name="connsiteX152" fmla="*/ 2332729 w 4076518"/>
              <a:gd name="connsiteY152" fmla="*/ 845378 h 1063536"/>
              <a:gd name="connsiteX153" fmla="*/ 2339754 w 4076518"/>
              <a:gd name="connsiteY153" fmla="*/ 845378 h 1063536"/>
              <a:gd name="connsiteX154" fmla="*/ 2339754 w 4076518"/>
              <a:gd name="connsiteY154" fmla="*/ 860401 h 1063536"/>
              <a:gd name="connsiteX155" fmla="*/ 2341315 w 4076518"/>
              <a:gd name="connsiteY155" fmla="*/ 865453 h 1063536"/>
              <a:gd name="connsiteX156" fmla="*/ 2345023 w 4076518"/>
              <a:gd name="connsiteY156" fmla="*/ 867580 h 1063536"/>
              <a:gd name="connsiteX157" fmla="*/ 2499185 w 4076518"/>
              <a:gd name="connsiteY157" fmla="*/ 867580 h 1063536"/>
              <a:gd name="connsiteX158" fmla="*/ 2499185 w 4076518"/>
              <a:gd name="connsiteY158" fmla="*/ 882735 h 1063536"/>
              <a:gd name="connsiteX159" fmla="*/ 2500746 w 4076518"/>
              <a:gd name="connsiteY159" fmla="*/ 887787 h 1063536"/>
              <a:gd name="connsiteX160" fmla="*/ 2504454 w 4076518"/>
              <a:gd name="connsiteY160" fmla="*/ 889914 h 1063536"/>
              <a:gd name="connsiteX161" fmla="*/ 2535969 w 4076518"/>
              <a:gd name="connsiteY161" fmla="*/ 889914 h 1063536"/>
              <a:gd name="connsiteX162" fmla="*/ 2535969 w 4076518"/>
              <a:gd name="connsiteY162" fmla="*/ 905069 h 1063536"/>
              <a:gd name="connsiteX163" fmla="*/ 2537531 w 4076518"/>
              <a:gd name="connsiteY163" fmla="*/ 910121 h 1063536"/>
              <a:gd name="connsiteX164" fmla="*/ 2541238 w 4076518"/>
              <a:gd name="connsiteY164" fmla="*/ 912248 h 1063536"/>
              <a:gd name="connsiteX165" fmla="*/ 2589926 w 4076518"/>
              <a:gd name="connsiteY165" fmla="*/ 912248 h 1063536"/>
              <a:gd name="connsiteX166" fmla="*/ 2589926 w 4076518"/>
              <a:gd name="connsiteY166" fmla="*/ 927802 h 1063536"/>
              <a:gd name="connsiteX167" fmla="*/ 2591487 w 4076518"/>
              <a:gd name="connsiteY167" fmla="*/ 932854 h 1063536"/>
              <a:gd name="connsiteX168" fmla="*/ 2595195 w 4076518"/>
              <a:gd name="connsiteY168" fmla="*/ 934981 h 1063536"/>
              <a:gd name="connsiteX169" fmla="*/ 2656177 w 4076518"/>
              <a:gd name="connsiteY169" fmla="*/ 934981 h 1063536"/>
              <a:gd name="connsiteX170" fmla="*/ 2656177 w 4076518"/>
              <a:gd name="connsiteY170" fmla="*/ 951200 h 1063536"/>
              <a:gd name="connsiteX171" fmla="*/ 2657738 w 4076518"/>
              <a:gd name="connsiteY171" fmla="*/ 956252 h 1063536"/>
              <a:gd name="connsiteX172" fmla="*/ 2661446 w 4076518"/>
              <a:gd name="connsiteY172" fmla="*/ 958379 h 1063536"/>
              <a:gd name="connsiteX173" fmla="*/ 2688083 w 4076518"/>
              <a:gd name="connsiteY173" fmla="*/ 958379 h 1063536"/>
              <a:gd name="connsiteX174" fmla="*/ 2688083 w 4076518"/>
              <a:gd name="connsiteY174" fmla="*/ 974731 h 1063536"/>
              <a:gd name="connsiteX175" fmla="*/ 2689644 w 4076518"/>
              <a:gd name="connsiteY175" fmla="*/ 979783 h 1063536"/>
              <a:gd name="connsiteX176" fmla="*/ 2693352 w 4076518"/>
              <a:gd name="connsiteY176" fmla="*/ 981910 h 1063536"/>
              <a:gd name="connsiteX177" fmla="*/ 2859710 w 4076518"/>
              <a:gd name="connsiteY177" fmla="*/ 981910 h 1063536"/>
              <a:gd name="connsiteX178" fmla="*/ 2859710 w 4076518"/>
              <a:gd name="connsiteY178" fmla="*/ 998661 h 1063536"/>
              <a:gd name="connsiteX179" fmla="*/ 2861271 w 4076518"/>
              <a:gd name="connsiteY179" fmla="*/ 1003712 h 1063536"/>
              <a:gd name="connsiteX180" fmla="*/ 2864979 w 4076518"/>
              <a:gd name="connsiteY180" fmla="*/ 1005839 h 1063536"/>
              <a:gd name="connsiteX181" fmla="*/ 3296145 w 4076518"/>
              <a:gd name="connsiteY181" fmla="*/ 1005839 h 1063536"/>
              <a:gd name="connsiteX182" fmla="*/ 3296145 w 4076518"/>
              <a:gd name="connsiteY182" fmla="*/ 1025781 h 1063536"/>
              <a:gd name="connsiteX183" fmla="*/ 3297707 w 4076518"/>
              <a:gd name="connsiteY183" fmla="*/ 1030832 h 1063536"/>
              <a:gd name="connsiteX184" fmla="*/ 3301414 w 4076518"/>
              <a:gd name="connsiteY184" fmla="*/ 1032959 h 1063536"/>
              <a:gd name="connsiteX185" fmla="*/ 3404059 w 4076518"/>
              <a:gd name="connsiteY185" fmla="*/ 1032959 h 1063536"/>
              <a:gd name="connsiteX186" fmla="*/ 3404059 w 4076518"/>
              <a:gd name="connsiteY186" fmla="*/ 1056357 h 1063536"/>
              <a:gd name="connsiteX187" fmla="*/ 3405620 w 4076518"/>
              <a:gd name="connsiteY187" fmla="*/ 1061409 h 1063536"/>
              <a:gd name="connsiteX188" fmla="*/ 3409328 w 4076518"/>
              <a:gd name="connsiteY188" fmla="*/ 1063536 h 1063536"/>
              <a:gd name="connsiteX189" fmla="*/ 4076519 w 4076518"/>
              <a:gd name="connsiteY189" fmla="*/ 1063536 h 1063536"/>
              <a:gd name="connsiteX190" fmla="*/ 4076519 w 4076518"/>
              <a:gd name="connsiteY190" fmla="*/ 1049311 h 1063536"/>
              <a:gd name="connsiteX191" fmla="*/ 3414597 w 4076518"/>
              <a:gd name="connsiteY191" fmla="*/ 1049311 h 1063536"/>
              <a:gd name="connsiteX192" fmla="*/ 3414597 w 4076518"/>
              <a:gd name="connsiteY192" fmla="*/ 1025914 h 1063536"/>
              <a:gd name="connsiteX193" fmla="*/ 3413035 w 4076518"/>
              <a:gd name="connsiteY193" fmla="*/ 1020862 h 1063536"/>
              <a:gd name="connsiteX194" fmla="*/ 3409328 w 4076518"/>
              <a:gd name="connsiteY194" fmla="*/ 1018735 h 1063536"/>
              <a:gd name="connsiteX195" fmla="*/ 3306683 w 4076518"/>
              <a:gd name="connsiteY195" fmla="*/ 1018735 h 1063536"/>
              <a:gd name="connsiteX196" fmla="*/ 3306683 w 4076518"/>
              <a:gd name="connsiteY196" fmla="*/ 998793 h 1063536"/>
              <a:gd name="connsiteX197" fmla="*/ 3305122 w 4076518"/>
              <a:gd name="connsiteY197" fmla="*/ 993742 h 1063536"/>
              <a:gd name="connsiteX198" fmla="*/ 3301414 w 4076518"/>
              <a:gd name="connsiteY198" fmla="*/ 991615 h 1063536"/>
              <a:gd name="connsiteX199" fmla="*/ 2870248 w 4076518"/>
              <a:gd name="connsiteY199" fmla="*/ 991615 h 1063536"/>
              <a:gd name="connsiteX200" fmla="*/ 2870248 w 4076518"/>
              <a:gd name="connsiteY200" fmla="*/ 974864 h 1063536"/>
              <a:gd name="connsiteX201" fmla="*/ 2868687 w 4076518"/>
              <a:gd name="connsiteY201" fmla="*/ 969812 h 1063536"/>
              <a:gd name="connsiteX202" fmla="*/ 2864979 w 4076518"/>
              <a:gd name="connsiteY202" fmla="*/ 967685 h 1063536"/>
              <a:gd name="connsiteX203" fmla="*/ 2698620 w 4076518"/>
              <a:gd name="connsiteY203" fmla="*/ 967685 h 1063536"/>
              <a:gd name="connsiteX204" fmla="*/ 2698620 w 4076518"/>
              <a:gd name="connsiteY204" fmla="*/ 951333 h 1063536"/>
              <a:gd name="connsiteX205" fmla="*/ 2697059 w 4076518"/>
              <a:gd name="connsiteY205" fmla="*/ 946281 h 1063536"/>
              <a:gd name="connsiteX206" fmla="*/ 2693352 w 4076518"/>
              <a:gd name="connsiteY206" fmla="*/ 944154 h 1063536"/>
              <a:gd name="connsiteX207" fmla="*/ 2666715 w 4076518"/>
              <a:gd name="connsiteY207" fmla="*/ 944154 h 1063536"/>
              <a:gd name="connsiteX208" fmla="*/ 2666715 w 4076518"/>
              <a:gd name="connsiteY208" fmla="*/ 927935 h 1063536"/>
              <a:gd name="connsiteX209" fmla="*/ 2665153 w 4076518"/>
              <a:gd name="connsiteY209" fmla="*/ 922884 h 1063536"/>
              <a:gd name="connsiteX210" fmla="*/ 2661446 w 4076518"/>
              <a:gd name="connsiteY210" fmla="*/ 920756 h 1063536"/>
              <a:gd name="connsiteX211" fmla="*/ 2600464 w 4076518"/>
              <a:gd name="connsiteY211" fmla="*/ 920756 h 1063536"/>
              <a:gd name="connsiteX212" fmla="*/ 2600464 w 4076518"/>
              <a:gd name="connsiteY212" fmla="*/ 905202 h 1063536"/>
              <a:gd name="connsiteX213" fmla="*/ 2598903 w 4076518"/>
              <a:gd name="connsiteY213" fmla="*/ 900150 h 1063536"/>
              <a:gd name="connsiteX214" fmla="*/ 2595195 w 4076518"/>
              <a:gd name="connsiteY214" fmla="*/ 898023 h 1063536"/>
              <a:gd name="connsiteX215" fmla="*/ 2546507 w 4076518"/>
              <a:gd name="connsiteY215" fmla="*/ 898023 h 1063536"/>
              <a:gd name="connsiteX216" fmla="*/ 2546507 w 4076518"/>
              <a:gd name="connsiteY216" fmla="*/ 882868 h 1063536"/>
              <a:gd name="connsiteX217" fmla="*/ 2544946 w 4076518"/>
              <a:gd name="connsiteY217" fmla="*/ 877816 h 1063536"/>
              <a:gd name="connsiteX218" fmla="*/ 2541238 w 4076518"/>
              <a:gd name="connsiteY218" fmla="*/ 875689 h 1063536"/>
              <a:gd name="connsiteX219" fmla="*/ 2509723 w 4076518"/>
              <a:gd name="connsiteY219" fmla="*/ 875689 h 1063536"/>
              <a:gd name="connsiteX220" fmla="*/ 2509723 w 4076518"/>
              <a:gd name="connsiteY220" fmla="*/ 860534 h 1063536"/>
              <a:gd name="connsiteX221" fmla="*/ 2508162 w 4076518"/>
              <a:gd name="connsiteY221" fmla="*/ 855482 h 1063536"/>
              <a:gd name="connsiteX222" fmla="*/ 2504454 w 4076518"/>
              <a:gd name="connsiteY222" fmla="*/ 853355 h 1063536"/>
              <a:gd name="connsiteX223" fmla="*/ 2350292 w 4076518"/>
              <a:gd name="connsiteY223" fmla="*/ 853355 h 1063536"/>
              <a:gd name="connsiteX224" fmla="*/ 2350292 w 4076518"/>
              <a:gd name="connsiteY224" fmla="*/ 838332 h 1063536"/>
              <a:gd name="connsiteX225" fmla="*/ 2348731 w 4076518"/>
              <a:gd name="connsiteY225" fmla="*/ 833281 h 1063536"/>
              <a:gd name="connsiteX226" fmla="*/ 2345023 w 4076518"/>
              <a:gd name="connsiteY226" fmla="*/ 831154 h 1063536"/>
              <a:gd name="connsiteX227" fmla="*/ 2338095 w 4076518"/>
              <a:gd name="connsiteY227" fmla="*/ 831154 h 1063536"/>
              <a:gd name="connsiteX228" fmla="*/ 2338095 w 4076518"/>
              <a:gd name="connsiteY228" fmla="*/ 816131 h 1063536"/>
              <a:gd name="connsiteX229" fmla="*/ 2336534 w 4076518"/>
              <a:gd name="connsiteY229" fmla="*/ 811079 h 1063536"/>
              <a:gd name="connsiteX230" fmla="*/ 2332826 w 4076518"/>
              <a:gd name="connsiteY230" fmla="*/ 808952 h 1063536"/>
              <a:gd name="connsiteX231" fmla="*/ 2306190 w 4076518"/>
              <a:gd name="connsiteY231" fmla="*/ 808952 h 1063536"/>
              <a:gd name="connsiteX232" fmla="*/ 2306190 w 4076518"/>
              <a:gd name="connsiteY232" fmla="*/ 793930 h 1063536"/>
              <a:gd name="connsiteX233" fmla="*/ 2304628 w 4076518"/>
              <a:gd name="connsiteY233" fmla="*/ 788878 h 1063536"/>
              <a:gd name="connsiteX234" fmla="*/ 2300921 w 4076518"/>
              <a:gd name="connsiteY234" fmla="*/ 786751 h 1063536"/>
              <a:gd name="connsiteX235" fmla="*/ 2284139 w 4076518"/>
              <a:gd name="connsiteY235" fmla="*/ 786751 h 1063536"/>
              <a:gd name="connsiteX236" fmla="*/ 2284139 w 4076518"/>
              <a:gd name="connsiteY236" fmla="*/ 771728 h 1063536"/>
              <a:gd name="connsiteX237" fmla="*/ 2282577 w 4076518"/>
              <a:gd name="connsiteY237" fmla="*/ 766677 h 1063536"/>
              <a:gd name="connsiteX238" fmla="*/ 2278870 w 4076518"/>
              <a:gd name="connsiteY238" fmla="*/ 764550 h 1063536"/>
              <a:gd name="connsiteX239" fmla="*/ 2007037 w 4076518"/>
              <a:gd name="connsiteY239" fmla="*/ 764550 h 1063536"/>
              <a:gd name="connsiteX240" fmla="*/ 2007037 w 4076518"/>
              <a:gd name="connsiteY240" fmla="*/ 750724 h 1063536"/>
              <a:gd name="connsiteX241" fmla="*/ 2005475 w 4076518"/>
              <a:gd name="connsiteY241" fmla="*/ 745672 h 1063536"/>
              <a:gd name="connsiteX242" fmla="*/ 2001768 w 4076518"/>
              <a:gd name="connsiteY242" fmla="*/ 743545 h 1063536"/>
              <a:gd name="connsiteX243" fmla="*/ 1982546 w 4076518"/>
              <a:gd name="connsiteY243" fmla="*/ 743545 h 1063536"/>
              <a:gd name="connsiteX244" fmla="*/ 1982546 w 4076518"/>
              <a:gd name="connsiteY244" fmla="*/ 729719 h 1063536"/>
              <a:gd name="connsiteX245" fmla="*/ 1980985 w 4076518"/>
              <a:gd name="connsiteY245" fmla="*/ 724667 h 1063536"/>
              <a:gd name="connsiteX246" fmla="*/ 1977277 w 4076518"/>
              <a:gd name="connsiteY246" fmla="*/ 722540 h 1063536"/>
              <a:gd name="connsiteX247" fmla="*/ 1933468 w 4076518"/>
              <a:gd name="connsiteY247" fmla="*/ 722540 h 1063536"/>
              <a:gd name="connsiteX248" fmla="*/ 1933468 w 4076518"/>
              <a:gd name="connsiteY248" fmla="*/ 708714 h 1063536"/>
              <a:gd name="connsiteX249" fmla="*/ 1931907 w 4076518"/>
              <a:gd name="connsiteY249" fmla="*/ 703662 h 1063536"/>
              <a:gd name="connsiteX250" fmla="*/ 1928199 w 4076518"/>
              <a:gd name="connsiteY250" fmla="*/ 701535 h 1063536"/>
              <a:gd name="connsiteX251" fmla="*/ 1835409 w 4076518"/>
              <a:gd name="connsiteY251" fmla="*/ 701535 h 1063536"/>
              <a:gd name="connsiteX252" fmla="*/ 1835409 w 4076518"/>
              <a:gd name="connsiteY252" fmla="*/ 687709 h 1063536"/>
              <a:gd name="connsiteX253" fmla="*/ 1833848 w 4076518"/>
              <a:gd name="connsiteY253" fmla="*/ 682657 h 1063536"/>
              <a:gd name="connsiteX254" fmla="*/ 1830140 w 4076518"/>
              <a:gd name="connsiteY254" fmla="*/ 680530 h 1063536"/>
              <a:gd name="connsiteX255" fmla="*/ 1788770 w 4076518"/>
              <a:gd name="connsiteY255" fmla="*/ 680530 h 1063536"/>
              <a:gd name="connsiteX256" fmla="*/ 1788770 w 4076518"/>
              <a:gd name="connsiteY256" fmla="*/ 666704 h 1063536"/>
              <a:gd name="connsiteX257" fmla="*/ 1787209 w 4076518"/>
              <a:gd name="connsiteY257" fmla="*/ 661652 h 1063536"/>
              <a:gd name="connsiteX258" fmla="*/ 1783501 w 4076518"/>
              <a:gd name="connsiteY258" fmla="*/ 659525 h 1063536"/>
              <a:gd name="connsiteX259" fmla="*/ 1774037 w 4076518"/>
              <a:gd name="connsiteY259" fmla="*/ 659525 h 1063536"/>
              <a:gd name="connsiteX260" fmla="*/ 1774037 w 4076518"/>
              <a:gd name="connsiteY260" fmla="*/ 645699 h 1063536"/>
              <a:gd name="connsiteX261" fmla="*/ 1772476 w 4076518"/>
              <a:gd name="connsiteY261" fmla="*/ 640648 h 1063536"/>
              <a:gd name="connsiteX262" fmla="*/ 1768768 w 4076518"/>
              <a:gd name="connsiteY262" fmla="*/ 638521 h 1063536"/>
              <a:gd name="connsiteX263" fmla="*/ 1592555 w 4076518"/>
              <a:gd name="connsiteY263" fmla="*/ 638521 h 1063536"/>
              <a:gd name="connsiteX264" fmla="*/ 1592555 w 4076518"/>
              <a:gd name="connsiteY264" fmla="*/ 624695 h 1063536"/>
              <a:gd name="connsiteX265" fmla="*/ 1590994 w 4076518"/>
              <a:gd name="connsiteY265" fmla="*/ 619643 h 1063536"/>
              <a:gd name="connsiteX266" fmla="*/ 1587286 w 4076518"/>
              <a:gd name="connsiteY266" fmla="*/ 617516 h 1063536"/>
              <a:gd name="connsiteX267" fmla="*/ 1496935 w 4076518"/>
              <a:gd name="connsiteY267" fmla="*/ 617516 h 1063536"/>
              <a:gd name="connsiteX268" fmla="*/ 1496935 w 4076518"/>
              <a:gd name="connsiteY268" fmla="*/ 603690 h 1063536"/>
              <a:gd name="connsiteX269" fmla="*/ 1495374 w 4076518"/>
              <a:gd name="connsiteY269" fmla="*/ 598638 h 1063536"/>
              <a:gd name="connsiteX270" fmla="*/ 1491666 w 4076518"/>
              <a:gd name="connsiteY270" fmla="*/ 596511 h 1063536"/>
              <a:gd name="connsiteX271" fmla="*/ 1489227 w 4076518"/>
              <a:gd name="connsiteY271" fmla="*/ 596511 h 1063536"/>
              <a:gd name="connsiteX272" fmla="*/ 1489227 w 4076518"/>
              <a:gd name="connsiteY272" fmla="*/ 603690 h 1063536"/>
              <a:gd name="connsiteX273" fmla="*/ 1494496 w 4076518"/>
              <a:gd name="connsiteY273" fmla="*/ 603690 h 1063536"/>
              <a:gd name="connsiteX274" fmla="*/ 1494496 w 4076518"/>
              <a:gd name="connsiteY274" fmla="*/ 582818 h 1063536"/>
              <a:gd name="connsiteX275" fmla="*/ 1492935 w 4076518"/>
              <a:gd name="connsiteY275" fmla="*/ 577766 h 1063536"/>
              <a:gd name="connsiteX276" fmla="*/ 1489227 w 4076518"/>
              <a:gd name="connsiteY276" fmla="*/ 575639 h 1063536"/>
              <a:gd name="connsiteX277" fmla="*/ 1467469 w 4076518"/>
              <a:gd name="connsiteY277" fmla="*/ 575639 h 1063536"/>
              <a:gd name="connsiteX278" fmla="*/ 1467469 w 4076518"/>
              <a:gd name="connsiteY278" fmla="*/ 561813 h 1063536"/>
              <a:gd name="connsiteX279" fmla="*/ 1465908 w 4076518"/>
              <a:gd name="connsiteY279" fmla="*/ 556761 h 1063536"/>
              <a:gd name="connsiteX280" fmla="*/ 1462200 w 4076518"/>
              <a:gd name="connsiteY280" fmla="*/ 554634 h 1063536"/>
              <a:gd name="connsiteX281" fmla="*/ 1344822 w 4076518"/>
              <a:gd name="connsiteY281" fmla="*/ 554634 h 1063536"/>
              <a:gd name="connsiteX282" fmla="*/ 1344822 w 4076518"/>
              <a:gd name="connsiteY282" fmla="*/ 520468 h 1063536"/>
              <a:gd name="connsiteX283" fmla="*/ 1343261 w 4076518"/>
              <a:gd name="connsiteY283" fmla="*/ 515416 h 1063536"/>
              <a:gd name="connsiteX284" fmla="*/ 1339553 w 4076518"/>
              <a:gd name="connsiteY284" fmla="*/ 513289 h 1063536"/>
              <a:gd name="connsiteX285" fmla="*/ 1334967 w 4076518"/>
              <a:gd name="connsiteY285" fmla="*/ 513289 h 1063536"/>
              <a:gd name="connsiteX286" fmla="*/ 1334967 w 4076518"/>
              <a:gd name="connsiteY286" fmla="*/ 499729 h 1063536"/>
              <a:gd name="connsiteX287" fmla="*/ 1333406 w 4076518"/>
              <a:gd name="connsiteY287" fmla="*/ 494677 h 1063536"/>
              <a:gd name="connsiteX288" fmla="*/ 1329698 w 4076518"/>
              <a:gd name="connsiteY288" fmla="*/ 492550 h 1063536"/>
              <a:gd name="connsiteX289" fmla="*/ 1322673 w 4076518"/>
              <a:gd name="connsiteY289" fmla="*/ 492550 h 1063536"/>
              <a:gd name="connsiteX290" fmla="*/ 1322673 w 4076518"/>
              <a:gd name="connsiteY290" fmla="*/ 478990 h 1063536"/>
              <a:gd name="connsiteX291" fmla="*/ 1321112 w 4076518"/>
              <a:gd name="connsiteY291" fmla="*/ 473938 h 1063536"/>
              <a:gd name="connsiteX292" fmla="*/ 1317404 w 4076518"/>
              <a:gd name="connsiteY292" fmla="*/ 471811 h 1063536"/>
              <a:gd name="connsiteX293" fmla="*/ 1312526 w 4076518"/>
              <a:gd name="connsiteY293" fmla="*/ 471811 h 1063536"/>
              <a:gd name="connsiteX294" fmla="*/ 1312526 w 4076518"/>
              <a:gd name="connsiteY294" fmla="*/ 478990 h 1063536"/>
              <a:gd name="connsiteX295" fmla="*/ 1317795 w 4076518"/>
              <a:gd name="connsiteY295" fmla="*/ 478990 h 1063536"/>
              <a:gd name="connsiteX296" fmla="*/ 1317795 w 4076518"/>
              <a:gd name="connsiteY296" fmla="*/ 437645 h 1063536"/>
              <a:gd name="connsiteX297" fmla="*/ 1316234 w 4076518"/>
              <a:gd name="connsiteY297" fmla="*/ 432593 h 1063536"/>
              <a:gd name="connsiteX298" fmla="*/ 1312526 w 4076518"/>
              <a:gd name="connsiteY298" fmla="*/ 430466 h 1063536"/>
              <a:gd name="connsiteX299" fmla="*/ 1298085 w 4076518"/>
              <a:gd name="connsiteY299" fmla="*/ 430466 h 1063536"/>
              <a:gd name="connsiteX300" fmla="*/ 1298085 w 4076518"/>
              <a:gd name="connsiteY300" fmla="*/ 416906 h 1063536"/>
              <a:gd name="connsiteX301" fmla="*/ 1296524 w 4076518"/>
              <a:gd name="connsiteY301" fmla="*/ 411854 h 1063536"/>
              <a:gd name="connsiteX302" fmla="*/ 1292817 w 4076518"/>
              <a:gd name="connsiteY302" fmla="*/ 409727 h 1063536"/>
              <a:gd name="connsiteX303" fmla="*/ 1239250 w 4076518"/>
              <a:gd name="connsiteY303" fmla="*/ 409727 h 1063536"/>
              <a:gd name="connsiteX304" fmla="*/ 1239250 w 4076518"/>
              <a:gd name="connsiteY304" fmla="*/ 375561 h 1063536"/>
              <a:gd name="connsiteX305" fmla="*/ 1237689 w 4076518"/>
              <a:gd name="connsiteY305" fmla="*/ 370509 h 1063536"/>
              <a:gd name="connsiteX306" fmla="*/ 1233981 w 4076518"/>
              <a:gd name="connsiteY306" fmla="*/ 368382 h 1063536"/>
              <a:gd name="connsiteX307" fmla="*/ 1219541 w 4076518"/>
              <a:gd name="connsiteY307" fmla="*/ 368382 h 1063536"/>
              <a:gd name="connsiteX308" fmla="*/ 1219541 w 4076518"/>
              <a:gd name="connsiteY308" fmla="*/ 354822 h 1063536"/>
              <a:gd name="connsiteX309" fmla="*/ 1217980 w 4076518"/>
              <a:gd name="connsiteY309" fmla="*/ 349770 h 1063536"/>
              <a:gd name="connsiteX310" fmla="*/ 1214272 w 4076518"/>
              <a:gd name="connsiteY310" fmla="*/ 347643 h 1063536"/>
              <a:gd name="connsiteX311" fmla="*/ 1207247 w 4076518"/>
              <a:gd name="connsiteY311" fmla="*/ 347643 h 1063536"/>
              <a:gd name="connsiteX312" fmla="*/ 1207247 w 4076518"/>
              <a:gd name="connsiteY312" fmla="*/ 334083 h 1063536"/>
              <a:gd name="connsiteX313" fmla="*/ 1205686 w 4076518"/>
              <a:gd name="connsiteY313" fmla="*/ 329032 h 1063536"/>
              <a:gd name="connsiteX314" fmla="*/ 1201978 w 4076518"/>
              <a:gd name="connsiteY314" fmla="*/ 326904 h 1063536"/>
              <a:gd name="connsiteX315" fmla="*/ 1104309 w 4076518"/>
              <a:gd name="connsiteY315" fmla="*/ 326904 h 1063536"/>
              <a:gd name="connsiteX316" fmla="*/ 1104309 w 4076518"/>
              <a:gd name="connsiteY316" fmla="*/ 313344 h 1063536"/>
              <a:gd name="connsiteX317" fmla="*/ 1102748 w 4076518"/>
              <a:gd name="connsiteY317" fmla="*/ 308293 h 1063536"/>
              <a:gd name="connsiteX318" fmla="*/ 1099040 w 4076518"/>
              <a:gd name="connsiteY318" fmla="*/ 306165 h 1063536"/>
              <a:gd name="connsiteX319" fmla="*/ 1030741 w 4076518"/>
              <a:gd name="connsiteY319" fmla="*/ 306165 h 1063536"/>
              <a:gd name="connsiteX320" fmla="*/ 1030741 w 4076518"/>
              <a:gd name="connsiteY320" fmla="*/ 292605 h 1063536"/>
              <a:gd name="connsiteX321" fmla="*/ 1029180 w 4076518"/>
              <a:gd name="connsiteY321" fmla="*/ 287554 h 1063536"/>
              <a:gd name="connsiteX322" fmla="*/ 1025472 w 4076518"/>
              <a:gd name="connsiteY322" fmla="*/ 285427 h 1063536"/>
              <a:gd name="connsiteX323" fmla="*/ 998835 w 4076518"/>
              <a:gd name="connsiteY323" fmla="*/ 285427 h 1063536"/>
              <a:gd name="connsiteX324" fmla="*/ 998835 w 4076518"/>
              <a:gd name="connsiteY324" fmla="*/ 271866 h 1063536"/>
              <a:gd name="connsiteX325" fmla="*/ 997274 w 4076518"/>
              <a:gd name="connsiteY325" fmla="*/ 266815 h 1063536"/>
              <a:gd name="connsiteX326" fmla="*/ 993566 w 4076518"/>
              <a:gd name="connsiteY326" fmla="*/ 264688 h 1063536"/>
              <a:gd name="connsiteX327" fmla="*/ 974247 w 4076518"/>
              <a:gd name="connsiteY327" fmla="*/ 264688 h 1063536"/>
              <a:gd name="connsiteX328" fmla="*/ 974247 w 4076518"/>
              <a:gd name="connsiteY328" fmla="*/ 251393 h 1063536"/>
              <a:gd name="connsiteX329" fmla="*/ 972686 w 4076518"/>
              <a:gd name="connsiteY329" fmla="*/ 246342 h 1063536"/>
              <a:gd name="connsiteX330" fmla="*/ 968978 w 4076518"/>
              <a:gd name="connsiteY330" fmla="*/ 244215 h 1063536"/>
              <a:gd name="connsiteX331" fmla="*/ 952196 w 4076518"/>
              <a:gd name="connsiteY331" fmla="*/ 244215 h 1063536"/>
              <a:gd name="connsiteX332" fmla="*/ 952196 w 4076518"/>
              <a:gd name="connsiteY332" fmla="*/ 230920 h 1063536"/>
              <a:gd name="connsiteX333" fmla="*/ 950635 w 4076518"/>
              <a:gd name="connsiteY333" fmla="*/ 225868 h 1063536"/>
              <a:gd name="connsiteX334" fmla="*/ 946927 w 4076518"/>
              <a:gd name="connsiteY334" fmla="*/ 223741 h 1063536"/>
              <a:gd name="connsiteX335" fmla="*/ 910435 w 4076518"/>
              <a:gd name="connsiteY335" fmla="*/ 223741 h 1063536"/>
              <a:gd name="connsiteX336" fmla="*/ 910435 w 4076518"/>
              <a:gd name="connsiteY336" fmla="*/ 210447 h 1063536"/>
              <a:gd name="connsiteX337" fmla="*/ 908874 w 4076518"/>
              <a:gd name="connsiteY337" fmla="*/ 205395 h 1063536"/>
              <a:gd name="connsiteX338" fmla="*/ 905167 w 4076518"/>
              <a:gd name="connsiteY338" fmla="*/ 203268 h 1063536"/>
              <a:gd name="connsiteX339" fmla="*/ 890824 w 4076518"/>
              <a:gd name="connsiteY339" fmla="*/ 203268 h 1063536"/>
              <a:gd name="connsiteX340" fmla="*/ 890824 w 4076518"/>
              <a:gd name="connsiteY340" fmla="*/ 189974 h 1063536"/>
              <a:gd name="connsiteX341" fmla="*/ 889263 w 4076518"/>
              <a:gd name="connsiteY341" fmla="*/ 184922 h 1063536"/>
              <a:gd name="connsiteX342" fmla="*/ 885555 w 4076518"/>
              <a:gd name="connsiteY342" fmla="*/ 182795 h 1063536"/>
              <a:gd name="connsiteX343" fmla="*/ 876091 w 4076518"/>
              <a:gd name="connsiteY343" fmla="*/ 182795 h 1063536"/>
              <a:gd name="connsiteX344" fmla="*/ 876091 w 4076518"/>
              <a:gd name="connsiteY344" fmla="*/ 169501 h 1063536"/>
              <a:gd name="connsiteX345" fmla="*/ 874529 w 4076518"/>
              <a:gd name="connsiteY345" fmla="*/ 164449 h 1063536"/>
              <a:gd name="connsiteX346" fmla="*/ 870822 w 4076518"/>
              <a:gd name="connsiteY346" fmla="*/ 162322 h 1063536"/>
              <a:gd name="connsiteX347" fmla="*/ 844185 w 4076518"/>
              <a:gd name="connsiteY347" fmla="*/ 162322 h 1063536"/>
              <a:gd name="connsiteX348" fmla="*/ 844185 w 4076518"/>
              <a:gd name="connsiteY348" fmla="*/ 149028 h 1063536"/>
              <a:gd name="connsiteX349" fmla="*/ 842624 w 4076518"/>
              <a:gd name="connsiteY349" fmla="*/ 143976 h 1063536"/>
              <a:gd name="connsiteX350" fmla="*/ 838916 w 4076518"/>
              <a:gd name="connsiteY350" fmla="*/ 141849 h 1063536"/>
              <a:gd name="connsiteX351" fmla="*/ 814718 w 4076518"/>
              <a:gd name="connsiteY351" fmla="*/ 141849 h 1063536"/>
              <a:gd name="connsiteX352" fmla="*/ 814718 w 4076518"/>
              <a:gd name="connsiteY352" fmla="*/ 128555 h 1063536"/>
              <a:gd name="connsiteX353" fmla="*/ 813157 w 4076518"/>
              <a:gd name="connsiteY353" fmla="*/ 123503 h 1063536"/>
              <a:gd name="connsiteX354" fmla="*/ 809449 w 4076518"/>
              <a:gd name="connsiteY354" fmla="*/ 121376 h 1063536"/>
              <a:gd name="connsiteX355" fmla="*/ 760762 w 4076518"/>
              <a:gd name="connsiteY355" fmla="*/ 121376 h 1063536"/>
              <a:gd name="connsiteX356" fmla="*/ 760762 w 4076518"/>
              <a:gd name="connsiteY356" fmla="*/ 108215 h 1063536"/>
              <a:gd name="connsiteX357" fmla="*/ 759200 w 4076518"/>
              <a:gd name="connsiteY357" fmla="*/ 103163 h 1063536"/>
              <a:gd name="connsiteX358" fmla="*/ 755493 w 4076518"/>
              <a:gd name="connsiteY358" fmla="*/ 101036 h 1063536"/>
              <a:gd name="connsiteX359" fmla="*/ 711683 w 4076518"/>
              <a:gd name="connsiteY359" fmla="*/ 101036 h 1063536"/>
              <a:gd name="connsiteX360" fmla="*/ 711683 w 4076518"/>
              <a:gd name="connsiteY360" fmla="*/ 87875 h 1063536"/>
              <a:gd name="connsiteX361" fmla="*/ 710122 w 4076518"/>
              <a:gd name="connsiteY361" fmla="*/ 82823 h 1063536"/>
              <a:gd name="connsiteX362" fmla="*/ 706414 w 4076518"/>
              <a:gd name="connsiteY362" fmla="*/ 80696 h 1063536"/>
              <a:gd name="connsiteX363" fmla="*/ 635675 w 4076518"/>
              <a:gd name="connsiteY363" fmla="*/ 80696 h 1063536"/>
              <a:gd name="connsiteX364" fmla="*/ 635675 w 4076518"/>
              <a:gd name="connsiteY364" fmla="*/ 67535 h 1063536"/>
              <a:gd name="connsiteX365" fmla="*/ 634114 w 4076518"/>
              <a:gd name="connsiteY365" fmla="*/ 62483 h 1063536"/>
              <a:gd name="connsiteX366" fmla="*/ 630407 w 4076518"/>
              <a:gd name="connsiteY366" fmla="*/ 60356 h 1063536"/>
              <a:gd name="connsiteX367" fmla="*/ 571864 w 4076518"/>
              <a:gd name="connsiteY367" fmla="*/ 60356 h 1063536"/>
              <a:gd name="connsiteX368" fmla="*/ 571864 w 4076518"/>
              <a:gd name="connsiteY368" fmla="*/ 47327 h 1063536"/>
              <a:gd name="connsiteX369" fmla="*/ 570303 w 4076518"/>
              <a:gd name="connsiteY369" fmla="*/ 42276 h 1063536"/>
              <a:gd name="connsiteX370" fmla="*/ 566595 w 4076518"/>
              <a:gd name="connsiteY370" fmla="*/ 40148 h 1063536"/>
              <a:gd name="connsiteX371" fmla="*/ 365891 w 4076518"/>
              <a:gd name="connsiteY371" fmla="*/ 40148 h 1063536"/>
              <a:gd name="connsiteX372" fmla="*/ 365891 w 4076518"/>
              <a:gd name="connsiteY372" fmla="*/ 27253 h 1063536"/>
              <a:gd name="connsiteX373" fmla="*/ 364330 w 4076518"/>
              <a:gd name="connsiteY373" fmla="*/ 22201 h 1063536"/>
              <a:gd name="connsiteX374" fmla="*/ 360623 w 4076518"/>
              <a:gd name="connsiteY374" fmla="*/ 20074 h 1063536"/>
              <a:gd name="connsiteX375" fmla="*/ 206558 w 4076518"/>
              <a:gd name="connsiteY375" fmla="*/ 20074 h 1063536"/>
              <a:gd name="connsiteX376" fmla="*/ 206558 w 4076518"/>
              <a:gd name="connsiteY376" fmla="*/ 7179 h 1063536"/>
              <a:gd name="connsiteX377" fmla="*/ 204997 w 4076518"/>
              <a:gd name="connsiteY377" fmla="*/ 2127 h 1063536"/>
              <a:gd name="connsiteX378" fmla="*/ 201289 w 4076518"/>
              <a:gd name="connsiteY378" fmla="*/ 0 h 1063536"/>
              <a:gd name="connsiteX379" fmla="*/ 0 w 4076518"/>
              <a:gd name="connsiteY379" fmla="*/ 0 h 1063536"/>
              <a:gd name="connsiteX380" fmla="*/ 0 w 4076518"/>
              <a:gd name="connsiteY380" fmla="*/ 14225 h 10635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</a:cxnLst>
            <a:rect l="l" t="t" r="r" b="b"/>
            <a:pathLst>
              <a:path w="4076518" h="1063536">
                <a:moveTo>
                  <a:pt x="0" y="14225"/>
                </a:moveTo>
                <a:lnTo>
                  <a:pt x="195825" y="14225"/>
                </a:lnTo>
                <a:lnTo>
                  <a:pt x="195825" y="27120"/>
                </a:lnTo>
                <a:cubicBezTo>
                  <a:pt x="195825" y="28981"/>
                  <a:pt x="196411" y="30843"/>
                  <a:pt x="197386" y="32172"/>
                </a:cubicBezTo>
                <a:cubicBezTo>
                  <a:pt x="198362" y="33501"/>
                  <a:pt x="199728" y="34299"/>
                  <a:pt x="201094" y="34299"/>
                </a:cubicBezTo>
                <a:lnTo>
                  <a:pt x="355159" y="34299"/>
                </a:lnTo>
                <a:lnTo>
                  <a:pt x="355159" y="47194"/>
                </a:lnTo>
                <a:cubicBezTo>
                  <a:pt x="355159" y="49056"/>
                  <a:pt x="355744" y="50917"/>
                  <a:pt x="356720" y="52246"/>
                </a:cubicBezTo>
                <a:cubicBezTo>
                  <a:pt x="357695" y="53576"/>
                  <a:pt x="359061" y="54373"/>
                  <a:pt x="360427" y="54373"/>
                </a:cubicBezTo>
                <a:lnTo>
                  <a:pt x="561131" y="54373"/>
                </a:lnTo>
                <a:lnTo>
                  <a:pt x="561131" y="67402"/>
                </a:lnTo>
                <a:cubicBezTo>
                  <a:pt x="561131" y="69263"/>
                  <a:pt x="561717" y="71124"/>
                  <a:pt x="562692" y="72453"/>
                </a:cubicBezTo>
                <a:cubicBezTo>
                  <a:pt x="563668" y="73783"/>
                  <a:pt x="565034" y="74580"/>
                  <a:pt x="566400" y="74580"/>
                </a:cubicBezTo>
                <a:lnTo>
                  <a:pt x="624943" y="74580"/>
                </a:lnTo>
                <a:lnTo>
                  <a:pt x="624943" y="87742"/>
                </a:lnTo>
                <a:cubicBezTo>
                  <a:pt x="624943" y="89603"/>
                  <a:pt x="625528" y="91464"/>
                  <a:pt x="626504" y="92794"/>
                </a:cubicBezTo>
                <a:cubicBezTo>
                  <a:pt x="627479" y="94123"/>
                  <a:pt x="628845" y="94921"/>
                  <a:pt x="630211" y="94921"/>
                </a:cubicBezTo>
                <a:lnTo>
                  <a:pt x="701048" y="94921"/>
                </a:lnTo>
                <a:lnTo>
                  <a:pt x="701048" y="108082"/>
                </a:lnTo>
                <a:cubicBezTo>
                  <a:pt x="701048" y="109943"/>
                  <a:pt x="701634" y="111804"/>
                  <a:pt x="702609" y="113134"/>
                </a:cubicBezTo>
                <a:cubicBezTo>
                  <a:pt x="703585" y="114463"/>
                  <a:pt x="704951" y="115261"/>
                  <a:pt x="706317" y="115261"/>
                </a:cubicBezTo>
                <a:lnTo>
                  <a:pt x="750126" y="115261"/>
                </a:lnTo>
                <a:lnTo>
                  <a:pt x="750126" y="128422"/>
                </a:lnTo>
                <a:cubicBezTo>
                  <a:pt x="750126" y="130283"/>
                  <a:pt x="750712" y="132144"/>
                  <a:pt x="751687" y="133474"/>
                </a:cubicBezTo>
                <a:cubicBezTo>
                  <a:pt x="752663" y="134803"/>
                  <a:pt x="754029" y="135601"/>
                  <a:pt x="755395" y="135601"/>
                </a:cubicBezTo>
                <a:lnTo>
                  <a:pt x="804083" y="135601"/>
                </a:lnTo>
                <a:lnTo>
                  <a:pt x="804083" y="148895"/>
                </a:lnTo>
                <a:cubicBezTo>
                  <a:pt x="804083" y="150756"/>
                  <a:pt x="804669" y="152617"/>
                  <a:pt x="805644" y="153947"/>
                </a:cubicBezTo>
                <a:cubicBezTo>
                  <a:pt x="806620" y="155276"/>
                  <a:pt x="807986" y="156074"/>
                  <a:pt x="809352" y="156074"/>
                </a:cubicBezTo>
                <a:lnTo>
                  <a:pt x="833550" y="156074"/>
                </a:lnTo>
                <a:lnTo>
                  <a:pt x="833550" y="169368"/>
                </a:lnTo>
                <a:cubicBezTo>
                  <a:pt x="833550" y="171229"/>
                  <a:pt x="834135" y="173091"/>
                  <a:pt x="835111" y="174420"/>
                </a:cubicBezTo>
                <a:cubicBezTo>
                  <a:pt x="836086" y="175749"/>
                  <a:pt x="837452" y="176547"/>
                  <a:pt x="838818" y="176547"/>
                </a:cubicBezTo>
                <a:lnTo>
                  <a:pt x="865455" y="176547"/>
                </a:lnTo>
                <a:lnTo>
                  <a:pt x="865455" y="189841"/>
                </a:lnTo>
                <a:cubicBezTo>
                  <a:pt x="865455" y="191702"/>
                  <a:pt x="866041" y="193564"/>
                  <a:pt x="867016" y="194893"/>
                </a:cubicBezTo>
                <a:cubicBezTo>
                  <a:pt x="867992" y="196222"/>
                  <a:pt x="869358" y="197020"/>
                  <a:pt x="870724" y="197020"/>
                </a:cubicBezTo>
                <a:lnTo>
                  <a:pt x="880188" y="197020"/>
                </a:lnTo>
                <a:lnTo>
                  <a:pt x="880188" y="210314"/>
                </a:lnTo>
                <a:cubicBezTo>
                  <a:pt x="880188" y="212175"/>
                  <a:pt x="880774" y="214037"/>
                  <a:pt x="881750" y="215366"/>
                </a:cubicBezTo>
                <a:cubicBezTo>
                  <a:pt x="882725" y="216695"/>
                  <a:pt x="884091" y="217493"/>
                  <a:pt x="885457" y="217493"/>
                </a:cubicBezTo>
                <a:lnTo>
                  <a:pt x="899800" y="217493"/>
                </a:lnTo>
                <a:lnTo>
                  <a:pt x="899800" y="230787"/>
                </a:lnTo>
                <a:cubicBezTo>
                  <a:pt x="899800" y="232649"/>
                  <a:pt x="900386" y="234510"/>
                  <a:pt x="901361" y="235839"/>
                </a:cubicBezTo>
                <a:cubicBezTo>
                  <a:pt x="902337" y="237169"/>
                  <a:pt x="903703" y="237966"/>
                  <a:pt x="905069" y="237966"/>
                </a:cubicBezTo>
                <a:lnTo>
                  <a:pt x="941561" y="237966"/>
                </a:lnTo>
                <a:lnTo>
                  <a:pt x="941561" y="251260"/>
                </a:lnTo>
                <a:cubicBezTo>
                  <a:pt x="941561" y="253122"/>
                  <a:pt x="942146" y="254983"/>
                  <a:pt x="943122" y="256312"/>
                </a:cubicBezTo>
                <a:cubicBezTo>
                  <a:pt x="944098" y="257642"/>
                  <a:pt x="945464" y="258439"/>
                  <a:pt x="946830" y="258439"/>
                </a:cubicBezTo>
                <a:lnTo>
                  <a:pt x="963612" y="258439"/>
                </a:lnTo>
                <a:lnTo>
                  <a:pt x="963612" y="271734"/>
                </a:lnTo>
                <a:cubicBezTo>
                  <a:pt x="963612" y="273595"/>
                  <a:pt x="964197" y="275456"/>
                  <a:pt x="965173" y="276785"/>
                </a:cubicBezTo>
                <a:cubicBezTo>
                  <a:pt x="966149" y="278115"/>
                  <a:pt x="967515" y="278912"/>
                  <a:pt x="968881" y="278912"/>
                </a:cubicBezTo>
                <a:lnTo>
                  <a:pt x="988200" y="278912"/>
                </a:lnTo>
                <a:lnTo>
                  <a:pt x="988200" y="292472"/>
                </a:lnTo>
                <a:cubicBezTo>
                  <a:pt x="988200" y="294334"/>
                  <a:pt x="988785" y="296195"/>
                  <a:pt x="989761" y="297524"/>
                </a:cubicBezTo>
                <a:cubicBezTo>
                  <a:pt x="990737" y="298854"/>
                  <a:pt x="992102" y="299651"/>
                  <a:pt x="993468" y="299651"/>
                </a:cubicBezTo>
                <a:lnTo>
                  <a:pt x="1020105" y="299651"/>
                </a:lnTo>
                <a:lnTo>
                  <a:pt x="1020105" y="313211"/>
                </a:lnTo>
                <a:cubicBezTo>
                  <a:pt x="1020105" y="315073"/>
                  <a:pt x="1020691" y="316934"/>
                  <a:pt x="1021667" y="318263"/>
                </a:cubicBezTo>
                <a:cubicBezTo>
                  <a:pt x="1022642" y="319593"/>
                  <a:pt x="1024008" y="320390"/>
                  <a:pt x="1025374" y="320390"/>
                </a:cubicBezTo>
                <a:lnTo>
                  <a:pt x="1093674" y="320390"/>
                </a:lnTo>
                <a:lnTo>
                  <a:pt x="1093674" y="333950"/>
                </a:lnTo>
                <a:cubicBezTo>
                  <a:pt x="1093674" y="335812"/>
                  <a:pt x="1094259" y="337673"/>
                  <a:pt x="1095235" y="339002"/>
                </a:cubicBezTo>
                <a:cubicBezTo>
                  <a:pt x="1096211" y="340332"/>
                  <a:pt x="1097577" y="341129"/>
                  <a:pt x="1098943" y="341129"/>
                </a:cubicBezTo>
                <a:lnTo>
                  <a:pt x="1196611" y="341129"/>
                </a:lnTo>
                <a:lnTo>
                  <a:pt x="1196611" y="354689"/>
                </a:lnTo>
                <a:cubicBezTo>
                  <a:pt x="1196611" y="356551"/>
                  <a:pt x="1197197" y="358412"/>
                  <a:pt x="1198173" y="359741"/>
                </a:cubicBezTo>
                <a:cubicBezTo>
                  <a:pt x="1199148" y="361071"/>
                  <a:pt x="1200514" y="361868"/>
                  <a:pt x="1201880" y="361868"/>
                </a:cubicBezTo>
                <a:lnTo>
                  <a:pt x="1208905" y="361868"/>
                </a:lnTo>
                <a:lnTo>
                  <a:pt x="1208905" y="375428"/>
                </a:lnTo>
                <a:cubicBezTo>
                  <a:pt x="1208905" y="377289"/>
                  <a:pt x="1209491" y="379151"/>
                  <a:pt x="1210467" y="380480"/>
                </a:cubicBezTo>
                <a:cubicBezTo>
                  <a:pt x="1211442" y="381809"/>
                  <a:pt x="1212808" y="382607"/>
                  <a:pt x="1214174" y="382607"/>
                </a:cubicBezTo>
                <a:lnTo>
                  <a:pt x="1228615" y="382607"/>
                </a:lnTo>
                <a:lnTo>
                  <a:pt x="1228615" y="416773"/>
                </a:lnTo>
                <a:cubicBezTo>
                  <a:pt x="1228615" y="418634"/>
                  <a:pt x="1229200" y="420496"/>
                  <a:pt x="1230176" y="421825"/>
                </a:cubicBezTo>
                <a:cubicBezTo>
                  <a:pt x="1231152" y="423154"/>
                  <a:pt x="1232518" y="423952"/>
                  <a:pt x="1233884" y="423952"/>
                </a:cubicBezTo>
                <a:lnTo>
                  <a:pt x="1287450" y="423952"/>
                </a:lnTo>
                <a:lnTo>
                  <a:pt x="1287450" y="437512"/>
                </a:lnTo>
                <a:cubicBezTo>
                  <a:pt x="1287450" y="439373"/>
                  <a:pt x="1288035" y="441235"/>
                  <a:pt x="1289011" y="442564"/>
                </a:cubicBezTo>
                <a:cubicBezTo>
                  <a:pt x="1289987" y="443893"/>
                  <a:pt x="1291353" y="444691"/>
                  <a:pt x="1292719" y="444691"/>
                </a:cubicBezTo>
                <a:lnTo>
                  <a:pt x="1307159" y="444691"/>
                </a:lnTo>
                <a:lnTo>
                  <a:pt x="1307159" y="478857"/>
                </a:lnTo>
                <a:cubicBezTo>
                  <a:pt x="1307159" y="480718"/>
                  <a:pt x="1307745" y="482580"/>
                  <a:pt x="1308721" y="483909"/>
                </a:cubicBezTo>
                <a:cubicBezTo>
                  <a:pt x="1309696" y="485238"/>
                  <a:pt x="1311062" y="486036"/>
                  <a:pt x="1312428" y="486036"/>
                </a:cubicBezTo>
                <a:lnTo>
                  <a:pt x="1317307" y="486036"/>
                </a:lnTo>
                <a:lnTo>
                  <a:pt x="1317307" y="478857"/>
                </a:lnTo>
                <a:lnTo>
                  <a:pt x="1312038" y="478857"/>
                </a:lnTo>
                <a:lnTo>
                  <a:pt x="1312038" y="499463"/>
                </a:lnTo>
                <a:cubicBezTo>
                  <a:pt x="1312038" y="501324"/>
                  <a:pt x="1312623" y="503186"/>
                  <a:pt x="1313599" y="504515"/>
                </a:cubicBezTo>
                <a:cubicBezTo>
                  <a:pt x="1314575" y="505844"/>
                  <a:pt x="1315941" y="506642"/>
                  <a:pt x="1317307" y="506642"/>
                </a:cubicBezTo>
                <a:lnTo>
                  <a:pt x="1324332" y="506642"/>
                </a:lnTo>
                <a:lnTo>
                  <a:pt x="1324332" y="520202"/>
                </a:lnTo>
                <a:cubicBezTo>
                  <a:pt x="1324332" y="522063"/>
                  <a:pt x="1324917" y="523925"/>
                  <a:pt x="1325893" y="525254"/>
                </a:cubicBezTo>
                <a:cubicBezTo>
                  <a:pt x="1326869" y="526583"/>
                  <a:pt x="1328235" y="527381"/>
                  <a:pt x="1329601" y="527381"/>
                </a:cubicBezTo>
                <a:lnTo>
                  <a:pt x="1334187" y="527381"/>
                </a:lnTo>
                <a:lnTo>
                  <a:pt x="1334187" y="561547"/>
                </a:lnTo>
                <a:cubicBezTo>
                  <a:pt x="1334187" y="563408"/>
                  <a:pt x="1334772" y="565270"/>
                  <a:pt x="1335748" y="566599"/>
                </a:cubicBezTo>
                <a:cubicBezTo>
                  <a:pt x="1336723" y="567928"/>
                  <a:pt x="1338089" y="568726"/>
                  <a:pt x="1339455" y="568726"/>
                </a:cubicBezTo>
                <a:lnTo>
                  <a:pt x="1456833" y="568726"/>
                </a:lnTo>
                <a:lnTo>
                  <a:pt x="1456833" y="582552"/>
                </a:lnTo>
                <a:cubicBezTo>
                  <a:pt x="1456833" y="584413"/>
                  <a:pt x="1457419" y="586274"/>
                  <a:pt x="1458395" y="587604"/>
                </a:cubicBezTo>
                <a:cubicBezTo>
                  <a:pt x="1459370" y="588933"/>
                  <a:pt x="1460736" y="589731"/>
                  <a:pt x="1462102" y="589731"/>
                </a:cubicBezTo>
                <a:lnTo>
                  <a:pt x="1483861" y="589731"/>
                </a:lnTo>
                <a:lnTo>
                  <a:pt x="1483861" y="603557"/>
                </a:lnTo>
                <a:cubicBezTo>
                  <a:pt x="1483861" y="605418"/>
                  <a:pt x="1484446" y="607279"/>
                  <a:pt x="1485422" y="608609"/>
                </a:cubicBezTo>
                <a:cubicBezTo>
                  <a:pt x="1486397" y="609938"/>
                  <a:pt x="1487763" y="610736"/>
                  <a:pt x="1489129" y="610736"/>
                </a:cubicBezTo>
                <a:lnTo>
                  <a:pt x="1491569" y="610736"/>
                </a:lnTo>
                <a:lnTo>
                  <a:pt x="1491569" y="603557"/>
                </a:lnTo>
                <a:lnTo>
                  <a:pt x="1486300" y="603557"/>
                </a:lnTo>
                <a:lnTo>
                  <a:pt x="1486300" y="624429"/>
                </a:lnTo>
                <a:cubicBezTo>
                  <a:pt x="1486300" y="626290"/>
                  <a:pt x="1486885" y="628151"/>
                  <a:pt x="1487861" y="629480"/>
                </a:cubicBezTo>
                <a:cubicBezTo>
                  <a:pt x="1488837" y="630810"/>
                  <a:pt x="1490203" y="631608"/>
                  <a:pt x="1491569" y="631608"/>
                </a:cubicBezTo>
                <a:lnTo>
                  <a:pt x="1581920" y="631608"/>
                </a:lnTo>
                <a:lnTo>
                  <a:pt x="1581920" y="645434"/>
                </a:lnTo>
                <a:cubicBezTo>
                  <a:pt x="1581920" y="647295"/>
                  <a:pt x="1582505" y="649156"/>
                  <a:pt x="1583481" y="650485"/>
                </a:cubicBezTo>
                <a:cubicBezTo>
                  <a:pt x="1584456" y="651815"/>
                  <a:pt x="1585822" y="652612"/>
                  <a:pt x="1587188" y="652612"/>
                </a:cubicBezTo>
                <a:lnTo>
                  <a:pt x="1763402" y="652612"/>
                </a:lnTo>
                <a:lnTo>
                  <a:pt x="1763402" y="666438"/>
                </a:lnTo>
                <a:cubicBezTo>
                  <a:pt x="1763402" y="668300"/>
                  <a:pt x="1763987" y="670161"/>
                  <a:pt x="1764963" y="671490"/>
                </a:cubicBezTo>
                <a:cubicBezTo>
                  <a:pt x="1765939" y="672820"/>
                  <a:pt x="1767305" y="673617"/>
                  <a:pt x="1768671" y="673617"/>
                </a:cubicBezTo>
                <a:lnTo>
                  <a:pt x="1778135" y="673617"/>
                </a:lnTo>
                <a:lnTo>
                  <a:pt x="1778135" y="687443"/>
                </a:lnTo>
                <a:cubicBezTo>
                  <a:pt x="1778135" y="689304"/>
                  <a:pt x="1778720" y="691166"/>
                  <a:pt x="1779696" y="692495"/>
                </a:cubicBezTo>
                <a:cubicBezTo>
                  <a:pt x="1780672" y="693824"/>
                  <a:pt x="1782038" y="694622"/>
                  <a:pt x="1783404" y="694622"/>
                </a:cubicBezTo>
                <a:lnTo>
                  <a:pt x="1824774" y="694622"/>
                </a:lnTo>
                <a:lnTo>
                  <a:pt x="1824774" y="708448"/>
                </a:lnTo>
                <a:cubicBezTo>
                  <a:pt x="1824774" y="710309"/>
                  <a:pt x="1825359" y="712170"/>
                  <a:pt x="1826335" y="713500"/>
                </a:cubicBezTo>
                <a:cubicBezTo>
                  <a:pt x="1827311" y="714829"/>
                  <a:pt x="1828677" y="715627"/>
                  <a:pt x="1830043" y="715627"/>
                </a:cubicBezTo>
                <a:lnTo>
                  <a:pt x="1922833" y="715627"/>
                </a:lnTo>
                <a:lnTo>
                  <a:pt x="1922833" y="729453"/>
                </a:lnTo>
                <a:cubicBezTo>
                  <a:pt x="1922833" y="731314"/>
                  <a:pt x="1923418" y="733175"/>
                  <a:pt x="1924394" y="734505"/>
                </a:cubicBezTo>
                <a:cubicBezTo>
                  <a:pt x="1925370" y="735834"/>
                  <a:pt x="1926736" y="736632"/>
                  <a:pt x="1928102" y="736632"/>
                </a:cubicBezTo>
                <a:lnTo>
                  <a:pt x="1971911" y="736632"/>
                </a:lnTo>
                <a:lnTo>
                  <a:pt x="1971911" y="750458"/>
                </a:lnTo>
                <a:cubicBezTo>
                  <a:pt x="1971911" y="752319"/>
                  <a:pt x="1972496" y="754180"/>
                  <a:pt x="1973472" y="755510"/>
                </a:cubicBezTo>
                <a:cubicBezTo>
                  <a:pt x="1974448" y="756839"/>
                  <a:pt x="1975814" y="757637"/>
                  <a:pt x="1977180" y="757637"/>
                </a:cubicBezTo>
                <a:lnTo>
                  <a:pt x="1996401" y="757637"/>
                </a:lnTo>
                <a:lnTo>
                  <a:pt x="1996401" y="771463"/>
                </a:lnTo>
                <a:cubicBezTo>
                  <a:pt x="1996401" y="773324"/>
                  <a:pt x="1996987" y="775185"/>
                  <a:pt x="1997963" y="776514"/>
                </a:cubicBezTo>
                <a:cubicBezTo>
                  <a:pt x="1998938" y="777844"/>
                  <a:pt x="2000304" y="778641"/>
                  <a:pt x="2001670" y="778641"/>
                </a:cubicBezTo>
                <a:lnTo>
                  <a:pt x="2273503" y="778641"/>
                </a:lnTo>
                <a:lnTo>
                  <a:pt x="2273503" y="793664"/>
                </a:lnTo>
                <a:cubicBezTo>
                  <a:pt x="2273503" y="795525"/>
                  <a:pt x="2274089" y="797386"/>
                  <a:pt x="2275064" y="798716"/>
                </a:cubicBezTo>
                <a:cubicBezTo>
                  <a:pt x="2276040" y="800045"/>
                  <a:pt x="2277406" y="800843"/>
                  <a:pt x="2278772" y="800843"/>
                </a:cubicBezTo>
                <a:lnTo>
                  <a:pt x="2295554" y="800843"/>
                </a:lnTo>
                <a:lnTo>
                  <a:pt x="2295554" y="815865"/>
                </a:lnTo>
                <a:cubicBezTo>
                  <a:pt x="2295554" y="817726"/>
                  <a:pt x="2296140" y="819588"/>
                  <a:pt x="2297115" y="820917"/>
                </a:cubicBezTo>
                <a:cubicBezTo>
                  <a:pt x="2298091" y="822246"/>
                  <a:pt x="2299457" y="823044"/>
                  <a:pt x="2300823" y="823044"/>
                </a:cubicBezTo>
                <a:lnTo>
                  <a:pt x="2327460" y="823044"/>
                </a:lnTo>
                <a:lnTo>
                  <a:pt x="2327460" y="838199"/>
                </a:lnTo>
                <a:cubicBezTo>
                  <a:pt x="2327460" y="840061"/>
                  <a:pt x="2328046" y="841922"/>
                  <a:pt x="2329021" y="843251"/>
                </a:cubicBezTo>
                <a:cubicBezTo>
                  <a:pt x="2329997" y="844581"/>
                  <a:pt x="2331363" y="845378"/>
                  <a:pt x="2332729" y="845378"/>
                </a:cubicBezTo>
                <a:lnTo>
                  <a:pt x="2339754" y="845378"/>
                </a:lnTo>
                <a:lnTo>
                  <a:pt x="2339754" y="860401"/>
                </a:lnTo>
                <a:cubicBezTo>
                  <a:pt x="2339754" y="862262"/>
                  <a:pt x="2340339" y="864123"/>
                  <a:pt x="2341315" y="865453"/>
                </a:cubicBezTo>
                <a:cubicBezTo>
                  <a:pt x="2342291" y="866782"/>
                  <a:pt x="2343657" y="867580"/>
                  <a:pt x="2345023" y="867580"/>
                </a:cubicBezTo>
                <a:lnTo>
                  <a:pt x="2499185" y="867580"/>
                </a:lnTo>
                <a:lnTo>
                  <a:pt x="2499185" y="882735"/>
                </a:lnTo>
                <a:cubicBezTo>
                  <a:pt x="2499185" y="884596"/>
                  <a:pt x="2499771" y="886457"/>
                  <a:pt x="2500746" y="887787"/>
                </a:cubicBezTo>
                <a:cubicBezTo>
                  <a:pt x="2501722" y="889116"/>
                  <a:pt x="2503088" y="889914"/>
                  <a:pt x="2504454" y="889914"/>
                </a:cubicBezTo>
                <a:lnTo>
                  <a:pt x="2535969" y="889914"/>
                </a:lnTo>
                <a:lnTo>
                  <a:pt x="2535969" y="905069"/>
                </a:lnTo>
                <a:cubicBezTo>
                  <a:pt x="2535969" y="906931"/>
                  <a:pt x="2536555" y="908792"/>
                  <a:pt x="2537531" y="910121"/>
                </a:cubicBezTo>
                <a:cubicBezTo>
                  <a:pt x="2538506" y="911450"/>
                  <a:pt x="2539872" y="912248"/>
                  <a:pt x="2541238" y="912248"/>
                </a:cubicBezTo>
                <a:lnTo>
                  <a:pt x="2589926" y="912248"/>
                </a:lnTo>
                <a:lnTo>
                  <a:pt x="2589926" y="927802"/>
                </a:lnTo>
                <a:cubicBezTo>
                  <a:pt x="2589926" y="929664"/>
                  <a:pt x="2590512" y="931525"/>
                  <a:pt x="2591487" y="932854"/>
                </a:cubicBezTo>
                <a:cubicBezTo>
                  <a:pt x="2592463" y="934184"/>
                  <a:pt x="2593829" y="934981"/>
                  <a:pt x="2595195" y="934981"/>
                </a:cubicBezTo>
                <a:lnTo>
                  <a:pt x="2656177" y="934981"/>
                </a:lnTo>
                <a:lnTo>
                  <a:pt x="2656177" y="951200"/>
                </a:lnTo>
                <a:cubicBezTo>
                  <a:pt x="2656177" y="953061"/>
                  <a:pt x="2656762" y="954923"/>
                  <a:pt x="2657738" y="956252"/>
                </a:cubicBezTo>
                <a:cubicBezTo>
                  <a:pt x="2658714" y="957581"/>
                  <a:pt x="2660080" y="958379"/>
                  <a:pt x="2661446" y="958379"/>
                </a:cubicBezTo>
                <a:lnTo>
                  <a:pt x="2688083" y="958379"/>
                </a:lnTo>
                <a:lnTo>
                  <a:pt x="2688083" y="974731"/>
                </a:lnTo>
                <a:cubicBezTo>
                  <a:pt x="2688083" y="976592"/>
                  <a:pt x="2688668" y="978453"/>
                  <a:pt x="2689644" y="979783"/>
                </a:cubicBezTo>
                <a:cubicBezTo>
                  <a:pt x="2690620" y="981112"/>
                  <a:pt x="2691985" y="981910"/>
                  <a:pt x="2693352" y="981910"/>
                </a:cubicBezTo>
                <a:lnTo>
                  <a:pt x="2859710" y="981910"/>
                </a:lnTo>
                <a:lnTo>
                  <a:pt x="2859710" y="998661"/>
                </a:lnTo>
                <a:cubicBezTo>
                  <a:pt x="2859710" y="1000522"/>
                  <a:pt x="2860295" y="1002383"/>
                  <a:pt x="2861271" y="1003712"/>
                </a:cubicBezTo>
                <a:cubicBezTo>
                  <a:pt x="2862247" y="1005042"/>
                  <a:pt x="2863613" y="1005839"/>
                  <a:pt x="2864979" y="1005839"/>
                </a:cubicBezTo>
                <a:lnTo>
                  <a:pt x="3296145" y="1005839"/>
                </a:lnTo>
                <a:lnTo>
                  <a:pt x="3296145" y="1025781"/>
                </a:lnTo>
                <a:cubicBezTo>
                  <a:pt x="3296145" y="1027642"/>
                  <a:pt x="3296731" y="1029503"/>
                  <a:pt x="3297707" y="1030832"/>
                </a:cubicBezTo>
                <a:cubicBezTo>
                  <a:pt x="3298682" y="1032162"/>
                  <a:pt x="3300048" y="1032959"/>
                  <a:pt x="3301414" y="1032959"/>
                </a:cubicBezTo>
                <a:lnTo>
                  <a:pt x="3404059" y="1032959"/>
                </a:lnTo>
                <a:lnTo>
                  <a:pt x="3404059" y="1056357"/>
                </a:lnTo>
                <a:cubicBezTo>
                  <a:pt x="3404059" y="1058219"/>
                  <a:pt x="3404644" y="1060080"/>
                  <a:pt x="3405620" y="1061409"/>
                </a:cubicBezTo>
                <a:cubicBezTo>
                  <a:pt x="3406596" y="1062739"/>
                  <a:pt x="3407962" y="1063536"/>
                  <a:pt x="3409328" y="1063536"/>
                </a:cubicBezTo>
                <a:lnTo>
                  <a:pt x="4076519" y="1063536"/>
                </a:lnTo>
                <a:lnTo>
                  <a:pt x="4076519" y="1049311"/>
                </a:lnTo>
                <a:lnTo>
                  <a:pt x="3414597" y="1049311"/>
                </a:lnTo>
                <a:lnTo>
                  <a:pt x="3414597" y="1025914"/>
                </a:lnTo>
                <a:cubicBezTo>
                  <a:pt x="3414597" y="1024052"/>
                  <a:pt x="3414011" y="1022191"/>
                  <a:pt x="3413035" y="1020862"/>
                </a:cubicBezTo>
                <a:cubicBezTo>
                  <a:pt x="3412060" y="1019532"/>
                  <a:pt x="3410694" y="1018735"/>
                  <a:pt x="3409328" y="1018735"/>
                </a:cubicBezTo>
                <a:lnTo>
                  <a:pt x="3306683" y="1018735"/>
                </a:lnTo>
                <a:lnTo>
                  <a:pt x="3306683" y="998793"/>
                </a:lnTo>
                <a:cubicBezTo>
                  <a:pt x="3306683" y="996932"/>
                  <a:pt x="3306098" y="995071"/>
                  <a:pt x="3305122" y="993742"/>
                </a:cubicBezTo>
                <a:cubicBezTo>
                  <a:pt x="3304146" y="992412"/>
                  <a:pt x="3302780" y="991615"/>
                  <a:pt x="3301414" y="991615"/>
                </a:cubicBezTo>
                <a:lnTo>
                  <a:pt x="2870248" y="991615"/>
                </a:lnTo>
                <a:lnTo>
                  <a:pt x="2870248" y="974864"/>
                </a:lnTo>
                <a:cubicBezTo>
                  <a:pt x="2870248" y="973003"/>
                  <a:pt x="2869662" y="971142"/>
                  <a:pt x="2868687" y="969812"/>
                </a:cubicBezTo>
                <a:cubicBezTo>
                  <a:pt x="2867711" y="968483"/>
                  <a:pt x="2866345" y="967685"/>
                  <a:pt x="2864979" y="967685"/>
                </a:cubicBezTo>
                <a:lnTo>
                  <a:pt x="2698620" y="967685"/>
                </a:lnTo>
                <a:lnTo>
                  <a:pt x="2698620" y="951333"/>
                </a:lnTo>
                <a:cubicBezTo>
                  <a:pt x="2698620" y="949472"/>
                  <a:pt x="2698035" y="947611"/>
                  <a:pt x="2697059" y="946281"/>
                </a:cubicBezTo>
                <a:cubicBezTo>
                  <a:pt x="2696084" y="944952"/>
                  <a:pt x="2694717" y="944154"/>
                  <a:pt x="2693352" y="944154"/>
                </a:cubicBezTo>
                <a:lnTo>
                  <a:pt x="2666715" y="944154"/>
                </a:lnTo>
                <a:lnTo>
                  <a:pt x="2666715" y="927935"/>
                </a:lnTo>
                <a:cubicBezTo>
                  <a:pt x="2666715" y="926074"/>
                  <a:pt x="2666129" y="924213"/>
                  <a:pt x="2665153" y="922884"/>
                </a:cubicBezTo>
                <a:cubicBezTo>
                  <a:pt x="2664178" y="921554"/>
                  <a:pt x="2662812" y="920756"/>
                  <a:pt x="2661446" y="920756"/>
                </a:cubicBezTo>
                <a:lnTo>
                  <a:pt x="2600464" y="920756"/>
                </a:lnTo>
                <a:lnTo>
                  <a:pt x="2600464" y="905202"/>
                </a:lnTo>
                <a:cubicBezTo>
                  <a:pt x="2600464" y="903341"/>
                  <a:pt x="2599878" y="901480"/>
                  <a:pt x="2598903" y="900150"/>
                </a:cubicBezTo>
                <a:cubicBezTo>
                  <a:pt x="2597927" y="898821"/>
                  <a:pt x="2596561" y="898023"/>
                  <a:pt x="2595195" y="898023"/>
                </a:cubicBezTo>
                <a:lnTo>
                  <a:pt x="2546507" y="898023"/>
                </a:lnTo>
                <a:lnTo>
                  <a:pt x="2546507" y="882868"/>
                </a:lnTo>
                <a:cubicBezTo>
                  <a:pt x="2546507" y="881007"/>
                  <a:pt x="2545922" y="879146"/>
                  <a:pt x="2544946" y="877816"/>
                </a:cubicBezTo>
                <a:cubicBezTo>
                  <a:pt x="2543970" y="876487"/>
                  <a:pt x="2542604" y="875689"/>
                  <a:pt x="2541238" y="875689"/>
                </a:cubicBezTo>
                <a:lnTo>
                  <a:pt x="2509723" y="875689"/>
                </a:lnTo>
                <a:lnTo>
                  <a:pt x="2509723" y="860534"/>
                </a:lnTo>
                <a:cubicBezTo>
                  <a:pt x="2509723" y="858672"/>
                  <a:pt x="2509137" y="856811"/>
                  <a:pt x="2508162" y="855482"/>
                </a:cubicBezTo>
                <a:cubicBezTo>
                  <a:pt x="2507186" y="854153"/>
                  <a:pt x="2505820" y="853355"/>
                  <a:pt x="2504454" y="853355"/>
                </a:cubicBezTo>
                <a:lnTo>
                  <a:pt x="2350292" y="853355"/>
                </a:lnTo>
                <a:lnTo>
                  <a:pt x="2350292" y="838332"/>
                </a:lnTo>
                <a:cubicBezTo>
                  <a:pt x="2350292" y="836471"/>
                  <a:pt x="2349706" y="834610"/>
                  <a:pt x="2348731" y="833281"/>
                </a:cubicBezTo>
                <a:cubicBezTo>
                  <a:pt x="2347755" y="831951"/>
                  <a:pt x="2346389" y="831154"/>
                  <a:pt x="2345023" y="831154"/>
                </a:cubicBezTo>
                <a:lnTo>
                  <a:pt x="2338095" y="831154"/>
                </a:lnTo>
                <a:lnTo>
                  <a:pt x="2338095" y="816131"/>
                </a:lnTo>
                <a:cubicBezTo>
                  <a:pt x="2338095" y="814270"/>
                  <a:pt x="2337510" y="812409"/>
                  <a:pt x="2336534" y="811079"/>
                </a:cubicBezTo>
                <a:cubicBezTo>
                  <a:pt x="2335558" y="809750"/>
                  <a:pt x="2334192" y="808952"/>
                  <a:pt x="2332826" y="808952"/>
                </a:cubicBezTo>
                <a:lnTo>
                  <a:pt x="2306190" y="808952"/>
                </a:lnTo>
                <a:lnTo>
                  <a:pt x="2306190" y="793930"/>
                </a:lnTo>
                <a:cubicBezTo>
                  <a:pt x="2306190" y="792069"/>
                  <a:pt x="2305604" y="790207"/>
                  <a:pt x="2304628" y="788878"/>
                </a:cubicBezTo>
                <a:cubicBezTo>
                  <a:pt x="2303653" y="787549"/>
                  <a:pt x="2302287" y="786751"/>
                  <a:pt x="2300921" y="786751"/>
                </a:cubicBezTo>
                <a:lnTo>
                  <a:pt x="2284139" y="786751"/>
                </a:lnTo>
                <a:lnTo>
                  <a:pt x="2284139" y="771728"/>
                </a:lnTo>
                <a:cubicBezTo>
                  <a:pt x="2284139" y="769867"/>
                  <a:pt x="2283553" y="768006"/>
                  <a:pt x="2282577" y="766677"/>
                </a:cubicBezTo>
                <a:cubicBezTo>
                  <a:pt x="2281602" y="765347"/>
                  <a:pt x="2280236" y="764550"/>
                  <a:pt x="2278870" y="764550"/>
                </a:cubicBezTo>
                <a:lnTo>
                  <a:pt x="2007037" y="764550"/>
                </a:lnTo>
                <a:lnTo>
                  <a:pt x="2007037" y="750724"/>
                </a:lnTo>
                <a:cubicBezTo>
                  <a:pt x="2007037" y="748862"/>
                  <a:pt x="2006451" y="747001"/>
                  <a:pt x="2005475" y="745672"/>
                </a:cubicBezTo>
                <a:cubicBezTo>
                  <a:pt x="2004500" y="744342"/>
                  <a:pt x="2003134" y="743545"/>
                  <a:pt x="2001768" y="743545"/>
                </a:cubicBezTo>
                <a:lnTo>
                  <a:pt x="1982546" y="743545"/>
                </a:lnTo>
                <a:lnTo>
                  <a:pt x="1982546" y="729719"/>
                </a:lnTo>
                <a:cubicBezTo>
                  <a:pt x="1982546" y="727858"/>
                  <a:pt x="1981961" y="725996"/>
                  <a:pt x="1980985" y="724667"/>
                </a:cubicBezTo>
                <a:cubicBezTo>
                  <a:pt x="1980009" y="723338"/>
                  <a:pt x="1978643" y="722540"/>
                  <a:pt x="1977277" y="722540"/>
                </a:cubicBezTo>
                <a:lnTo>
                  <a:pt x="1933468" y="722540"/>
                </a:lnTo>
                <a:lnTo>
                  <a:pt x="1933468" y="708714"/>
                </a:lnTo>
                <a:cubicBezTo>
                  <a:pt x="1933468" y="706853"/>
                  <a:pt x="1932883" y="704992"/>
                  <a:pt x="1931907" y="703662"/>
                </a:cubicBezTo>
                <a:cubicBezTo>
                  <a:pt x="1930931" y="702333"/>
                  <a:pt x="1929565" y="701535"/>
                  <a:pt x="1928199" y="701535"/>
                </a:cubicBezTo>
                <a:lnTo>
                  <a:pt x="1835409" y="701535"/>
                </a:lnTo>
                <a:lnTo>
                  <a:pt x="1835409" y="687709"/>
                </a:lnTo>
                <a:cubicBezTo>
                  <a:pt x="1835409" y="685848"/>
                  <a:pt x="1834824" y="683987"/>
                  <a:pt x="1833848" y="682657"/>
                </a:cubicBezTo>
                <a:cubicBezTo>
                  <a:pt x="1832872" y="681328"/>
                  <a:pt x="1831506" y="680530"/>
                  <a:pt x="1830140" y="680530"/>
                </a:cubicBezTo>
                <a:lnTo>
                  <a:pt x="1788770" y="680530"/>
                </a:lnTo>
                <a:lnTo>
                  <a:pt x="1788770" y="666704"/>
                </a:lnTo>
                <a:cubicBezTo>
                  <a:pt x="1788770" y="664843"/>
                  <a:pt x="1788185" y="662982"/>
                  <a:pt x="1787209" y="661652"/>
                </a:cubicBezTo>
                <a:cubicBezTo>
                  <a:pt x="1786233" y="660323"/>
                  <a:pt x="1784867" y="659525"/>
                  <a:pt x="1783501" y="659525"/>
                </a:cubicBezTo>
                <a:lnTo>
                  <a:pt x="1774037" y="659525"/>
                </a:lnTo>
                <a:lnTo>
                  <a:pt x="1774037" y="645699"/>
                </a:lnTo>
                <a:cubicBezTo>
                  <a:pt x="1774037" y="643838"/>
                  <a:pt x="1773451" y="641977"/>
                  <a:pt x="1772476" y="640648"/>
                </a:cubicBezTo>
                <a:cubicBezTo>
                  <a:pt x="1771500" y="639318"/>
                  <a:pt x="1770134" y="638521"/>
                  <a:pt x="1768768" y="638521"/>
                </a:cubicBezTo>
                <a:lnTo>
                  <a:pt x="1592555" y="638521"/>
                </a:lnTo>
                <a:lnTo>
                  <a:pt x="1592555" y="624695"/>
                </a:lnTo>
                <a:cubicBezTo>
                  <a:pt x="1592555" y="622833"/>
                  <a:pt x="1591969" y="620972"/>
                  <a:pt x="1590994" y="619643"/>
                </a:cubicBezTo>
                <a:cubicBezTo>
                  <a:pt x="1590018" y="618313"/>
                  <a:pt x="1588652" y="617516"/>
                  <a:pt x="1587286" y="617516"/>
                </a:cubicBezTo>
                <a:lnTo>
                  <a:pt x="1496935" y="617516"/>
                </a:lnTo>
                <a:lnTo>
                  <a:pt x="1496935" y="603690"/>
                </a:lnTo>
                <a:cubicBezTo>
                  <a:pt x="1496935" y="601829"/>
                  <a:pt x="1496350" y="599967"/>
                  <a:pt x="1495374" y="598638"/>
                </a:cubicBezTo>
                <a:cubicBezTo>
                  <a:pt x="1494398" y="597309"/>
                  <a:pt x="1493032" y="596511"/>
                  <a:pt x="1491666" y="596511"/>
                </a:cubicBezTo>
                <a:lnTo>
                  <a:pt x="1489227" y="596511"/>
                </a:lnTo>
                <a:lnTo>
                  <a:pt x="1489227" y="603690"/>
                </a:lnTo>
                <a:lnTo>
                  <a:pt x="1494496" y="603690"/>
                </a:lnTo>
                <a:lnTo>
                  <a:pt x="1494496" y="582818"/>
                </a:lnTo>
                <a:cubicBezTo>
                  <a:pt x="1494496" y="580957"/>
                  <a:pt x="1493910" y="579095"/>
                  <a:pt x="1492935" y="577766"/>
                </a:cubicBezTo>
                <a:cubicBezTo>
                  <a:pt x="1491959" y="576437"/>
                  <a:pt x="1490593" y="575639"/>
                  <a:pt x="1489227" y="575639"/>
                </a:cubicBezTo>
                <a:lnTo>
                  <a:pt x="1467469" y="575639"/>
                </a:lnTo>
                <a:lnTo>
                  <a:pt x="1467469" y="561813"/>
                </a:lnTo>
                <a:cubicBezTo>
                  <a:pt x="1467469" y="559952"/>
                  <a:pt x="1466883" y="558091"/>
                  <a:pt x="1465908" y="556761"/>
                </a:cubicBezTo>
                <a:cubicBezTo>
                  <a:pt x="1464932" y="555432"/>
                  <a:pt x="1463566" y="554634"/>
                  <a:pt x="1462200" y="554634"/>
                </a:cubicBezTo>
                <a:lnTo>
                  <a:pt x="1344822" y="554634"/>
                </a:lnTo>
                <a:lnTo>
                  <a:pt x="1344822" y="520468"/>
                </a:lnTo>
                <a:cubicBezTo>
                  <a:pt x="1344822" y="518607"/>
                  <a:pt x="1344236" y="516746"/>
                  <a:pt x="1343261" y="515416"/>
                </a:cubicBezTo>
                <a:cubicBezTo>
                  <a:pt x="1342285" y="514087"/>
                  <a:pt x="1340919" y="513289"/>
                  <a:pt x="1339553" y="513289"/>
                </a:cubicBezTo>
                <a:lnTo>
                  <a:pt x="1334967" y="513289"/>
                </a:lnTo>
                <a:lnTo>
                  <a:pt x="1334967" y="499729"/>
                </a:lnTo>
                <a:cubicBezTo>
                  <a:pt x="1334967" y="497868"/>
                  <a:pt x="1334382" y="496007"/>
                  <a:pt x="1333406" y="494677"/>
                </a:cubicBezTo>
                <a:cubicBezTo>
                  <a:pt x="1332430" y="493348"/>
                  <a:pt x="1331064" y="492550"/>
                  <a:pt x="1329698" y="492550"/>
                </a:cubicBezTo>
                <a:lnTo>
                  <a:pt x="1322673" y="492550"/>
                </a:lnTo>
                <a:lnTo>
                  <a:pt x="1322673" y="478990"/>
                </a:lnTo>
                <a:cubicBezTo>
                  <a:pt x="1322673" y="477129"/>
                  <a:pt x="1322088" y="475268"/>
                  <a:pt x="1321112" y="473938"/>
                </a:cubicBezTo>
                <a:cubicBezTo>
                  <a:pt x="1320136" y="472609"/>
                  <a:pt x="1318770" y="471811"/>
                  <a:pt x="1317404" y="471811"/>
                </a:cubicBezTo>
                <a:lnTo>
                  <a:pt x="1312526" y="471811"/>
                </a:lnTo>
                <a:lnTo>
                  <a:pt x="1312526" y="478990"/>
                </a:lnTo>
                <a:lnTo>
                  <a:pt x="1317795" y="478990"/>
                </a:lnTo>
                <a:lnTo>
                  <a:pt x="1317795" y="437645"/>
                </a:lnTo>
                <a:cubicBezTo>
                  <a:pt x="1317795" y="435784"/>
                  <a:pt x="1317209" y="433923"/>
                  <a:pt x="1316234" y="432593"/>
                </a:cubicBezTo>
                <a:cubicBezTo>
                  <a:pt x="1315258" y="431264"/>
                  <a:pt x="1313892" y="430466"/>
                  <a:pt x="1312526" y="430466"/>
                </a:cubicBezTo>
                <a:lnTo>
                  <a:pt x="1298085" y="430466"/>
                </a:lnTo>
                <a:lnTo>
                  <a:pt x="1298085" y="416906"/>
                </a:lnTo>
                <a:cubicBezTo>
                  <a:pt x="1298085" y="415045"/>
                  <a:pt x="1297500" y="413184"/>
                  <a:pt x="1296524" y="411854"/>
                </a:cubicBezTo>
                <a:cubicBezTo>
                  <a:pt x="1295548" y="410525"/>
                  <a:pt x="1294182" y="409727"/>
                  <a:pt x="1292817" y="409727"/>
                </a:cubicBezTo>
                <a:lnTo>
                  <a:pt x="1239250" y="409727"/>
                </a:lnTo>
                <a:lnTo>
                  <a:pt x="1239250" y="375561"/>
                </a:lnTo>
                <a:cubicBezTo>
                  <a:pt x="1239250" y="373700"/>
                  <a:pt x="1238665" y="371839"/>
                  <a:pt x="1237689" y="370509"/>
                </a:cubicBezTo>
                <a:cubicBezTo>
                  <a:pt x="1236713" y="369180"/>
                  <a:pt x="1235347" y="368382"/>
                  <a:pt x="1233981" y="368382"/>
                </a:cubicBezTo>
                <a:lnTo>
                  <a:pt x="1219541" y="368382"/>
                </a:lnTo>
                <a:lnTo>
                  <a:pt x="1219541" y="354822"/>
                </a:lnTo>
                <a:cubicBezTo>
                  <a:pt x="1219541" y="352961"/>
                  <a:pt x="1218955" y="351100"/>
                  <a:pt x="1217980" y="349770"/>
                </a:cubicBezTo>
                <a:cubicBezTo>
                  <a:pt x="1217004" y="348441"/>
                  <a:pt x="1215638" y="347643"/>
                  <a:pt x="1214272" y="347643"/>
                </a:cubicBezTo>
                <a:lnTo>
                  <a:pt x="1207247" y="347643"/>
                </a:lnTo>
                <a:lnTo>
                  <a:pt x="1207247" y="334083"/>
                </a:lnTo>
                <a:cubicBezTo>
                  <a:pt x="1207247" y="332222"/>
                  <a:pt x="1206661" y="330361"/>
                  <a:pt x="1205686" y="329032"/>
                </a:cubicBezTo>
                <a:cubicBezTo>
                  <a:pt x="1204710" y="327702"/>
                  <a:pt x="1203344" y="326904"/>
                  <a:pt x="1201978" y="326904"/>
                </a:cubicBezTo>
                <a:lnTo>
                  <a:pt x="1104309" y="326904"/>
                </a:lnTo>
                <a:lnTo>
                  <a:pt x="1104309" y="313344"/>
                </a:lnTo>
                <a:cubicBezTo>
                  <a:pt x="1104309" y="311483"/>
                  <a:pt x="1103724" y="309622"/>
                  <a:pt x="1102748" y="308293"/>
                </a:cubicBezTo>
                <a:cubicBezTo>
                  <a:pt x="1101772" y="306963"/>
                  <a:pt x="1100406" y="306165"/>
                  <a:pt x="1099040" y="306165"/>
                </a:cubicBezTo>
                <a:lnTo>
                  <a:pt x="1030741" y="306165"/>
                </a:lnTo>
                <a:lnTo>
                  <a:pt x="1030741" y="292605"/>
                </a:lnTo>
                <a:cubicBezTo>
                  <a:pt x="1030741" y="290744"/>
                  <a:pt x="1030155" y="288883"/>
                  <a:pt x="1029180" y="287554"/>
                </a:cubicBezTo>
                <a:cubicBezTo>
                  <a:pt x="1028204" y="286224"/>
                  <a:pt x="1026838" y="285427"/>
                  <a:pt x="1025472" y="285427"/>
                </a:cubicBezTo>
                <a:lnTo>
                  <a:pt x="998835" y="285427"/>
                </a:lnTo>
                <a:lnTo>
                  <a:pt x="998835" y="271866"/>
                </a:lnTo>
                <a:cubicBezTo>
                  <a:pt x="998835" y="270005"/>
                  <a:pt x="998249" y="268144"/>
                  <a:pt x="997274" y="266815"/>
                </a:cubicBezTo>
                <a:cubicBezTo>
                  <a:pt x="996298" y="265485"/>
                  <a:pt x="994932" y="264688"/>
                  <a:pt x="993566" y="264688"/>
                </a:cubicBezTo>
                <a:lnTo>
                  <a:pt x="974247" y="264688"/>
                </a:lnTo>
                <a:lnTo>
                  <a:pt x="974247" y="251393"/>
                </a:lnTo>
                <a:cubicBezTo>
                  <a:pt x="974247" y="249532"/>
                  <a:pt x="973662" y="247671"/>
                  <a:pt x="972686" y="246342"/>
                </a:cubicBezTo>
                <a:cubicBezTo>
                  <a:pt x="971710" y="245012"/>
                  <a:pt x="970344" y="244215"/>
                  <a:pt x="968978" y="244215"/>
                </a:cubicBezTo>
                <a:lnTo>
                  <a:pt x="952196" y="244215"/>
                </a:lnTo>
                <a:lnTo>
                  <a:pt x="952196" y="230920"/>
                </a:lnTo>
                <a:cubicBezTo>
                  <a:pt x="952196" y="229059"/>
                  <a:pt x="951610" y="227198"/>
                  <a:pt x="950635" y="225868"/>
                </a:cubicBezTo>
                <a:cubicBezTo>
                  <a:pt x="949659" y="224539"/>
                  <a:pt x="948293" y="223741"/>
                  <a:pt x="946927" y="223741"/>
                </a:cubicBezTo>
                <a:lnTo>
                  <a:pt x="910435" y="223741"/>
                </a:lnTo>
                <a:lnTo>
                  <a:pt x="910435" y="210447"/>
                </a:lnTo>
                <a:cubicBezTo>
                  <a:pt x="910435" y="208586"/>
                  <a:pt x="909850" y="206725"/>
                  <a:pt x="908874" y="205395"/>
                </a:cubicBezTo>
                <a:cubicBezTo>
                  <a:pt x="907899" y="204066"/>
                  <a:pt x="906533" y="203268"/>
                  <a:pt x="905167" y="203268"/>
                </a:cubicBezTo>
                <a:lnTo>
                  <a:pt x="890824" y="203268"/>
                </a:lnTo>
                <a:lnTo>
                  <a:pt x="890824" y="189974"/>
                </a:lnTo>
                <a:cubicBezTo>
                  <a:pt x="890824" y="188113"/>
                  <a:pt x="890238" y="186252"/>
                  <a:pt x="889263" y="184922"/>
                </a:cubicBezTo>
                <a:cubicBezTo>
                  <a:pt x="888287" y="183593"/>
                  <a:pt x="886921" y="182795"/>
                  <a:pt x="885555" y="182795"/>
                </a:cubicBezTo>
                <a:lnTo>
                  <a:pt x="876091" y="182795"/>
                </a:lnTo>
                <a:lnTo>
                  <a:pt x="876091" y="169501"/>
                </a:lnTo>
                <a:cubicBezTo>
                  <a:pt x="876091" y="167640"/>
                  <a:pt x="875505" y="165779"/>
                  <a:pt x="874529" y="164449"/>
                </a:cubicBezTo>
                <a:cubicBezTo>
                  <a:pt x="873554" y="163120"/>
                  <a:pt x="872188" y="162322"/>
                  <a:pt x="870822" y="162322"/>
                </a:cubicBezTo>
                <a:lnTo>
                  <a:pt x="844185" y="162322"/>
                </a:lnTo>
                <a:lnTo>
                  <a:pt x="844185" y="149028"/>
                </a:lnTo>
                <a:cubicBezTo>
                  <a:pt x="844185" y="147167"/>
                  <a:pt x="843599" y="145306"/>
                  <a:pt x="842624" y="143976"/>
                </a:cubicBezTo>
                <a:cubicBezTo>
                  <a:pt x="841648" y="142647"/>
                  <a:pt x="840282" y="141849"/>
                  <a:pt x="838916" y="141849"/>
                </a:cubicBezTo>
                <a:lnTo>
                  <a:pt x="814718" y="141849"/>
                </a:lnTo>
                <a:lnTo>
                  <a:pt x="814718" y="128555"/>
                </a:lnTo>
                <a:cubicBezTo>
                  <a:pt x="814718" y="126694"/>
                  <a:pt x="814133" y="124833"/>
                  <a:pt x="813157" y="123503"/>
                </a:cubicBezTo>
                <a:cubicBezTo>
                  <a:pt x="812181" y="122174"/>
                  <a:pt x="810815" y="121376"/>
                  <a:pt x="809449" y="121376"/>
                </a:cubicBezTo>
                <a:lnTo>
                  <a:pt x="760762" y="121376"/>
                </a:lnTo>
                <a:lnTo>
                  <a:pt x="760762" y="108215"/>
                </a:lnTo>
                <a:cubicBezTo>
                  <a:pt x="760762" y="106354"/>
                  <a:pt x="760176" y="104492"/>
                  <a:pt x="759200" y="103163"/>
                </a:cubicBezTo>
                <a:cubicBezTo>
                  <a:pt x="758225" y="101834"/>
                  <a:pt x="756859" y="101036"/>
                  <a:pt x="755493" y="101036"/>
                </a:cubicBezTo>
                <a:lnTo>
                  <a:pt x="711683" y="101036"/>
                </a:lnTo>
                <a:lnTo>
                  <a:pt x="711683" y="87875"/>
                </a:lnTo>
                <a:cubicBezTo>
                  <a:pt x="711683" y="86013"/>
                  <a:pt x="711098" y="84152"/>
                  <a:pt x="710122" y="82823"/>
                </a:cubicBezTo>
                <a:cubicBezTo>
                  <a:pt x="709146" y="81493"/>
                  <a:pt x="707780" y="80696"/>
                  <a:pt x="706414" y="80696"/>
                </a:cubicBezTo>
                <a:lnTo>
                  <a:pt x="635675" y="80696"/>
                </a:lnTo>
                <a:lnTo>
                  <a:pt x="635675" y="67535"/>
                </a:lnTo>
                <a:cubicBezTo>
                  <a:pt x="635675" y="65673"/>
                  <a:pt x="635090" y="63812"/>
                  <a:pt x="634114" y="62483"/>
                </a:cubicBezTo>
                <a:cubicBezTo>
                  <a:pt x="633139" y="61153"/>
                  <a:pt x="631773" y="60356"/>
                  <a:pt x="630407" y="60356"/>
                </a:cubicBezTo>
                <a:lnTo>
                  <a:pt x="571864" y="60356"/>
                </a:lnTo>
                <a:lnTo>
                  <a:pt x="571864" y="47327"/>
                </a:lnTo>
                <a:cubicBezTo>
                  <a:pt x="571864" y="45466"/>
                  <a:pt x="571279" y="43605"/>
                  <a:pt x="570303" y="42276"/>
                </a:cubicBezTo>
                <a:cubicBezTo>
                  <a:pt x="569327" y="40946"/>
                  <a:pt x="567961" y="40148"/>
                  <a:pt x="566595" y="40148"/>
                </a:cubicBezTo>
                <a:lnTo>
                  <a:pt x="365891" y="40148"/>
                </a:lnTo>
                <a:lnTo>
                  <a:pt x="365891" y="27253"/>
                </a:lnTo>
                <a:cubicBezTo>
                  <a:pt x="365891" y="25392"/>
                  <a:pt x="365306" y="23531"/>
                  <a:pt x="364330" y="22201"/>
                </a:cubicBezTo>
                <a:cubicBezTo>
                  <a:pt x="363355" y="20872"/>
                  <a:pt x="361989" y="20074"/>
                  <a:pt x="360623" y="20074"/>
                </a:cubicBezTo>
                <a:lnTo>
                  <a:pt x="206558" y="20074"/>
                </a:lnTo>
                <a:lnTo>
                  <a:pt x="206558" y="7179"/>
                </a:lnTo>
                <a:cubicBezTo>
                  <a:pt x="206558" y="5318"/>
                  <a:pt x="205973" y="3456"/>
                  <a:pt x="204997" y="2127"/>
                </a:cubicBezTo>
                <a:cubicBezTo>
                  <a:pt x="204021" y="798"/>
                  <a:pt x="202655" y="0"/>
                  <a:pt x="201289" y="0"/>
                </a:cubicBezTo>
                <a:lnTo>
                  <a:pt x="0" y="0"/>
                </a:lnTo>
                <a:lnTo>
                  <a:pt x="0" y="14225"/>
                </a:lnTo>
              </a:path>
            </a:pathLst>
          </a:custGeom>
          <a:solidFill>
            <a:schemeClr val="accent6"/>
          </a:solidFill>
          <a:ln w="9753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968" name="Grafik 996">
            <a:extLst>
              <a:ext uri="{FF2B5EF4-FFF2-40B4-BE49-F238E27FC236}">
                <a16:creationId xmlns:a16="http://schemas.microsoft.com/office/drawing/2014/main" id="{4202C9E5-4921-0BFC-CC23-6FE579930BD6}"/>
              </a:ext>
            </a:extLst>
          </p:cNvPr>
          <p:cNvGrpSpPr/>
          <p:nvPr/>
        </p:nvGrpSpPr>
        <p:grpSpPr>
          <a:xfrm>
            <a:off x="7052659" y="1364517"/>
            <a:ext cx="4077201" cy="1373689"/>
            <a:chOff x="7122930" y="1437498"/>
            <a:chExt cx="4077201" cy="1373689"/>
          </a:xfrm>
          <a:solidFill>
            <a:schemeClr val="accent2">
              <a:alpha val="30000"/>
            </a:schemeClr>
          </a:solidFill>
        </p:grpSpPr>
        <p:sp>
          <p:nvSpPr>
            <p:cNvPr id="969" name="Freihandform: Form 968">
              <a:extLst>
                <a:ext uri="{FF2B5EF4-FFF2-40B4-BE49-F238E27FC236}">
                  <a16:creationId xmlns:a16="http://schemas.microsoft.com/office/drawing/2014/main" id="{E6408B2E-8C8F-80D0-2EF8-753C41C4FF06}"/>
                </a:ext>
              </a:extLst>
            </p:cNvPr>
            <p:cNvSpPr/>
            <p:nvPr/>
          </p:nvSpPr>
          <p:spPr>
            <a:xfrm>
              <a:off x="7157275" y="1444544"/>
              <a:ext cx="4042856" cy="1366643"/>
            </a:xfrm>
            <a:custGeom>
              <a:avLst/>
              <a:gdLst>
                <a:gd name="connsiteX0" fmla="*/ 24198 w 4042856"/>
                <a:gd name="connsiteY0" fmla="*/ 46131 h 1366643"/>
                <a:gd name="connsiteX1" fmla="*/ 0 w 4042856"/>
                <a:gd name="connsiteY1" fmla="*/ 46131 h 1366643"/>
                <a:gd name="connsiteX2" fmla="*/ 0 w 4042856"/>
                <a:gd name="connsiteY2" fmla="*/ 18213 h 1366643"/>
                <a:gd name="connsiteX3" fmla="*/ 24198 w 4042856"/>
                <a:gd name="connsiteY3" fmla="*/ 18213 h 1366643"/>
                <a:gd name="connsiteX4" fmla="*/ 24198 w 4042856"/>
                <a:gd name="connsiteY4" fmla="*/ 46131 h 1366643"/>
                <a:gd name="connsiteX5" fmla="*/ 2657250 w 4042856"/>
                <a:gd name="connsiteY5" fmla="*/ 1131071 h 1366643"/>
                <a:gd name="connsiteX6" fmla="*/ 2221205 w 4042856"/>
                <a:gd name="connsiteY6" fmla="*/ 1131071 h 1366643"/>
                <a:gd name="connsiteX7" fmla="*/ 2221205 w 4042856"/>
                <a:gd name="connsiteY7" fmla="*/ 1118574 h 1366643"/>
                <a:gd name="connsiteX8" fmla="*/ 2219644 w 4042856"/>
                <a:gd name="connsiteY8" fmla="*/ 1113522 h 1366643"/>
                <a:gd name="connsiteX9" fmla="*/ 2215936 w 4042856"/>
                <a:gd name="connsiteY9" fmla="*/ 1111395 h 1366643"/>
                <a:gd name="connsiteX10" fmla="*/ 1799503 w 4042856"/>
                <a:gd name="connsiteY10" fmla="*/ 1111395 h 1366643"/>
                <a:gd name="connsiteX11" fmla="*/ 1799503 w 4042856"/>
                <a:gd name="connsiteY11" fmla="*/ 1099298 h 1366643"/>
                <a:gd name="connsiteX12" fmla="*/ 1797942 w 4042856"/>
                <a:gd name="connsiteY12" fmla="*/ 1094246 h 1366643"/>
                <a:gd name="connsiteX13" fmla="*/ 1794234 w 4042856"/>
                <a:gd name="connsiteY13" fmla="*/ 1092119 h 1366643"/>
                <a:gd name="connsiteX14" fmla="*/ 1630315 w 4042856"/>
                <a:gd name="connsiteY14" fmla="*/ 1092119 h 1366643"/>
                <a:gd name="connsiteX15" fmla="*/ 1630315 w 4042856"/>
                <a:gd name="connsiteY15" fmla="*/ 1079888 h 1366643"/>
                <a:gd name="connsiteX16" fmla="*/ 1628754 w 4042856"/>
                <a:gd name="connsiteY16" fmla="*/ 1074836 h 1366643"/>
                <a:gd name="connsiteX17" fmla="*/ 1625046 w 4042856"/>
                <a:gd name="connsiteY17" fmla="*/ 1072709 h 1366643"/>
                <a:gd name="connsiteX18" fmla="*/ 1510107 w 4042856"/>
                <a:gd name="connsiteY18" fmla="*/ 1072709 h 1366643"/>
                <a:gd name="connsiteX19" fmla="*/ 1510107 w 4042856"/>
                <a:gd name="connsiteY19" fmla="*/ 1060611 h 1366643"/>
                <a:gd name="connsiteX20" fmla="*/ 1508546 w 4042856"/>
                <a:gd name="connsiteY20" fmla="*/ 1055560 h 1366643"/>
                <a:gd name="connsiteX21" fmla="*/ 1504838 w 4042856"/>
                <a:gd name="connsiteY21" fmla="*/ 1053433 h 1366643"/>
                <a:gd name="connsiteX22" fmla="*/ 1358092 w 4042856"/>
                <a:gd name="connsiteY22" fmla="*/ 1053433 h 1366643"/>
                <a:gd name="connsiteX23" fmla="*/ 1358092 w 4042856"/>
                <a:gd name="connsiteY23" fmla="*/ 1041601 h 1366643"/>
                <a:gd name="connsiteX24" fmla="*/ 1356530 w 4042856"/>
                <a:gd name="connsiteY24" fmla="*/ 1036549 h 1366643"/>
                <a:gd name="connsiteX25" fmla="*/ 1352823 w 4042856"/>
                <a:gd name="connsiteY25" fmla="*/ 1034422 h 1366643"/>
                <a:gd name="connsiteX26" fmla="*/ 1343358 w 4042856"/>
                <a:gd name="connsiteY26" fmla="*/ 1034422 h 1366643"/>
                <a:gd name="connsiteX27" fmla="*/ 1343358 w 4042856"/>
                <a:gd name="connsiteY27" fmla="*/ 1022590 h 1366643"/>
                <a:gd name="connsiteX28" fmla="*/ 1341797 w 4042856"/>
                <a:gd name="connsiteY28" fmla="*/ 1017538 h 1366643"/>
                <a:gd name="connsiteX29" fmla="*/ 1338090 w 4042856"/>
                <a:gd name="connsiteY29" fmla="*/ 1015411 h 1366643"/>
                <a:gd name="connsiteX30" fmla="*/ 1323649 w 4042856"/>
                <a:gd name="connsiteY30" fmla="*/ 1015411 h 1366643"/>
                <a:gd name="connsiteX31" fmla="*/ 1323649 w 4042856"/>
                <a:gd name="connsiteY31" fmla="*/ 1003579 h 1366643"/>
                <a:gd name="connsiteX32" fmla="*/ 1322088 w 4042856"/>
                <a:gd name="connsiteY32" fmla="*/ 998528 h 1366643"/>
                <a:gd name="connsiteX33" fmla="*/ 1318380 w 4042856"/>
                <a:gd name="connsiteY33" fmla="*/ 996400 h 1366643"/>
                <a:gd name="connsiteX34" fmla="*/ 1311355 w 4042856"/>
                <a:gd name="connsiteY34" fmla="*/ 996400 h 1366643"/>
                <a:gd name="connsiteX35" fmla="*/ 1311355 w 4042856"/>
                <a:gd name="connsiteY35" fmla="*/ 984569 h 1366643"/>
                <a:gd name="connsiteX36" fmla="*/ 1309794 w 4042856"/>
                <a:gd name="connsiteY36" fmla="*/ 979517 h 1366643"/>
                <a:gd name="connsiteX37" fmla="*/ 1306086 w 4042856"/>
                <a:gd name="connsiteY37" fmla="*/ 977390 h 1366643"/>
                <a:gd name="connsiteX38" fmla="*/ 1213296 w 4042856"/>
                <a:gd name="connsiteY38" fmla="*/ 977390 h 1366643"/>
                <a:gd name="connsiteX39" fmla="*/ 1213296 w 4042856"/>
                <a:gd name="connsiteY39" fmla="*/ 965558 h 1366643"/>
                <a:gd name="connsiteX40" fmla="*/ 1211735 w 4042856"/>
                <a:gd name="connsiteY40" fmla="*/ 960506 h 1366643"/>
                <a:gd name="connsiteX41" fmla="*/ 1208027 w 4042856"/>
                <a:gd name="connsiteY41" fmla="*/ 958379 h 1366643"/>
                <a:gd name="connsiteX42" fmla="*/ 1149485 w 4042856"/>
                <a:gd name="connsiteY42" fmla="*/ 958379 h 1366643"/>
                <a:gd name="connsiteX43" fmla="*/ 1149485 w 4042856"/>
                <a:gd name="connsiteY43" fmla="*/ 946547 h 1366643"/>
                <a:gd name="connsiteX44" fmla="*/ 1147923 w 4042856"/>
                <a:gd name="connsiteY44" fmla="*/ 941495 h 1366643"/>
                <a:gd name="connsiteX45" fmla="*/ 1144216 w 4042856"/>
                <a:gd name="connsiteY45" fmla="*/ 939368 h 1366643"/>
                <a:gd name="connsiteX46" fmla="*/ 1093089 w 4042856"/>
                <a:gd name="connsiteY46" fmla="*/ 939368 h 1366643"/>
                <a:gd name="connsiteX47" fmla="*/ 1093089 w 4042856"/>
                <a:gd name="connsiteY47" fmla="*/ 927537 h 1366643"/>
                <a:gd name="connsiteX48" fmla="*/ 1091527 w 4042856"/>
                <a:gd name="connsiteY48" fmla="*/ 922485 h 1366643"/>
                <a:gd name="connsiteX49" fmla="*/ 1087820 w 4042856"/>
                <a:gd name="connsiteY49" fmla="*/ 920358 h 1366643"/>
                <a:gd name="connsiteX50" fmla="*/ 1034253 w 4042856"/>
                <a:gd name="connsiteY50" fmla="*/ 920358 h 1366643"/>
                <a:gd name="connsiteX51" fmla="*/ 1034253 w 4042856"/>
                <a:gd name="connsiteY51" fmla="*/ 908526 h 1366643"/>
                <a:gd name="connsiteX52" fmla="*/ 1032692 w 4042856"/>
                <a:gd name="connsiteY52" fmla="*/ 903474 h 1366643"/>
                <a:gd name="connsiteX53" fmla="*/ 1028984 w 4042856"/>
                <a:gd name="connsiteY53" fmla="*/ 901347 h 1366643"/>
                <a:gd name="connsiteX54" fmla="*/ 938536 w 4042856"/>
                <a:gd name="connsiteY54" fmla="*/ 901347 h 1366643"/>
                <a:gd name="connsiteX55" fmla="*/ 938536 w 4042856"/>
                <a:gd name="connsiteY55" fmla="*/ 889515 h 1366643"/>
                <a:gd name="connsiteX56" fmla="*/ 936975 w 4042856"/>
                <a:gd name="connsiteY56" fmla="*/ 884463 h 1366643"/>
                <a:gd name="connsiteX57" fmla="*/ 933267 w 4042856"/>
                <a:gd name="connsiteY57" fmla="*/ 882336 h 1366643"/>
                <a:gd name="connsiteX58" fmla="*/ 901752 w 4042856"/>
                <a:gd name="connsiteY58" fmla="*/ 882336 h 1366643"/>
                <a:gd name="connsiteX59" fmla="*/ 901752 w 4042856"/>
                <a:gd name="connsiteY59" fmla="*/ 870504 h 1366643"/>
                <a:gd name="connsiteX60" fmla="*/ 900191 w 4042856"/>
                <a:gd name="connsiteY60" fmla="*/ 865453 h 1366643"/>
                <a:gd name="connsiteX61" fmla="*/ 896483 w 4042856"/>
                <a:gd name="connsiteY61" fmla="*/ 863326 h 1366643"/>
                <a:gd name="connsiteX62" fmla="*/ 828183 w 4042856"/>
                <a:gd name="connsiteY62" fmla="*/ 863326 h 1366643"/>
                <a:gd name="connsiteX63" fmla="*/ 828183 w 4042856"/>
                <a:gd name="connsiteY63" fmla="*/ 851760 h 1366643"/>
                <a:gd name="connsiteX64" fmla="*/ 826622 w 4042856"/>
                <a:gd name="connsiteY64" fmla="*/ 846708 h 1366643"/>
                <a:gd name="connsiteX65" fmla="*/ 822914 w 4042856"/>
                <a:gd name="connsiteY65" fmla="*/ 844581 h 1366643"/>
                <a:gd name="connsiteX66" fmla="*/ 810913 w 4042856"/>
                <a:gd name="connsiteY66" fmla="*/ 844581 h 1366643"/>
                <a:gd name="connsiteX67" fmla="*/ 810913 w 4042856"/>
                <a:gd name="connsiteY67" fmla="*/ 833015 h 1366643"/>
                <a:gd name="connsiteX68" fmla="*/ 809352 w 4042856"/>
                <a:gd name="connsiteY68" fmla="*/ 827963 h 1366643"/>
                <a:gd name="connsiteX69" fmla="*/ 805644 w 4042856"/>
                <a:gd name="connsiteY69" fmla="*/ 825836 h 1366643"/>
                <a:gd name="connsiteX70" fmla="*/ 779007 w 4042856"/>
                <a:gd name="connsiteY70" fmla="*/ 825836 h 1366643"/>
                <a:gd name="connsiteX71" fmla="*/ 779007 w 4042856"/>
                <a:gd name="connsiteY71" fmla="*/ 814536 h 1366643"/>
                <a:gd name="connsiteX72" fmla="*/ 777446 w 4042856"/>
                <a:gd name="connsiteY72" fmla="*/ 809484 h 1366643"/>
                <a:gd name="connsiteX73" fmla="*/ 776470 w 4042856"/>
                <a:gd name="connsiteY73" fmla="*/ 808553 h 1366643"/>
                <a:gd name="connsiteX74" fmla="*/ 776470 w 4042856"/>
                <a:gd name="connsiteY74" fmla="*/ 796057 h 1366643"/>
                <a:gd name="connsiteX75" fmla="*/ 774909 w 4042856"/>
                <a:gd name="connsiteY75" fmla="*/ 791005 h 1366643"/>
                <a:gd name="connsiteX76" fmla="*/ 771202 w 4042856"/>
                <a:gd name="connsiteY76" fmla="*/ 788878 h 1366643"/>
                <a:gd name="connsiteX77" fmla="*/ 729832 w 4042856"/>
                <a:gd name="connsiteY77" fmla="*/ 788878 h 1366643"/>
                <a:gd name="connsiteX78" fmla="*/ 729832 w 4042856"/>
                <a:gd name="connsiteY78" fmla="*/ 777578 h 1366643"/>
                <a:gd name="connsiteX79" fmla="*/ 728270 w 4042856"/>
                <a:gd name="connsiteY79" fmla="*/ 772526 h 1366643"/>
                <a:gd name="connsiteX80" fmla="*/ 724563 w 4042856"/>
                <a:gd name="connsiteY80" fmla="*/ 770399 h 1366643"/>
                <a:gd name="connsiteX81" fmla="*/ 712659 w 4042856"/>
                <a:gd name="connsiteY81" fmla="*/ 770399 h 1366643"/>
                <a:gd name="connsiteX82" fmla="*/ 712659 w 4042856"/>
                <a:gd name="connsiteY82" fmla="*/ 759099 h 1366643"/>
                <a:gd name="connsiteX83" fmla="*/ 711098 w 4042856"/>
                <a:gd name="connsiteY83" fmla="*/ 754047 h 1366643"/>
                <a:gd name="connsiteX84" fmla="*/ 707390 w 4042856"/>
                <a:gd name="connsiteY84" fmla="*/ 751920 h 1366643"/>
                <a:gd name="connsiteX85" fmla="*/ 702804 w 4042856"/>
                <a:gd name="connsiteY85" fmla="*/ 751920 h 1366643"/>
                <a:gd name="connsiteX86" fmla="*/ 702804 w 4042856"/>
                <a:gd name="connsiteY86" fmla="*/ 740620 h 1366643"/>
                <a:gd name="connsiteX87" fmla="*/ 701243 w 4042856"/>
                <a:gd name="connsiteY87" fmla="*/ 735568 h 1366643"/>
                <a:gd name="connsiteX88" fmla="*/ 697536 w 4042856"/>
                <a:gd name="connsiteY88" fmla="*/ 733441 h 1366643"/>
                <a:gd name="connsiteX89" fmla="*/ 638993 w 4042856"/>
                <a:gd name="connsiteY89" fmla="*/ 733441 h 1366643"/>
                <a:gd name="connsiteX90" fmla="*/ 638993 w 4042856"/>
                <a:gd name="connsiteY90" fmla="*/ 685183 h 1366643"/>
                <a:gd name="connsiteX91" fmla="*/ 637432 w 4042856"/>
                <a:gd name="connsiteY91" fmla="*/ 680131 h 1366643"/>
                <a:gd name="connsiteX92" fmla="*/ 636456 w 4042856"/>
                <a:gd name="connsiteY92" fmla="*/ 679068 h 1366643"/>
                <a:gd name="connsiteX93" fmla="*/ 636456 w 4042856"/>
                <a:gd name="connsiteY93" fmla="*/ 666704 h 1366643"/>
                <a:gd name="connsiteX94" fmla="*/ 634895 w 4042856"/>
                <a:gd name="connsiteY94" fmla="*/ 661652 h 1366643"/>
                <a:gd name="connsiteX95" fmla="*/ 631187 w 4042856"/>
                <a:gd name="connsiteY95" fmla="*/ 659525 h 1366643"/>
                <a:gd name="connsiteX96" fmla="*/ 584939 w 4042856"/>
                <a:gd name="connsiteY96" fmla="*/ 659525 h 1366643"/>
                <a:gd name="connsiteX97" fmla="*/ 584939 w 4042856"/>
                <a:gd name="connsiteY97" fmla="*/ 648225 h 1366643"/>
                <a:gd name="connsiteX98" fmla="*/ 583377 w 4042856"/>
                <a:gd name="connsiteY98" fmla="*/ 643174 h 1366643"/>
                <a:gd name="connsiteX99" fmla="*/ 579670 w 4042856"/>
                <a:gd name="connsiteY99" fmla="*/ 641046 h 1366643"/>
                <a:gd name="connsiteX100" fmla="*/ 565229 w 4042856"/>
                <a:gd name="connsiteY100" fmla="*/ 641046 h 1366643"/>
                <a:gd name="connsiteX101" fmla="*/ 565229 w 4042856"/>
                <a:gd name="connsiteY101" fmla="*/ 629746 h 1366643"/>
                <a:gd name="connsiteX102" fmla="*/ 563668 w 4042856"/>
                <a:gd name="connsiteY102" fmla="*/ 624695 h 1366643"/>
                <a:gd name="connsiteX103" fmla="*/ 559960 w 4042856"/>
                <a:gd name="connsiteY103" fmla="*/ 622567 h 1366643"/>
                <a:gd name="connsiteX104" fmla="*/ 543178 w 4042856"/>
                <a:gd name="connsiteY104" fmla="*/ 622567 h 1366643"/>
                <a:gd name="connsiteX105" fmla="*/ 543178 w 4042856"/>
                <a:gd name="connsiteY105" fmla="*/ 611267 h 1366643"/>
                <a:gd name="connsiteX106" fmla="*/ 541617 w 4042856"/>
                <a:gd name="connsiteY106" fmla="*/ 606216 h 1366643"/>
                <a:gd name="connsiteX107" fmla="*/ 537909 w 4042856"/>
                <a:gd name="connsiteY107" fmla="*/ 604089 h 1366643"/>
                <a:gd name="connsiteX108" fmla="*/ 533323 w 4042856"/>
                <a:gd name="connsiteY108" fmla="*/ 604089 h 1366643"/>
                <a:gd name="connsiteX109" fmla="*/ 533323 w 4042856"/>
                <a:gd name="connsiteY109" fmla="*/ 592656 h 1366643"/>
                <a:gd name="connsiteX110" fmla="*/ 531762 w 4042856"/>
                <a:gd name="connsiteY110" fmla="*/ 587604 h 1366643"/>
                <a:gd name="connsiteX111" fmla="*/ 530787 w 4042856"/>
                <a:gd name="connsiteY111" fmla="*/ 586673 h 1366643"/>
                <a:gd name="connsiteX112" fmla="*/ 530787 w 4042856"/>
                <a:gd name="connsiteY112" fmla="*/ 574310 h 1366643"/>
                <a:gd name="connsiteX113" fmla="*/ 529225 w 4042856"/>
                <a:gd name="connsiteY113" fmla="*/ 569258 h 1366643"/>
                <a:gd name="connsiteX114" fmla="*/ 528347 w 4042856"/>
                <a:gd name="connsiteY114" fmla="*/ 568327 h 1366643"/>
                <a:gd name="connsiteX115" fmla="*/ 528347 w 4042856"/>
                <a:gd name="connsiteY115" fmla="*/ 555964 h 1366643"/>
                <a:gd name="connsiteX116" fmla="*/ 526786 w 4042856"/>
                <a:gd name="connsiteY116" fmla="*/ 550912 h 1366643"/>
                <a:gd name="connsiteX117" fmla="*/ 523078 w 4042856"/>
                <a:gd name="connsiteY117" fmla="*/ 548785 h 1366643"/>
                <a:gd name="connsiteX118" fmla="*/ 498881 w 4042856"/>
                <a:gd name="connsiteY118" fmla="*/ 548785 h 1366643"/>
                <a:gd name="connsiteX119" fmla="*/ 498881 w 4042856"/>
                <a:gd name="connsiteY119" fmla="*/ 537485 h 1366643"/>
                <a:gd name="connsiteX120" fmla="*/ 497320 w 4042856"/>
                <a:gd name="connsiteY120" fmla="*/ 532433 h 1366643"/>
                <a:gd name="connsiteX121" fmla="*/ 493612 w 4042856"/>
                <a:gd name="connsiteY121" fmla="*/ 530306 h 1366643"/>
                <a:gd name="connsiteX122" fmla="*/ 489124 w 4042856"/>
                <a:gd name="connsiteY122" fmla="*/ 530306 h 1366643"/>
                <a:gd name="connsiteX123" fmla="*/ 489124 w 4042856"/>
                <a:gd name="connsiteY123" fmla="*/ 519006 h 1366643"/>
                <a:gd name="connsiteX124" fmla="*/ 487563 w 4042856"/>
                <a:gd name="connsiteY124" fmla="*/ 513954 h 1366643"/>
                <a:gd name="connsiteX125" fmla="*/ 483855 w 4042856"/>
                <a:gd name="connsiteY125" fmla="*/ 511827 h 1366643"/>
                <a:gd name="connsiteX126" fmla="*/ 481708 w 4042856"/>
                <a:gd name="connsiteY126" fmla="*/ 511827 h 1366643"/>
                <a:gd name="connsiteX127" fmla="*/ 481708 w 4042856"/>
                <a:gd name="connsiteY127" fmla="*/ 500660 h 1366643"/>
                <a:gd name="connsiteX128" fmla="*/ 480147 w 4042856"/>
                <a:gd name="connsiteY128" fmla="*/ 495608 h 1366643"/>
                <a:gd name="connsiteX129" fmla="*/ 476439 w 4042856"/>
                <a:gd name="connsiteY129" fmla="*/ 493481 h 1366643"/>
                <a:gd name="connsiteX130" fmla="*/ 454681 w 4042856"/>
                <a:gd name="connsiteY130" fmla="*/ 493481 h 1366643"/>
                <a:gd name="connsiteX131" fmla="*/ 454681 w 4042856"/>
                <a:gd name="connsiteY131" fmla="*/ 482314 h 1366643"/>
                <a:gd name="connsiteX132" fmla="*/ 453120 w 4042856"/>
                <a:gd name="connsiteY132" fmla="*/ 477262 h 1366643"/>
                <a:gd name="connsiteX133" fmla="*/ 452242 w 4042856"/>
                <a:gd name="connsiteY133" fmla="*/ 476331 h 1366643"/>
                <a:gd name="connsiteX134" fmla="*/ 452242 w 4042856"/>
                <a:gd name="connsiteY134" fmla="*/ 464101 h 1366643"/>
                <a:gd name="connsiteX135" fmla="*/ 450681 w 4042856"/>
                <a:gd name="connsiteY135" fmla="*/ 459049 h 1366643"/>
                <a:gd name="connsiteX136" fmla="*/ 446973 w 4042856"/>
                <a:gd name="connsiteY136" fmla="*/ 456922 h 1366643"/>
                <a:gd name="connsiteX137" fmla="*/ 420336 w 4042856"/>
                <a:gd name="connsiteY137" fmla="*/ 456922 h 1366643"/>
                <a:gd name="connsiteX138" fmla="*/ 420336 w 4042856"/>
                <a:gd name="connsiteY138" fmla="*/ 445755 h 1366643"/>
                <a:gd name="connsiteX139" fmla="*/ 418775 w 4042856"/>
                <a:gd name="connsiteY139" fmla="*/ 440703 h 1366643"/>
                <a:gd name="connsiteX140" fmla="*/ 415360 w 4042856"/>
                <a:gd name="connsiteY140" fmla="*/ 438709 h 1366643"/>
                <a:gd name="connsiteX141" fmla="*/ 415360 w 4042856"/>
                <a:gd name="connsiteY141" fmla="*/ 427542 h 1366643"/>
                <a:gd name="connsiteX142" fmla="*/ 413799 w 4042856"/>
                <a:gd name="connsiteY142" fmla="*/ 422490 h 1366643"/>
                <a:gd name="connsiteX143" fmla="*/ 412921 w 4042856"/>
                <a:gd name="connsiteY143" fmla="*/ 421559 h 1366643"/>
                <a:gd name="connsiteX144" fmla="*/ 412921 w 4042856"/>
                <a:gd name="connsiteY144" fmla="*/ 409328 h 1366643"/>
                <a:gd name="connsiteX145" fmla="*/ 411360 w 4042856"/>
                <a:gd name="connsiteY145" fmla="*/ 404277 h 1366643"/>
                <a:gd name="connsiteX146" fmla="*/ 407652 w 4042856"/>
                <a:gd name="connsiteY146" fmla="*/ 402150 h 1366643"/>
                <a:gd name="connsiteX147" fmla="*/ 398187 w 4042856"/>
                <a:gd name="connsiteY147" fmla="*/ 402150 h 1366643"/>
                <a:gd name="connsiteX148" fmla="*/ 398187 w 4042856"/>
                <a:gd name="connsiteY148" fmla="*/ 390982 h 1366643"/>
                <a:gd name="connsiteX149" fmla="*/ 396626 w 4042856"/>
                <a:gd name="connsiteY149" fmla="*/ 385931 h 1366643"/>
                <a:gd name="connsiteX150" fmla="*/ 395748 w 4042856"/>
                <a:gd name="connsiteY150" fmla="*/ 385000 h 1366643"/>
                <a:gd name="connsiteX151" fmla="*/ 395748 w 4042856"/>
                <a:gd name="connsiteY151" fmla="*/ 372769 h 1366643"/>
                <a:gd name="connsiteX152" fmla="*/ 394187 w 4042856"/>
                <a:gd name="connsiteY152" fmla="*/ 367718 h 1366643"/>
                <a:gd name="connsiteX153" fmla="*/ 390772 w 4042856"/>
                <a:gd name="connsiteY153" fmla="*/ 365591 h 1366643"/>
                <a:gd name="connsiteX154" fmla="*/ 390772 w 4042856"/>
                <a:gd name="connsiteY154" fmla="*/ 354423 h 1366643"/>
                <a:gd name="connsiteX155" fmla="*/ 389211 w 4042856"/>
                <a:gd name="connsiteY155" fmla="*/ 349372 h 1366643"/>
                <a:gd name="connsiteX156" fmla="*/ 385503 w 4042856"/>
                <a:gd name="connsiteY156" fmla="*/ 347245 h 1366643"/>
                <a:gd name="connsiteX157" fmla="*/ 344133 w 4042856"/>
                <a:gd name="connsiteY157" fmla="*/ 347245 h 1366643"/>
                <a:gd name="connsiteX158" fmla="*/ 344133 w 4042856"/>
                <a:gd name="connsiteY158" fmla="*/ 336077 h 1366643"/>
                <a:gd name="connsiteX159" fmla="*/ 342572 w 4042856"/>
                <a:gd name="connsiteY159" fmla="*/ 331026 h 1366643"/>
                <a:gd name="connsiteX160" fmla="*/ 341596 w 4042856"/>
                <a:gd name="connsiteY160" fmla="*/ 329962 h 1366643"/>
                <a:gd name="connsiteX161" fmla="*/ 341596 w 4042856"/>
                <a:gd name="connsiteY161" fmla="*/ 317731 h 1366643"/>
                <a:gd name="connsiteX162" fmla="*/ 340035 w 4042856"/>
                <a:gd name="connsiteY162" fmla="*/ 312680 h 1366643"/>
                <a:gd name="connsiteX163" fmla="*/ 336620 w 4042856"/>
                <a:gd name="connsiteY163" fmla="*/ 310553 h 1366643"/>
                <a:gd name="connsiteX164" fmla="*/ 336620 w 4042856"/>
                <a:gd name="connsiteY164" fmla="*/ 299385 h 1366643"/>
                <a:gd name="connsiteX165" fmla="*/ 335059 w 4042856"/>
                <a:gd name="connsiteY165" fmla="*/ 294334 h 1366643"/>
                <a:gd name="connsiteX166" fmla="*/ 331351 w 4042856"/>
                <a:gd name="connsiteY166" fmla="*/ 292207 h 1366643"/>
                <a:gd name="connsiteX167" fmla="*/ 312130 w 4042856"/>
                <a:gd name="connsiteY167" fmla="*/ 292207 h 1366643"/>
                <a:gd name="connsiteX168" fmla="*/ 312130 w 4042856"/>
                <a:gd name="connsiteY168" fmla="*/ 281039 h 1366643"/>
                <a:gd name="connsiteX169" fmla="*/ 310569 w 4042856"/>
                <a:gd name="connsiteY169" fmla="*/ 275988 h 1366643"/>
                <a:gd name="connsiteX170" fmla="*/ 306861 w 4042856"/>
                <a:gd name="connsiteY170" fmla="*/ 273861 h 1366643"/>
                <a:gd name="connsiteX171" fmla="*/ 302275 w 4042856"/>
                <a:gd name="connsiteY171" fmla="*/ 273861 h 1366643"/>
                <a:gd name="connsiteX172" fmla="*/ 302275 w 4042856"/>
                <a:gd name="connsiteY172" fmla="*/ 262693 h 1366643"/>
                <a:gd name="connsiteX173" fmla="*/ 300714 w 4042856"/>
                <a:gd name="connsiteY173" fmla="*/ 257642 h 1366643"/>
                <a:gd name="connsiteX174" fmla="*/ 297006 w 4042856"/>
                <a:gd name="connsiteY174" fmla="*/ 255515 h 1366643"/>
                <a:gd name="connsiteX175" fmla="*/ 267833 w 4042856"/>
                <a:gd name="connsiteY175" fmla="*/ 255515 h 1366643"/>
                <a:gd name="connsiteX176" fmla="*/ 267833 w 4042856"/>
                <a:gd name="connsiteY176" fmla="*/ 244480 h 1366643"/>
                <a:gd name="connsiteX177" fmla="*/ 266271 w 4042856"/>
                <a:gd name="connsiteY177" fmla="*/ 239429 h 1366643"/>
                <a:gd name="connsiteX178" fmla="*/ 262856 w 4042856"/>
                <a:gd name="connsiteY178" fmla="*/ 237302 h 1366643"/>
                <a:gd name="connsiteX179" fmla="*/ 262856 w 4042856"/>
                <a:gd name="connsiteY179" fmla="*/ 226400 h 1366643"/>
                <a:gd name="connsiteX180" fmla="*/ 261295 w 4042856"/>
                <a:gd name="connsiteY180" fmla="*/ 221348 h 1366643"/>
                <a:gd name="connsiteX181" fmla="*/ 257588 w 4042856"/>
                <a:gd name="connsiteY181" fmla="*/ 219221 h 1366643"/>
                <a:gd name="connsiteX182" fmla="*/ 235829 w 4042856"/>
                <a:gd name="connsiteY182" fmla="*/ 219221 h 1366643"/>
                <a:gd name="connsiteX183" fmla="*/ 235829 w 4042856"/>
                <a:gd name="connsiteY183" fmla="*/ 208187 h 1366643"/>
                <a:gd name="connsiteX184" fmla="*/ 234268 w 4042856"/>
                <a:gd name="connsiteY184" fmla="*/ 203135 h 1366643"/>
                <a:gd name="connsiteX185" fmla="*/ 230560 w 4042856"/>
                <a:gd name="connsiteY185" fmla="*/ 201008 h 1366643"/>
                <a:gd name="connsiteX186" fmla="*/ 225975 w 4042856"/>
                <a:gd name="connsiteY186" fmla="*/ 201008 h 1366643"/>
                <a:gd name="connsiteX187" fmla="*/ 225975 w 4042856"/>
                <a:gd name="connsiteY187" fmla="*/ 190107 h 1366643"/>
                <a:gd name="connsiteX188" fmla="*/ 224413 w 4042856"/>
                <a:gd name="connsiteY188" fmla="*/ 185055 h 1366643"/>
                <a:gd name="connsiteX189" fmla="*/ 220706 w 4042856"/>
                <a:gd name="connsiteY189" fmla="*/ 182928 h 1366643"/>
                <a:gd name="connsiteX190" fmla="*/ 206363 w 4042856"/>
                <a:gd name="connsiteY190" fmla="*/ 182928 h 1366643"/>
                <a:gd name="connsiteX191" fmla="*/ 206363 w 4042856"/>
                <a:gd name="connsiteY191" fmla="*/ 172027 h 1366643"/>
                <a:gd name="connsiteX192" fmla="*/ 204802 w 4042856"/>
                <a:gd name="connsiteY192" fmla="*/ 166975 h 1366643"/>
                <a:gd name="connsiteX193" fmla="*/ 201094 w 4042856"/>
                <a:gd name="connsiteY193" fmla="*/ 164848 h 1366643"/>
                <a:gd name="connsiteX194" fmla="*/ 181872 w 4042856"/>
                <a:gd name="connsiteY194" fmla="*/ 164848 h 1366643"/>
                <a:gd name="connsiteX195" fmla="*/ 181872 w 4042856"/>
                <a:gd name="connsiteY195" fmla="*/ 153814 h 1366643"/>
                <a:gd name="connsiteX196" fmla="*/ 180311 w 4042856"/>
                <a:gd name="connsiteY196" fmla="*/ 148762 h 1366643"/>
                <a:gd name="connsiteX197" fmla="*/ 176604 w 4042856"/>
                <a:gd name="connsiteY197" fmla="*/ 146635 h 1366643"/>
                <a:gd name="connsiteX198" fmla="*/ 159724 w 4042856"/>
                <a:gd name="connsiteY198" fmla="*/ 146635 h 1366643"/>
                <a:gd name="connsiteX199" fmla="*/ 159724 w 4042856"/>
                <a:gd name="connsiteY199" fmla="*/ 135734 h 1366643"/>
                <a:gd name="connsiteX200" fmla="*/ 158163 w 4042856"/>
                <a:gd name="connsiteY200" fmla="*/ 130682 h 1366643"/>
                <a:gd name="connsiteX201" fmla="*/ 154455 w 4042856"/>
                <a:gd name="connsiteY201" fmla="*/ 128555 h 1366643"/>
                <a:gd name="connsiteX202" fmla="*/ 147430 w 4042856"/>
                <a:gd name="connsiteY202" fmla="*/ 128555 h 1366643"/>
                <a:gd name="connsiteX203" fmla="*/ 147430 w 4042856"/>
                <a:gd name="connsiteY203" fmla="*/ 117521 h 1366643"/>
                <a:gd name="connsiteX204" fmla="*/ 145869 w 4042856"/>
                <a:gd name="connsiteY204" fmla="*/ 112469 h 1366643"/>
                <a:gd name="connsiteX205" fmla="*/ 142161 w 4042856"/>
                <a:gd name="connsiteY205" fmla="*/ 110342 h 1366643"/>
                <a:gd name="connsiteX206" fmla="*/ 127818 w 4042856"/>
                <a:gd name="connsiteY206" fmla="*/ 110342 h 1366643"/>
                <a:gd name="connsiteX207" fmla="*/ 127818 w 4042856"/>
                <a:gd name="connsiteY207" fmla="*/ 99441 h 1366643"/>
                <a:gd name="connsiteX208" fmla="*/ 126257 w 4042856"/>
                <a:gd name="connsiteY208" fmla="*/ 94389 h 1366643"/>
                <a:gd name="connsiteX209" fmla="*/ 122549 w 4042856"/>
                <a:gd name="connsiteY209" fmla="*/ 92262 h 1366643"/>
                <a:gd name="connsiteX210" fmla="*/ 108109 w 4042856"/>
                <a:gd name="connsiteY210" fmla="*/ 92262 h 1366643"/>
                <a:gd name="connsiteX211" fmla="*/ 108109 w 4042856"/>
                <a:gd name="connsiteY211" fmla="*/ 81228 h 1366643"/>
                <a:gd name="connsiteX212" fmla="*/ 106548 w 4042856"/>
                <a:gd name="connsiteY212" fmla="*/ 76176 h 1366643"/>
                <a:gd name="connsiteX213" fmla="*/ 102840 w 4042856"/>
                <a:gd name="connsiteY213" fmla="*/ 74049 h 1366643"/>
                <a:gd name="connsiteX214" fmla="*/ 56591 w 4042856"/>
                <a:gd name="connsiteY214" fmla="*/ 74049 h 1366643"/>
                <a:gd name="connsiteX215" fmla="*/ 56591 w 4042856"/>
                <a:gd name="connsiteY215" fmla="*/ 63147 h 1366643"/>
                <a:gd name="connsiteX216" fmla="*/ 55030 w 4042856"/>
                <a:gd name="connsiteY216" fmla="*/ 58096 h 1366643"/>
                <a:gd name="connsiteX217" fmla="*/ 54152 w 4042856"/>
                <a:gd name="connsiteY217" fmla="*/ 57032 h 1366643"/>
                <a:gd name="connsiteX218" fmla="*/ 54152 w 4042856"/>
                <a:gd name="connsiteY218" fmla="*/ 44934 h 1366643"/>
                <a:gd name="connsiteX219" fmla="*/ 52591 w 4042856"/>
                <a:gd name="connsiteY219" fmla="*/ 39883 h 1366643"/>
                <a:gd name="connsiteX220" fmla="*/ 48883 w 4042856"/>
                <a:gd name="connsiteY220" fmla="*/ 37756 h 1366643"/>
                <a:gd name="connsiteX221" fmla="*/ 32003 w 4042856"/>
                <a:gd name="connsiteY221" fmla="*/ 37756 h 1366643"/>
                <a:gd name="connsiteX222" fmla="*/ 32003 w 4042856"/>
                <a:gd name="connsiteY222" fmla="*/ 11034 h 1366643"/>
                <a:gd name="connsiteX223" fmla="*/ 30442 w 4042856"/>
                <a:gd name="connsiteY223" fmla="*/ 5982 h 1366643"/>
                <a:gd name="connsiteX224" fmla="*/ 26734 w 4042856"/>
                <a:gd name="connsiteY224" fmla="*/ 3855 h 1366643"/>
                <a:gd name="connsiteX225" fmla="*/ 2537 w 4042856"/>
                <a:gd name="connsiteY225" fmla="*/ 3855 h 1366643"/>
                <a:gd name="connsiteX226" fmla="*/ 2537 w 4042856"/>
                <a:gd name="connsiteY226" fmla="*/ 0 h 1366643"/>
                <a:gd name="connsiteX227" fmla="*/ 51225 w 4042856"/>
                <a:gd name="connsiteY227" fmla="*/ 0 h 1366643"/>
                <a:gd name="connsiteX228" fmla="*/ 51225 w 4042856"/>
                <a:gd name="connsiteY228" fmla="*/ 4254 h 1366643"/>
                <a:gd name="connsiteX229" fmla="*/ 102742 w 4042856"/>
                <a:gd name="connsiteY229" fmla="*/ 4254 h 1366643"/>
                <a:gd name="connsiteX230" fmla="*/ 102742 w 4042856"/>
                <a:gd name="connsiteY230" fmla="*/ 14890 h 1366643"/>
                <a:gd name="connsiteX231" fmla="*/ 122354 w 4042856"/>
                <a:gd name="connsiteY231" fmla="*/ 14890 h 1366643"/>
                <a:gd name="connsiteX232" fmla="*/ 122354 w 4042856"/>
                <a:gd name="connsiteY232" fmla="*/ 26323 h 1366643"/>
                <a:gd name="connsiteX233" fmla="*/ 141966 w 4042856"/>
                <a:gd name="connsiteY233" fmla="*/ 26323 h 1366643"/>
                <a:gd name="connsiteX234" fmla="*/ 141966 w 4042856"/>
                <a:gd name="connsiteY234" fmla="*/ 38287 h 1366643"/>
                <a:gd name="connsiteX235" fmla="*/ 154260 w 4042856"/>
                <a:gd name="connsiteY235" fmla="*/ 38287 h 1366643"/>
                <a:gd name="connsiteX236" fmla="*/ 154260 w 4042856"/>
                <a:gd name="connsiteY236" fmla="*/ 50651 h 1366643"/>
                <a:gd name="connsiteX237" fmla="*/ 164115 w 4042856"/>
                <a:gd name="connsiteY237" fmla="*/ 50651 h 1366643"/>
                <a:gd name="connsiteX238" fmla="*/ 164115 w 4042856"/>
                <a:gd name="connsiteY238" fmla="*/ 51714 h 1366643"/>
                <a:gd name="connsiteX239" fmla="*/ 176408 w 4042856"/>
                <a:gd name="connsiteY239" fmla="*/ 51714 h 1366643"/>
                <a:gd name="connsiteX240" fmla="*/ 176408 w 4042856"/>
                <a:gd name="connsiteY240" fmla="*/ 63413 h 1366643"/>
                <a:gd name="connsiteX241" fmla="*/ 200899 w 4042856"/>
                <a:gd name="connsiteY241" fmla="*/ 63413 h 1366643"/>
                <a:gd name="connsiteX242" fmla="*/ 200899 w 4042856"/>
                <a:gd name="connsiteY242" fmla="*/ 76442 h 1366643"/>
                <a:gd name="connsiteX243" fmla="*/ 220511 w 4042856"/>
                <a:gd name="connsiteY243" fmla="*/ 76442 h 1366643"/>
                <a:gd name="connsiteX244" fmla="*/ 220511 w 4042856"/>
                <a:gd name="connsiteY244" fmla="*/ 89869 h 1366643"/>
                <a:gd name="connsiteX245" fmla="*/ 230365 w 4042856"/>
                <a:gd name="connsiteY245" fmla="*/ 89869 h 1366643"/>
                <a:gd name="connsiteX246" fmla="*/ 230365 w 4042856"/>
                <a:gd name="connsiteY246" fmla="*/ 103429 h 1366643"/>
                <a:gd name="connsiteX247" fmla="*/ 257295 w 4042856"/>
                <a:gd name="connsiteY247" fmla="*/ 103429 h 1366643"/>
                <a:gd name="connsiteX248" fmla="*/ 257295 w 4042856"/>
                <a:gd name="connsiteY248" fmla="*/ 117255 h 1366643"/>
                <a:gd name="connsiteX249" fmla="*/ 262173 w 4042856"/>
                <a:gd name="connsiteY249" fmla="*/ 117255 h 1366643"/>
                <a:gd name="connsiteX250" fmla="*/ 262173 w 4042856"/>
                <a:gd name="connsiteY250" fmla="*/ 131347 h 1366643"/>
                <a:gd name="connsiteX251" fmla="*/ 296518 w 4042856"/>
                <a:gd name="connsiteY251" fmla="*/ 131347 h 1366643"/>
                <a:gd name="connsiteX252" fmla="*/ 296518 w 4042856"/>
                <a:gd name="connsiteY252" fmla="*/ 145572 h 1366643"/>
                <a:gd name="connsiteX253" fmla="*/ 306373 w 4042856"/>
                <a:gd name="connsiteY253" fmla="*/ 145572 h 1366643"/>
                <a:gd name="connsiteX254" fmla="*/ 306373 w 4042856"/>
                <a:gd name="connsiteY254" fmla="*/ 160062 h 1366643"/>
                <a:gd name="connsiteX255" fmla="*/ 330863 w 4042856"/>
                <a:gd name="connsiteY255" fmla="*/ 160062 h 1366643"/>
                <a:gd name="connsiteX256" fmla="*/ 330863 w 4042856"/>
                <a:gd name="connsiteY256" fmla="*/ 174686 h 1366643"/>
                <a:gd name="connsiteX257" fmla="*/ 335742 w 4042856"/>
                <a:gd name="connsiteY257" fmla="*/ 174686 h 1366643"/>
                <a:gd name="connsiteX258" fmla="*/ 335742 w 4042856"/>
                <a:gd name="connsiteY258" fmla="*/ 189442 h 1366643"/>
                <a:gd name="connsiteX259" fmla="*/ 338181 w 4042856"/>
                <a:gd name="connsiteY259" fmla="*/ 189442 h 1366643"/>
                <a:gd name="connsiteX260" fmla="*/ 338181 w 4042856"/>
                <a:gd name="connsiteY260" fmla="*/ 204332 h 1366643"/>
                <a:gd name="connsiteX261" fmla="*/ 384723 w 4042856"/>
                <a:gd name="connsiteY261" fmla="*/ 204332 h 1366643"/>
                <a:gd name="connsiteX262" fmla="*/ 384723 w 4042856"/>
                <a:gd name="connsiteY262" fmla="*/ 219354 h 1366643"/>
                <a:gd name="connsiteX263" fmla="*/ 389601 w 4042856"/>
                <a:gd name="connsiteY263" fmla="*/ 219354 h 1366643"/>
                <a:gd name="connsiteX264" fmla="*/ 389601 w 4042856"/>
                <a:gd name="connsiteY264" fmla="*/ 234510 h 1366643"/>
                <a:gd name="connsiteX265" fmla="*/ 392041 w 4042856"/>
                <a:gd name="connsiteY265" fmla="*/ 234510 h 1366643"/>
                <a:gd name="connsiteX266" fmla="*/ 392041 w 4042856"/>
                <a:gd name="connsiteY266" fmla="*/ 249798 h 1366643"/>
                <a:gd name="connsiteX267" fmla="*/ 406774 w 4042856"/>
                <a:gd name="connsiteY267" fmla="*/ 249798 h 1366643"/>
                <a:gd name="connsiteX268" fmla="*/ 406774 w 4042856"/>
                <a:gd name="connsiteY268" fmla="*/ 265219 h 1366643"/>
                <a:gd name="connsiteX269" fmla="*/ 409213 w 4042856"/>
                <a:gd name="connsiteY269" fmla="*/ 265219 h 1366643"/>
                <a:gd name="connsiteX270" fmla="*/ 409213 w 4042856"/>
                <a:gd name="connsiteY270" fmla="*/ 280774 h 1366643"/>
                <a:gd name="connsiteX271" fmla="*/ 414092 w 4042856"/>
                <a:gd name="connsiteY271" fmla="*/ 280774 h 1366643"/>
                <a:gd name="connsiteX272" fmla="*/ 414092 w 4042856"/>
                <a:gd name="connsiteY272" fmla="*/ 296328 h 1366643"/>
                <a:gd name="connsiteX273" fmla="*/ 445900 w 4042856"/>
                <a:gd name="connsiteY273" fmla="*/ 296328 h 1366643"/>
                <a:gd name="connsiteX274" fmla="*/ 445900 w 4042856"/>
                <a:gd name="connsiteY274" fmla="*/ 312015 h 1366643"/>
                <a:gd name="connsiteX275" fmla="*/ 448339 w 4042856"/>
                <a:gd name="connsiteY275" fmla="*/ 312015 h 1366643"/>
                <a:gd name="connsiteX276" fmla="*/ 448339 w 4042856"/>
                <a:gd name="connsiteY276" fmla="*/ 327835 h 1366643"/>
                <a:gd name="connsiteX277" fmla="*/ 475366 w 4042856"/>
                <a:gd name="connsiteY277" fmla="*/ 327835 h 1366643"/>
                <a:gd name="connsiteX278" fmla="*/ 475366 w 4042856"/>
                <a:gd name="connsiteY278" fmla="*/ 343655 h 1366643"/>
                <a:gd name="connsiteX279" fmla="*/ 482684 w 4042856"/>
                <a:gd name="connsiteY279" fmla="*/ 343655 h 1366643"/>
                <a:gd name="connsiteX280" fmla="*/ 482684 w 4042856"/>
                <a:gd name="connsiteY280" fmla="*/ 359741 h 1366643"/>
                <a:gd name="connsiteX281" fmla="*/ 492441 w 4042856"/>
                <a:gd name="connsiteY281" fmla="*/ 359741 h 1366643"/>
                <a:gd name="connsiteX282" fmla="*/ 492441 w 4042856"/>
                <a:gd name="connsiteY282" fmla="*/ 375960 h 1366643"/>
                <a:gd name="connsiteX283" fmla="*/ 521908 w 4042856"/>
                <a:gd name="connsiteY283" fmla="*/ 375960 h 1366643"/>
                <a:gd name="connsiteX284" fmla="*/ 521908 w 4042856"/>
                <a:gd name="connsiteY284" fmla="*/ 392179 h 1366643"/>
                <a:gd name="connsiteX285" fmla="*/ 524347 w 4042856"/>
                <a:gd name="connsiteY285" fmla="*/ 392179 h 1366643"/>
                <a:gd name="connsiteX286" fmla="*/ 524347 w 4042856"/>
                <a:gd name="connsiteY286" fmla="*/ 408531 h 1366643"/>
                <a:gd name="connsiteX287" fmla="*/ 526786 w 4042856"/>
                <a:gd name="connsiteY287" fmla="*/ 408531 h 1366643"/>
                <a:gd name="connsiteX288" fmla="*/ 526786 w 4042856"/>
                <a:gd name="connsiteY288" fmla="*/ 425016 h 1366643"/>
                <a:gd name="connsiteX289" fmla="*/ 536641 w 4042856"/>
                <a:gd name="connsiteY289" fmla="*/ 425016 h 1366643"/>
                <a:gd name="connsiteX290" fmla="*/ 536641 w 4042856"/>
                <a:gd name="connsiteY290" fmla="*/ 441500 h 1366643"/>
                <a:gd name="connsiteX291" fmla="*/ 558692 w 4042856"/>
                <a:gd name="connsiteY291" fmla="*/ 441500 h 1366643"/>
                <a:gd name="connsiteX292" fmla="*/ 558692 w 4042856"/>
                <a:gd name="connsiteY292" fmla="*/ 458118 h 1366643"/>
                <a:gd name="connsiteX293" fmla="*/ 578304 w 4042856"/>
                <a:gd name="connsiteY293" fmla="*/ 458118 h 1366643"/>
                <a:gd name="connsiteX294" fmla="*/ 578304 w 4042856"/>
                <a:gd name="connsiteY294" fmla="*/ 474736 h 1366643"/>
                <a:gd name="connsiteX295" fmla="*/ 629724 w 4042856"/>
                <a:gd name="connsiteY295" fmla="*/ 474736 h 1366643"/>
                <a:gd name="connsiteX296" fmla="*/ 629724 w 4042856"/>
                <a:gd name="connsiteY296" fmla="*/ 491487 h 1366643"/>
                <a:gd name="connsiteX297" fmla="*/ 632163 w 4042856"/>
                <a:gd name="connsiteY297" fmla="*/ 491487 h 1366643"/>
                <a:gd name="connsiteX298" fmla="*/ 632163 w 4042856"/>
                <a:gd name="connsiteY298" fmla="*/ 542138 h 1366643"/>
                <a:gd name="connsiteX299" fmla="*/ 695877 w 4042856"/>
                <a:gd name="connsiteY299" fmla="*/ 542138 h 1366643"/>
                <a:gd name="connsiteX300" fmla="*/ 695877 w 4042856"/>
                <a:gd name="connsiteY300" fmla="*/ 559154 h 1366643"/>
                <a:gd name="connsiteX301" fmla="*/ 705731 w 4042856"/>
                <a:gd name="connsiteY301" fmla="*/ 559154 h 1366643"/>
                <a:gd name="connsiteX302" fmla="*/ 705731 w 4042856"/>
                <a:gd name="connsiteY302" fmla="*/ 576171 h 1366643"/>
                <a:gd name="connsiteX303" fmla="*/ 722904 w 4042856"/>
                <a:gd name="connsiteY303" fmla="*/ 576171 h 1366643"/>
                <a:gd name="connsiteX304" fmla="*/ 722904 w 4042856"/>
                <a:gd name="connsiteY304" fmla="*/ 593320 h 1366643"/>
                <a:gd name="connsiteX305" fmla="*/ 769445 w 4042856"/>
                <a:gd name="connsiteY305" fmla="*/ 593320 h 1366643"/>
                <a:gd name="connsiteX306" fmla="*/ 769445 w 4042856"/>
                <a:gd name="connsiteY306" fmla="*/ 610470 h 1366643"/>
                <a:gd name="connsiteX307" fmla="*/ 771885 w 4042856"/>
                <a:gd name="connsiteY307" fmla="*/ 610470 h 1366643"/>
                <a:gd name="connsiteX308" fmla="*/ 771885 w 4042856"/>
                <a:gd name="connsiteY308" fmla="*/ 627752 h 1366643"/>
                <a:gd name="connsiteX309" fmla="*/ 803693 w 4042856"/>
                <a:gd name="connsiteY309" fmla="*/ 627752 h 1366643"/>
                <a:gd name="connsiteX310" fmla="*/ 803693 w 4042856"/>
                <a:gd name="connsiteY310" fmla="*/ 645301 h 1366643"/>
                <a:gd name="connsiteX311" fmla="*/ 820865 w 4042856"/>
                <a:gd name="connsiteY311" fmla="*/ 645301 h 1366643"/>
                <a:gd name="connsiteX312" fmla="*/ 820865 w 4042856"/>
                <a:gd name="connsiteY312" fmla="*/ 662849 h 1366643"/>
                <a:gd name="connsiteX313" fmla="*/ 894434 w 4042856"/>
                <a:gd name="connsiteY313" fmla="*/ 662849 h 1366643"/>
                <a:gd name="connsiteX314" fmla="*/ 894434 w 4042856"/>
                <a:gd name="connsiteY314" fmla="*/ 680663 h 1366643"/>
                <a:gd name="connsiteX315" fmla="*/ 931218 w 4042856"/>
                <a:gd name="connsiteY315" fmla="*/ 680663 h 1366643"/>
                <a:gd name="connsiteX316" fmla="*/ 931218 w 4042856"/>
                <a:gd name="connsiteY316" fmla="*/ 698477 h 1366643"/>
                <a:gd name="connsiteX317" fmla="*/ 1026838 w 4042856"/>
                <a:gd name="connsiteY317" fmla="*/ 698477 h 1366643"/>
                <a:gd name="connsiteX318" fmla="*/ 1026838 w 4042856"/>
                <a:gd name="connsiteY318" fmla="*/ 716425 h 1366643"/>
                <a:gd name="connsiteX319" fmla="*/ 1085673 w 4042856"/>
                <a:gd name="connsiteY319" fmla="*/ 716425 h 1366643"/>
                <a:gd name="connsiteX320" fmla="*/ 1085673 w 4042856"/>
                <a:gd name="connsiteY320" fmla="*/ 734505 h 1366643"/>
                <a:gd name="connsiteX321" fmla="*/ 1142069 w 4042856"/>
                <a:gd name="connsiteY321" fmla="*/ 734505 h 1366643"/>
                <a:gd name="connsiteX322" fmla="*/ 1142069 w 4042856"/>
                <a:gd name="connsiteY322" fmla="*/ 752585 h 1366643"/>
                <a:gd name="connsiteX323" fmla="*/ 1205783 w 4042856"/>
                <a:gd name="connsiteY323" fmla="*/ 752585 h 1366643"/>
                <a:gd name="connsiteX324" fmla="*/ 1205783 w 4042856"/>
                <a:gd name="connsiteY324" fmla="*/ 770665 h 1366643"/>
                <a:gd name="connsiteX325" fmla="*/ 1303842 w 4042856"/>
                <a:gd name="connsiteY325" fmla="*/ 770665 h 1366643"/>
                <a:gd name="connsiteX326" fmla="*/ 1303842 w 4042856"/>
                <a:gd name="connsiteY326" fmla="*/ 789011 h 1366643"/>
                <a:gd name="connsiteX327" fmla="*/ 1316136 w 4042856"/>
                <a:gd name="connsiteY327" fmla="*/ 789011 h 1366643"/>
                <a:gd name="connsiteX328" fmla="*/ 1316136 w 4042856"/>
                <a:gd name="connsiteY328" fmla="*/ 807224 h 1366643"/>
                <a:gd name="connsiteX329" fmla="*/ 1335748 w 4042856"/>
                <a:gd name="connsiteY329" fmla="*/ 807224 h 1366643"/>
                <a:gd name="connsiteX330" fmla="*/ 1335748 w 4042856"/>
                <a:gd name="connsiteY330" fmla="*/ 825570 h 1366643"/>
                <a:gd name="connsiteX331" fmla="*/ 1350383 w 4042856"/>
                <a:gd name="connsiteY331" fmla="*/ 825570 h 1366643"/>
                <a:gd name="connsiteX332" fmla="*/ 1350383 w 4042856"/>
                <a:gd name="connsiteY332" fmla="*/ 843916 h 1366643"/>
                <a:gd name="connsiteX333" fmla="*/ 1502399 w 4042856"/>
                <a:gd name="connsiteY333" fmla="*/ 843916 h 1366643"/>
                <a:gd name="connsiteX334" fmla="*/ 1502399 w 4042856"/>
                <a:gd name="connsiteY334" fmla="*/ 862661 h 1366643"/>
                <a:gd name="connsiteX335" fmla="*/ 1622509 w 4042856"/>
                <a:gd name="connsiteY335" fmla="*/ 862661 h 1366643"/>
                <a:gd name="connsiteX336" fmla="*/ 1622509 w 4042856"/>
                <a:gd name="connsiteY336" fmla="*/ 881406 h 1366643"/>
                <a:gd name="connsiteX337" fmla="*/ 1791600 w 4042856"/>
                <a:gd name="connsiteY337" fmla="*/ 881406 h 1366643"/>
                <a:gd name="connsiteX338" fmla="*/ 1791600 w 4042856"/>
                <a:gd name="connsiteY338" fmla="*/ 900150 h 1366643"/>
                <a:gd name="connsiteX339" fmla="*/ 1938737 w 4042856"/>
                <a:gd name="connsiteY339" fmla="*/ 900150 h 1366643"/>
                <a:gd name="connsiteX340" fmla="*/ 1938737 w 4042856"/>
                <a:gd name="connsiteY340" fmla="*/ 919028 h 1366643"/>
                <a:gd name="connsiteX341" fmla="*/ 1963227 w 4042856"/>
                <a:gd name="connsiteY341" fmla="*/ 919028 h 1366643"/>
                <a:gd name="connsiteX342" fmla="*/ 1963227 w 4042856"/>
                <a:gd name="connsiteY342" fmla="*/ 940964 h 1366643"/>
                <a:gd name="connsiteX343" fmla="*/ 2240329 w 4042856"/>
                <a:gd name="connsiteY343" fmla="*/ 940964 h 1366643"/>
                <a:gd name="connsiteX344" fmla="*/ 2240329 w 4042856"/>
                <a:gd name="connsiteY344" fmla="*/ 964361 h 1366643"/>
                <a:gd name="connsiteX345" fmla="*/ 2262380 w 4042856"/>
                <a:gd name="connsiteY345" fmla="*/ 964361 h 1366643"/>
                <a:gd name="connsiteX346" fmla="*/ 2262380 w 4042856"/>
                <a:gd name="connsiteY346" fmla="*/ 987626 h 1366643"/>
                <a:gd name="connsiteX347" fmla="*/ 2294286 w 4042856"/>
                <a:gd name="connsiteY347" fmla="*/ 987626 h 1366643"/>
                <a:gd name="connsiteX348" fmla="*/ 2294286 w 4042856"/>
                <a:gd name="connsiteY348" fmla="*/ 1010891 h 1366643"/>
                <a:gd name="connsiteX349" fmla="*/ 2306482 w 4042856"/>
                <a:gd name="connsiteY349" fmla="*/ 1010891 h 1366643"/>
                <a:gd name="connsiteX350" fmla="*/ 2306482 w 4042856"/>
                <a:gd name="connsiteY350" fmla="*/ 1034023 h 1366643"/>
                <a:gd name="connsiteX351" fmla="*/ 2465816 w 4042856"/>
                <a:gd name="connsiteY351" fmla="*/ 1034023 h 1366643"/>
                <a:gd name="connsiteX352" fmla="*/ 2465816 w 4042856"/>
                <a:gd name="connsiteY352" fmla="*/ 1057022 h 1366643"/>
                <a:gd name="connsiteX353" fmla="*/ 2502600 w 4042856"/>
                <a:gd name="connsiteY353" fmla="*/ 1057022 h 1366643"/>
                <a:gd name="connsiteX354" fmla="*/ 2502600 w 4042856"/>
                <a:gd name="connsiteY354" fmla="*/ 1080021 h 1366643"/>
                <a:gd name="connsiteX355" fmla="*/ 2556557 w 4042856"/>
                <a:gd name="connsiteY355" fmla="*/ 1080021 h 1366643"/>
                <a:gd name="connsiteX356" fmla="*/ 2556557 w 4042856"/>
                <a:gd name="connsiteY356" fmla="*/ 1103286 h 1366643"/>
                <a:gd name="connsiteX357" fmla="*/ 2622710 w 4042856"/>
                <a:gd name="connsiteY357" fmla="*/ 1103286 h 1366643"/>
                <a:gd name="connsiteX358" fmla="*/ 2622710 w 4042856"/>
                <a:gd name="connsiteY358" fmla="*/ 1127481 h 1366643"/>
                <a:gd name="connsiteX359" fmla="*/ 2654616 w 4042856"/>
                <a:gd name="connsiteY359" fmla="*/ 1127481 h 1366643"/>
                <a:gd name="connsiteX360" fmla="*/ 2654616 w 4042856"/>
                <a:gd name="connsiteY360" fmla="*/ 1130539 h 1366643"/>
                <a:gd name="connsiteX361" fmla="*/ 4040125 w 4042856"/>
                <a:gd name="connsiteY361" fmla="*/ 1363586 h 1366643"/>
                <a:gd name="connsiteX362" fmla="*/ 3020019 w 4042856"/>
                <a:gd name="connsiteY362" fmla="*/ 1363586 h 1366643"/>
                <a:gd name="connsiteX363" fmla="*/ 3020019 w 4042856"/>
                <a:gd name="connsiteY363" fmla="*/ 1340986 h 1366643"/>
                <a:gd name="connsiteX364" fmla="*/ 2931717 w 4042856"/>
                <a:gd name="connsiteY364" fmla="*/ 1340986 h 1366643"/>
                <a:gd name="connsiteX365" fmla="*/ 2931717 w 4042856"/>
                <a:gd name="connsiteY365" fmla="*/ 1319317 h 1366643"/>
                <a:gd name="connsiteX366" fmla="*/ 2215936 w 4042856"/>
                <a:gd name="connsiteY366" fmla="*/ 1319317 h 1366643"/>
                <a:gd name="connsiteX367" fmla="*/ 2215936 w 4042856"/>
                <a:gd name="connsiteY367" fmla="*/ 1299907 h 1366643"/>
                <a:gd name="connsiteX368" fmla="*/ 1794332 w 4042856"/>
                <a:gd name="connsiteY368" fmla="*/ 1299907 h 1366643"/>
                <a:gd name="connsiteX369" fmla="*/ 1794332 w 4042856"/>
                <a:gd name="connsiteY369" fmla="*/ 1280763 h 1366643"/>
                <a:gd name="connsiteX370" fmla="*/ 1625241 w 4042856"/>
                <a:gd name="connsiteY370" fmla="*/ 1280763 h 1366643"/>
                <a:gd name="connsiteX371" fmla="*/ 1625241 w 4042856"/>
                <a:gd name="connsiteY371" fmla="*/ 1261620 h 1366643"/>
                <a:gd name="connsiteX372" fmla="*/ 1505131 w 4042856"/>
                <a:gd name="connsiteY372" fmla="*/ 1261620 h 1366643"/>
                <a:gd name="connsiteX373" fmla="*/ 1505131 w 4042856"/>
                <a:gd name="connsiteY373" fmla="*/ 1242343 h 1366643"/>
                <a:gd name="connsiteX374" fmla="*/ 1353115 w 4042856"/>
                <a:gd name="connsiteY374" fmla="*/ 1242343 h 1366643"/>
                <a:gd name="connsiteX375" fmla="*/ 1353115 w 4042856"/>
                <a:gd name="connsiteY375" fmla="*/ 1223465 h 1366643"/>
                <a:gd name="connsiteX376" fmla="*/ 1338480 w 4042856"/>
                <a:gd name="connsiteY376" fmla="*/ 1223465 h 1366643"/>
                <a:gd name="connsiteX377" fmla="*/ 1338480 w 4042856"/>
                <a:gd name="connsiteY377" fmla="*/ 1204588 h 1366643"/>
                <a:gd name="connsiteX378" fmla="*/ 1318868 w 4042856"/>
                <a:gd name="connsiteY378" fmla="*/ 1204588 h 1366643"/>
                <a:gd name="connsiteX379" fmla="*/ 1318868 w 4042856"/>
                <a:gd name="connsiteY379" fmla="*/ 1185577 h 1366643"/>
                <a:gd name="connsiteX380" fmla="*/ 1306574 w 4042856"/>
                <a:gd name="connsiteY380" fmla="*/ 1185577 h 1366643"/>
                <a:gd name="connsiteX381" fmla="*/ 1306574 w 4042856"/>
                <a:gd name="connsiteY381" fmla="*/ 1166433 h 1366643"/>
                <a:gd name="connsiteX382" fmla="*/ 1208515 w 4042856"/>
                <a:gd name="connsiteY382" fmla="*/ 1166433 h 1366643"/>
                <a:gd name="connsiteX383" fmla="*/ 1208515 w 4042856"/>
                <a:gd name="connsiteY383" fmla="*/ 1147290 h 1366643"/>
                <a:gd name="connsiteX384" fmla="*/ 1144801 w 4042856"/>
                <a:gd name="connsiteY384" fmla="*/ 1147290 h 1366643"/>
                <a:gd name="connsiteX385" fmla="*/ 1144801 w 4042856"/>
                <a:gd name="connsiteY385" fmla="*/ 1128013 h 1366643"/>
                <a:gd name="connsiteX386" fmla="*/ 1088405 w 4042856"/>
                <a:gd name="connsiteY386" fmla="*/ 1128013 h 1366643"/>
                <a:gd name="connsiteX387" fmla="*/ 1088405 w 4042856"/>
                <a:gd name="connsiteY387" fmla="*/ 1108736 h 1366643"/>
                <a:gd name="connsiteX388" fmla="*/ 1029570 w 4042856"/>
                <a:gd name="connsiteY388" fmla="*/ 1108736 h 1366643"/>
                <a:gd name="connsiteX389" fmla="*/ 1029570 w 4042856"/>
                <a:gd name="connsiteY389" fmla="*/ 1089460 h 1366643"/>
                <a:gd name="connsiteX390" fmla="*/ 933950 w 4042856"/>
                <a:gd name="connsiteY390" fmla="*/ 1089460 h 1366643"/>
                <a:gd name="connsiteX391" fmla="*/ 933950 w 4042856"/>
                <a:gd name="connsiteY391" fmla="*/ 1070050 h 1366643"/>
                <a:gd name="connsiteX392" fmla="*/ 897166 w 4042856"/>
                <a:gd name="connsiteY392" fmla="*/ 1070050 h 1366643"/>
                <a:gd name="connsiteX393" fmla="*/ 897166 w 4042856"/>
                <a:gd name="connsiteY393" fmla="*/ 1050641 h 1366643"/>
                <a:gd name="connsiteX394" fmla="*/ 823597 w 4042856"/>
                <a:gd name="connsiteY394" fmla="*/ 1050641 h 1366643"/>
                <a:gd name="connsiteX395" fmla="*/ 823597 w 4042856"/>
                <a:gd name="connsiteY395" fmla="*/ 1031497 h 1366643"/>
                <a:gd name="connsiteX396" fmla="*/ 806425 w 4042856"/>
                <a:gd name="connsiteY396" fmla="*/ 1031497 h 1366643"/>
                <a:gd name="connsiteX397" fmla="*/ 806425 w 4042856"/>
                <a:gd name="connsiteY397" fmla="*/ 1012221 h 1366643"/>
                <a:gd name="connsiteX398" fmla="*/ 774617 w 4042856"/>
                <a:gd name="connsiteY398" fmla="*/ 1012221 h 1366643"/>
                <a:gd name="connsiteX399" fmla="*/ 774617 w 4042856"/>
                <a:gd name="connsiteY399" fmla="*/ 993210 h 1366643"/>
                <a:gd name="connsiteX400" fmla="*/ 772177 w 4042856"/>
                <a:gd name="connsiteY400" fmla="*/ 993210 h 1366643"/>
                <a:gd name="connsiteX401" fmla="*/ 772177 w 4042856"/>
                <a:gd name="connsiteY401" fmla="*/ 974066 h 1366643"/>
                <a:gd name="connsiteX402" fmla="*/ 725636 w 4042856"/>
                <a:gd name="connsiteY402" fmla="*/ 974066 h 1366643"/>
                <a:gd name="connsiteX403" fmla="*/ 725636 w 4042856"/>
                <a:gd name="connsiteY403" fmla="*/ 954923 h 1366643"/>
                <a:gd name="connsiteX404" fmla="*/ 708463 w 4042856"/>
                <a:gd name="connsiteY404" fmla="*/ 954923 h 1366643"/>
                <a:gd name="connsiteX405" fmla="*/ 708463 w 4042856"/>
                <a:gd name="connsiteY405" fmla="*/ 935646 h 1366643"/>
                <a:gd name="connsiteX406" fmla="*/ 698609 w 4042856"/>
                <a:gd name="connsiteY406" fmla="*/ 935646 h 1366643"/>
                <a:gd name="connsiteX407" fmla="*/ 698609 w 4042856"/>
                <a:gd name="connsiteY407" fmla="*/ 916369 h 1366643"/>
                <a:gd name="connsiteX408" fmla="*/ 634895 w 4042856"/>
                <a:gd name="connsiteY408" fmla="*/ 916369 h 1366643"/>
                <a:gd name="connsiteX409" fmla="*/ 634895 w 4042856"/>
                <a:gd name="connsiteY409" fmla="*/ 858141 h 1366643"/>
                <a:gd name="connsiteX410" fmla="*/ 632456 w 4042856"/>
                <a:gd name="connsiteY410" fmla="*/ 858141 h 1366643"/>
                <a:gd name="connsiteX411" fmla="*/ 632456 w 4042856"/>
                <a:gd name="connsiteY411" fmla="*/ 838598 h 1366643"/>
                <a:gd name="connsiteX412" fmla="*/ 581036 w 4042856"/>
                <a:gd name="connsiteY412" fmla="*/ 838598 h 1366643"/>
                <a:gd name="connsiteX413" fmla="*/ 581036 w 4042856"/>
                <a:gd name="connsiteY413" fmla="*/ 818923 h 1366643"/>
                <a:gd name="connsiteX414" fmla="*/ 561424 w 4042856"/>
                <a:gd name="connsiteY414" fmla="*/ 818923 h 1366643"/>
                <a:gd name="connsiteX415" fmla="*/ 561424 w 4042856"/>
                <a:gd name="connsiteY415" fmla="*/ 799247 h 1366643"/>
                <a:gd name="connsiteX416" fmla="*/ 539373 w 4042856"/>
                <a:gd name="connsiteY416" fmla="*/ 799247 h 1366643"/>
                <a:gd name="connsiteX417" fmla="*/ 539373 w 4042856"/>
                <a:gd name="connsiteY417" fmla="*/ 779439 h 1366643"/>
                <a:gd name="connsiteX418" fmla="*/ 529518 w 4042856"/>
                <a:gd name="connsiteY418" fmla="*/ 779439 h 1366643"/>
                <a:gd name="connsiteX419" fmla="*/ 529518 w 4042856"/>
                <a:gd name="connsiteY419" fmla="*/ 759631 h 1366643"/>
                <a:gd name="connsiteX420" fmla="*/ 527079 w 4042856"/>
                <a:gd name="connsiteY420" fmla="*/ 759631 h 1366643"/>
                <a:gd name="connsiteX421" fmla="*/ 527079 w 4042856"/>
                <a:gd name="connsiteY421" fmla="*/ 739689 h 1366643"/>
                <a:gd name="connsiteX422" fmla="*/ 524640 w 4042856"/>
                <a:gd name="connsiteY422" fmla="*/ 739689 h 1366643"/>
                <a:gd name="connsiteX423" fmla="*/ 524640 w 4042856"/>
                <a:gd name="connsiteY423" fmla="*/ 719748 h 1366643"/>
                <a:gd name="connsiteX424" fmla="*/ 495173 w 4042856"/>
                <a:gd name="connsiteY424" fmla="*/ 719748 h 1366643"/>
                <a:gd name="connsiteX425" fmla="*/ 495173 w 4042856"/>
                <a:gd name="connsiteY425" fmla="*/ 699674 h 1366643"/>
                <a:gd name="connsiteX426" fmla="*/ 485416 w 4042856"/>
                <a:gd name="connsiteY426" fmla="*/ 699674 h 1366643"/>
                <a:gd name="connsiteX427" fmla="*/ 485416 w 4042856"/>
                <a:gd name="connsiteY427" fmla="*/ 679467 h 1366643"/>
                <a:gd name="connsiteX428" fmla="*/ 478098 w 4042856"/>
                <a:gd name="connsiteY428" fmla="*/ 679467 h 1366643"/>
                <a:gd name="connsiteX429" fmla="*/ 478098 w 4042856"/>
                <a:gd name="connsiteY429" fmla="*/ 659392 h 1366643"/>
                <a:gd name="connsiteX430" fmla="*/ 451071 w 4042856"/>
                <a:gd name="connsiteY430" fmla="*/ 659392 h 1366643"/>
                <a:gd name="connsiteX431" fmla="*/ 451071 w 4042856"/>
                <a:gd name="connsiteY431" fmla="*/ 639318 h 1366643"/>
                <a:gd name="connsiteX432" fmla="*/ 448632 w 4042856"/>
                <a:gd name="connsiteY432" fmla="*/ 639318 h 1366643"/>
                <a:gd name="connsiteX433" fmla="*/ 448632 w 4042856"/>
                <a:gd name="connsiteY433" fmla="*/ 619111 h 1366643"/>
                <a:gd name="connsiteX434" fmla="*/ 416824 w 4042856"/>
                <a:gd name="connsiteY434" fmla="*/ 619111 h 1366643"/>
                <a:gd name="connsiteX435" fmla="*/ 416824 w 4042856"/>
                <a:gd name="connsiteY435" fmla="*/ 598771 h 1366643"/>
                <a:gd name="connsiteX436" fmla="*/ 411945 w 4042856"/>
                <a:gd name="connsiteY436" fmla="*/ 598771 h 1366643"/>
                <a:gd name="connsiteX437" fmla="*/ 411945 w 4042856"/>
                <a:gd name="connsiteY437" fmla="*/ 578431 h 1366643"/>
                <a:gd name="connsiteX438" fmla="*/ 409506 w 4042856"/>
                <a:gd name="connsiteY438" fmla="*/ 578431 h 1366643"/>
                <a:gd name="connsiteX439" fmla="*/ 409506 w 4042856"/>
                <a:gd name="connsiteY439" fmla="*/ 557958 h 1366643"/>
                <a:gd name="connsiteX440" fmla="*/ 394772 w 4042856"/>
                <a:gd name="connsiteY440" fmla="*/ 557958 h 1366643"/>
                <a:gd name="connsiteX441" fmla="*/ 394772 w 4042856"/>
                <a:gd name="connsiteY441" fmla="*/ 537352 h 1366643"/>
                <a:gd name="connsiteX442" fmla="*/ 392333 w 4042856"/>
                <a:gd name="connsiteY442" fmla="*/ 537352 h 1366643"/>
                <a:gd name="connsiteX443" fmla="*/ 392333 w 4042856"/>
                <a:gd name="connsiteY443" fmla="*/ 516613 h 1366643"/>
                <a:gd name="connsiteX444" fmla="*/ 387455 w 4042856"/>
                <a:gd name="connsiteY444" fmla="*/ 516613 h 1366643"/>
                <a:gd name="connsiteX445" fmla="*/ 387455 w 4042856"/>
                <a:gd name="connsiteY445" fmla="*/ 495741 h 1366643"/>
                <a:gd name="connsiteX446" fmla="*/ 340913 w 4042856"/>
                <a:gd name="connsiteY446" fmla="*/ 495741 h 1366643"/>
                <a:gd name="connsiteX447" fmla="*/ 340913 w 4042856"/>
                <a:gd name="connsiteY447" fmla="*/ 474736 h 1366643"/>
                <a:gd name="connsiteX448" fmla="*/ 338474 w 4042856"/>
                <a:gd name="connsiteY448" fmla="*/ 474736 h 1366643"/>
                <a:gd name="connsiteX449" fmla="*/ 338474 w 4042856"/>
                <a:gd name="connsiteY449" fmla="*/ 453598 h 1366643"/>
                <a:gd name="connsiteX450" fmla="*/ 333595 w 4042856"/>
                <a:gd name="connsiteY450" fmla="*/ 453598 h 1366643"/>
                <a:gd name="connsiteX451" fmla="*/ 333595 w 4042856"/>
                <a:gd name="connsiteY451" fmla="*/ 432195 h 1366643"/>
                <a:gd name="connsiteX452" fmla="*/ 309105 w 4042856"/>
                <a:gd name="connsiteY452" fmla="*/ 432195 h 1366643"/>
                <a:gd name="connsiteX453" fmla="*/ 309105 w 4042856"/>
                <a:gd name="connsiteY453" fmla="*/ 410791 h 1366643"/>
                <a:gd name="connsiteX454" fmla="*/ 299250 w 4042856"/>
                <a:gd name="connsiteY454" fmla="*/ 410791 h 1366643"/>
                <a:gd name="connsiteX455" fmla="*/ 299250 w 4042856"/>
                <a:gd name="connsiteY455" fmla="*/ 389121 h 1366643"/>
                <a:gd name="connsiteX456" fmla="*/ 264905 w 4042856"/>
                <a:gd name="connsiteY456" fmla="*/ 389121 h 1366643"/>
                <a:gd name="connsiteX457" fmla="*/ 264905 w 4042856"/>
                <a:gd name="connsiteY457" fmla="*/ 367585 h 1366643"/>
                <a:gd name="connsiteX458" fmla="*/ 260027 w 4042856"/>
                <a:gd name="connsiteY458" fmla="*/ 367585 h 1366643"/>
                <a:gd name="connsiteX459" fmla="*/ 260027 w 4042856"/>
                <a:gd name="connsiteY459" fmla="*/ 345782 h 1366643"/>
                <a:gd name="connsiteX460" fmla="*/ 233097 w 4042856"/>
                <a:gd name="connsiteY460" fmla="*/ 345782 h 1366643"/>
                <a:gd name="connsiteX461" fmla="*/ 233097 w 4042856"/>
                <a:gd name="connsiteY461" fmla="*/ 323714 h 1366643"/>
                <a:gd name="connsiteX462" fmla="*/ 223243 w 4042856"/>
                <a:gd name="connsiteY462" fmla="*/ 323714 h 1366643"/>
                <a:gd name="connsiteX463" fmla="*/ 223243 w 4042856"/>
                <a:gd name="connsiteY463" fmla="*/ 301380 h 1366643"/>
                <a:gd name="connsiteX464" fmla="*/ 203631 w 4042856"/>
                <a:gd name="connsiteY464" fmla="*/ 301380 h 1366643"/>
                <a:gd name="connsiteX465" fmla="*/ 203631 w 4042856"/>
                <a:gd name="connsiteY465" fmla="*/ 278912 h 1366643"/>
                <a:gd name="connsiteX466" fmla="*/ 179140 w 4042856"/>
                <a:gd name="connsiteY466" fmla="*/ 278912 h 1366643"/>
                <a:gd name="connsiteX467" fmla="*/ 179140 w 4042856"/>
                <a:gd name="connsiteY467" fmla="*/ 256046 h 1366643"/>
                <a:gd name="connsiteX468" fmla="*/ 157089 w 4042856"/>
                <a:gd name="connsiteY468" fmla="*/ 256046 h 1366643"/>
                <a:gd name="connsiteX469" fmla="*/ 157089 w 4042856"/>
                <a:gd name="connsiteY469" fmla="*/ 232781 h 1366643"/>
                <a:gd name="connsiteX470" fmla="*/ 144795 w 4042856"/>
                <a:gd name="connsiteY470" fmla="*/ 232781 h 1366643"/>
                <a:gd name="connsiteX471" fmla="*/ 144795 w 4042856"/>
                <a:gd name="connsiteY471" fmla="*/ 209118 h 1366643"/>
                <a:gd name="connsiteX472" fmla="*/ 125184 w 4042856"/>
                <a:gd name="connsiteY472" fmla="*/ 209118 h 1366643"/>
                <a:gd name="connsiteX473" fmla="*/ 125184 w 4042856"/>
                <a:gd name="connsiteY473" fmla="*/ 184922 h 1366643"/>
                <a:gd name="connsiteX474" fmla="*/ 105572 w 4042856"/>
                <a:gd name="connsiteY474" fmla="*/ 184922 h 1366643"/>
                <a:gd name="connsiteX475" fmla="*/ 105572 w 4042856"/>
                <a:gd name="connsiteY475" fmla="*/ 160062 h 1366643"/>
                <a:gd name="connsiteX476" fmla="*/ 54054 w 4042856"/>
                <a:gd name="connsiteY476" fmla="*/ 160062 h 1366643"/>
                <a:gd name="connsiteX477" fmla="*/ 54054 w 4042856"/>
                <a:gd name="connsiteY477" fmla="*/ 134404 h 1366643"/>
                <a:gd name="connsiteX478" fmla="*/ 51615 w 4042856"/>
                <a:gd name="connsiteY478" fmla="*/ 134404 h 1366643"/>
                <a:gd name="connsiteX479" fmla="*/ 51615 w 4042856"/>
                <a:gd name="connsiteY479" fmla="*/ 107417 h 1366643"/>
                <a:gd name="connsiteX480" fmla="*/ 29564 w 4042856"/>
                <a:gd name="connsiteY480" fmla="*/ 107417 h 1366643"/>
                <a:gd name="connsiteX481" fmla="*/ 29564 w 4042856"/>
                <a:gd name="connsiteY481" fmla="*/ 54772 h 1366643"/>
                <a:gd name="connsiteX482" fmla="*/ 46444 w 4042856"/>
                <a:gd name="connsiteY482" fmla="*/ 54772 h 1366643"/>
                <a:gd name="connsiteX483" fmla="*/ 46444 w 4042856"/>
                <a:gd name="connsiteY483" fmla="*/ 65806 h 1366643"/>
                <a:gd name="connsiteX484" fmla="*/ 48005 w 4042856"/>
                <a:gd name="connsiteY484" fmla="*/ 70858 h 1366643"/>
                <a:gd name="connsiteX485" fmla="*/ 48883 w 4042856"/>
                <a:gd name="connsiteY485" fmla="*/ 71789 h 1366643"/>
                <a:gd name="connsiteX486" fmla="*/ 48883 w 4042856"/>
                <a:gd name="connsiteY486" fmla="*/ 83753 h 1366643"/>
                <a:gd name="connsiteX487" fmla="*/ 50444 w 4042856"/>
                <a:gd name="connsiteY487" fmla="*/ 88805 h 1366643"/>
                <a:gd name="connsiteX488" fmla="*/ 54152 w 4042856"/>
                <a:gd name="connsiteY488" fmla="*/ 90932 h 1366643"/>
                <a:gd name="connsiteX489" fmla="*/ 100401 w 4042856"/>
                <a:gd name="connsiteY489" fmla="*/ 90932 h 1366643"/>
                <a:gd name="connsiteX490" fmla="*/ 100401 w 4042856"/>
                <a:gd name="connsiteY490" fmla="*/ 101967 h 1366643"/>
                <a:gd name="connsiteX491" fmla="*/ 101962 w 4042856"/>
                <a:gd name="connsiteY491" fmla="*/ 107018 h 1366643"/>
                <a:gd name="connsiteX492" fmla="*/ 105669 w 4042856"/>
                <a:gd name="connsiteY492" fmla="*/ 109145 h 1366643"/>
                <a:gd name="connsiteX493" fmla="*/ 120110 w 4042856"/>
                <a:gd name="connsiteY493" fmla="*/ 109145 h 1366643"/>
                <a:gd name="connsiteX494" fmla="*/ 120110 w 4042856"/>
                <a:gd name="connsiteY494" fmla="*/ 120047 h 1366643"/>
                <a:gd name="connsiteX495" fmla="*/ 121671 w 4042856"/>
                <a:gd name="connsiteY495" fmla="*/ 125098 h 1366643"/>
                <a:gd name="connsiteX496" fmla="*/ 125379 w 4042856"/>
                <a:gd name="connsiteY496" fmla="*/ 127226 h 1366643"/>
                <a:gd name="connsiteX497" fmla="*/ 139722 w 4042856"/>
                <a:gd name="connsiteY497" fmla="*/ 127226 h 1366643"/>
                <a:gd name="connsiteX498" fmla="*/ 139722 w 4042856"/>
                <a:gd name="connsiteY498" fmla="*/ 138260 h 1366643"/>
                <a:gd name="connsiteX499" fmla="*/ 141283 w 4042856"/>
                <a:gd name="connsiteY499" fmla="*/ 143312 h 1366643"/>
                <a:gd name="connsiteX500" fmla="*/ 144991 w 4042856"/>
                <a:gd name="connsiteY500" fmla="*/ 145439 h 1366643"/>
                <a:gd name="connsiteX501" fmla="*/ 152016 w 4042856"/>
                <a:gd name="connsiteY501" fmla="*/ 145439 h 1366643"/>
                <a:gd name="connsiteX502" fmla="*/ 152016 w 4042856"/>
                <a:gd name="connsiteY502" fmla="*/ 156340 h 1366643"/>
                <a:gd name="connsiteX503" fmla="*/ 153577 w 4042856"/>
                <a:gd name="connsiteY503" fmla="*/ 161392 h 1366643"/>
                <a:gd name="connsiteX504" fmla="*/ 157285 w 4042856"/>
                <a:gd name="connsiteY504" fmla="*/ 163519 h 1366643"/>
                <a:gd name="connsiteX505" fmla="*/ 174164 w 4042856"/>
                <a:gd name="connsiteY505" fmla="*/ 163519 h 1366643"/>
                <a:gd name="connsiteX506" fmla="*/ 174164 w 4042856"/>
                <a:gd name="connsiteY506" fmla="*/ 174553 h 1366643"/>
                <a:gd name="connsiteX507" fmla="*/ 175725 w 4042856"/>
                <a:gd name="connsiteY507" fmla="*/ 179605 h 1366643"/>
                <a:gd name="connsiteX508" fmla="*/ 179433 w 4042856"/>
                <a:gd name="connsiteY508" fmla="*/ 181732 h 1366643"/>
                <a:gd name="connsiteX509" fmla="*/ 198655 w 4042856"/>
                <a:gd name="connsiteY509" fmla="*/ 181732 h 1366643"/>
                <a:gd name="connsiteX510" fmla="*/ 198655 w 4042856"/>
                <a:gd name="connsiteY510" fmla="*/ 192633 h 1366643"/>
                <a:gd name="connsiteX511" fmla="*/ 200216 w 4042856"/>
                <a:gd name="connsiteY511" fmla="*/ 197685 h 1366643"/>
                <a:gd name="connsiteX512" fmla="*/ 203924 w 4042856"/>
                <a:gd name="connsiteY512" fmla="*/ 199812 h 1366643"/>
                <a:gd name="connsiteX513" fmla="*/ 218364 w 4042856"/>
                <a:gd name="connsiteY513" fmla="*/ 199812 h 1366643"/>
                <a:gd name="connsiteX514" fmla="*/ 218364 w 4042856"/>
                <a:gd name="connsiteY514" fmla="*/ 210713 h 1366643"/>
                <a:gd name="connsiteX515" fmla="*/ 219925 w 4042856"/>
                <a:gd name="connsiteY515" fmla="*/ 215765 h 1366643"/>
                <a:gd name="connsiteX516" fmla="*/ 223633 w 4042856"/>
                <a:gd name="connsiteY516" fmla="*/ 217892 h 1366643"/>
                <a:gd name="connsiteX517" fmla="*/ 228219 w 4042856"/>
                <a:gd name="connsiteY517" fmla="*/ 217892 h 1366643"/>
                <a:gd name="connsiteX518" fmla="*/ 228219 w 4042856"/>
                <a:gd name="connsiteY518" fmla="*/ 228926 h 1366643"/>
                <a:gd name="connsiteX519" fmla="*/ 229780 w 4042856"/>
                <a:gd name="connsiteY519" fmla="*/ 233978 h 1366643"/>
                <a:gd name="connsiteX520" fmla="*/ 233488 w 4042856"/>
                <a:gd name="connsiteY520" fmla="*/ 236105 h 1366643"/>
                <a:gd name="connsiteX521" fmla="*/ 255246 w 4042856"/>
                <a:gd name="connsiteY521" fmla="*/ 236105 h 1366643"/>
                <a:gd name="connsiteX522" fmla="*/ 255246 w 4042856"/>
                <a:gd name="connsiteY522" fmla="*/ 247006 h 1366643"/>
                <a:gd name="connsiteX523" fmla="*/ 256807 w 4042856"/>
                <a:gd name="connsiteY523" fmla="*/ 252058 h 1366643"/>
                <a:gd name="connsiteX524" fmla="*/ 260222 w 4042856"/>
                <a:gd name="connsiteY524" fmla="*/ 254185 h 1366643"/>
                <a:gd name="connsiteX525" fmla="*/ 260222 w 4042856"/>
                <a:gd name="connsiteY525" fmla="*/ 265219 h 1366643"/>
                <a:gd name="connsiteX526" fmla="*/ 261783 w 4042856"/>
                <a:gd name="connsiteY526" fmla="*/ 270271 h 1366643"/>
                <a:gd name="connsiteX527" fmla="*/ 265491 w 4042856"/>
                <a:gd name="connsiteY527" fmla="*/ 272398 h 1366643"/>
                <a:gd name="connsiteX528" fmla="*/ 294665 w 4042856"/>
                <a:gd name="connsiteY528" fmla="*/ 272398 h 1366643"/>
                <a:gd name="connsiteX529" fmla="*/ 294665 w 4042856"/>
                <a:gd name="connsiteY529" fmla="*/ 283565 h 1366643"/>
                <a:gd name="connsiteX530" fmla="*/ 296226 w 4042856"/>
                <a:gd name="connsiteY530" fmla="*/ 288617 h 1366643"/>
                <a:gd name="connsiteX531" fmla="*/ 299933 w 4042856"/>
                <a:gd name="connsiteY531" fmla="*/ 290744 h 1366643"/>
                <a:gd name="connsiteX532" fmla="*/ 304519 w 4042856"/>
                <a:gd name="connsiteY532" fmla="*/ 290744 h 1366643"/>
                <a:gd name="connsiteX533" fmla="*/ 304519 w 4042856"/>
                <a:gd name="connsiteY533" fmla="*/ 301911 h 1366643"/>
                <a:gd name="connsiteX534" fmla="*/ 306080 w 4042856"/>
                <a:gd name="connsiteY534" fmla="*/ 306963 h 1366643"/>
                <a:gd name="connsiteX535" fmla="*/ 309788 w 4042856"/>
                <a:gd name="connsiteY535" fmla="*/ 309090 h 1366643"/>
                <a:gd name="connsiteX536" fmla="*/ 329010 w 4042856"/>
                <a:gd name="connsiteY536" fmla="*/ 309090 h 1366643"/>
                <a:gd name="connsiteX537" fmla="*/ 329010 w 4042856"/>
                <a:gd name="connsiteY537" fmla="*/ 320257 h 1366643"/>
                <a:gd name="connsiteX538" fmla="*/ 330571 w 4042856"/>
                <a:gd name="connsiteY538" fmla="*/ 325309 h 1366643"/>
                <a:gd name="connsiteX539" fmla="*/ 333986 w 4042856"/>
                <a:gd name="connsiteY539" fmla="*/ 327303 h 1366643"/>
                <a:gd name="connsiteX540" fmla="*/ 333986 w 4042856"/>
                <a:gd name="connsiteY540" fmla="*/ 338470 h 1366643"/>
                <a:gd name="connsiteX541" fmla="*/ 335547 w 4042856"/>
                <a:gd name="connsiteY541" fmla="*/ 343522 h 1366643"/>
                <a:gd name="connsiteX542" fmla="*/ 336425 w 4042856"/>
                <a:gd name="connsiteY542" fmla="*/ 344453 h 1366643"/>
                <a:gd name="connsiteX543" fmla="*/ 336425 w 4042856"/>
                <a:gd name="connsiteY543" fmla="*/ 356683 h 1366643"/>
                <a:gd name="connsiteX544" fmla="*/ 337986 w 4042856"/>
                <a:gd name="connsiteY544" fmla="*/ 361735 h 1366643"/>
                <a:gd name="connsiteX545" fmla="*/ 341694 w 4042856"/>
                <a:gd name="connsiteY545" fmla="*/ 363862 h 1366643"/>
                <a:gd name="connsiteX546" fmla="*/ 383064 w 4042856"/>
                <a:gd name="connsiteY546" fmla="*/ 363862 h 1366643"/>
                <a:gd name="connsiteX547" fmla="*/ 383064 w 4042856"/>
                <a:gd name="connsiteY547" fmla="*/ 375029 h 1366643"/>
                <a:gd name="connsiteX548" fmla="*/ 384625 w 4042856"/>
                <a:gd name="connsiteY548" fmla="*/ 380081 h 1366643"/>
                <a:gd name="connsiteX549" fmla="*/ 388040 w 4042856"/>
                <a:gd name="connsiteY549" fmla="*/ 382075 h 1366643"/>
                <a:gd name="connsiteX550" fmla="*/ 388040 w 4042856"/>
                <a:gd name="connsiteY550" fmla="*/ 393243 h 1366643"/>
                <a:gd name="connsiteX551" fmla="*/ 389601 w 4042856"/>
                <a:gd name="connsiteY551" fmla="*/ 398294 h 1366643"/>
                <a:gd name="connsiteX552" fmla="*/ 390479 w 4042856"/>
                <a:gd name="connsiteY552" fmla="*/ 399225 h 1366643"/>
                <a:gd name="connsiteX553" fmla="*/ 390479 w 4042856"/>
                <a:gd name="connsiteY553" fmla="*/ 411456 h 1366643"/>
                <a:gd name="connsiteX554" fmla="*/ 392041 w 4042856"/>
                <a:gd name="connsiteY554" fmla="*/ 416507 h 1366643"/>
                <a:gd name="connsiteX555" fmla="*/ 395748 w 4042856"/>
                <a:gd name="connsiteY555" fmla="*/ 418634 h 1366643"/>
                <a:gd name="connsiteX556" fmla="*/ 405213 w 4042856"/>
                <a:gd name="connsiteY556" fmla="*/ 418634 h 1366643"/>
                <a:gd name="connsiteX557" fmla="*/ 405213 w 4042856"/>
                <a:gd name="connsiteY557" fmla="*/ 429802 h 1366643"/>
                <a:gd name="connsiteX558" fmla="*/ 406774 w 4042856"/>
                <a:gd name="connsiteY558" fmla="*/ 434853 h 1366643"/>
                <a:gd name="connsiteX559" fmla="*/ 407652 w 4042856"/>
                <a:gd name="connsiteY559" fmla="*/ 435917 h 1366643"/>
                <a:gd name="connsiteX560" fmla="*/ 407652 w 4042856"/>
                <a:gd name="connsiteY560" fmla="*/ 448148 h 1366643"/>
                <a:gd name="connsiteX561" fmla="*/ 409213 w 4042856"/>
                <a:gd name="connsiteY561" fmla="*/ 453199 h 1366643"/>
                <a:gd name="connsiteX562" fmla="*/ 412628 w 4042856"/>
                <a:gd name="connsiteY562" fmla="*/ 455326 h 1366643"/>
                <a:gd name="connsiteX563" fmla="*/ 412628 w 4042856"/>
                <a:gd name="connsiteY563" fmla="*/ 466494 h 1366643"/>
                <a:gd name="connsiteX564" fmla="*/ 414189 w 4042856"/>
                <a:gd name="connsiteY564" fmla="*/ 471545 h 1366643"/>
                <a:gd name="connsiteX565" fmla="*/ 417897 w 4042856"/>
                <a:gd name="connsiteY565" fmla="*/ 473672 h 1366643"/>
                <a:gd name="connsiteX566" fmla="*/ 444534 w 4042856"/>
                <a:gd name="connsiteY566" fmla="*/ 473672 h 1366643"/>
                <a:gd name="connsiteX567" fmla="*/ 444534 w 4042856"/>
                <a:gd name="connsiteY567" fmla="*/ 484840 h 1366643"/>
                <a:gd name="connsiteX568" fmla="*/ 446095 w 4042856"/>
                <a:gd name="connsiteY568" fmla="*/ 489891 h 1366643"/>
                <a:gd name="connsiteX569" fmla="*/ 446973 w 4042856"/>
                <a:gd name="connsiteY569" fmla="*/ 490955 h 1366643"/>
                <a:gd name="connsiteX570" fmla="*/ 446973 w 4042856"/>
                <a:gd name="connsiteY570" fmla="*/ 503186 h 1366643"/>
                <a:gd name="connsiteX571" fmla="*/ 448534 w 4042856"/>
                <a:gd name="connsiteY571" fmla="*/ 508237 h 1366643"/>
                <a:gd name="connsiteX572" fmla="*/ 452242 w 4042856"/>
                <a:gd name="connsiteY572" fmla="*/ 510364 h 1366643"/>
                <a:gd name="connsiteX573" fmla="*/ 474000 w 4042856"/>
                <a:gd name="connsiteY573" fmla="*/ 510364 h 1366643"/>
                <a:gd name="connsiteX574" fmla="*/ 474000 w 4042856"/>
                <a:gd name="connsiteY574" fmla="*/ 521532 h 1366643"/>
                <a:gd name="connsiteX575" fmla="*/ 475561 w 4042856"/>
                <a:gd name="connsiteY575" fmla="*/ 526583 h 1366643"/>
                <a:gd name="connsiteX576" fmla="*/ 479269 w 4042856"/>
                <a:gd name="connsiteY576" fmla="*/ 528710 h 1366643"/>
                <a:gd name="connsiteX577" fmla="*/ 481416 w 4042856"/>
                <a:gd name="connsiteY577" fmla="*/ 528710 h 1366643"/>
                <a:gd name="connsiteX578" fmla="*/ 481416 w 4042856"/>
                <a:gd name="connsiteY578" fmla="*/ 540011 h 1366643"/>
                <a:gd name="connsiteX579" fmla="*/ 482977 w 4042856"/>
                <a:gd name="connsiteY579" fmla="*/ 545062 h 1366643"/>
                <a:gd name="connsiteX580" fmla="*/ 486684 w 4042856"/>
                <a:gd name="connsiteY580" fmla="*/ 547189 h 1366643"/>
                <a:gd name="connsiteX581" fmla="*/ 491173 w 4042856"/>
                <a:gd name="connsiteY581" fmla="*/ 547189 h 1366643"/>
                <a:gd name="connsiteX582" fmla="*/ 491173 w 4042856"/>
                <a:gd name="connsiteY582" fmla="*/ 558489 h 1366643"/>
                <a:gd name="connsiteX583" fmla="*/ 492734 w 4042856"/>
                <a:gd name="connsiteY583" fmla="*/ 563541 h 1366643"/>
                <a:gd name="connsiteX584" fmla="*/ 496442 w 4042856"/>
                <a:gd name="connsiteY584" fmla="*/ 565668 h 1366643"/>
                <a:gd name="connsiteX585" fmla="*/ 520639 w 4042856"/>
                <a:gd name="connsiteY585" fmla="*/ 565668 h 1366643"/>
                <a:gd name="connsiteX586" fmla="*/ 520639 w 4042856"/>
                <a:gd name="connsiteY586" fmla="*/ 576968 h 1366643"/>
                <a:gd name="connsiteX587" fmla="*/ 522200 w 4042856"/>
                <a:gd name="connsiteY587" fmla="*/ 582020 h 1366643"/>
                <a:gd name="connsiteX588" fmla="*/ 523078 w 4042856"/>
                <a:gd name="connsiteY588" fmla="*/ 582951 h 1366643"/>
                <a:gd name="connsiteX589" fmla="*/ 523078 w 4042856"/>
                <a:gd name="connsiteY589" fmla="*/ 595447 h 1366643"/>
                <a:gd name="connsiteX590" fmla="*/ 524640 w 4042856"/>
                <a:gd name="connsiteY590" fmla="*/ 600499 h 1366643"/>
                <a:gd name="connsiteX591" fmla="*/ 525615 w 4042856"/>
                <a:gd name="connsiteY591" fmla="*/ 601430 h 1366643"/>
                <a:gd name="connsiteX592" fmla="*/ 525615 w 4042856"/>
                <a:gd name="connsiteY592" fmla="*/ 613926 h 1366643"/>
                <a:gd name="connsiteX593" fmla="*/ 527176 w 4042856"/>
                <a:gd name="connsiteY593" fmla="*/ 618978 h 1366643"/>
                <a:gd name="connsiteX594" fmla="*/ 530884 w 4042856"/>
                <a:gd name="connsiteY594" fmla="*/ 621105 h 1366643"/>
                <a:gd name="connsiteX595" fmla="*/ 535470 w 4042856"/>
                <a:gd name="connsiteY595" fmla="*/ 621105 h 1366643"/>
                <a:gd name="connsiteX596" fmla="*/ 535470 w 4042856"/>
                <a:gd name="connsiteY596" fmla="*/ 632405 h 1366643"/>
                <a:gd name="connsiteX597" fmla="*/ 537031 w 4042856"/>
                <a:gd name="connsiteY597" fmla="*/ 637457 h 1366643"/>
                <a:gd name="connsiteX598" fmla="*/ 540739 w 4042856"/>
                <a:gd name="connsiteY598" fmla="*/ 639584 h 1366643"/>
                <a:gd name="connsiteX599" fmla="*/ 557521 w 4042856"/>
                <a:gd name="connsiteY599" fmla="*/ 639584 h 1366643"/>
                <a:gd name="connsiteX600" fmla="*/ 557521 w 4042856"/>
                <a:gd name="connsiteY600" fmla="*/ 650884 h 1366643"/>
                <a:gd name="connsiteX601" fmla="*/ 559082 w 4042856"/>
                <a:gd name="connsiteY601" fmla="*/ 655936 h 1366643"/>
                <a:gd name="connsiteX602" fmla="*/ 562790 w 4042856"/>
                <a:gd name="connsiteY602" fmla="*/ 658063 h 1366643"/>
                <a:gd name="connsiteX603" fmla="*/ 577230 w 4042856"/>
                <a:gd name="connsiteY603" fmla="*/ 658063 h 1366643"/>
                <a:gd name="connsiteX604" fmla="*/ 577230 w 4042856"/>
                <a:gd name="connsiteY604" fmla="*/ 669363 h 1366643"/>
                <a:gd name="connsiteX605" fmla="*/ 578792 w 4042856"/>
                <a:gd name="connsiteY605" fmla="*/ 674415 h 1366643"/>
                <a:gd name="connsiteX606" fmla="*/ 582499 w 4042856"/>
                <a:gd name="connsiteY606" fmla="*/ 676542 h 1366643"/>
                <a:gd name="connsiteX607" fmla="*/ 628748 w 4042856"/>
                <a:gd name="connsiteY607" fmla="*/ 676542 h 1366643"/>
                <a:gd name="connsiteX608" fmla="*/ 628748 w 4042856"/>
                <a:gd name="connsiteY608" fmla="*/ 687842 h 1366643"/>
                <a:gd name="connsiteX609" fmla="*/ 630309 w 4042856"/>
                <a:gd name="connsiteY609" fmla="*/ 692894 h 1366643"/>
                <a:gd name="connsiteX610" fmla="*/ 631285 w 4042856"/>
                <a:gd name="connsiteY610" fmla="*/ 693957 h 1366643"/>
                <a:gd name="connsiteX611" fmla="*/ 631285 w 4042856"/>
                <a:gd name="connsiteY611" fmla="*/ 743279 h 1366643"/>
                <a:gd name="connsiteX612" fmla="*/ 632846 w 4042856"/>
                <a:gd name="connsiteY612" fmla="*/ 748331 h 1366643"/>
                <a:gd name="connsiteX613" fmla="*/ 636554 w 4042856"/>
                <a:gd name="connsiteY613" fmla="*/ 750458 h 1366643"/>
                <a:gd name="connsiteX614" fmla="*/ 695096 w 4042856"/>
                <a:gd name="connsiteY614" fmla="*/ 750458 h 1366643"/>
                <a:gd name="connsiteX615" fmla="*/ 695096 w 4042856"/>
                <a:gd name="connsiteY615" fmla="*/ 761758 h 1366643"/>
                <a:gd name="connsiteX616" fmla="*/ 696657 w 4042856"/>
                <a:gd name="connsiteY616" fmla="*/ 766810 h 1366643"/>
                <a:gd name="connsiteX617" fmla="*/ 700365 w 4042856"/>
                <a:gd name="connsiteY617" fmla="*/ 768937 h 1366643"/>
                <a:gd name="connsiteX618" fmla="*/ 704951 w 4042856"/>
                <a:gd name="connsiteY618" fmla="*/ 768937 h 1366643"/>
                <a:gd name="connsiteX619" fmla="*/ 704951 w 4042856"/>
                <a:gd name="connsiteY619" fmla="*/ 780237 h 1366643"/>
                <a:gd name="connsiteX620" fmla="*/ 706512 w 4042856"/>
                <a:gd name="connsiteY620" fmla="*/ 785289 h 1366643"/>
                <a:gd name="connsiteX621" fmla="*/ 710220 w 4042856"/>
                <a:gd name="connsiteY621" fmla="*/ 787416 h 1366643"/>
                <a:gd name="connsiteX622" fmla="*/ 722221 w 4042856"/>
                <a:gd name="connsiteY622" fmla="*/ 787416 h 1366643"/>
                <a:gd name="connsiteX623" fmla="*/ 722221 w 4042856"/>
                <a:gd name="connsiteY623" fmla="*/ 798716 h 1366643"/>
                <a:gd name="connsiteX624" fmla="*/ 723782 w 4042856"/>
                <a:gd name="connsiteY624" fmla="*/ 803767 h 1366643"/>
                <a:gd name="connsiteX625" fmla="*/ 727490 w 4042856"/>
                <a:gd name="connsiteY625" fmla="*/ 805895 h 1366643"/>
                <a:gd name="connsiteX626" fmla="*/ 768860 w 4042856"/>
                <a:gd name="connsiteY626" fmla="*/ 805895 h 1366643"/>
                <a:gd name="connsiteX627" fmla="*/ 768860 w 4042856"/>
                <a:gd name="connsiteY627" fmla="*/ 817195 h 1366643"/>
                <a:gd name="connsiteX628" fmla="*/ 770421 w 4042856"/>
                <a:gd name="connsiteY628" fmla="*/ 822246 h 1366643"/>
                <a:gd name="connsiteX629" fmla="*/ 771397 w 4042856"/>
                <a:gd name="connsiteY629" fmla="*/ 823310 h 1366643"/>
                <a:gd name="connsiteX630" fmla="*/ 771397 w 4042856"/>
                <a:gd name="connsiteY630" fmla="*/ 835674 h 1366643"/>
                <a:gd name="connsiteX631" fmla="*/ 772958 w 4042856"/>
                <a:gd name="connsiteY631" fmla="*/ 840725 h 1366643"/>
                <a:gd name="connsiteX632" fmla="*/ 776666 w 4042856"/>
                <a:gd name="connsiteY632" fmla="*/ 842852 h 1366643"/>
                <a:gd name="connsiteX633" fmla="*/ 803302 w 4042856"/>
                <a:gd name="connsiteY633" fmla="*/ 842852 h 1366643"/>
                <a:gd name="connsiteX634" fmla="*/ 803302 w 4042856"/>
                <a:gd name="connsiteY634" fmla="*/ 854551 h 1366643"/>
                <a:gd name="connsiteX635" fmla="*/ 804864 w 4042856"/>
                <a:gd name="connsiteY635" fmla="*/ 859603 h 1366643"/>
                <a:gd name="connsiteX636" fmla="*/ 808571 w 4042856"/>
                <a:gd name="connsiteY636" fmla="*/ 861730 h 1366643"/>
                <a:gd name="connsiteX637" fmla="*/ 820475 w 4042856"/>
                <a:gd name="connsiteY637" fmla="*/ 861730 h 1366643"/>
                <a:gd name="connsiteX638" fmla="*/ 820475 w 4042856"/>
                <a:gd name="connsiteY638" fmla="*/ 873296 h 1366643"/>
                <a:gd name="connsiteX639" fmla="*/ 822036 w 4042856"/>
                <a:gd name="connsiteY639" fmla="*/ 878348 h 1366643"/>
                <a:gd name="connsiteX640" fmla="*/ 825744 w 4042856"/>
                <a:gd name="connsiteY640" fmla="*/ 880475 h 1366643"/>
                <a:gd name="connsiteX641" fmla="*/ 894044 w 4042856"/>
                <a:gd name="connsiteY641" fmla="*/ 880475 h 1366643"/>
                <a:gd name="connsiteX642" fmla="*/ 894044 w 4042856"/>
                <a:gd name="connsiteY642" fmla="*/ 892440 h 1366643"/>
                <a:gd name="connsiteX643" fmla="*/ 895605 w 4042856"/>
                <a:gd name="connsiteY643" fmla="*/ 897492 h 1366643"/>
                <a:gd name="connsiteX644" fmla="*/ 899312 w 4042856"/>
                <a:gd name="connsiteY644" fmla="*/ 899619 h 1366643"/>
                <a:gd name="connsiteX645" fmla="*/ 930828 w 4042856"/>
                <a:gd name="connsiteY645" fmla="*/ 899619 h 1366643"/>
                <a:gd name="connsiteX646" fmla="*/ 930828 w 4042856"/>
                <a:gd name="connsiteY646" fmla="*/ 911451 h 1366643"/>
                <a:gd name="connsiteX647" fmla="*/ 932389 w 4042856"/>
                <a:gd name="connsiteY647" fmla="*/ 916502 h 1366643"/>
                <a:gd name="connsiteX648" fmla="*/ 936097 w 4042856"/>
                <a:gd name="connsiteY648" fmla="*/ 918629 h 1366643"/>
                <a:gd name="connsiteX649" fmla="*/ 1026545 w 4042856"/>
                <a:gd name="connsiteY649" fmla="*/ 918629 h 1366643"/>
                <a:gd name="connsiteX650" fmla="*/ 1026545 w 4042856"/>
                <a:gd name="connsiteY650" fmla="*/ 930461 h 1366643"/>
                <a:gd name="connsiteX651" fmla="*/ 1028106 w 4042856"/>
                <a:gd name="connsiteY651" fmla="*/ 935513 h 1366643"/>
                <a:gd name="connsiteX652" fmla="*/ 1031814 w 4042856"/>
                <a:gd name="connsiteY652" fmla="*/ 937640 h 1366643"/>
                <a:gd name="connsiteX653" fmla="*/ 1085380 w 4042856"/>
                <a:gd name="connsiteY653" fmla="*/ 937640 h 1366643"/>
                <a:gd name="connsiteX654" fmla="*/ 1085380 w 4042856"/>
                <a:gd name="connsiteY654" fmla="*/ 949472 h 1366643"/>
                <a:gd name="connsiteX655" fmla="*/ 1086942 w 4042856"/>
                <a:gd name="connsiteY655" fmla="*/ 954524 h 1366643"/>
                <a:gd name="connsiteX656" fmla="*/ 1090649 w 4042856"/>
                <a:gd name="connsiteY656" fmla="*/ 956651 h 1366643"/>
                <a:gd name="connsiteX657" fmla="*/ 1141777 w 4042856"/>
                <a:gd name="connsiteY657" fmla="*/ 956651 h 1366643"/>
                <a:gd name="connsiteX658" fmla="*/ 1141777 w 4042856"/>
                <a:gd name="connsiteY658" fmla="*/ 968483 h 1366643"/>
                <a:gd name="connsiteX659" fmla="*/ 1143338 w 4042856"/>
                <a:gd name="connsiteY659" fmla="*/ 973534 h 1366643"/>
                <a:gd name="connsiteX660" fmla="*/ 1147045 w 4042856"/>
                <a:gd name="connsiteY660" fmla="*/ 975661 h 1366643"/>
                <a:gd name="connsiteX661" fmla="*/ 1205588 w 4042856"/>
                <a:gd name="connsiteY661" fmla="*/ 975661 h 1366643"/>
                <a:gd name="connsiteX662" fmla="*/ 1205588 w 4042856"/>
                <a:gd name="connsiteY662" fmla="*/ 987493 h 1366643"/>
                <a:gd name="connsiteX663" fmla="*/ 1207149 w 4042856"/>
                <a:gd name="connsiteY663" fmla="*/ 992545 h 1366643"/>
                <a:gd name="connsiteX664" fmla="*/ 1210857 w 4042856"/>
                <a:gd name="connsiteY664" fmla="*/ 994672 h 1366643"/>
                <a:gd name="connsiteX665" fmla="*/ 1303647 w 4042856"/>
                <a:gd name="connsiteY665" fmla="*/ 994672 h 1366643"/>
                <a:gd name="connsiteX666" fmla="*/ 1303647 w 4042856"/>
                <a:gd name="connsiteY666" fmla="*/ 1006504 h 1366643"/>
                <a:gd name="connsiteX667" fmla="*/ 1305208 w 4042856"/>
                <a:gd name="connsiteY667" fmla="*/ 1011556 h 1366643"/>
                <a:gd name="connsiteX668" fmla="*/ 1308916 w 4042856"/>
                <a:gd name="connsiteY668" fmla="*/ 1013683 h 1366643"/>
                <a:gd name="connsiteX669" fmla="*/ 1315941 w 4042856"/>
                <a:gd name="connsiteY669" fmla="*/ 1013683 h 1366643"/>
                <a:gd name="connsiteX670" fmla="*/ 1315941 w 4042856"/>
                <a:gd name="connsiteY670" fmla="*/ 1025515 h 1366643"/>
                <a:gd name="connsiteX671" fmla="*/ 1317502 w 4042856"/>
                <a:gd name="connsiteY671" fmla="*/ 1030567 h 1366643"/>
                <a:gd name="connsiteX672" fmla="*/ 1321210 w 4042856"/>
                <a:gd name="connsiteY672" fmla="*/ 1032694 h 1366643"/>
                <a:gd name="connsiteX673" fmla="*/ 1335650 w 4042856"/>
                <a:gd name="connsiteY673" fmla="*/ 1032694 h 1366643"/>
                <a:gd name="connsiteX674" fmla="*/ 1335650 w 4042856"/>
                <a:gd name="connsiteY674" fmla="*/ 1044525 h 1366643"/>
                <a:gd name="connsiteX675" fmla="*/ 1337211 w 4042856"/>
                <a:gd name="connsiteY675" fmla="*/ 1049577 h 1366643"/>
                <a:gd name="connsiteX676" fmla="*/ 1340919 w 4042856"/>
                <a:gd name="connsiteY676" fmla="*/ 1051704 h 1366643"/>
                <a:gd name="connsiteX677" fmla="*/ 1350383 w 4042856"/>
                <a:gd name="connsiteY677" fmla="*/ 1051704 h 1366643"/>
                <a:gd name="connsiteX678" fmla="*/ 1350383 w 4042856"/>
                <a:gd name="connsiteY678" fmla="*/ 1063536 h 1366643"/>
                <a:gd name="connsiteX679" fmla="*/ 1351945 w 4042856"/>
                <a:gd name="connsiteY679" fmla="*/ 1068588 h 1366643"/>
                <a:gd name="connsiteX680" fmla="*/ 1355652 w 4042856"/>
                <a:gd name="connsiteY680" fmla="*/ 1070715 h 1366643"/>
                <a:gd name="connsiteX681" fmla="*/ 1502399 w 4042856"/>
                <a:gd name="connsiteY681" fmla="*/ 1070715 h 1366643"/>
                <a:gd name="connsiteX682" fmla="*/ 1502399 w 4042856"/>
                <a:gd name="connsiteY682" fmla="*/ 1082813 h 1366643"/>
                <a:gd name="connsiteX683" fmla="*/ 1503960 w 4042856"/>
                <a:gd name="connsiteY683" fmla="*/ 1087865 h 1366643"/>
                <a:gd name="connsiteX684" fmla="*/ 1507668 w 4042856"/>
                <a:gd name="connsiteY684" fmla="*/ 1089992 h 1366643"/>
                <a:gd name="connsiteX685" fmla="*/ 1622607 w 4042856"/>
                <a:gd name="connsiteY685" fmla="*/ 1089992 h 1366643"/>
                <a:gd name="connsiteX686" fmla="*/ 1622607 w 4042856"/>
                <a:gd name="connsiteY686" fmla="*/ 1102222 h 1366643"/>
                <a:gd name="connsiteX687" fmla="*/ 1624168 w 4042856"/>
                <a:gd name="connsiteY687" fmla="*/ 1107274 h 1366643"/>
                <a:gd name="connsiteX688" fmla="*/ 1627876 w 4042856"/>
                <a:gd name="connsiteY688" fmla="*/ 1109401 h 1366643"/>
                <a:gd name="connsiteX689" fmla="*/ 1791795 w 4042856"/>
                <a:gd name="connsiteY689" fmla="*/ 1109401 h 1366643"/>
                <a:gd name="connsiteX690" fmla="*/ 1791795 w 4042856"/>
                <a:gd name="connsiteY690" fmla="*/ 1121499 h 1366643"/>
                <a:gd name="connsiteX691" fmla="*/ 1793356 w 4042856"/>
                <a:gd name="connsiteY691" fmla="*/ 1126551 h 1366643"/>
                <a:gd name="connsiteX692" fmla="*/ 1797064 w 4042856"/>
                <a:gd name="connsiteY692" fmla="*/ 1128678 h 1366643"/>
                <a:gd name="connsiteX693" fmla="*/ 2213497 w 4042856"/>
                <a:gd name="connsiteY693" fmla="*/ 1128678 h 1366643"/>
                <a:gd name="connsiteX694" fmla="*/ 2213497 w 4042856"/>
                <a:gd name="connsiteY694" fmla="*/ 1141174 h 1366643"/>
                <a:gd name="connsiteX695" fmla="*/ 2215058 w 4042856"/>
                <a:gd name="connsiteY695" fmla="*/ 1146226 h 1366643"/>
                <a:gd name="connsiteX696" fmla="*/ 2218766 w 4042856"/>
                <a:gd name="connsiteY696" fmla="*/ 1148353 h 1366643"/>
                <a:gd name="connsiteX697" fmla="*/ 2659982 w 4042856"/>
                <a:gd name="connsiteY697" fmla="*/ 1148353 h 1366643"/>
                <a:gd name="connsiteX698" fmla="*/ 2659982 w 4042856"/>
                <a:gd name="connsiteY698" fmla="*/ 1155000 h 1366643"/>
                <a:gd name="connsiteX699" fmla="*/ 2831512 w 4042856"/>
                <a:gd name="connsiteY699" fmla="*/ 1155000 h 1366643"/>
                <a:gd name="connsiteX700" fmla="*/ 2831512 w 4042856"/>
                <a:gd name="connsiteY700" fmla="*/ 1179462 h 1366643"/>
                <a:gd name="connsiteX701" fmla="*/ 3017482 w 4042856"/>
                <a:gd name="connsiteY701" fmla="*/ 1179462 h 1366643"/>
                <a:gd name="connsiteX702" fmla="*/ 3017482 w 4042856"/>
                <a:gd name="connsiteY702" fmla="*/ 1185444 h 1366643"/>
                <a:gd name="connsiteX703" fmla="*/ 3019044 w 4042856"/>
                <a:gd name="connsiteY703" fmla="*/ 1190496 h 1366643"/>
                <a:gd name="connsiteX704" fmla="*/ 3022751 w 4042856"/>
                <a:gd name="connsiteY704" fmla="*/ 1192623 h 1366643"/>
                <a:gd name="connsiteX705" fmla="*/ 3267850 w 4042856"/>
                <a:gd name="connsiteY705" fmla="*/ 1192623 h 1366643"/>
                <a:gd name="connsiteX706" fmla="*/ 3267850 w 4042856"/>
                <a:gd name="connsiteY706" fmla="*/ 1207778 h 1366643"/>
                <a:gd name="connsiteX707" fmla="*/ 3375666 w 4042856"/>
                <a:gd name="connsiteY707" fmla="*/ 1207778 h 1366643"/>
                <a:gd name="connsiteX708" fmla="*/ 3375666 w 4042856"/>
                <a:gd name="connsiteY708" fmla="*/ 1240083 h 1366643"/>
                <a:gd name="connsiteX709" fmla="*/ 4042857 w 4042856"/>
                <a:gd name="connsiteY709" fmla="*/ 1240083 h 1366643"/>
                <a:gd name="connsiteX710" fmla="*/ 4042857 w 4042856"/>
                <a:gd name="connsiteY710" fmla="*/ 1366644 h 1366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</a:cxnLst>
              <a:rect l="l" t="t" r="r" b="b"/>
              <a:pathLst>
                <a:path w="4042856" h="1366643">
                  <a:moveTo>
                    <a:pt x="24198" y="46131"/>
                  </a:moveTo>
                  <a:lnTo>
                    <a:pt x="0" y="46131"/>
                  </a:lnTo>
                  <a:lnTo>
                    <a:pt x="0" y="18213"/>
                  </a:lnTo>
                  <a:lnTo>
                    <a:pt x="24198" y="18213"/>
                  </a:lnTo>
                  <a:lnTo>
                    <a:pt x="24198" y="46131"/>
                  </a:lnTo>
                  <a:moveTo>
                    <a:pt x="2657250" y="1131071"/>
                  </a:moveTo>
                  <a:lnTo>
                    <a:pt x="2221205" y="1131071"/>
                  </a:lnTo>
                  <a:lnTo>
                    <a:pt x="2221205" y="1118574"/>
                  </a:lnTo>
                  <a:cubicBezTo>
                    <a:pt x="2221205" y="1116713"/>
                    <a:pt x="2220620" y="1114852"/>
                    <a:pt x="2219644" y="1113522"/>
                  </a:cubicBezTo>
                  <a:cubicBezTo>
                    <a:pt x="2218668" y="1112193"/>
                    <a:pt x="2217302" y="1111395"/>
                    <a:pt x="2215936" y="1111395"/>
                  </a:cubicBezTo>
                  <a:lnTo>
                    <a:pt x="1799503" y="1111395"/>
                  </a:lnTo>
                  <a:lnTo>
                    <a:pt x="1799503" y="1099298"/>
                  </a:lnTo>
                  <a:cubicBezTo>
                    <a:pt x="1799503" y="1097436"/>
                    <a:pt x="1798918" y="1095575"/>
                    <a:pt x="1797942" y="1094246"/>
                  </a:cubicBezTo>
                  <a:cubicBezTo>
                    <a:pt x="1796966" y="1092916"/>
                    <a:pt x="1795600" y="1092119"/>
                    <a:pt x="1794234" y="1092119"/>
                  </a:cubicBezTo>
                  <a:lnTo>
                    <a:pt x="1630315" y="1092119"/>
                  </a:lnTo>
                  <a:lnTo>
                    <a:pt x="1630315" y="1079888"/>
                  </a:lnTo>
                  <a:cubicBezTo>
                    <a:pt x="1630315" y="1078027"/>
                    <a:pt x="1629729" y="1076166"/>
                    <a:pt x="1628754" y="1074836"/>
                  </a:cubicBezTo>
                  <a:cubicBezTo>
                    <a:pt x="1627778" y="1073507"/>
                    <a:pt x="1626412" y="1072709"/>
                    <a:pt x="1625046" y="1072709"/>
                  </a:cubicBezTo>
                  <a:lnTo>
                    <a:pt x="1510107" y="1072709"/>
                  </a:lnTo>
                  <a:lnTo>
                    <a:pt x="1510107" y="1060611"/>
                  </a:lnTo>
                  <a:cubicBezTo>
                    <a:pt x="1510107" y="1058750"/>
                    <a:pt x="1509522" y="1056889"/>
                    <a:pt x="1508546" y="1055560"/>
                  </a:cubicBezTo>
                  <a:cubicBezTo>
                    <a:pt x="1507570" y="1054230"/>
                    <a:pt x="1506204" y="1053433"/>
                    <a:pt x="1504838" y="1053433"/>
                  </a:cubicBezTo>
                  <a:lnTo>
                    <a:pt x="1358092" y="1053433"/>
                  </a:lnTo>
                  <a:lnTo>
                    <a:pt x="1358092" y="1041601"/>
                  </a:lnTo>
                  <a:cubicBezTo>
                    <a:pt x="1358092" y="1039740"/>
                    <a:pt x="1357506" y="1037878"/>
                    <a:pt x="1356530" y="1036549"/>
                  </a:cubicBezTo>
                  <a:cubicBezTo>
                    <a:pt x="1355555" y="1035220"/>
                    <a:pt x="1354189" y="1034422"/>
                    <a:pt x="1352823" y="1034422"/>
                  </a:cubicBezTo>
                  <a:lnTo>
                    <a:pt x="1343358" y="1034422"/>
                  </a:lnTo>
                  <a:lnTo>
                    <a:pt x="1343358" y="1022590"/>
                  </a:lnTo>
                  <a:cubicBezTo>
                    <a:pt x="1343358" y="1020729"/>
                    <a:pt x="1342773" y="1018868"/>
                    <a:pt x="1341797" y="1017538"/>
                  </a:cubicBezTo>
                  <a:cubicBezTo>
                    <a:pt x="1340821" y="1016209"/>
                    <a:pt x="1339456" y="1015411"/>
                    <a:pt x="1338090" y="1015411"/>
                  </a:cubicBezTo>
                  <a:lnTo>
                    <a:pt x="1323649" y="1015411"/>
                  </a:lnTo>
                  <a:lnTo>
                    <a:pt x="1323649" y="1003579"/>
                  </a:lnTo>
                  <a:cubicBezTo>
                    <a:pt x="1323649" y="1001718"/>
                    <a:pt x="1323063" y="999857"/>
                    <a:pt x="1322088" y="998528"/>
                  </a:cubicBezTo>
                  <a:cubicBezTo>
                    <a:pt x="1321112" y="997198"/>
                    <a:pt x="1319746" y="996400"/>
                    <a:pt x="1318380" y="996400"/>
                  </a:cubicBezTo>
                  <a:lnTo>
                    <a:pt x="1311355" y="996400"/>
                  </a:lnTo>
                  <a:lnTo>
                    <a:pt x="1311355" y="984569"/>
                  </a:lnTo>
                  <a:cubicBezTo>
                    <a:pt x="1311355" y="982707"/>
                    <a:pt x="1310770" y="980846"/>
                    <a:pt x="1309794" y="979517"/>
                  </a:cubicBezTo>
                  <a:cubicBezTo>
                    <a:pt x="1308818" y="978187"/>
                    <a:pt x="1307452" y="977390"/>
                    <a:pt x="1306086" y="977390"/>
                  </a:cubicBezTo>
                  <a:lnTo>
                    <a:pt x="1213296" y="977390"/>
                  </a:lnTo>
                  <a:lnTo>
                    <a:pt x="1213296" y="965558"/>
                  </a:lnTo>
                  <a:cubicBezTo>
                    <a:pt x="1213296" y="963697"/>
                    <a:pt x="1212711" y="961836"/>
                    <a:pt x="1211735" y="960506"/>
                  </a:cubicBezTo>
                  <a:cubicBezTo>
                    <a:pt x="1210759" y="959177"/>
                    <a:pt x="1209393" y="958379"/>
                    <a:pt x="1208027" y="958379"/>
                  </a:cubicBezTo>
                  <a:lnTo>
                    <a:pt x="1149485" y="958379"/>
                  </a:lnTo>
                  <a:lnTo>
                    <a:pt x="1149485" y="946547"/>
                  </a:lnTo>
                  <a:cubicBezTo>
                    <a:pt x="1149485" y="944686"/>
                    <a:pt x="1148899" y="942825"/>
                    <a:pt x="1147923" y="941495"/>
                  </a:cubicBezTo>
                  <a:cubicBezTo>
                    <a:pt x="1146948" y="940166"/>
                    <a:pt x="1145582" y="939368"/>
                    <a:pt x="1144216" y="939368"/>
                  </a:cubicBezTo>
                  <a:lnTo>
                    <a:pt x="1093089" y="939368"/>
                  </a:lnTo>
                  <a:lnTo>
                    <a:pt x="1093089" y="927537"/>
                  </a:lnTo>
                  <a:cubicBezTo>
                    <a:pt x="1093089" y="925675"/>
                    <a:pt x="1092503" y="923814"/>
                    <a:pt x="1091527" y="922485"/>
                  </a:cubicBezTo>
                  <a:cubicBezTo>
                    <a:pt x="1090552" y="921155"/>
                    <a:pt x="1089186" y="920358"/>
                    <a:pt x="1087820" y="920358"/>
                  </a:cubicBezTo>
                  <a:lnTo>
                    <a:pt x="1034253" y="920358"/>
                  </a:lnTo>
                  <a:lnTo>
                    <a:pt x="1034253" y="908526"/>
                  </a:lnTo>
                  <a:cubicBezTo>
                    <a:pt x="1034253" y="906665"/>
                    <a:pt x="1033668" y="904803"/>
                    <a:pt x="1032692" y="903474"/>
                  </a:cubicBezTo>
                  <a:cubicBezTo>
                    <a:pt x="1031716" y="902145"/>
                    <a:pt x="1030350" y="901347"/>
                    <a:pt x="1028984" y="901347"/>
                  </a:cubicBezTo>
                  <a:lnTo>
                    <a:pt x="938536" y="901347"/>
                  </a:lnTo>
                  <a:lnTo>
                    <a:pt x="938536" y="889515"/>
                  </a:lnTo>
                  <a:cubicBezTo>
                    <a:pt x="938536" y="887654"/>
                    <a:pt x="937951" y="885793"/>
                    <a:pt x="936975" y="884463"/>
                  </a:cubicBezTo>
                  <a:cubicBezTo>
                    <a:pt x="935999" y="883134"/>
                    <a:pt x="934633" y="882336"/>
                    <a:pt x="933267" y="882336"/>
                  </a:cubicBezTo>
                  <a:lnTo>
                    <a:pt x="901752" y="882336"/>
                  </a:lnTo>
                  <a:lnTo>
                    <a:pt x="901752" y="870504"/>
                  </a:lnTo>
                  <a:cubicBezTo>
                    <a:pt x="901752" y="868643"/>
                    <a:pt x="901166" y="866782"/>
                    <a:pt x="900191" y="865453"/>
                  </a:cubicBezTo>
                  <a:cubicBezTo>
                    <a:pt x="899215" y="864123"/>
                    <a:pt x="897849" y="863326"/>
                    <a:pt x="896483" y="863326"/>
                  </a:cubicBezTo>
                  <a:lnTo>
                    <a:pt x="828183" y="863326"/>
                  </a:lnTo>
                  <a:lnTo>
                    <a:pt x="828183" y="851760"/>
                  </a:lnTo>
                  <a:cubicBezTo>
                    <a:pt x="828183" y="849898"/>
                    <a:pt x="827598" y="848037"/>
                    <a:pt x="826622" y="846708"/>
                  </a:cubicBezTo>
                  <a:cubicBezTo>
                    <a:pt x="825646" y="845378"/>
                    <a:pt x="824280" y="844581"/>
                    <a:pt x="822914" y="844581"/>
                  </a:cubicBezTo>
                  <a:lnTo>
                    <a:pt x="810913" y="844581"/>
                  </a:lnTo>
                  <a:lnTo>
                    <a:pt x="810913" y="833015"/>
                  </a:lnTo>
                  <a:cubicBezTo>
                    <a:pt x="810913" y="831154"/>
                    <a:pt x="810328" y="829292"/>
                    <a:pt x="809352" y="827963"/>
                  </a:cubicBezTo>
                  <a:cubicBezTo>
                    <a:pt x="808376" y="826634"/>
                    <a:pt x="807010" y="825836"/>
                    <a:pt x="805644" y="825836"/>
                  </a:cubicBezTo>
                  <a:lnTo>
                    <a:pt x="779007" y="825836"/>
                  </a:lnTo>
                  <a:lnTo>
                    <a:pt x="779007" y="814536"/>
                  </a:lnTo>
                  <a:cubicBezTo>
                    <a:pt x="779007" y="812675"/>
                    <a:pt x="778422" y="810813"/>
                    <a:pt x="777446" y="809484"/>
                  </a:cubicBezTo>
                  <a:cubicBezTo>
                    <a:pt x="777153" y="809085"/>
                    <a:pt x="776861" y="808819"/>
                    <a:pt x="776470" y="808553"/>
                  </a:cubicBezTo>
                  <a:lnTo>
                    <a:pt x="776470" y="796057"/>
                  </a:lnTo>
                  <a:cubicBezTo>
                    <a:pt x="776470" y="794196"/>
                    <a:pt x="775885" y="792334"/>
                    <a:pt x="774909" y="791005"/>
                  </a:cubicBezTo>
                  <a:cubicBezTo>
                    <a:pt x="773934" y="789676"/>
                    <a:pt x="772568" y="788878"/>
                    <a:pt x="771202" y="788878"/>
                  </a:cubicBezTo>
                  <a:lnTo>
                    <a:pt x="729832" y="788878"/>
                  </a:lnTo>
                  <a:lnTo>
                    <a:pt x="729832" y="777578"/>
                  </a:lnTo>
                  <a:cubicBezTo>
                    <a:pt x="729832" y="775717"/>
                    <a:pt x="729246" y="773856"/>
                    <a:pt x="728270" y="772526"/>
                  </a:cubicBezTo>
                  <a:cubicBezTo>
                    <a:pt x="727295" y="771197"/>
                    <a:pt x="725929" y="770399"/>
                    <a:pt x="724563" y="770399"/>
                  </a:cubicBezTo>
                  <a:lnTo>
                    <a:pt x="712659" y="770399"/>
                  </a:lnTo>
                  <a:lnTo>
                    <a:pt x="712659" y="759099"/>
                  </a:lnTo>
                  <a:cubicBezTo>
                    <a:pt x="712659" y="757238"/>
                    <a:pt x="712074" y="755377"/>
                    <a:pt x="711098" y="754047"/>
                  </a:cubicBezTo>
                  <a:cubicBezTo>
                    <a:pt x="710122" y="752718"/>
                    <a:pt x="708756" y="751920"/>
                    <a:pt x="707390" y="751920"/>
                  </a:cubicBezTo>
                  <a:lnTo>
                    <a:pt x="702804" y="751920"/>
                  </a:lnTo>
                  <a:lnTo>
                    <a:pt x="702804" y="740620"/>
                  </a:lnTo>
                  <a:cubicBezTo>
                    <a:pt x="702804" y="738759"/>
                    <a:pt x="702219" y="736898"/>
                    <a:pt x="701243" y="735568"/>
                  </a:cubicBezTo>
                  <a:cubicBezTo>
                    <a:pt x="700267" y="734239"/>
                    <a:pt x="698901" y="733441"/>
                    <a:pt x="697536" y="733441"/>
                  </a:cubicBezTo>
                  <a:lnTo>
                    <a:pt x="638993" y="733441"/>
                  </a:lnTo>
                  <a:lnTo>
                    <a:pt x="638993" y="685183"/>
                  </a:lnTo>
                  <a:cubicBezTo>
                    <a:pt x="638993" y="683322"/>
                    <a:pt x="638407" y="681461"/>
                    <a:pt x="637432" y="680131"/>
                  </a:cubicBezTo>
                  <a:cubicBezTo>
                    <a:pt x="637139" y="679733"/>
                    <a:pt x="636846" y="679467"/>
                    <a:pt x="636456" y="679068"/>
                  </a:cubicBezTo>
                  <a:lnTo>
                    <a:pt x="636456" y="666704"/>
                  </a:lnTo>
                  <a:cubicBezTo>
                    <a:pt x="636456" y="664843"/>
                    <a:pt x="635871" y="662982"/>
                    <a:pt x="634895" y="661652"/>
                  </a:cubicBezTo>
                  <a:cubicBezTo>
                    <a:pt x="633919" y="660323"/>
                    <a:pt x="632553" y="659525"/>
                    <a:pt x="631187" y="659525"/>
                  </a:cubicBezTo>
                  <a:lnTo>
                    <a:pt x="584939" y="659525"/>
                  </a:lnTo>
                  <a:lnTo>
                    <a:pt x="584939" y="648225"/>
                  </a:lnTo>
                  <a:cubicBezTo>
                    <a:pt x="584939" y="646364"/>
                    <a:pt x="584353" y="644503"/>
                    <a:pt x="583377" y="643174"/>
                  </a:cubicBezTo>
                  <a:cubicBezTo>
                    <a:pt x="582402" y="641844"/>
                    <a:pt x="581036" y="641046"/>
                    <a:pt x="579670" y="641046"/>
                  </a:cubicBezTo>
                  <a:lnTo>
                    <a:pt x="565229" y="641046"/>
                  </a:lnTo>
                  <a:lnTo>
                    <a:pt x="565229" y="629746"/>
                  </a:lnTo>
                  <a:cubicBezTo>
                    <a:pt x="565229" y="627885"/>
                    <a:pt x="564644" y="626024"/>
                    <a:pt x="563668" y="624695"/>
                  </a:cubicBezTo>
                  <a:cubicBezTo>
                    <a:pt x="562692" y="623365"/>
                    <a:pt x="561326" y="622567"/>
                    <a:pt x="559960" y="622567"/>
                  </a:cubicBezTo>
                  <a:lnTo>
                    <a:pt x="543178" y="622567"/>
                  </a:lnTo>
                  <a:lnTo>
                    <a:pt x="543178" y="611267"/>
                  </a:lnTo>
                  <a:cubicBezTo>
                    <a:pt x="543178" y="609406"/>
                    <a:pt x="542593" y="607545"/>
                    <a:pt x="541617" y="606216"/>
                  </a:cubicBezTo>
                  <a:cubicBezTo>
                    <a:pt x="540641" y="604886"/>
                    <a:pt x="539275" y="604089"/>
                    <a:pt x="537909" y="604089"/>
                  </a:cubicBezTo>
                  <a:lnTo>
                    <a:pt x="533323" y="604089"/>
                  </a:lnTo>
                  <a:lnTo>
                    <a:pt x="533323" y="592656"/>
                  </a:lnTo>
                  <a:cubicBezTo>
                    <a:pt x="533323" y="590794"/>
                    <a:pt x="532738" y="588933"/>
                    <a:pt x="531762" y="587604"/>
                  </a:cubicBezTo>
                  <a:cubicBezTo>
                    <a:pt x="531470" y="587205"/>
                    <a:pt x="531177" y="586939"/>
                    <a:pt x="530787" y="586673"/>
                  </a:cubicBezTo>
                  <a:lnTo>
                    <a:pt x="530787" y="574310"/>
                  </a:lnTo>
                  <a:cubicBezTo>
                    <a:pt x="530787" y="572448"/>
                    <a:pt x="530201" y="570587"/>
                    <a:pt x="529225" y="569258"/>
                  </a:cubicBezTo>
                  <a:cubicBezTo>
                    <a:pt x="528933" y="568859"/>
                    <a:pt x="528640" y="568593"/>
                    <a:pt x="528347" y="568327"/>
                  </a:cubicBezTo>
                  <a:lnTo>
                    <a:pt x="528347" y="555964"/>
                  </a:lnTo>
                  <a:cubicBezTo>
                    <a:pt x="528347" y="554102"/>
                    <a:pt x="527762" y="552241"/>
                    <a:pt x="526786" y="550912"/>
                  </a:cubicBezTo>
                  <a:cubicBezTo>
                    <a:pt x="525810" y="549582"/>
                    <a:pt x="524444" y="548785"/>
                    <a:pt x="523078" y="548785"/>
                  </a:cubicBezTo>
                  <a:lnTo>
                    <a:pt x="498881" y="548785"/>
                  </a:lnTo>
                  <a:lnTo>
                    <a:pt x="498881" y="537485"/>
                  </a:lnTo>
                  <a:cubicBezTo>
                    <a:pt x="498881" y="535623"/>
                    <a:pt x="498295" y="533762"/>
                    <a:pt x="497320" y="532433"/>
                  </a:cubicBezTo>
                  <a:cubicBezTo>
                    <a:pt x="496344" y="531103"/>
                    <a:pt x="494978" y="530306"/>
                    <a:pt x="493612" y="530306"/>
                  </a:cubicBezTo>
                  <a:lnTo>
                    <a:pt x="489124" y="530306"/>
                  </a:lnTo>
                  <a:lnTo>
                    <a:pt x="489124" y="519006"/>
                  </a:lnTo>
                  <a:cubicBezTo>
                    <a:pt x="489124" y="517144"/>
                    <a:pt x="488538" y="515283"/>
                    <a:pt x="487563" y="513954"/>
                  </a:cubicBezTo>
                  <a:cubicBezTo>
                    <a:pt x="486587" y="512624"/>
                    <a:pt x="485221" y="511827"/>
                    <a:pt x="483855" y="511827"/>
                  </a:cubicBezTo>
                  <a:lnTo>
                    <a:pt x="481708" y="511827"/>
                  </a:lnTo>
                  <a:lnTo>
                    <a:pt x="481708" y="500660"/>
                  </a:lnTo>
                  <a:cubicBezTo>
                    <a:pt x="481708" y="498798"/>
                    <a:pt x="481123" y="496937"/>
                    <a:pt x="480147" y="495608"/>
                  </a:cubicBezTo>
                  <a:cubicBezTo>
                    <a:pt x="479171" y="494278"/>
                    <a:pt x="477805" y="493481"/>
                    <a:pt x="476439" y="493481"/>
                  </a:cubicBezTo>
                  <a:lnTo>
                    <a:pt x="454681" y="493481"/>
                  </a:lnTo>
                  <a:lnTo>
                    <a:pt x="454681" y="482314"/>
                  </a:lnTo>
                  <a:cubicBezTo>
                    <a:pt x="454681" y="480452"/>
                    <a:pt x="454096" y="478591"/>
                    <a:pt x="453120" y="477262"/>
                  </a:cubicBezTo>
                  <a:cubicBezTo>
                    <a:pt x="452827" y="476863"/>
                    <a:pt x="452535" y="476597"/>
                    <a:pt x="452242" y="476331"/>
                  </a:cubicBezTo>
                  <a:lnTo>
                    <a:pt x="452242" y="464101"/>
                  </a:lnTo>
                  <a:cubicBezTo>
                    <a:pt x="452242" y="462239"/>
                    <a:pt x="451656" y="460378"/>
                    <a:pt x="450681" y="459049"/>
                  </a:cubicBezTo>
                  <a:cubicBezTo>
                    <a:pt x="449705" y="457719"/>
                    <a:pt x="448339" y="456922"/>
                    <a:pt x="446973" y="456922"/>
                  </a:cubicBezTo>
                  <a:lnTo>
                    <a:pt x="420336" y="456922"/>
                  </a:lnTo>
                  <a:lnTo>
                    <a:pt x="420336" y="445755"/>
                  </a:lnTo>
                  <a:cubicBezTo>
                    <a:pt x="420336" y="443893"/>
                    <a:pt x="419751" y="442032"/>
                    <a:pt x="418775" y="440703"/>
                  </a:cubicBezTo>
                  <a:cubicBezTo>
                    <a:pt x="417897" y="439506"/>
                    <a:pt x="416628" y="438709"/>
                    <a:pt x="415360" y="438709"/>
                  </a:cubicBezTo>
                  <a:lnTo>
                    <a:pt x="415360" y="427542"/>
                  </a:lnTo>
                  <a:cubicBezTo>
                    <a:pt x="415360" y="425680"/>
                    <a:pt x="414775" y="423819"/>
                    <a:pt x="413799" y="422490"/>
                  </a:cubicBezTo>
                  <a:cubicBezTo>
                    <a:pt x="413506" y="422091"/>
                    <a:pt x="413213" y="421825"/>
                    <a:pt x="412921" y="421559"/>
                  </a:cubicBezTo>
                  <a:lnTo>
                    <a:pt x="412921" y="409328"/>
                  </a:lnTo>
                  <a:cubicBezTo>
                    <a:pt x="412921" y="407467"/>
                    <a:pt x="412335" y="405606"/>
                    <a:pt x="411360" y="404277"/>
                  </a:cubicBezTo>
                  <a:cubicBezTo>
                    <a:pt x="410384" y="402947"/>
                    <a:pt x="409018" y="402150"/>
                    <a:pt x="407652" y="402150"/>
                  </a:cubicBezTo>
                  <a:lnTo>
                    <a:pt x="398187" y="402150"/>
                  </a:lnTo>
                  <a:lnTo>
                    <a:pt x="398187" y="390982"/>
                  </a:lnTo>
                  <a:cubicBezTo>
                    <a:pt x="398187" y="389121"/>
                    <a:pt x="397602" y="387260"/>
                    <a:pt x="396626" y="385931"/>
                  </a:cubicBezTo>
                  <a:cubicBezTo>
                    <a:pt x="396334" y="385532"/>
                    <a:pt x="396041" y="385266"/>
                    <a:pt x="395748" y="385000"/>
                  </a:cubicBezTo>
                  <a:lnTo>
                    <a:pt x="395748" y="372769"/>
                  </a:lnTo>
                  <a:cubicBezTo>
                    <a:pt x="395748" y="370908"/>
                    <a:pt x="395163" y="369047"/>
                    <a:pt x="394187" y="367718"/>
                  </a:cubicBezTo>
                  <a:cubicBezTo>
                    <a:pt x="393309" y="366521"/>
                    <a:pt x="392041" y="365724"/>
                    <a:pt x="390772" y="365591"/>
                  </a:cubicBezTo>
                  <a:lnTo>
                    <a:pt x="390772" y="354423"/>
                  </a:lnTo>
                  <a:cubicBezTo>
                    <a:pt x="390772" y="352562"/>
                    <a:pt x="390187" y="350701"/>
                    <a:pt x="389211" y="349372"/>
                  </a:cubicBezTo>
                  <a:cubicBezTo>
                    <a:pt x="388235" y="348042"/>
                    <a:pt x="386869" y="347245"/>
                    <a:pt x="385503" y="347245"/>
                  </a:cubicBezTo>
                  <a:lnTo>
                    <a:pt x="344133" y="347245"/>
                  </a:lnTo>
                  <a:lnTo>
                    <a:pt x="344133" y="336077"/>
                  </a:lnTo>
                  <a:cubicBezTo>
                    <a:pt x="344133" y="334216"/>
                    <a:pt x="343548" y="332355"/>
                    <a:pt x="342572" y="331026"/>
                  </a:cubicBezTo>
                  <a:cubicBezTo>
                    <a:pt x="342279" y="330627"/>
                    <a:pt x="341987" y="330361"/>
                    <a:pt x="341596" y="329962"/>
                  </a:cubicBezTo>
                  <a:lnTo>
                    <a:pt x="341596" y="317731"/>
                  </a:lnTo>
                  <a:cubicBezTo>
                    <a:pt x="341596" y="315870"/>
                    <a:pt x="341011" y="314009"/>
                    <a:pt x="340035" y="312680"/>
                  </a:cubicBezTo>
                  <a:cubicBezTo>
                    <a:pt x="339157" y="311483"/>
                    <a:pt x="337889" y="310686"/>
                    <a:pt x="336620" y="310553"/>
                  </a:cubicBezTo>
                  <a:lnTo>
                    <a:pt x="336620" y="299385"/>
                  </a:lnTo>
                  <a:cubicBezTo>
                    <a:pt x="336620" y="297524"/>
                    <a:pt x="336035" y="295663"/>
                    <a:pt x="335059" y="294334"/>
                  </a:cubicBezTo>
                  <a:cubicBezTo>
                    <a:pt x="334083" y="293004"/>
                    <a:pt x="332717" y="292207"/>
                    <a:pt x="331351" y="292207"/>
                  </a:cubicBezTo>
                  <a:lnTo>
                    <a:pt x="312130" y="292207"/>
                  </a:lnTo>
                  <a:lnTo>
                    <a:pt x="312130" y="281039"/>
                  </a:lnTo>
                  <a:cubicBezTo>
                    <a:pt x="312130" y="279178"/>
                    <a:pt x="311544" y="277317"/>
                    <a:pt x="310569" y="275988"/>
                  </a:cubicBezTo>
                  <a:cubicBezTo>
                    <a:pt x="309593" y="274658"/>
                    <a:pt x="308227" y="273861"/>
                    <a:pt x="306861" y="273861"/>
                  </a:cubicBezTo>
                  <a:lnTo>
                    <a:pt x="302275" y="273861"/>
                  </a:lnTo>
                  <a:lnTo>
                    <a:pt x="302275" y="262693"/>
                  </a:lnTo>
                  <a:cubicBezTo>
                    <a:pt x="302275" y="260832"/>
                    <a:pt x="301690" y="258971"/>
                    <a:pt x="300714" y="257642"/>
                  </a:cubicBezTo>
                  <a:cubicBezTo>
                    <a:pt x="299738" y="256312"/>
                    <a:pt x="298372" y="255515"/>
                    <a:pt x="297006" y="255515"/>
                  </a:cubicBezTo>
                  <a:lnTo>
                    <a:pt x="267833" y="255515"/>
                  </a:lnTo>
                  <a:lnTo>
                    <a:pt x="267833" y="244480"/>
                  </a:lnTo>
                  <a:cubicBezTo>
                    <a:pt x="267833" y="242619"/>
                    <a:pt x="267247" y="240758"/>
                    <a:pt x="266271" y="239429"/>
                  </a:cubicBezTo>
                  <a:cubicBezTo>
                    <a:pt x="265393" y="238232"/>
                    <a:pt x="264125" y="237434"/>
                    <a:pt x="262856" y="237302"/>
                  </a:cubicBezTo>
                  <a:lnTo>
                    <a:pt x="262856" y="226400"/>
                  </a:lnTo>
                  <a:cubicBezTo>
                    <a:pt x="262856" y="224539"/>
                    <a:pt x="262271" y="222678"/>
                    <a:pt x="261295" y="221348"/>
                  </a:cubicBezTo>
                  <a:cubicBezTo>
                    <a:pt x="260320" y="220019"/>
                    <a:pt x="258954" y="219221"/>
                    <a:pt x="257588" y="219221"/>
                  </a:cubicBezTo>
                  <a:lnTo>
                    <a:pt x="235829" y="219221"/>
                  </a:lnTo>
                  <a:lnTo>
                    <a:pt x="235829" y="208187"/>
                  </a:lnTo>
                  <a:cubicBezTo>
                    <a:pt x="235829" y="206326"/>
                    <a:pt x="235244" y="204465"/>
                    <a:pt x="234268" y="203135"/>
                  </a:cubicBezTo>
                  <a:cubicBezTo>
                    <a:pt x="233292" y="201806"/>
                    <a:pt x="231926" y="201008"/>
                    <a:pt x="230560" y="201008"/>
                  </a:cubicBezTo>
                  <a:lnTo>
                    <a:pt x="225975" y="201008"/>
                  </a:lnTo>
                  <a:lnTo>
                    <a:pt x="225975" y="190107"/>
                  </a:lnTo>
                  <a:cubicBezTo>
                    <a:pt x="225975" y="188246"/>
                    <a:pt x="225389" y="186385"/>
                    <a:pt x="224413" y="185055"/>
                  </a:cubicBezTo>
                  <a:cubicBezTo>
                    <a:pt x="223438" y="183726"/>
                    <a:pt x="222072" y="182928"/>
                    <a:pt x="220706" y="182928"/>
                  </a:cubicBezTo>
                  <a:lnTo>
                    <a:pt x="206363" y="182928"/>
                  </a:lnTo>
                  <a:lnTo>
                    <a:pt x="206363" y="172027"/>
                  </a:lnTo>
                  <a:cubicBezTo>
                    <a:pt x="206363" y="170166"/>
                    <a:pt x="205777" y="168305"/>
                    <a:pt x="204802" y="166975"/>
                  </a:cubicBezTo>
                  <a:cubicBezTo>
                    <a:pt x="203826" y="165646"/>
                    <a:pt x="202460" y="164848"/>
                    <a:pt x="201094" y="164848"/>
                  </a:cubicBezTo>
                  <a:lnTo>
                    <a:pt x="181872" y="164848"/>
                  </a:lnTo>
                  <a:lnTo>
                    <a:pt x="181872" y="153814"/>
                  </a:lnTo>
                  <a:cubicBezTo>
                    <a:pt x="181872" y="151953"/>
                    <a:pt x="181287" y="150092"/>
                    <a:pt x="180311" y="148762"/>
                  </a:cubicBezTo>
                  <a:cubicBezTo>
                    <a:pt x="179336" y="147433"/>
                    <a:pt x="177970" y="146635"/>
                    <a:pt x="176604" y="146635"/>
                  </a:cubicBezTo>
                  <a:lnTo>
                    <a:pt x="159724" y="146635"/>
                  </a:lnTo>
                  <a:lnTo>
                    <a:pt x="159724" y="135734"/>
                  </a:lnTo>
                  <a:cubicBezTo>
                    <a:pt x="159724" y="133873"/>
                    <a:pt x="159138" y="132011"/>
                    <a:pt x="158163" y="130682"/>
                  </a:cubicBezTo>
                  <a:cubicBezTo>
                    <a:pt x="157187" y="129353"/>
                    <a:pt x="155821" y="128555"/>
                    <a:pt x="154455" y="128555"/>
                  </a:cubicBezTo>
                  <a:lnTo>
                    <a:pt x="147430" y="128555"/>
                  </a:lnTo>
                  <a:lnTo>
                    <a:pt x="147430" y="117521"/>
                  </a:lnTo>
                  <a:cubicBezTo>
                    <a:pt x="147430" y="115660"/>
                    <a:pt x="146844" y="113798"/>
                    <a:pt x="145869" y="112469"/>
                  </a:cubicBezTo>
                  <a:cubicBezTo>
                    <a:pt x="144893" y="111140"/>
                    <a:pt x="143527" y="110342"/>
                    <a:pt x="142161" y="110342"/>
                  </a:cubicBezTo>
                  <a:lnTo>
                    <a:pt x="127818" y="110342"/>
                  </a:lnTo>
                  <a:lnTo>
                    <a:pt x="127818" y="99441"/>
                  </a:lnTo>
                  <a:cubicBezTo>
                    <a:pt x="127818" y="97579"/>
                    <a:pt x="127233" y="95718"/>
                    <a:pt x="126257" y="94389"/>
                  </a:cubicBezTo>
                  <a:cubicBezTo>
                    <a:pt x="125281" y="93059"/>
                    <a:pt x="123915" y="92262"/>
                    <a:pt x="122549" y="92262"/>
                  </a:cubicBezTo>
                  <a:lnTo>
                    <a:pt x="108109" y="92262"/>
                  </a:lnTo>
                  <a:lnTo>
                    <a:pt x="108109" y="81228"/>
                  </a:lnTo>
                  <a:cubicBezTo>
                    <a:pt x="108109" y="79366"/>
                    <a:pt x="107523" y="77505"/>
                    <a:pt x="106548" y="76176"/>
                  </a:cubicBezTo>
                  <a:cubicBezTo>
                    <a:pt x="105572" y="74846"/>
                    <a:pt x="104206" y="74049"/>
                    <a:pt x="102840" y="74049"/>
                  </a:cubicBezTo>
                  <a:lnTo>
                    <a:pt x="56591" y="74049"/>
                  </a:lnTo>
                  <a:lnTo>
                    <a:pt x="56591" y="63147"/>
                  </a:lnTo>
                  <a:cubicBezTo>
                    <a:pt x="56591" y="61286"/>
                    <a:pt x="56006" y="59425"/>
                    <a:pt x="55030" y="58096"/>
                  </a:cubicBezTo>
                  <a:cubicBezTo>
                    <a:pt x="54737" y="57697"/>
                    <a:pt x="54445" y="57431"/>
                    <a:pt x="54152" y="57032"/>
                  </a:cubicBezTo>
                  <a:lnTo>
                    <a:pt x="54152" y="44934"/>
                  </a:lnTo>
                  <a:cubicBezTo>
                    <a:pt x="54152" y="43073"/>
                    <a:pt x="53567" y="41212"/>
                    <a:pt x="52591" y="39883"/>
                  </a:cubicBezTo>
                  <a:cubicBezTo>
                    <a:pt x="51615" y="38553"/>
                    <a:pt x="50249" y="37756"/>
                    <a:pt x="48883" y="37756"/>
                  </a:cubicBezTo>
                  <a:lnTo>
                    <a:pt x="32003" y="37756"/>
                  </a:lnTo>
                  <a:lnTo>
                    <a:pt x="32003" y="11034"/>
                  </a:lnTo>
                  <a:cubicBezTo>
                    <a:pt x="32003" y="9173"/>
                    <a:pt x="31418" y="7312"/>
                    <a:pt x="30442" y="5982"/>
                  </a:cubicBezTo>
                  <a:cubicBezTo>
                    <a:pt x="29466" y="4653"/>
                    <a:pt x="28100" y="3855"/>
                    <a:pt x="26734" y="3855"/>
                  </a:cubicBezTo>
                  <a:lnTo>
                    <a:pt x="2537" y="3855"/>
                  </a:lnTo>
                  <a:lnTo>
                    <a:pt x="2537" y="0"/>
                  </a:lnTo>
                  <a:lnTo>
                    <a:pt x="51225" y="0"/>
                  </a:lnTo>
                  <a:lnTo>
                    <a:pt x="51225" y="4254"/>
                  </a:lnTo>
                  <a:lnTo>
                    <a:pt x="102742" y="4254"/>
                  </a:lnTo>
                  <a:lnTo>
                    <a:pt x="102742" y="14890"/>
                  </a:lnTo>
                  <a:lnTo>
                    <a:pt x="122354" y="14890"/>
                  </a:lnTo>
                  <a:lnTo>
                    <a:pt x="122354" y="26323"/>
                  </a:lnTo>
                  <a:lnTo>
                    <a:pt x="141966" y="26323"/>
                  </a:lnTo>
                  <a:lnTo>
                    <a:pt x="141966" y="38287"/>
                  </a:lnTo>
                  <a:lnTo>
                    <a:pt x="154260" y="38287"/>
                  </a:lnTo>
                  <a:lnTo>
                    <a:pt x="154260" y="50651"/>
                  </a:lnTo>
                  <a:lnTo>
                    <a:pt x="164115" y="50651"/>
                  </a:lnTo>
                  <a:lnTo>
                    <a:pt x="164115" y="51714"/>
                  </a:lnTo>
                  <a:lnTo>
                    <a:pt x="176408" y="51714"/>
                  </a:lnTo>
                  <a:lnTo>
                    <a:pt x="176408" y="63413"/>
                  </a:lnTo>
                  <a:lnTo>
                    <a:pt x="200899" y="63413"/>
                  </a:lnTo>
                  <a:lnTo>
                    <a:pt x="200899" y="76442"/>
                  </a:lnTo>
                  <a:lnTo>
                    <a:pt x="220511" y="76442"/>
                  </a:lnTo>
                  <a:lnTo>
                    <a:pt x="220511" y="89869"/>
                  </a:lnTo>
                  <a:lnTo>
                    <a:pt x="230365" y="89869"/>
                  </a:lnTo>
                  <a:lnTo>
                    <a:pt x="230365" y="103429"/>
                  </a:lnTo>
                  <a:lnTo>
                    <a:pt x="257295" y="103429"/>
                  </a:lnTo>
                  <a:lnTo>
                    <a:pt x="257295" y="117255"/>
                  </a:lnTo>
                  <a:lnTo>
                    <a:pt x="262173" y="117255"/>
                  </a:lnTo>
                  <a:lnTo>
                    <a:pt x="262173" y="131347"/>
                  </a:lnTo>
                  <a:lnTo>
                    <a:pt x="296518" y="131347"/>
                  </a:lnTo>
                  <a:lnTo>
                    <a:pt x="296518" y="145572"/>
                  </a:lnTo>
                  <a:lnTo>
                    <a:pt x="306373" y="145572"/>
                  </a:lnTo>
                  <a:lnTo>
                    <a:pt x="306373" y="160062"/>
                  </a:lnTo>
                  <a:lnTo>
                    <a:pt x="330863" y="160062"/>
                  </a:lnTo>
                  <a:lnTo>
                    <a:pt x="330863" y="174686"/>
                  </a:lnTo>
                  <a:lnTo>
                    <a:pt x="335742" y="174686"/>
                  </a:lnTo>
                  <a:lnTo>
                    <a:pt x="335742" y="189442"/>
                  </a:lnTo>
                  <a:lnTo>
                    <a:pt x="338181" y="189442"/>
                  </a:lnTo>
                  <a:lnTo>
                    <a:pt x="338181" y="204332"/>
                  </a:lnTo>
                  <a:lnTo>
                    <a:pt x="384723" y="204332"/>
                  </a:lnTo>
                  <a:lnTo>
                    <a:pt x="384723" y="219354"/>
                  </a:lnTo>
                  <a:lnTo>
                    <a:pt x="389601" y="219354"/>
                  </a:lnTo>
                  <a:lnTo>
                    <a:pt x="389601" y="234510"/>
                  </a:lnTo>
                  <a:lnTo>
                    <a:pt x="392041" y="234510"/>
                  </a:lnTo>
                  <a:lnTo>
                    <a:pt x="392041" y="249798"/>
                  </a:lnTo>
                  <a:lnTo>
                    <a:pt x="406774" y="249798"/>
                  </a:lnTo>
                  <a:lnTo>
                    <a:pt x="406774" y="265219"/>
                  </a:lnTo>
                  <a:lnTo>
                    <a:pt x="409213" y="265219"/>
                  </a:lnTo>
                  <a:lnTo>
                    <a:pt x="409213" y="280774"/>
                  </a:lnTo>
                  <a:lnTo>
                    <a:pt x="414092" y="280774"/>
                  </a:lnTo>
                  <a:lnTo>
                    <a:pt x="414092" y="296328"/>
                  </a:lnTo>
                  <a:lnTo>
                    <a:pt x="445900" y="296328"/>
                  </a:lnTo>
                  <a:lnTo>
                    <a:pt x="445900" y="312015"/>
                  </a:lnTo>
                  <a:lnTo>
                    <a:pt x="448339" y="312015"/>
                  </a:lnTo>
                  <a:lnTo>
                    <a:pt x="448339" y="327835"/>
                  </a:lnTo>
                  <a:lnTo>
                    <a:pt x="475366" y="327835"/>
                  </a:lnTo>
                  <a:lnTo>
                    <a:pt x="475366" y="343655"/>
                  </a:lnTo>
                  <a:lnTo>
                    <a:pt x="482684" y="343655"/>
                  </a:lnTo>
                  <a:lnTo>
                    <a:pt x="482684" y="359741"/>
                  </a:lnTo>
                  <a:lnTo>
                    <a:pt x="492441" y="359741"/>
                  </a:lnTo>
                  <a:lnTo>
                    <a:pt x="492441" y="375960"/>
                  </a:lnTo>
                  <a:lnTo>
                    <a:pt x="521908" y="375960"/>
                  </a:lnTo>
                  <a:lnTo>
                    <a:pt x="521908" y="392179"/>
                  </a:lnTo>
                  <a:lnTo>
                    <a:pt x="524347" y="392179"/>
                  </a:lnTo>
                  <a:lnTo>
                    <a:pt x="524347" y="408531"/>
                  </a:lnTo>
                  <a:lnTo>
                    <a:pt x="526786" y="408531"/>
                  </a:lnTo>
                  <a:lnTo>
                    <a:pt x="526786" y="425016"/>
                  </a:lnTo>
                  <a:lnTo>
                    <a:pt x="536641" y="425016"/>
                  </a:lnTo>
                  <a:lnTo>
                    <a:pt x="536641" y="441500"/>
                  </a:lnTo>
                  <a:lnTo>
                    <a:pt x="558692" y="441500"/>
                  </a:lnTo>
                  <a:lnTo>
                    <a:pt x="558692" y="458118"/>
                  </a:lnTo>
                  <a:lnTo>
                    <a:pt x="578304" y="458118"/>
                  </a:lnTo>
                  <a:lnTo>
                    <a:pt x="578304" y="474736"/>
                  </a:lnTo>
                  <a:lnTo>
                    <a:pt x="629724" y="474736"/>
                  </a:lnTo>
                  <a:lnTo>
                    <a:pt x="629724" y="491487"/>
                  </a:lnTo>
                  <a:lnTo>
                    <a:pt x="632163" y="491487"/>
                  </a:lnTo>
                  <a:lnTo>
                    <a:pt x="632163" y="542138"/>
                  </a:lnTo>
                  <a:lnTo>
                    <a:pt x="695877" y="542138"/>
                  </a:lnTo>
                  <a:lnTo>
                    <a:pt x="695877" y="559154"/>
                  </a:lnTo>
                  <a:lnTo>
                    <a:pt x="705731" y="559154"/>
                  </a:lnTo>
                  <a:lnTo>
                    <a:pt x="705731" y="576171"/>
                  </a:lnTo>
                  <a:lnTo>
                    <a:pt x="722904" y="576171"/>
                  </a:lnTo>
                  <a:lnTo>
                    <a:pt x="722904" y="593320"/>
                  </a:lnTo>
                  <a:lnTo>
                    <a:pt x="769445" y="593320"/>
                  </a:lnTo>
                  <a:lnTo>
                    <a:pt x="769445" y="610470"/>
                  </a:lnTo>
                  <a:lnTo>
                    <a:pt x="771885" y="610470"/>
                  </a:lnTo>
                  <a:lnTo>
                    <a:pt x="771885" y="627752"/>
                  </a:lnTo>
                  <a:lnTo>
                    <a:pt x="803693" y="627752"/>
                  </a:lnTo>
                  <a:lnTo>
                    <a:pt x="803693" y="645301"/>
                  </a:lnTo>
                  <a:lnTo>
                    <a:pt x="820865" y="645301"/>
                  </a:lnTo>
                  <a:lnTo>
                    <a:pt x="820865" y="662849"/>
                  </a:lnTo>
                  <a:lnTo>
                    <a:pt x="894434" y="662849"/>
                  </a:lnTo>
                  <a:lnTo>
                    <a:pt x="894434" y="680663"/>
                  </a:lnTo>
                  <a:lnTo>
                    <a:pt x="931218" y="680663"/>
                  </a:lnTo>
                  <a:lnTo>
                    <a:pt x="931218" y="698477"/>
                  </a:lnTo>
                  <a:lnTo>
                    <a:pt x="1026838" y="698477"/>
                  </a:lnTo>
                  <a:lnTo>
                    <a:pt x="1026838" y="716425"/>
                  </a:lnTo>
                  <a:lnTo>
                    <a:pt x="1085673" y="716425"/>
                  </a:lnTo>
                  <a:lnTo>
                    <a:pt x="1085673" y="734505"/>
                  </a:lnTo>
                  <a:lnTo>
                    <a:pt x="1142069" y="734505"/>
                  </a:lnTo>
                  <a:lnTo>
                    <a:pt x="1142069" y="752585"/>
                  </a:lnTo>
                  <a:lnTo>
                    <a:pt x="1205783" y="752585"/>
                  </a:lnTo>
                  <a:lnTo>
                    <a:pt x="1205783" y="770665"/>
                  </a:lnTo>
                  <a:lnTo>
                    <a:pt x="1303842" y="770665"/>
                  </a:lnTo>
                  <a:lnTo>
                    <a:pt x="1303842" y="789011"/>
                  </a:lnTo>
                  <a:lnTo>
                    <a:pt x="1316136" y="789011"/>
                  </a:lnTo>
                  <a:lnTo>
                    <a:pt x="1316136" y="807224"/>
                  </a:lnTo>
                  <a:lnTo>
                    <a:pt x="1335748" y="807224"/>
                  </a:lnTo>
                  <a:lnTo>
                    <a:pt x="1335748" y="825570"/>
                  </a:lnTo>
                  <a:lnTo>
                    <a:pt x="1350383" y="825570"/>
                  </a:lnTo>
                  <a:lnTo>
                    <a:pt x="1350383" y="843916"/>
                  </a:lnTo>
                  <a:lnTo>
                    <a:pt x="1502399" y="843916"/>
                  </a:lnTo>
                  <a:lnTo>
                    <a:pt x="1502399" y="862661"/>
                  </a:lnTo>
                  <a:lnTo>
                    <a:pt x="1622509" y="862661"/>
                  </a:lnTo>
                  <a:lnTo>
                    <a:pt x="1622509" y="881406"/>
                  </a:lnTo>
                  <a:lnTo>
                    <a:pt x="1791600" y="881406"/>
                  </a:lnTo>
                  <a:lnTo>
                    <a:pt x="1791600" y="900150"/>
                  </a:lnTo>
                  <a:lnTo>
                    <a:pt x="1938737" y="900150"/>
                  </a:lnTo>
                  <a:lnTo>
                    <a:pt x="1938737" y="919028"/>
                  </a:lnTo>
                  <a:lnTo>
                    <a:pt x="1963227" y="919028"/>
                  </a:lnTo>
                  <a:lnTo>
                    <a:pt x="1963227" y="940964"/>
                  </a:lnTo>
                  <a:lnTo>
                    <a:pt x="2240329" y="940964"/>
                  </a:lnTo>
                  <a:lnTo>
                    <a:pt x="2240329" y="964361"/>
                  </a:lnTo>
                  <a:lnTo>
                    <a:pt x="2262380" y="964361"/>
                  </a:lnTo>
                  <a:lnTo>
                    <a:pt x="2262380" y="987626"/>
                  </a:lnTo>
                  <a:lnTo>
                    <a:pt x="2294286" y="987626"/>
                  </a:lnTo>
                  <a:lnTo>
                    <a:pt x="2294286" y="1010891"/>
                  </a:lnTo>
                  <a:lnTo>
                    <a:pt x="2306482" y="1010891"/>
                  </a:lnTo>
                  <a:lnTo>
                    <a:pt x="2306482" y="1034023"/>
                  </a:lnTo>
                  <a:lnTo>
                    <a:pt x="2465816" y="1034023"/>
                  </a:lnTo>
                  <a:lnTo>
                    <a:pt x="2465816" y="1057022"/>
                  </a:lnTo>
                  <a:lnTo>
                    <a:pt x="2502600" y="1057022"/>
                  </a:lnTo>
                  <a:lnTo>
                    <a:pt x="2502600" y="1080021"/>
                  </a:lnTo>
                  <a:lnTo>
                    <a:pt x="2556557" y="1080021"/>
                  </a:lnTo>
                  <a:lnTo>
                    <a:pt x="2556557" y="1103286"/>
                  </a:lnTo>
                  <a:lnTo>
                    <a:pt x="2622710" y="1103286"/>
                  </a:lnTo>
                  <a:lnTo>
                    <a:pt x="2622710" y="1127481"/>
                  </a:lnTo>
                  <a:lnTo>
                    <a:pt x="2654616" y="1127481"/>
                  </a:lnTo>
                  <a:lnTo>
                    <a:pt x="2654616" y="1130539"/>
                  </a:lnTo>
                  <a:moveTo>
                    <a:pt x="4040125" y="1363586"/>
                  </a:moveTo>
                  <a:lnTo>
                    <a:pt x="3020019" y="1363586"/>
                  </a:lnTo>
                  <a:lnTo>
                    <a:pt x="3020019" y="1340986"/>
                  </a:lnTo>
                  <a:lnTo>
                    <a:pt x="2931717" y="1340986"/>
                  </a:lnTo>
                  <a:lnTo>
                    <a:pt x="2931717" y="1319317"/>
                  </a:lnTo>
                  <a:lnTo>
                    <a:pt x="2215936" y="1319317"/>
                  </a:lnTo>
                  <a:lnTo>
                    <a:pt x="2215936" y="1299907"/>
                  </a:lnTo>
                  <a:lnTo>
                    <a:pt x="1794332" y="1299907"/>
                  </a:lnTo>
                  <a:lnTo>
                    <a:pt x="1794332" y="1280763"/>
                  </a:lnTo>
                  <a:lnTo>
                    <a:pt x="1625241" y="1280763"/>
                  </a:lnTo>
                  <a:lnTo>
                    <a:pt x="1625241" y="1261620"/>
                  </a:lnTo>
                  <a:lnTo>
                    <a:pt x="1505131" y="1261620"/>
                  </a:lnTo>
                  <a:lnTo>
                    <a:pt x="1505131" y="1242343"/>
                  </a:lnTo>
                  <a:lnTo>
                    <a:pt x="1353115" y="1242343"/>
                  </a:lnTo>
                  <a:lnTo>
                    <a:pt x="1353115" y="1223465"/>
                  </a:lnTo>
                  <a:lnTo>
                    <a:pt x="1338480" y="1223465"/>
                  </a:lnTo>
                  <a:lnTo>
                    <a:pt x="1338480" y="1204588"/>
                  </a:lnTo>
                  <a:lnTo>
                    <a:pt x="1318868" y="1204588"/>
                  </a:lnTo>
                  <a:lnTo>
                    <a:pt x="1318868" y="1185577"/>
                  </a:lnTo>
                  <a:lnTo>
                    <a:pt x="1306574" y="1185577"/>
                  </a:lnTo>
                  <a:lnTo>
                    <a:pt x="1306574" y="1166433"/>
                  </a:lnTo>
                  <a:lnTo>
                    <a:pt x="1208515" y="1166433"/>
                  </a:lnTo>
                  <a:lnTo>
                    <a:pt x="1208515" y="1147290"/>
                  </a:lnTo>
                  <a:lnTo>
                    <a:pt x="1144801" y="1147290"/>
                  </a:lnTo>
                  <a:lnTo>
                    <a:pt x="1144801" y="1128013"/>
                  </a:lnTo>
                  <a:lnTo>
                    <a:pt x="1088405" y="1128013"/>
                  </a:lnTo>
                  <a:lnTo>
                    <a:pt x="1088405" y="1108736"/>
                  </a:lnTo>
                  <a:lnTo>
                    <a:pt x="1029570" y="1108736"/>
                  </a:lnTo>
                  <a:lnTo>
                    <a:pt x="1029570" y="1089460"/>
                  </a:lnTo>
                  <a:lnTo>
                    <a:pt x="933950" y="1089460"/>
                  </a:lnTo>
                  <a:lnTo>
                    <a:pt x="933950" y="1070050"/>
                  </a:lnTo>
                  <a:lnTo>
                    <a:pt x="897166" y="1070050"/>
                  </a:lnTo>
                  <a:lnTo>
                    <a:pt x="897166" y="1050641"/>
                  </a:lnTo>
                  <a:lnTo>
                    <a:pt x="823597" y="1050641"/>
                  </a:lnTo>
                  <a:lnTo>
                    <a:pt x="823597" y="1031497"/>
                  </a:lnTo>
                  <a:lnTo>
                    <a:pt x="806425" y="1031497"/>
                  </a:lnTo>
                  <a:lnTo>
                    <a:pt x="806425" y="1012221"/>
                  </a:lnTo>
                  <a:lnTo>
                    <a:pt x="774617" y="1012221"/>
                  </a:lnTo>
                  <a:lnTo>
                    <a:pt x="774617" y="993210"/>
                  </a:lnTo>
                  <a:lnTo>
                    <a:pt x="772177" y="993210"/>
                  </a:lnTo>
                  <a:lnTo>
                    <a:pt x="772177" y="974066"/>
                  </a:lnTo>
                  <a:lnTo>
                    <a:pt x="725636" y="974066"/>
                  </a:lnTo>
                  <a:lnTo>
                    <a:pt x="725636" y="954923"/>
                  </a:lnTo>
                  <a:lnTo>
                    <a:pt x="708463" y="954923"/>
                  </a:lnTo>
                  <a:lnTo>
                    <a:pt x="708463" y="935646"/>
                  </a:lnTo>
                  <a:lnTo>
                    <a:pt x="698609" y="935646"/>
                  </a:lnTo>
                  <a:lnTo>
                    <a:pt x="698609" y="916369"/>
                  </a:lnTo>
                  <a:lnTo>
                    <a:pt x="634895" y="916369"/>
                  </a:lnTo>
                  <a:lnTo>
                    <a:pt x="634895" y="858141"/>
                  </a:lnTo>
                  <a:lnTo>
                    <a:pt x="632456" y="858141"/>
                  </a:lnTo>
                  <a:lnTo>
                    <a:pt x="632456" y="838598"/>
                  </a:lnTo>
                  <a:lnTo>
                    <a:pt x="581036" y="838598"/>
                  </a:lnTo>
                  <a:lnTo>
                    <a:pt x="581036" y="818923"/>
                  </a:lnTo>
                  <a:lnTo>
                    <a:pt x="561424" y="818923"/>
                  </a:lnTo>
                  <a:lnTo>
                    <a:pt x="561424" y="799247"/>
                  </a:lnTo>
                  <a:lnTo>
                    <a:pt x="539373" y="799247"/>
                  </a:lnTo>
                  <a:lnTo>
                    <a:pt x="539373" y="779439"/>
                  </a:lnTo>
                  <a:lnTo>
                    <a:pt x="529518" y="779439"/>
                  </a:lnTo>
                  <a:lnTo>
                    <a:pt x="529518" y="759631"/>
                  </a:lnTo>
                  <a:lnTo>
                    <a:pt x="527079" y="759631"/>
                  </a:lnTo>
                  <a:lnTo>
                    <a:pt x="527079" y="739689"/>
                  </a:lnTo>
                  <a:lnTo>
                    <a:pt x="524640" y="739689"/>
                  </a:lnTo>
                  <a:lnTo>
                    <a:pt x="524640" y="719748"/>
                  </a:lnTo>
                  <a:lnTo>
                    <a:pt x="495173" y="719748"/>
                  </a:lnTo>
                  <a:lnTo>
                    <a:pt x="495173" y="699674"/>
                  </a:lnTo>
                  <a:lnTo>
                    <a:pt x="485416" y="699674"/>
                  </a:lnTo>
                  <a:lnTo>
                    <a:pt x="485416" y="679467"/>
                  </a:lnTo>
                  <a:lnTo>
                    <a:pt x="478098" y="679467"/>
                  </a:lnTo>
                  <a:lnTo>
                    <a:pt x="478098" y="659392"/>
                  </a:lnTo>
                  <a:lnTo>
                    <a:pt x="451071" y="659392"/>
                  </a:lnTo>
                  <a:lnTo>
                    <a:pt x="451071" y="639318"/>
                  </a:lnTo>
                  <a:lnTo>
                    <a:pt x="448632" y="639318"/>
                  </a:lnTo>
                  <a:lnTo>
                    <a:pt x="448632" y="619111"/>
                  </a:lnTo>
                  <a:lnTo>
                    <a:pt x="416824" y="619111"/>
                  </a:lnTo>
                  <a:lnTo>
                    <a:pt x="416824" y="598771"/>
                  </a:lnTo>
                  <a:lnTo>
                    <a:pt x="411945" y="598771"/>
                  </a:lnTo>
                  <a:lnTo>
                    <a:pt x="411945" y="578431"/>
                  </a:lnTo>
                  <a:lnTo>
                    <a:pt x="409506" y="578431"/>
                  </a:lnTo>
                  <a:lnTo>
                    <a:pt x="409506" y="557958"/>
                  </a:lnTo>
                  <a:lnTo>
                    <a:pt x="394772" y="557958"/>
                  </a:lnTo>
                  <a:lnTo>
                    <a:pt x="394772" y="537352"/>
                  </a:lnTo>
                  <a:lnTo>
                    <a:pt x="392333" y="537352"/>
                  </a:lnTo>
                  <a:lnTo>
                    <a:pt x="392333" y="516613"/>
                  </a:lnTo>
                  <a:lnTo>
                    <a:pt x="387455" y="516613"/>
                  </a:lnTo>
                  <a:lnTo>
                    <a:pt x="387455" y="495741"/>
                  </a:lnTo>
                  <a:lnTo>
                    <a:pt x="340913" y="495741"/>
                  </a:lnTo>
                  <a:lnTo>
                    <a:pt x="340913" y="474736"/>
                  </a:lnTo>
                  <a:lnTo>
                    <a:pt x="338474" y="474736"/>
                  </a:lnTo>
                  <a:lnTo>
                    <a:pt x="338474" y="453598"/>
                  </a:lnTo>
                  <a:lnTo>
                    <a:pt x="333595" y="453598"/>
                  </a:lnTo>
                  <a:lnTo>
                    <a:pt x="333595" y="432195"/>
                  </a:lnTo>
                  <a:lnTo>
                    <a:pt x="309105" y="432195"/>
                  </a:lnTo>
                  <a:lnTo>
                    <a:pt x="309105" y="410791"/>
                  </a:lnTo>
                  <a:lnTo>
                    <a:pt x="299250" y="410791"/>
                  </a:lnTo>
                  <a:lnTo>
                    <a:pt x="299250" y="389121"/>
                  </a:lnTo>
                  <a:lnTo>
                    <a:pt x="264905" y="389121"/>
                  </a:lnTo>
                  <a:lnTo>
                    <a:pt x="264905" y="367585"/>
                  </a:lnTo>
                  <a:lnTo>
                    <a:pt x="260027" y="367585"/>
                  </a:lnTo>
                  <a:lnTo>
                    <a:pt x="260027" y="345782"/>
                  </a:lnTo>
                  <a:lnTo>
                    <a:pt x="233097" y="345782"/>
                  </a:lnTo>
                  <a:lnTo>
                    <a:pt x="233097" y="323714"/>
                  </a:lnTo>
                  <a:lnTo>
                    <a:pt x="223243" y="323714"/>
                  </a:lnTo>
                  <a:lnTo>
                    <a:pt x="223243" y="301380"/>
                  </a:lnTo>
                  <a:lnTo>
                    <a:pt x="203631" y="301380"/>
                  </a:lnTo>
                  <a:lnTo>
                    <a:pt x="203631" y="278912"/>
                  </a:lnTo>
                  <a:lnTo>
                    <a:pt x="179140" y="278912"/>
                  </a:lnTo>
                  <a:lnTo>
                    <a:pt x="179140" y="256046"/>
                  </a:lnTo>
                  <a:lnTo>
                    <a:pt x="157089" y="256046"/>
                  </a:lnTo>
                  <a:lnTo>
                    <a:pt x="157089" y="232781"/>
                  </a:lnTo>
                  <a:lnTo>
                    <a:pt x="144795" y="232781"/>
                  </a:lnTo>
                  <a:lnTo>
                    <a:pt x="144795" y="209118"/>
                  </a:lnTo>
                  <a:lnTo>
                    <a:pt x="125184" y="209118"/>
                  </a:lnTo>
                  <a:lnTo>
                    <a:pt x="125184" y="184922"/>
                  </a:lnTo>
                  <a:lnTo>
                    <a:pt x="105572" y="184922"/>
                  </a:lnTo>
                  <a:lnTo>
                    <a:pt x="105572" y="160062"/>
                  </a:lnTo>
                  <a:lnTo>
                    <a:pt x="54054" y="160062"/>
                  </a:lnTo>
                  <a:lnTo>
                    <a:pt x="54054" y="134404"/>
                  </a:lnTo>
                  <a:lnTo>
                    <a:pt x="51615" y="134404"/>
                  </a:lnTo>
                  <a:lnTo>
                    <a:pt x="51615" y="107417"/>
                  </a:lnTo>
                  <a:lnTo>
                    <a:pt x="29564" y="107417"/>
                  </a:lnTo>
                  <a:lnTo>
                    <a:pt x="29564" y="54772"/>
                  </a:lnTo>
                  <a:lnTo>
                    <a:pt x="46444" y="54772"/>
                  </a:lnTo>
                  <a:lnTo>
                    <a:pt x="46444" y="65806"/>
                  </a:lnTo>
                  <a:cubicBezTo>
                    <a:pt x="46444" y="67667"/>
                    <a:pt x="47029" y="69529"/>
                    <a:pt x="48005" y="70858"/>
                  </a:cubicBezTo>
                  <a:cubicBezTo>
                    <a:pt x="48298" y="71257"/>
                    <a:pt x="48590" y="71523"/>
                    <a:pt x="48883" y="71789"/>
                  </a:cubicBezTo>
                  <a:lnTo>
                    <a:pt x="48883" y="83753"/>
                  </a:lnTo>
                  <a:cubicBezTo>
                    <a:pt x="48883" y="85615"/>
                    <a:pt x="49469" y="87476"/>
                    <a:pt x="50444" y="88805"/>
                  </a:cubicBezTo>
                  <a:cubicBezTo>
                    <a:pt x="51420" y="90135"/>
                    <a:pt x="52786" y="90932"/>
                    <a:pt x="54152" y="90932"/>
                  </a:cubicBezTo>
                  <a:lnTo>
                    <a:pt x="100401" y="90932"/>
                  </a:lnTo>
                  <a:lnTo>
                    <a:pt x="100401" y="101967"/>
                  </a:lnTo>
                  <a:cubicBezTo>
                    <a:pt x="100401" y="103828"/>
                    <a:pt x="100986" y="105689"/>
                    <a:pt x="101962" y="107018"/>
                  </a:cubicBezTo>
                  <a:cubicBezTo>
                    <a:pt x="102937" y="108348"/>
                    <a:pt x="104303" y="109145"/>
                    <a:pt x="105669" y="109145"/>
                  </a:cubicBezTo>
                  <a:lnTo>
                    <a:pt x="120110" y="109145"/>
                  </a:lnTo>
                  <a:lnTo>
                    <a:pt x="120110" y="120047"/>
                  </a:lnTo>
                  <a:cubicBezTo>
                    <a:pt x="120110" y="121908"/>
                    <a:pt x="120695" y="123769"/>
                    <a:pt x="121671" y="125098"/>
                  </a:cubicBezTo>
                  <a:cubicBezTo>
                    <a:pt x="122647" y="126428"/>
                    <a:pt x="124013" y="127226"/>
                    <a:pt x="125379" y="127226"/>
                  </a:cubicBezTo>
                  <a:lnTo>
                    <a:pt x="139722" y="127226"/>
                  </a:lnTo>
                  <a:lnTo>
                    <a:pt x="139722" y="138260"/>
                  </a:lnTo>
                  <a:cubicBezTo>
                    <a:pt x="139722" y="140121"/>
                    <a:pt x="140307" y="141982"/>
                    <a:pt x="141283" y="143312"/>
                  </a:cubicBezTo>
                  <a:cubicBezTo>
                    <a:pt x="142259" y="144641"/>
                    <a:pt x="143625" y="145439"/>
                    <a:pt x="144991" y="145439"/>
                  </a:cubicBezTo>
                  <a:lnTo>
                    <a:pt x="152016" y="145439"/>
                  </a:lnTo>
                  <a:lnTo>
                    <a:pt x="152016" y="156340"/>
                  </a:lnTo>
                  <a:cubicBezTo>
                    <a:pt x="152016" y="158201"/>
                    <a:pt x="152601" y="160062"/>
                    <a:pt x="153577" y="161392"/>
                  </a:cubicBezTo>
                  <a:cubicBezTo>
                    <a:pt x="154553" y="162721"/>
                    <a:pt x="155919" y="163519"/>
                    <a:pt x="157285" y="163519"/>
                  </a:cubicBezTo>
                  <a:lnTo>
                    <a:pt x="174164" y="163519"/>
                  </a:lnTo>
                  <a:lnTo>
                    <a:pt x="174164" y="174553"/>
                  </a:lnTo>
                  <a:cubicBezTo>
                    <a:pt x="174164" y="176414"/>
                    <a:pt x="174750" y="178275"/>
                    <a:pt x="175725" y="179605"/>
                  </a:cubicBezTo>
                  <a:cubicBezTo>
                    <a:pt x="176701" y="180934"/>
                    <a:pt x="178067" y="181732"/>
                    <a:pt x="179433" y="181732"/>
                  </a:cubicBezTo>
                  <a:lnTo>
                    <a:pt x="198655" y="181732"/>
                  </a:lnTo>
                  <a:lnTo>
                    <a:pt x="198655" y="192633"/>
                  </a:lnTo>
                  <a:cubicBezTo>
                    <a:pt x="198655" y="194494"/>
                    <a:pt x="199240" y="196355"/>
                    <a:pt x="200216" y="197685"/>
                  </a:cubicBezTo>
                  <a:cubicBezTo>
                    <a:pt x="201192" y="199014"/>
                    <a:pt x="202558" y="199812"/>
                    <a:pt x="203924" y="199812"/>
                  </a:cubicBezTo>
                  <a:lnTo>
                    <a:pt x="218364" y="199812"/>
                  </a:lnTo>
                  <a:lnTo>
                    <a:pt x="218364" y="210713"/>
                  </a:lnTo>
                  <a:cubicBezTo>
                    <a:pt x="218364" y="212574"/>
                    <a:pt x="218949" y="214435"/>
                    <a:pt x="219925" y="215765"/>
                  </a:cubicBezTo>
                  <a:cubicBezTo>
                    <a:pt x="220901" y="217094"/>
                    <a:pt x="222267" y="217892"/>
                    <a:pt x="223633" y="217892"/>
                  </a:cubicBezTo>
                  <a:lnTo>
                    <a:pt x="228219" y="217892"/>
                  </a:lnTo>
                  <a:lnTo>
                    <a:pt x="228219" y="228926"/>
                  </a:lnTo>
                  <a:cubicBezTo>
                    <a:pt x="228219" y="230787"/>
                    <a:pt x="228804" y="232649"/>
                    <a:pt x="229780" y="233978"/>
                  </a:cubicBezTo>
                  <a:cubicBezTo>
                    <a:pt x="230756" y="235307"/>
                    <a:pt x="232122" y="236105"/>
                    <a:pt x="233488" y="236105"/>
                  </a:cubicBezTo>
                  <a:lnTo>
                    <a:pt x="255246" y="236105"/>
                  </a:lnTo>
                  <a:lnTo>
                    <a:pt x="255246" y="247006"/>
                  </a:lnTo>
                  <a:cubicBezTo>
                    <a:pt x="255246" y="248867"/>
                    <a:pt x="255831" y="250729"/>
                    <a:pt x="256807" y="252058"/>
                  </a:cubicBezTo>
                  <a:cubicBezTo>
                    <a:pt x="257685" y="253255"/>
                    <a:pt x="258954" y="254052"/>
                    <a:pt x="260222" y="254185"/>
                  </a:cubicBezTo>
                  <a:lnTo>
                    <a:pt x="260222" y="265219"/>
                  </a:lnTo>
                  <a:cubicBezTo>
                    <a:pt x="260222" y="267081"/>
                    <a:pt x="260807" y="268942"/>
                    <a:pt x="261783" y="270271"/>
                  </a:cubicBezTo>
                  <a:cubicBezTo>
                    <a:pt x="262759" y="271601"/>
                    <a:pt x="264125" y="272398"/>
                    <a:pt x="265491" y="272398"/>
                  </a:cubicBezTo>
                  <a:lnTo>
                    <a:pt x="294665" y="272398"/>
                  </a:lnTo>
                  <a:lnTo>
                    <a:pt x="294665" y="283565"/>
                  </a:lnTo>
                  <a:cubicBezTo>
                    <a:pt x="294665" y="285427"/>
                    <a:pt x="295250" y="287288"/>
                    <a:pt x="296226" y="288617"/>
                  </a:cubicBezTo>
                  <a:cubicBezTo>
                    <a:pt x="297201" y="289947"/>
                    <a:pt x="298567" y="290744"/>
                    <a:pt x="299933" y="290744"/>
                  </a:cubicBezTo>
                  <a:lnTo>
                    <a:pt x="304519" y="290744"/>
                  </a:lnTo>
                  <a:lnTo>
                    <a:pt x="304519" y="301911"/>
                  </a:lnTo>
                  <a:cubicBezTo>
                    <a:pt x="304519" y="303773"/>
                    <a:pt x="305105" y="305634"/>
                    <a:pt x="306080" y="306963"/>
                  </a:cubicBezTo>
                  <a:cubicBezTo>
                    <a:pt x="307056" y="308293"/>
                    <a:pt x="308422" y="309090"/>
                    <a:pt x="309788" y="309090"/>
                  </a:cubicBezTo>
                  <a:lnTo>
                    <a:pt x="329010" y="309090"/>
                  </a:lnTo>
                  <a:lnTo>
                    <a:pt x="329010" y="320257"/>
                  </a:lnTo>
                  <a:cubicBezTo>
                    <a:pt x="329010" y="322119"/>
                    <a:pt x="329595" y="323980"/>
                    <a:pt x="330571" y="325309"/>
                  </a:cubicBezTo>
                  <a:cubicBezTo>
                    <a:pt x="331449" y="326506"/>
                    <a:pt x="332717" y="327303"/>
                    <a:pt x="333986" y="327303"/>
                  </a:cubicBezTo>
                  <a:lnTo>
                    <a:pt x="333986" y="338470"/>
                  </a:lnTo>
                  <a:cubicBezTo>
                    <a:pt x="333986" y="340332"/>
                    <a:pt x="334571" y="342193"/>
                    <a:pt x="335547" y="343522"/>
                  </a:cubicBezTo>
                  <a:cubicBezTo>
                    <a:pt x="335840" y="343921"/>
                    <a:pt x="336132" y="344187"/>
                    <a:pt x="336425" y="344453"/>
                  </a:cubicBezTo>
                  <a:lnTo>
                    <a:pt x="336425" y="356683"/>
                  </a:lnTo>
                  <a:cubicBezTo>
                    <a:pt x="336425" y="358545"/>
                    <a:pt x="337010" y="360406"/>
                    <a:pt x="337986" y="361735"/>
                  </a:cubicBezTo>
                  <a:cubicBezTo>
                    <a:pt x="338962" y="363065"/>
                    <a:pt x="340328" y="363862"/>
                    <a:pt x="341694" y="363862"/>
                  </a:cubicBezTo>
                  <a:lnTo>
                    <a:pt x="383064" y="363862"/>
                  </a:lnTo>
                  <a:lnTo>
                    <a:pt x="383064" y="375029"/>
                  </a:lnTo>
                  <a:cubicBezTo>
                    <a:pt x="383064" y="376891"/>
                    <a:pt x="383649" y="378752"/>
                    <a:pt x="384625" y="380081"/>
                  </a:cubicBezTo>
                  <a:cubicBezTo>
                    <a:pt x="385503" y="381278"/>
                    <a:pt x="386772" y="382075"/>
                    <a:pt x="388040" y="382075"/>
                  </a:cubicBezTo>
                  <a:lnTo>
                    <a:pt x="388040" y="393243"/>
                  </a:lnTo>
                  <a:cubicBezTo>
                    <a:pt x="388040" y="395104"/>
                    <a:pt x="388626" y="396965"/>
                    <a:pt x="389601" y="398294"/>
                  </a:cubicBezTo>
                  <a:cubicBezTo>
                    <a:pt x="389894" y="398693"/>
                    <a:pt x="390187" y="398959"/>
                    <a:pt x="390479" y="399225"/>
                  </a:cubicBezTo>
                  <a:lnTo>
                    <a:pt x="390479" y="411456"/>
                  </a:lnTo>
                  <a:cubicBezTo>
                    <a:pt x="390479" y="413317"/>
                    <a:pt x="391065" y="415178"/>
                    <a:pt x="392041" y="416507"/>
                  </a:cubicBezTo>
                  <a:cubicBezTo>
                    <a:pt x="393016" y="417837"/>
                    <a:pt x="394382" y="418634"/>
                    <a:pt x="395748" y="418634"/>
                  </a:cubicBezTo>
                  <a:lnTo>
                    <a:pt x="405213" y="418634"/>
                  </a:lnTo>
                  <a:lnTo>
                    <a:pt x="405213" y="429802"/>
                  </a:lnTo>
                  <a:cubicBezTo>
                    <a:pt x="405213" y="431663"/>
                    <a:pt x="405798" y="433524"/>
                    <a:pt x="406774" y="434853"/>
                  </a:cubicBezTo>
                  <a:cubicBezTo>
                    <a:pt x="407066" y="435252"/>
                    <a:pt x="407359" y="435518"/>
                    <a:pt x="407652" y="435917"/>
                  </a:cubicBezTo>
                  <a:lnTo>
                    <a:pt x="407652" y="448148"/>
                  </a:lnTo>
                  <a:cubicBezTo>
                    <a:pt x="407652" y="450009"/>
                    <a:pt x="408237" y="451870"/>
                    <a:pt x="409213" y="453199"/>
                  </a:cubicBezTo>
                  <a:cubicBezTo>
                    <a:pt x="410091" y="454396"/>
                    <a:pt x="411360" y="455193"/>
                    <a:pt x="412628" y="455326"/>
                  </a:cubicBezTo>
                  <a:lnTo>
                    <a:pt x="412628" y="466494"/>
                  </a:lnTo>
                  <a:cubicBezTo>
                    <a:pt x="412628" y="468355"/>
                    <a:pt x="413213" y="470216"/>
                    <a:pt x="414189" y="471545"/>
                  </a:cubicBezTo>
                  <a:cubicBezTo>
                    <a:pt x="415165" y="472875"/>
                    <a:pt x="416531" y="473672"/>
                    <a:pt x="417897" y="473672"/>
                  </a:cubicBezTo>
                  <a:lnTo>
                    <a:pt x="444534" y="473672"/>
                  </a:lnTo>
                  <a:lnTo>
                    <a:pt x="444534" y="484840"/>
                  </a:lnTo>
                  <a:cubicBezTo>
                    <a:pt x="444534" y="486701"/>
                    <a:pt x="445119" y="488562"/>
                    <a:pt x="446095" y="489891"/>
                  </a:cubicBezTo>
                  <a:cubicBezTo>
                    <a:pt x="446388" y="490290"/>
                    <a:pt x="446680" y="490556"/>
                    <a:pt x="446973" y="490955"/>
                  </a:cubicBezTo>
                  <a:lnTo>
                    <a:pt x="446973" y="503186"/>
                  </a:lnTo>
                  <a:cubicBezTo>
                    <a:pt x="446973" y="505047"/>
                    <a:pt x="447558" y="506908"/>
                    <a:pt x="448534" y="508237"/>
                  </a:cubicBezTo>
                  <a:cubicBezTo>
                    <a:pt x="449510" y="509567"/>
                    <a:pt x="450876" y="510364"/>
                    <a:pt x="452242" y="510364"/>
                  </a:cubicBezTo>
                  <a:lnTo>
                    <a:pt x="474000" y="510364"/>
                  </a:lnTo>
                  <a:lnTo>
                    <a:pt x="474000" y="521532"/>
                  </a:lnTo>
                  <a:cubicBezTo>
                    <a:pt x="474000" y="523393"/>
                    <a:pt x="474586" y="525254"/>
                    <a:pt x="475561" y="526583"/>
                  </a:cubicBezTo>
                  <a:cubicBezTo>
                    <a:pt x="476537" y="527913"/>
                    <a:pt x="477903" y="528710"/>
                    <a:pt x="479269" y="528710"/>
                  </a:cubicBezTo>
                  <a:lnTo>
                    <a:pt x="481416" y="528710"/>
                  </a:lnTo>
                  <a:lnTo>
                    <a:pt x="481416" y="540011"/>
                  </a:lnTo>
                  <a:cubicBezTo>
                    <a:pt x="481416" y="541872"/>
                    <a:pt x="482001" y="543733"/>
                    <a:pt x="482977" y="545062"/>
                  </a:cubicBezTo>
                  <a:cubicBezTo>
                    <a:pt x="483952" y="546392"/>
                    <a:pt x="485318" y="547189"/>
                    <a:pt x="486684" y="547189"/>
                  </a:cubicBezTo>
                  <a:lnTo>
                    <a:pt x="491173" y="547189"/>
                  </a:lnTo>
                  <a:lnTo>
                    <a:pt x="491173" y="558489"/>
                  </a:lnTo>
                  <a:cubicBezTo>
                    <a:pt x="491173" y="560351"/>
                    <a:pt x="491758" y="562212"/>
                    <a:pt x="492734" y="563541"/>
                  </a:cubicBezTo>
                  <a:cubicBezTo>
                    <a:pt x="493710" y="564871"/>
                    <a:pt x="495076" y="565668"/>
                    <a:pt x="496442" y="565668"/>
                  </a:cubicBezTo>
                  <a:lnTo>
                    <a:pt x="520639" y="565668"/>
                  </a:lnTo>
                  <a:lnTo>
                    <a:pt x="520639" y="576968"/>
                  </a:lnTo>
                  <a:cubicBezTo>
                    <a:pt x="520639" y="578830"/>
                    <a:pt x="521225" y="580691"/>
                    <a:pt x="522200" y="582020"/>
                  </a:cubicBezTo>
                  <a:cubicBezTo>
                    <a:pt x="522493" y="582419"/>
                    <a:pt x="522786" y="582685"/>
                    <a:pt x="523078" y="582951"/>
                  </a:cubicBezTo>
                  <a:lnTo>
                    <a:pt x="523078" y="595447"/>
                  </a:lnTo>
                  <a:cubicBezTo>
                    <a:pt x="523078" y="597309"/>
                    <a:pt x="523664" y="599170"/>
                    <a:pt x="524640" y="600499"/>
                  </a:cubicBezTo>
                  <a:cubicBezTo>
                    <a:pt x="524932" y="600898"/>
                    <a:pt x="525225" y="601164"/>
                    <a:pt x="525615" y="601430"/>
                  </a:cubicBezTo>
                  <a:lnTo>
                    <a:pt x="525615" y="613926"/>
                  </a:lnTo>
                  <a:cubicBezTo>
                    <a:pt x="525615" y="615787"/>
                    <a:pt x="526201" y="617649"/>
                    <a:pt x="527176" y="618978"/>
                  </a:cubicBezTo>
                  <a:cubicBezTo>
                    <a:pt x="528152" y="620308"/>
                    <a:pt x="529518" y="621105"/>
                    <a:pt x="530884" y="621105"/>
                  </a:cubicBezTo>
                  <a:lnTo>
                    <a:pt x="535470" y="621105"/>
                  </a:lnTo>
                  <a:lnTo>
                    <a:pt x="535470" y="632405"/>
                  </a:lnTo>
                  <a:cubicBezTo>
                    <a:pt x="535470" y="634266"/>
                    <a:pt x="536055" y="636128"/>
                    <a:pt x="537031" y="637457"/>
                  </a:cubicBezTo>
                  <a:cubicBezTo>
                    <a:pt x="538007" y="638786"/>
                    <a:pt x="539373" y="639584"/>
                    <a:pt x="540739" y="639584"/>
                  </a:cubicBezTo>
                  <a:lnTo>
                    <a:pt x="557521" y="639584"/>
                  </a:lnTo>
                  <a:lnTo>
                    <a:pt x="557521" y="650884"/>
                  </a:lnTo>
                  <a:cubicBezTo>
                    <a:pt x="557521" y="652745"/>
                    <a:pt x="558106" y="654607"/>
                    <a:pt x="559082" y="655936"/>
                  </a:cubicBezTo>
                  <a:cubicBezTo>
                    <a:pt x="560058" y="657265"/>
                    <a:pt x="561424" y="658063"/>
                    <a:pt x="562790" y="658063"/>
                  </a:cubicBezTo>
                  <a:lnTo>
                    <a:pt x="577230" y="658063"/>
                  </a:lnTo>
                  <a:lnTo>
                    <a:pt x="577230" y="669363"/>
                  </a:lnTo>
                  <a:cubicBezTo>
                    <a:pt x="577230" y="671224"/>
                    <a:pt x="577816" y="673085"/>
                    <a:pt x="578792" y="674415"/>
                  </a:cubicBezTo>
                  <a:cubicBezTo>
                    <a:pt x="579767" y="675744"/>
                    <a:pt x="581133" y="676542"/>
                    <a:pt x="582499" y="676542"/>
                  </a:cubicBezTo>
                  <a:lnTo>
                    <a:pt x="628748" y="676542"/>
                  </a:lnTo>
                  <a:lnTo>
                    <a:pt x="628748" y="687842"/>
                  </a:lnTo>
                  <a:cubicBezTo>
                    <a:pt x="628748" y="689703"/>
                    <a:pt x="629333" y="691564"/>
                    <a:pt x="630309" y="692894"/>
                  </a:cubicBezTo>
                  <a:cubicBezTo>
                    <a:pt x="630602" y="693293"/>
                    <a:pt x="630894" y="693559"/>
                    <a:pt x="631285" y="693957"/>
                  </a:cubicBezTo>
                  <a:lnTo>
                    <a:pt x="631285" y="743279"/>
                  </a:lnTo>
                  <a:cubicBezTo>
                    <a:pt x="631285" y="745140"/>
                    <a:pt x="631870" y="747001"/>
                    <a:pt x="632846" y="748331"/>
                  </a:cubicBezTo>
                  <a:cubicBezTo>
                    <a:pt x="633822" y="749660"/>
                    <a:pt x="635188" y="750458"/>
                    <a:pt x="636554" y="750458"/>
                  </a:cubicBezTo>
                  <a:lnTo>
                    <a:pt x="695096" y="750458"/>
                  </a:lnTo>
                  <a:lnTo>
                    <a:pt x="695096" y="761758"/>
                  </a:lnTo>
                  <a:cubicBezTo>
                    <a:pt x="695096" y="763619"/>
                    <a:pt x="695682" y="765480"/>
                    <a:pt x="696657" y="766810"/>
                  </a:cubicBezTo>
                  <a:cubicBezTo>
                    <a:pt x="697633" y="768139"/>
                    <a:pt x="698999" y="768937"/>
                    <a:pt x="700365" y="768937"/>
                  </a:cubicBezTo>
                  <a:lnTo>
                    <a:pt x="704951" y="768937"/>
                  </a:lnTo>
                  <a:lnTo>
                    <a:pt x="704951" y="780237"/>
                  </a:lnTo>
                  <a:cubicBezTo>
                    <a:pt x="704951" y="782098"/>
                    <a:pt x="705536" y="783959"/>
                    <a:pt x="706512" y="785289"/>
                  </a:cubicBezTo>
                  <a:cubicBezTo>
                    <a:pt x="707488" y="786618"/>
                    <a:pt x="708854" y="787416"/>
                    <a:pt x="710220" y="787416"/>
                  </a:cubicBezTo>
                  <a:lnTo>
                    <a:pt x="722221" y="787416"/>
                  </a:lnTo>
                  <a:lnTo>
                    <a:pt x="722221" y="798716"/>
                  </a:lnTo>
                  <a:cubicBezTo>
                    <a:pt x="722221" y="800577"/>
                    <a:pt x="722806" y="802438"/>
                    <a:pt x="723782" y="803767"/>
                  </a:cubicBezTo>
                  <a:cubicBezTo>
                    <a:pt x="724758" y="805097"/>
                    <a:pt x="726124" y="805895"/>
                    <a:pt x="727490" y="805895"/>
                  </a:cubicBezTo>
                  <a:lnTo>
                    <a:pt x="768860" y="805895"/>
                  </a:lnTo>
                  <a:lnTo>
                    <a:pt x="768860" y="817195"/>
                  </a:lnTo>
                  <a:cubicBezTo>
                    <a:pt x="768860" y="819056"/>
                    <a:pt x="769445" y="820917"/>
                    <a:pt x="770421" y="822246"/>
                  </a:cubicBezTo>
                  <a:cubicBezTo>
                    <a:pt x="770714" y="822645"/>
                    <a:pt x="771006" y="822911"/>
                    <a:pt x="771397" y="823310"/>
                  </a:cubicBezTo>
                  <a:lnTo>
                    <a:pt x="771397" y="835674"/>
                  </a:lnTo>
                  <a:cubicBezTo>
                    <a:pt x="771397" y="837535"/>
                    <a:pt x="771982" y="839396"/>
                    <a:pt x="772958" y="840725"/>
                  </a:cubicBezTo>
                  <a:cubicBezTo>
                    <a:pt x="773934" y="842055"/>
                    <a:pt x="775300" y="842852"/>
                    <a:pt x="776666" y="842852"/>
                  </a:cubicBezTo>
                  <a:lnTo>
                    <a:pt x="803302" y="842852"/>
                  </a:lnTo>
                  <a:lnTo>
                    <a:pt x="803302" y="854551"/>
                  </a:lnTo>
                  <a:cubicBezTo>
                    <a:pt x="803302" y="856413"/>
                    <a:pt x="803888" y="858274"/>
                    <a:pt x="804864" y="859603"/>
                  </a:cubicBezTo>
                  <a:cubicBezTo>
                    <a:pt x="805839" y="860933"/>
                    <a:pt x="807205" y="861730"/>
                    <a:pt x="808571" y="861730"/>
                  </a:cubicBezTo>
                  <a:lnTo>
                    <a:pt x="820475" y="861730"/>
                  </a:lnTo>
                  <a:lnTo>
                    <a:pt x="820475" y="873296"/>
                  </a:lnTo>
                  <a:cubicBezTo>
                    <a:pt x="820475" y="875157"/>
                    <a:pt x="821060" y="877019"/>
                    <a:pt x="822036" y="878348"/>
                  </a:cubicBezTo>
                  <a:cubicBezTo>
                    <a:pt x="823012" y="879677"/>
                    <a:pt x="824378" y="880475"/>
                    <a:pt x="825744" y="880475"/>
                  </a:cubicBezTo>
                  <a:lnTo>
                    <a:pt x="894044" y="880475"/>
                  </a:lnTo>
                  <a:lnTo>
                    <a:pt x="894044" y="892440"/>
                  </a:lnTo>
                  <a:cubicBezTo>
                    <a:pt x="894044" y="894301"/>
                    <a:pt x="894629" y="896162"/>
                    <a:pt x="895605" y="897492"/>
                  </a:cubicBezTo>
                  <a:cubicBezTo>
                    <a:pt x="896580" y="898821"/>
                    <a:pt x="897946" y="899619"/>
                    <a:pt x="899312" y="899619"/>
                  </a:cubicBezTo>
                  <a:lnTo>
                    <a:pt x="930828" y="899619"/>
                  </a:lnTo>
                  <a:lnTo>
                    <a:pt x="930828" y="911451"/>
                  </a:lnTo>
                  <a:cubicBezTo>
                    <a:pt x="930828" y="913312"/>
                    <a:pt x="931413" y="915173"/>
                    <a:pt x="932389" y="916502"/>
                  </a:cubicBezTo>
                  <a:cubicBezTo>
                    <a:pt x="933365" y="917832"/>
                    <a:pt x="934731" y="918629"/>
                    <a:pt x="936097" y="918629"/>
                  </a:cubicBezTo>
                  <a:lnTo>
                    <a:pt x="1026545" y="918629"/>
                  </a:lnTo>
                  <a:lnTo>
                    <a:pt x="1026545" y="930461"/>
                  </a:lnTo>
                  <a:cubicBezTo>
                    <a:pt x="1026545" y="932322"/>
                    <a:pt x="1027131" y="934184"/>
                    <a:pt x="1028106" y="935513"/>
                  </a:cubicBezTo>
                  <a:cubicBezTo>
                    <a:pt x="1029082" y="936842"/>
                    <a:pt x="1030448" y="937640"/>
                    <a:pt x="1031814" y="937640"/>
                  </a:cubicBezTo>
                  <a:lnTo>
                    <a:pt x="1085380" y="937640"/>
                  </a:lnTo>
                  <a:lnTo>
                    <a:pt x="1085380" y="949472"/>
                  </a:lnTo>
                  <a:cubicBezTo>
                    <a:pt x="1085380" y="951333"/>
                    <a:pt x="1085966" y="953194"/>
                    <a:pt x="1086942" y="954524"/>
                  </a:cubicBezTo>
                  <a:cubicBezTo>
                    <a:pt x="1087917" y="955853"/>
                    <a:pt x="1089283" y="956651"/>
                    <a:pt x="1090649" y="956651"/>
                  </a:cubicBezTo>
                  <a:lnTo>
                    <a:pt x="1141777" y="956651"/>
                  </a:lnTo>
                  <a:lnTo>
                    <a:pt x="1141777" y="968483"/>
                  </a:lnTo>
                  <a:cubicBezTo>
                    <a:pt x="1141777" y="970344"/>
                    <a:pt x="1142362" y="972205"/>
                    <a:pt x="1143338" y="973534"/>
                  </a:cubicBezTo>
                  <a:cubicBezTo>
                    <a:pt x="1144313" y="974864"/>
                    <a:pt x="1145679" y="975661"/>
                    <a:pt x="1147045" y="975661"/>
                  </a:cubicBezTo>
                  <a:lnTo>
                    <a:pt x="1205588" y="975661"/>
                  </a:lnTo>
                  <a:lnTo>
                    <a:pt x="1205588" y="987493"/>
                  </a:lnTo>
                  <a:cubicBezTo>
                    <a:pt x="1205588" y="989355"/>
                    <a:pt x="1206173" y="991216"/>
                    <a:pt x="1207149" y="992545"/>
                  </a:cubicBezTo>
                  <a:cubicBezTo>
                    <a:pt x="1208125" y="993875"/>
                    <a:pt x="1209491" y="994672"/>
                    <a:pt x="1210857" y="994672"/>
                  </a:cubicBezTo>
                  <a:lnTo>
                    <a:pt x="1303647" y="994672"/>
                  </a:lnTo>
                  <a:lnTo>
                    <a:pt x="1303647" y="1006504"/>
                  </a:lnTo>
                  <a:cubicBezTo>
                    <a:pt x="1303647" y="1008365"/>
                    <a:pt x="1304232" y="1010226"/>
                    <a:pt x="1305208" y="1011556"/>
                  </a:cubicBezTo>
                  <a:cubicBezTo>
                    <a:pt x="1306184" y="1012885"/>
                    <a:pt x="1307550" y="1013683"/>
                    <a:pt x="1308916" y="1013683"/>
                  </a:cubicBezTo>
                  <a:lnTo>
                    <a:pt x="1315941" y="1013683"/>
                  </a:lnTo>
                  <a:lnTo>
                    <a:pt x="1315941" y="1025515"/>
                  </a:lnTo>
                  <a:cubicBezTo>
                    <a:pt x="1315941" y="1027376"/>
                    <a:pt x="1316526" y="1029237"/>
                    <a:pt x="1317502" y="1030567"/>
                  </a:cubicBezTo>
                  <a:cubicBezTo>
                    <a:pt x="1318478" y="1031896"/>
                    <a:pt x="1319844" y="1032694"/>
                    <a:pt x="1321210" y="1032694"/>
                  </a:cubicBezTo>
                  <a:lnTo>
                    <a:pt x="1335650" y="1032694"/>
                  </a:lnTo>
                  <a:lnTo>
                    <a:pt x="1335650" y="1044525"/>
                  </a:lnTo>
                  <a:cubicBezTo>
                    <a:pt x="1335650" y="1046387"/>
                    <a:pt x="1336236" y="1048248"/>
                    <a:pt x="1337211" y="1049577"/>
                  </a:cubicBezTo>
                  <a:cubicBezTo>
                    <a:pt x="1338187" y="1050907"/>
                    <a:pt x="1339553" y="1051704"/>
                    <a:pt x="1340919" y="1051704"/>
                  </a:cubicBezTo>
                  <a:lnTo>
                    <a:pt x="1350383" y="1051704"/>
                  </a:lnTo>
                  <a:lnTo>
                    <a:pt x="1350383" y="1063536"/>
                  </a:lnTo>
                  <a:cubicBezTo>
                    <a:pt x="1350383" y="1065397"/>
                    <a:pt x="1350969" y="1067259"/>
                    <a:pt x="1351945" y="1068588"/>
                  </a:cubicBezTo>
                  <a:cubicBezTo>
                    <a:pt x="1352920" y="1069917"/>
                    <a:pt x="1354286" y="1070715"/>
                    <a:pt x="1355652" y="1070715"/>
                  </a:cubicBezTo>
                  <a:lnTo>
                    <a:pt x="1502399" y="1070715"/>
                  </a:lnTo>
                  <a:lnTo>
                    <a:pt x="1502399" y="1082813"/>
                  </a:lnTo>
                  <a:cubicBezTo>
                    <a:pt x="1502399" y="1084674"/>
                    <a:pt x="1502985" y="1086535"/>
                    <a:pt x="1503960" y="1087865"/>
                  </a:cubicBezTo>
                  <a:cubicBezTo>
                    <a:pt x="1504936" y="1089194"/>
                    <a:pt x="1506302" y="1089992"/>
                    <a:pt x="1507668" y="1089992"/>
                  </a:cubicBezTo>
                  <a:lnTo>
                    <a:pt x="1622607" y="1089992"/>
                  </a:lnTo>
                  <a:lnTo>
                    <a:pt x="1622607" y="1102222"/>
                  </a:lnTo>
                  <a:cubicBezTo>
                    <a:pt x="1622607" y="1104084"/>
                    <a:pt x="1623192" y="1105945"/>
                    <a:pt x="1624168" y="1107274"/>
                  </a:cubicBezTo>
                  <a:cubicBezTo>
                    <a:pt x="1625144" y="1108604"/>
                    <a:pt x="1626510" y="1109401"/>
                    <a:pt x="1627876" y="1109401"/>
                  </a:cubicBezTo>
                  <a:lnTo>
                    <a:pt x="1791795" y="1109401"/>
                  </a:lnTo>
                  <a:lnTo>
                    <a:pt x="1791795" y="1121499"/>
                  </a:lnTo>
                  <a:cubicBezTo>
                    <a:pt x="1791795" y="1123360"/>
                    <a:pt x="1792380" y="1125221"/>
                    <a:pt x="1793356" y="1126551"/>
                  </a:cubicBezTo>
                  <a:cubicBezTo>
                    <a:pt x="1794332" y="1127880"/>
                    <a:pt x="1795698" y="1128678"/>
                    <a:pt x="1797064" y="1128678"/>
                  </a:cubicBezTo>
                  <a:lnTo>
                    <a:pt x="2213497" y="1128678"/>
                  </a:lnTo>
                  <a:lnTo>
                    <a:pt x="2213497" y="1141174"/>
                  </a:lnTo>
                  <a:cubicBezTo>
                    <a:pt x="2213497" y="1143036"/>
                    <a:pt x="2214082" y="1144897"/>
                    <a:pt x="2215058" y="1146226"/>
                  </a:cubicBezTo>
                  <a:cubicBezTo>
                    <a:pt x="2216034" y="1147556"/>
                    <a:pt x="2217400" y="1148353"/>
                    <a:pt x="2218766" y="1148353"/>
                  </a:cubicBezTo>
                  <a:lnTo>
                    <a:pt x="2659982" y="1148353"/>
                  </a:lnTo>
                  <a:lnTo>
                    <a:pt x="2659982" y="1155000"/>
                  </a:lnTo>
                  <a:lnTo>
                    <a:pt x="2831512" y="1155000"/>
                  </a:lnTo>
                  <a:lnTo>
                    <a:pt x="2831512" y="1179462"/>
                  </a:lnTo>
                  <a:lnTo>
                    <a:pt x="3017482" y="1179462"/>
                  </a:lnTo>
                  <a:lnTo>
                    <a:pt x="3017482" y="1185444"/>
                  </a:lnTo>
                  <a:cubicBezTo>
                    <a:pt x="3017482" y="1187305"/>
                    <a:pt x="3018068" y="1189166"/>
                    <a:pt x="3019044" y="1190496"/>
                  </a:cubicBezTo>
                  <a:cubicBezTo>
                    <a:pt x="3020019" y="1191825"/>
                    <a:pt x="3021385" y="1192623"/>
                    <a:pt x="3022751" y="1192623"/>
                  </a:cubicBezTo>
                  <a:lnTo>
                    <a:pt x="3267850" y="1192623"/>
                  </a:lnTo>
                  <a:lnTo>
                    <a:pt x="3267850" y="1207778"/>
                  </a:lnTo>
                  <a:lnTo>
                    <a:pt x="3375666" y="1207778"/>
                  </a:lnTo>
                  <a:lnTo>
                    <a:pt x="3375666" y="1240083"/>
                  </a:lnTo>
                  <a:lnTo>
                    <a:pt x="4042857" y="1240083"/>
                  </a:lnTo>
                  <a:lnTo>
                    <a:pt x="4042857" y="1366644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70" name="Freihandform: Form 969">
              <a:extLst>
                <a:ext uri="{FF2B5EF4-FFF2-40B4-BE49-F238E27FC236}">
                  <a16:creationId xmlns:a16="http://schemas.microsoft.com/office/drawing/2014/main" id="{393C6914-8AA0-D9B3-A27B-A158C9DF55B8}"/>
                </a:ext>
              </a:extLst>
            </p:cNvPr>
            <p:cNvSpPr/>
            <p:nvPr/>
          </p:nvSpPr>
          <p:spPr>
            <a:xfrm>
              <a:off x="7323926" y="1495328"/>
              <a:ext cx="12293" cy="1063"/>
            </a:xfrm>
            <a:custGeom>
              <a:avLst/>
              <a:gdLst>
                <a:gd name="connsiteX0" fmla="*/ 0 w 12293"/>
                <a:gd name="connsiteY0" fmla="*/ 0 h 1063"/>
                <a:gd name="connsiteX1" fmla="*/ 12294 w 12293"/>
                <a:gd name="connsiteY1" fmla="*/ 0 h 1063"/>
                <a:gd name="connsiteX2" fmla="*/ 12294 w 12293"/>
                <a:gd name="connsiteY2" fmla="*/ 1064 h 1063"/>
                <a:gd name="connsiteX3" fmla="*/ 0 w 12293"/>
                <a:gd name="connsiteY3" fmla="*/ 1064 h 1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93" h="1063">
                  <a:moveTo>
                    <a:pt x="0" y="0"/>
                  </a:moveTo>
                  <a:lnTo>
                    <a:pt x="12294" y="0"/>
                  </a:lnTo>
                  <a:lnTo>
                    <a:pt x="12294" y="1064"/>
                  </a:lnTo>
                  <a:lnTo>
                    <a:pt x="0" y="1064"/>
                  </a:lnTo>
                  <a:close/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71" name="Freihandform: Form 970">
              <a:extLst>
                <a:ext uri="{FF2B5EF4-FFF2-40B4-BE49-F238E27FC236}">
                  <a16:creationId xmlns:a16="http://schemas.microsoft.com/office/drawing/2014/main" id="{09480A26-51F9-4E11-93E8-66D94BF783DF}"/>
                </a:ext>
              </a:extLst>
            </p:cNvPr>
            <p:cNvSpPr/>
            <p:nvPr/>
          </p:nvSpPr>
          <p:spPr>
            <a:xfrm>
              <a:off x="9098451" y="2345227"/>
              <a:ext cx="2099046" cy="336343"/>
            </a:xfrm>
            <a:custGeom>
              <a:avLst/>
              <a:gdLst>
                <a:gd name="connsiteX0" fmla="*/ 1073672 w 2099046"/>
                <a:gd name="connsiteY0" fmla="*/ 275855 h 336343"/>
                <a:gd name="connsiteX1" fmla="*/ 887702 w 2099046"/>
                <a:gd name="connsiteY1" fmla="*/ 275855 h 336343"/>
                <a:gd name="connsiteX2" fmla="*/ 887702 w 2099046"/>
                <a:gd name="connsiteY2" fmla="*/ 251393 h 336343"/>
                <a:gd name="connsiteX3" fmla="*/ 716171 w 2099046"/>
                <a:gd name="connsiteY3" fmla="*/ 251393 h 336343"/>
                <a:gd name="connsiteX4" fmla="*/ 716171 w 2099046"/>
                <a:gd name="connsiteY4" fmla="*/ 244746 h 336343"/>
                <a:gd name="connsiteX5" fmla="*/ 985468 w 2099046"/>
                <a:gd name="connsiteY5" fmla="*/ 244746 h 336343"/>
                <a:gd name="connsiteX6" fmla="*/ 985468 w 2099046"/>
                <a:gd name="connsiteY6" fmla="*/ 259237 h 336343"/>
                <a:gd name="connsiteX7" fmla="*/ 987029 w 2099046"/>
                <a:gd name="connsiteY7" fmla="*/ 264289 h 336343"/>
                <a:gd name="connsiteX8" fmla="*/ 990737 w 2099046"/>
                <a:gd name="connsiteY8" fmla="*/ 266416 h 336343"/>
                <a:gd name="connsiteX9" fmla="*/ 1073769 w 2099046"/>
                <a:gd name="connsiteY9" fmla="*/ 266416 h 336343"/>
                <a:gd name="connsiteX10" fmla="*/ 1073769 w 2099046"/>
                <a:gd name="connsiteY10" fmla="*/ 275855 h 336343"/>
                <a:gd name="connsiteX11" fmla="*/ 2098949 w 2099046"/>
                <a:gd name="connsiteY11" fmla="*/ 336343 h 336343"/>
                <a:gd name="connsiteX12" fmla="*/ 1431758 w 2099046"/>
                <a:gd name="connsiteY12" fmla="*/ 336343 h 336343"/>
                <a:gd name="connsiteX13" fmla="*/ 1431758 w 2099046"/>
                <a:gd name="connsiteY13" fmla="*/ 304038 h 336343"/>
                <a:gd name="connsiteX14" fmla="*/ 1323942 w 2099046"/>
                <a:gd name="connsiteY14" fmla="*/ 304038 h 336343"/>
                <a:gd name="connsiteX15" fmla="*/ 1323942 w 2099046"/>
                <a:gd name="connsiteY15" fmla="*/ 288883 h 336343"/>
                <a:gd name="connsiteX16" fmla="*/ 2098949 w 2099046"/>
                <a:gd name="connsiteY16" fmla="*/ 288883 h 336343"/>
                <a:gd name="connsiteX17" fmla="*/ 2098949 w 2099046"/>
                <a:gd name="connsiteY17" fmla="*/ 274658 h 336343"/>
                <a:gd name="connsiteX18" fmla="*/ 1084015 w 2099046"/>
                <a:gd name="connsiteY18" fmla="*/ 274658 h 336343"/>
                <a:gd name="connsiteX19" fmla="*/ 1084015 w 2099046"/>
                <a:gd name="connsiteY19" fmla="*/ 259237 h 336343"/>
                <a:gd name="connsiteX20" fmla="*/ 1082453 w 2099046"/>
                <a:gd name="connsiteY20" fmla="*/ 254185 h 336343"/>
                <a:gd name="connsiteX21" fmla="*/ 1078746 w 2099046"/>
                <a:gd name="connsiteY21" fmla="*/ 252058 h 336343"/>
                <a:gd name="connsiteX22" fmla="*/ 995713 w 2099046"/>
                <a:gd name="connsiteY22" fmla="*/ 252058 h 336343"/>
                <a:gd name="connsiteX23" fmla="*/ 995713 w 2099046"/>
                <a:gd name="connsiteY23" fmla="*/ 237567 h 336343"/>
                <a:gd name="connsiteX24" fmla="*/ 994151 w 2099046"/>
                <a:gd name="connsiteY24" fmla="*/ 232516 h 336343"/>
                <a:gd name="connsiteX25" fmla="*/ 990444 w 2099046"/>
                <a:gd name="connsiteY25" fmla="*/ 230389 h 336343"/>
                <a:gd name="connsiteX26" fmla="*/ 715879 w 2099046"/>
                <a:gd name="connsiteY26" fmla="*/ 230389 h 336343"/>
                <a:gd name="connsiteX27" fmla="*/ 715879 w 2099046"/>
                <a:gd name="connsiteY27" fmla="*/ 227331 h 336343"/>
                <a:gd name="connsiteX28" fmla="*/ 683973 w 2099046"/>
                <a:gd name="connsiteY28" fmla="*/ 227331 h 336343"/>
                <a:gd name="connsiteX29" fmla="*/ 683973 w 2099046"/>
                <a:gd name="connsiteY29" fmla="*/ 203135 h 336343"/>
                <a:gd name="connsiteX30" fmla="*/ 617820 w 2099046"/>
                <a:gd name="connsiteY30" fmla="*/ 203135 h 336343"/>
                <a:gd name="connsiteX31" fmla="*/ 617820 w 2099046"/>
                <a:gd name="connsiteY31" fmla="*/ 179871 h 336343"/>
                <a:gd name="connsiteX32" fmla="*/ 563863 w 2099046"/>
                <a:gd name="connsiteY32" fmla="*/ 179871 h 336343"/>
                <a:gd name="connsiteX33" fmla="*/ 563863 w 2099046"/>
                <a:gd name="connsiteY33" fmla="*/ 156872 h 336343"/>
                <a:gd name="connsiteX34" fmla="*/ 527079 w 2099046"/>
                <a:gd name="connsiteY34" fmla="*/ 156872 h 336343"/>
                <a:gd name="connsiteX35" fmla="*/ 527079 w 2099046"/>
                <a:gd name="connsiteY35" fmla="*/ 133873 h 336343"/>
                <a:gd name="connsiteX36" fmla="*/ 367745 w 2099046"/>
                <a:gd name="connsiteY36" fmla="*/ 133873 h 336343"/>
                <a:gd name="connsiteX37" fmla="*/ 367745 w 2099046"/>
                <a:gd name="connsiteY37" fmla="*/ 110741 h 336343"/>
                <a:gd name="connsiteX38" fmla="*/ 355549 w 2099046"/>
                <a:gd name="connsiteY38" fmla="*/ 110741 h 336343"/>
                <a:gd name="connsiteX39" fmla="*/ 355549 w 2099046"/>
                <a:gd name="connsiteY39" fmla="*/ 87476 h 336343"/>
                <a:gd name="connsiteX40" fmla="*/ 323643 w 2099046"/>
                <a:gd name="connsiteY40" fmla="*/ 87476 h 336343"/>
                <a:gd name="connsiteX41" fmla="*/ 323643 w 2099046"/>
                <a:gd name="connsiteY41" fmla="*/ 64211 h 336343"/>
                <a:gd name="connsiteX42" fmla="*/ 301592 w 2099046"/>
                <a:gd name="connsiteY42" fmla="*/ 64211 h 336343"/>
                <a:gd name="connsiteX43" fmla="*/ 301592 w 2099046"/>
                <a:gd name="connsiteY43" fmla="*/ 40813 h 336343"/>
                <a:gd name="connsiteX44" fmla="*/ 24490 w 2099046"/>
                <a:gd name="connsiteY44" fmla="*/ 40813 h 336343"/>
                <a:gd name="connsiteX45" fmla="*/ 24490 w 2099046"/>
                <a:gd name="connsiteY45" fmla="*/ 18878 h 336343"/>
                <a:gd name="connsiteX46" fmla="*/ 0 w 2099046"/>
                <a:gd name="connsiteY46" fmla="*/ 18878 h 336343"/>
                <a:gd name="connsiteX47" fmla="*/ 0 w 2099046"/>
                <a:gd name="connsiteY47" fmla="*/ 0 h 336343"/>
                <a:gd name="connsiteX48" fmla="*/ 274565 w 2099046"/>
                <a:gd name="connsiteY48" fmla="*/ 0 h 336343"/>
                <a:gd name="connsiteX49" fmla="*/ 274565 w 2099046"/>
                <a:gd name="connsiteY49" fmla="*/ 19144 h 336343"/>
                <a:gd name="connsiteX50" fmla="*/ 678704 w 2099046"/>
                <a:gd name="connsiteY50" fmla="*/ 19144 h 336343"/>
                <a:gd name="connsiteX51" fmla="*/ 678704 w 2099046"/>
                <a:gd name="connsiteY51" fmla="*/ 34166 h 336343"/>
                <a:gd name="connsiteX52" fmla="*/ 680265 w 2099046"/>
                <a:gd name="connsiteY52" fmla="*/ 39218 h 336343"/>
                <a:gd name="connsiteX53" fmla="*/ 683973 w 2099046"/>
                <a:gd name="connsiteY53" fmla="*/ 41345 h 336343"/>
                <a:gd name="connsiteX54" fmla="*/ 710610 w 2099046"/>
                <a:gd name="connsiteY54" fmla="*/ 41345 h 336343"/>
                <a:gd name="connsiteX55" fmla="*/ 710610 w 2099046"/>
                <a:gd name="connsiteY55" fmla="*/ 57697 h 336343"/>
                <a:gd name="connsiteX56" fmla="*/ 712171 w 2099046"/>
                <a:gd name="connsiteY56" fmla="*/ 62749 h 336343"/>
                <a:gd name="connsiteX57" fmla="*/ 715879 w 2099046"/>
                <a:gd name="connsiteY57" fmla="*/ 64876 h 336343"/>
                <a:gd name="connsiteX58" fmla="*/ 882238 w 2099046"/>
                <a:gd name="connsiteY58" fmla="*/ 64876 h 336343"/>
                <a:gd name="connsiteX59" fmla="*/ 882238 w 2099046"/>
                <a:gd name="connsiteY59" fmla="*/ 81626 h 336343"/>
                <a:gd name="connsiteX60" fmla="*/ 883798 w 2099046"/>
                <a:gd name="connsiteY60" fmla="*/ 86678 h 336343"/>
                <a:gd name="connsiteX61" fmla="*/ 887506 w 2099046"/>
                <a:gd name="connsiteY61" fmla="*/ 88805 h 336343"/>
                <a:gd name="connsiteX62" fmla="*/ 1318673 w 2099046"/>
                <a:gd name="connsiteY62" fmla="*/ 88805 h 336343"/>
                <a:gd name="connsiteX63" fmla="*/ 1318673 w 2099046"/>
                <a:gd name="connsiteY63" fmla="*/ 108747 h 336343"/>
                <a:gd name="connsiteX64" fmla="*/ 1320234 w 2099046"/>
                <a:gd name="connsiteY64" fmla="*/ 113798 h 336343"/>
                <a:gd name="connsiteX65" fmla="*/ 1323942 w 2099046"/>
                <a:gd name="connsiteY65" fmla="*/ 115925 h 336343"/>
                <a:gd name="connsiteX66" fmla="*/ 1426586 w 2099046"/>
                <a:gd name="connsiteY66" fmla="*/ 115925 h 336343"/>
                <a:gd name="connsiteX67" fmla="*/ 1426586 w 2099046"/>
                <a:gd name="connsiteY67" fmla="*/ 139323 h 336343"/>
                <a:gd name="connsiteX68" fmla="*/ 1428148 w 2099046"/>
                <a:gd name="connsiteY68" fmla="*/ 144375 h 336343"/>
                <a:gd name="connsiteX69" fmla="*/ 1431855 w 2099046"/>
                <a:gd name="connsiteY69" fmla="*/ 146502 h 336343"/>
                <a:gd name="connsiteX70" fmla="*/ 2099046 w 2099046"/>
                <a:gd name="connsiteY70" fmla="*/ 146502 h 336343"/>
                <a:gd name="connsiteX71" fmla="*/ 2099046 w 2099046"/>
                <a:gd name="connsiteY71" fmla="*/ 132277 h 336343"/>
                <a:gd name="connsiteX72" fmla="*/ 1437124 w 2099046"/>
                <a:gd name="connsiteY72" fmla="*/ 132277 h 336343"/>
                <a:gd name="connsiteX73" fmla="*/ 1437124 w 2099046"/>
                <a:gd name="connsiteY73" fmla="*/ 108880 h 336343"/>
                <a:gd name="connsiteX74" fmla="*/ 1435563 w 2099046"/>
                <a:gd name="connsiteY74" fmla="*/ 103828 h 336343"/>
                <a:gd name="connsiteX75" fmla="*/ 1431855 w 2099046"/>
                <a:gd name="connsiteY75" fmla="*/ 101701 h 336343"/>
                <a:gd name="connsiteX76" fmla="*/ 1329211 w 2099046"/>
                <a:gd name="connsiteY76" fmla="*/ 101701 h 336343"/>
                <a:gd name="connsiteX77" fmla="*/ 1329211 w 2099046"/>
                <a:gd name="connsiteY77" fmla="*/ 81759 h 336343"/>
                <a:gd name="connsiteX78" fmla="*/ 1327649 w 2099046"/>
                <a:gd name="connsiteY78" fmla="*/ 76708 h 336343"/>
                <a:gd name="connsiteX79" fmla="*/ 1323942 w 2099046"/>
                <a:gd name="connsiteY79" fmla="*/ 74580 h 336343"/>
                <a:gd name="connsiteX80" fmla="*/ 892775 w 2099046"/>
                <a:gd name="connsiteY80" fmla="*/ 74580 h 336343"/>
                <a:gd name="connsiteX81" fmla="*/ 892775 w 2099046"/>
                <a:gd name="connsiteY81" fmla="*/ 57830 h 336343"/>
                <a:gd name="connsiteX82" fmla="*/ 891214 w 2099046"/>
                <a:gd name="connsiteY82" fmla="*/ 52778 h 336343"/>
                <a:gd name="connsiteX83" fmla="*/ 887506 w 2099046"/>
                <a:gd name="connsiteY83" fmla="*/ 50651 h 336343"/>
                <a:gd name="connsiteX84" fmla="*/ 721148 w 2099046"/>
                <a:gd name="connsiteY84" fmla="*/ 50651 h 336343"/>
                <a:gd name="connsiteX85" fmla="*/ 721148 w 2099046"/>
                <a:gd name="connsiteY85" fmla="*/ 34299 h 336343"/>
                <a:gd name="connsiteX86" fmla="*/ 719587 w 2099046"/>
                <a:gd name="connsiteY86" fmla="*/ 29247 h 336343"/>
                <a:gd name="connsiteX87" fmla="*/ 715879 w 2099046"/>
                <a:gd name="connsiteY87" fmla="*/ 27120 h 336343"/>
                <a:gd name="connsiteX88" fmla="*/ 689242 w 2099046"/>
                <a:gd name="connsiteY88" fmla="*/ 27120 h 336343"/>
                <a:gd name="connsiteX89" fmla="*/ 689242 w 2099046"/>
                <a:gd name="connsiteY89" fmla="*/ 19144 h 336343"/>
                <a:gd name="connsiteX90" fmla="*/ 990444 w 2099046"/>
                <a:gd name="connsiteY90" fmla="*/ 19144 h 336343"/>
                <a:gd name="connsiteX91" fmla="*/ 990444 w 2099046"/>
                <a:gd name="connsiteY91" fmla="*/ 39750 h 336343"/>
                <a:gd name="connsiteX92" fmla="*/ 1078746 w 2099046"/>
                <a:gd name="connsiteY92" fmla="*/ 39750 h 336343"/>
                <a:gd name="connsiteX93" fmla="*/ 1078746 w 2099046"/>
                <a:gd name="connsiteY93" fmla="*/ 61286 h 336343"/>
                <a:gd name="connsiteX94" fmla="*/ 2098851 w 2099046"/>
                <a:gd name="connsiteY94" fmla="*/ 61286 h 336343"/>
                <a:gd name="connsiteX95" fmla="*/ 2098851 w 2099046"/>
                <a:gd name="connsiteY95" fmla="*/ 336343 h 336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</a:cxnLst>
              <a:rect l="l" t="t" r="r" b="b"/>
              <a:pathLst>
                <a:path w="2099046" h="336343">
                  <a:moveTo>
                    <a:pt x="1073672" y="275855"/>
                  </a:moveTo>
                  <a:lnTo>
                    <a:pt x="887702" y="275855"/>
                  </a:lnTo>
                  <a:lnTo>
                    <a:pt x="887702" y="251393"/>
                  </a:lnTo>
                  <a:lnTo>
                    <a:pt x="716171" y="251393"/>
                  </a:lnTo>
                  <a:lnTo>
                    <a:pt x="716171" y="244746"/>
                  </a:lnTo>
                  <a:lnTo>
                    <a:pt x="985468" y="244746"/>
                  </a:lnTo>
                  <a:lnTo>
                    <a:pt x="985468" y="259237"/>
                  </a:lnTo>
                  <a:cubicBezTo>
                    <a:pt x="985468" y="261098"/>
                    <a:pt x="986053" y="262959"/>
                    <a:pt x="987029" y="264289"/>
                  </a:cubicBezTo>
                  <a:cubicBezTo>
                    <a:pt x="988005" y="265618"/>
                    <a:pt x="989370" y="266416"/>
                    <a:pt x="990737" y="266416"/>
                  </a:cubicBezTo>
                  <a:lnTo>
                    <a:pt x="1073769" y="266416"/>
                  </a:lnTo>
                  <a:lnTo>
                    <a:pt x="1073769" y="275855"/>
                  </a:lnTo>
                  <a:moveTo>
                    <a:pt x="2098949" y="336343"/>
                  </a:moveTo>
                  <a:lnTo>
                    <a:pt x="1431758" y="336343"/>
                  </a:lnTo>
                  <a:lnTo>
                    <a:pt x="1431758" y="304038"/>
                  </a:lnTo>
                  <a:lnTo>
                    <a:pt x="1323942" y="304038"/>
                  </a:lnTo>
                  <a:lnTo>
                    <a:pt x="1323942" y="288883"/>
                  </a:lnTo>
                  <a:lnTo>
                    <a:pt x="2098949" y="288883"/>
                  </a:lnTo>
                  <a:lnTo>
                    <a:pt x="2098949" y="274658"/>
                  </a:lnTo>
                  <a:lnTo>
                    <a:pt x="1084015" y="274658"/>
                  </a:lnTo>
                  <a:lnTo>
                    <a:pt x="1084015" y="259237"/>
                  </a:lnTo>
                  <a:cubicBezTo>
                    <a:pt x="1084015" y="257376"/>
                    <a:pt x="1083429" y="255515"/>
                    <a:pt x="1082453" y="254185"/>
                  </a:cubicBezTo>
                  <a:cubicBezTo>
                    <a:pt x="1081478" y="252856"/>
                    <a:pt x="1080112" y="252058"/>
                    <a:pt x="1078746" y="252058"/>
                  </a:cubicBezTo>
                  <a:lnTo>
                    <a:pt x="995713" y="252058"/>
                  </a:lnTo>
                  <a:lnTo>
                    <a:pt x="995713" y="237567"/>
                  </a:lnTo>
                  <a:cubicBezTo>
                    <a:pt x="995713" y="235706"/>
                    <a:pt x="995127" y="233845"/>
                    <a:pt x="994151" y="232516"/>
                  </a:cubicBezTo>
                  <a:cubicBezTo>
                    <a:pt x="993176" y="231186"/>
                    <a:pt x="991810" y="230389"/>
                    <a:pt x="990444" y="230389"/>
                  </a:cubicBezTo>
                  <a:lnTo>
                    <a:pt x="715879" y="230389"/>
                  </a:lnTo>
                  <a:lnTo>
                    <a:pt x="715879" y="227331"/>
                  </a:lnTo>
                  <a:lnTo>
                    <a:pt x="683973" y="227331"/>
                  </a:lnTo>
                  <a:lnTo>
                    <a:pt x="683973" y="203135"/>
                  </a:lnTo>
                  <a:lnTo>
                    <a:pt x="617820" y="203135"/>
                  </a:lnTo>
                  <a:lnTo>
                    <a:pt x="617820" y="179871"/>
                  </a:lnTo>
                  <a:lnTo>
                    <a:pt x="563863" y="179871"/>
                  </a:lnTo>
                  <a:lnTo>
                    <a:pt x="563863" y="156872"/>
                  </a:lnTo>
                  <a:lnTo>
                    <a:pt x="527079" y="156872"/>
                  </a:lnTo>
                  <a:lnTo>
                    <a:pt x="527079" y="133873"/>
                  </a:lnTo>
                  <a:lnTo>
                    <a:pt x="367745" y="133873"/>
                  </a:lnTo>
                  <a:lnTo>
                    <a:pt x="367745" y="110741"/>
                  </a:lnTo>
                  <a:lnTo>
                    <a:pt x="355549" y="110741"/>
                  </a:lnTo>
                  <a:lnTo>
                    <a:pt x="355549" y="87476"/>
                  </a:lnTo>
                  <a:lnTo>
                    <a:pt x="323643" y="87476"/>
                  </a:lnTo>
                  <a:lnTo>
                    <a:pt x="323643" y="64211"/>
                  </a:lnTo>
                  <a:lnTo>
                    <a:pt x="301592" y="64211"/>
                  </a:lnTo>
                  <a:lnTo>
                    <a:pt x="301592" y="40813"/>
                  </a:lnTo>
                  <a:lnTo>
                    <a:pt x="24490" y="40813"/>
                  </a:lnTo>
                  <a:lnTo>
                    <a:pt x="24490" y="18878"/>
                  </a:lnTo>
                  <a:lnTo>
                    <a:pt x="0" y="18878"/>
                  </a:lnTo>
                  <a:lnTo>
                    <a:pt x="0" y="0"/>
                  </a:lnTo>
                  <a:lnTo>
                    <a:pt x="274565" y="0"/>
                  </a:lnTo>
                  <a:lnTo>
                    <a:pt x="274565" y="19144"/>
                  </a:lnTo>
                  <a:lnTo>
                    <a:pt x="678704" y="19144"/>
                  </a:lnTo>
                  <a:lnTo>
                    <a:pt x="678704" y="34166"/>
                  </a:lnTo>
                  <a:cubicBezTo>
                    <a:pt x="678704" y="36027"/>
                    <a:pt x="679290" y="37889"/>
                    <a:pt x="680265" y="39218"/>
                  </a:cubicBezTo>
                  <a:cubicBezTo>
                    <a:pt x="681241" y="40547"/>
                    <a:pt x="682607" y="41345"/>
                    <a:pt x="683973" y="41345"/>
                  </a:cubicBezTo>
                  <a:lnTo>
                    <a:pt x="710610" y="41345"/>
                  </a:lnTo>
                  <a:lnTo>
                    <a:pt x="710610" y="57697"/>
                  </a:lnTo>
                  <a:cubicBezTo>
                    <a:pt x="710610" y="59558"/>
                    <a:pt x="711195" y="61419"/>
                    <a:pt x="712171" y="62749"/>
                  </a:cubicBezTo>
                  <a:cubicBezTo>
                    <a:pt x="713147" y="64078"/>
                    <a:pt x="714513" y="64876"/>
                    <a:pt x="715879" y="64876"/>
                  </a:cubicBezTo>
                  <a:lnTo>
                    <a:pt x="882238" y="64876"/>
                  </a:lnTo>
                  <a:lnTo>
                    <a:pt x="882238" y="81626"/>
                  </a:lnTo>
                  <a:cubicBezTo>
                    <a:pt x="882238" y="83488"/>
                    <a:pt x="882823" y="85349"/>
                    <a:pt x="883798" y="86678"/>
                  </a:cubicBezTo>
                  <a:cubicBezTo>
                    <a:pt x="884774" y="88008"/>
                    <a:pt x="886140" y="88805"/>
                    <a:pt x="887506" y="88805"/>
                  </a:cubicBezTo>
                  <a:lnTo>
                    <a:pt x="1318673" y="88805"/>
                  </a:lnTo>
                  <a:lnTo>
                    <a:pt x="1318673" y="108747"/>
                  </a:lnTo>
                  <a:cubicBezTo>
                    <a:pt x="1318673" y="110608"/>
                    <a:pt x="1319258" y="112469"/>
                    <a:pt x="1320234" y="113798"/>
                  </a:cubicBezTo>
                  <a:cubicBezTo>
                    <a:pt x="1321210" y="115128"/>
                    <a:pt x="1322576" y="115925"/>
                    <a:pt x="1323942" y="115925"/>
                  </a:cubicBezTo>
                  <a:lnTo>
                    <a:pt x="1426586" y="115925"/>
                  </a:lnTo>
                  <a:lnTo>
                    <a:pt x="1426586" y="139323"/>
                  </a:lnTo>
                  <a:cubicBezTo>
                    <a:pt x="1426586" y="141184"/>
                    <a:pt x="1427172" y="143046"/>
                    <a:pt x="1428148" y="144375"/>
                  </a:cubicBezTo>
                  <a:cubicBezTo>
                    <a:pt x="1429123" y="145704"/>
                    <a:pt x="1430489" y="146502"/>
                    <a:pt x="1431855" y="146502"/>
                  </a:cubicBezTo>
                  <a:lnTo>
                    <a:pt x="2099046" y="146502"/>
                  </a:lnTo>
                  <a:lnTo>
                    <a:pt x="2099046" y="132277"/>
                  </a:lnTo>
                  <a:lnTo>
                    <a:pt x="1437124" y="132277"/>
                  </a:lnTo>
                  <a:lnTo>
                    <a:pt x="1437124" y="108880"/>
                  </a:lnTo>
                  <a:cubicBezTo>
                    <a:pt x="1437124" y="107018"/>
                    <a:pt x="1436539" y="105157"/>
                    <a:pt x="1435563" y="103828"/>
                  </a:cubicBezTo>
                  <a:cubicBezTo>
                    <a:pt x="1434587" y="102498"/>
                    <a:pt x="1433221" y="101701"/>
                    <a:pt x="1431855" y="101701"/>
                  </a:cubicBezTo>
                  <a:lnTo>
                    <a:pt x="1329211" y="101701"/>
                  </a:lnTo>
                  <a:lnTo>
                    <a:pt x="1329211" y="81759"/>
                  </a:lnTo>
                  <a:cubicBezTo>
                    <a:pt x="1329211" y="79898"/>
                    <a:pt x="1328625" y="78037"/>
                    <a:pt x="1327649" y="76708"/>
                  </a:cubicBezTo>
                  <a:cubicBezTo>
                    <a:pt x="1326674" y="75378"/>
                    <a:pt x="1325308" y="74580"/>
                    <a:pt x="1323942" y="74580"/>
                  </a:cubicBezTo>
                  <a:lnTo>
                    <a:pt x="892775" y="74580"/>
                  </a:lnTo>
                  <a:lnTo>
                    <a:pt x="892775" y="57830"/>
                  </a:lnTo>
                  <a:cubicBezTo>
                    <a:pt x="892775" y="55969"/>
                    <a:pt x="892190" y="54107"/>
                    <a:pt x="891214" y="52778"/>
                  </a:cubicBezTo>
                  <a:cubicBezTo>
                    <a:pt x="890238" y="51449"/>
                    <a:pt x="888872" y="50651"/>
                    <a:pt x="887506" y="50651"/>
                  </a:cubicBezTo>
                  <a:lnTo>
                    <a:pt x="721148" y="50651"/>
                  </a:lnTo>
                  <a:lnTo>
                    <a:pt x="721148" y="34299"/>
                  </a:lnTo>
                  <a:cubicBezTo>
                    <a:pt x="721148" y="32438"/>
                    <a:pt x="720562" y="30577"/>
                    <a:pt x="719587" y="29247"/>
                  </a:cubicBezTo>
                  <a:cubicBezTo>
                    <a:pt x="718611" y="27918"/>
                    <a:pt x="717245" y="27120"/>
                    <a:pt x="715879" y="27120"/>
                  </a:cubicBezTo>
                  <a:lnTo>
                    <a:pt x="689242" y="27120"/>
                  </a:lnTo>
                  <a:lnTo>
                    <a:pt x="689242" y="19144"/>
                  </a:lnTo>
                  <a:lnTo>
                    <a:pt x="990444" y="19144"/>
                  </a:lnTo>
                  <a:lnTo>
                    <a:pt x="990444" y="39750"/>
                  </a:lnTo>
                  <a:lnTo>
                    <a:pt x="1078746" y="39750"/>
                  </a:lnTo>
                  <a:lnTo>
                    <a:pt x="1078746" y="61286"/>
                  </a:lnTo>
                  <a:lnTo>
                    <a:pt x="2098851" y="61286"/>
                  </a:lnTo>
                  <a:lnTo>
                    <a:pt x="2098851" y="336343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72" name="Freihandform: Form 971">
              <a:extLst>
                <a:ext uri="{FF2B5EF4-FFF2-40B4-BE49-F238E27FC236}">
                  <a16:creationId xmlns:a16="http://schemas.microsoft.com/office/drawing/2014/main" id="{245A8D85-1B16-344A-CED5-A57F12A0AE11}"/>
                </a:ext>
              </a:extLst>
            </p:cNvPr>
            <p:cNvSpPr/>
            <p:nvPr/>
          </p:nvSpPr>
          <p:spPr>
            <a:xfrm>
              <a:off x="7122930" y="1437498"/>
              <a:ext cx="88301" cy="7178"/>
            </a:xfrm>
            <a:custGeom>
              <a:avLst/>
              <a:gdLst>
                <a:gd name="connsiteX0" fmla="*/ 34345 w 88301"/>
                <a:gd name="connsiteY0" fmla="*/ 133 h 7178"/>
                <a:gd name="connsiteX1" fmla="*/ 0 w 88301"/>
                <a:gd name="connsiteY1" fmla="*/ 133 h 7178"/>
                <a:gd name="connsiteX2" fmla="*/ 34345 w 88301"/>
                <a:gd name="connsiteY2" fmla="*/ 133 h 7178"/>
                <a:gd name="connsiteX3" fmla="*/ 88302 w 88301"/>
                <a:gd name="connsiteY3" fmla="*/ 7179 h 7178"/>
                <a:gd name="connsiteX4" fmla="*/ 34345 w 88301"/>
                <a:gd name="connsiteY4" fmla="*/ 7179 h 7178"/>
                <a:gd name="connsiteX5" fmla="*/ 34345 w 88301"/>
                <a:gd name="connsiteY5" fmla="*/ 0 h 7178"/>
                <a:gd name="connsiteX6" fmla="*/ 85765 w 88301"/>
                <a:gd name="connsiteY6" fmla="*/ 0 h 7178"/>
                <a:gd name="connsiteX7" fmla="*/ 85765 w 88301"/>
                <a:gd name="connsiteY7" fmla="*/ 1462 h 7178"/>
                <a:gd name="connsiteX8" fmla="*/ 88204 w 88301"/>
                <a:gd name="connsiteY8" fmla="*/ 1462 h 7178"/>
                <a:gd name="connsiteX9" fmla="*/ 88204 w 88301"/>
                <a:gd name="connsiteY9" fmla="*/ 7046 h 7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8301" h="7178">
                  <a:moveTo>
                    <a:pt x="34345" y="133"/>
                  </a:moveTo>
                  <a:lnTo>
                    <a:pt x="0" y="133"/>
                  </a:lnTo>
                  <a:lnTo>
                    <a:pt x="34345" y="133"/>
                  </a:lnTo>
                  <a:moveTo>
                    <a:pt x="88302" y="7179"/>
                  </a:moveTo>
                  <a:lnTo>
                    <a:pt x="34345" y="7179"/>
                  </a:lnTo>
                  <a:lnTo>
                    <a:pt x="34345" y="0"/>
                  </a:lnTo>
                  <a:lnTo>
                    <a:pt x="85765" y="0"/>
                  </a:lnTo>
                  <a:lnTo>
                    <a:pt x="85765" y="1462"/>
                  </a:lnTo>
                  <a:lnTo>
                    <a:pt x="88204" y="1462"/>
                  </a:lnTo>
                  <a:lnTo>
                    <a:pt x="88204" y="7046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973" name="Grafik 996">
            <a:extLst>
              <a:ext uri="{FF2B5EF4-FFF2-40B4-BE49-F238E27FC236}">
                <a16:creationId xmlns:a16="http://schemas.microsoft.com/office/drawing/2014/main" id="{74741998-9F46-2C1A-460D-2ACC829E1565}"/>
              </a:ext>
            </a:extLst>
          </p:cNvPr>
          <p:cNvGrpSpPr/>
          <p:nvPr/>
        </p:nvGrpSpPr>
        <p:grpSpPr>
          <a:xfrm>
            <a:off x="7253460" y="1362124"/>
            <a:ext cx="3873766" cy="1246465"/>
            <a:chOff x="7323731" y="1435105"/>
            <a:chExt cx="3873766" cy="1246465"/>
          </a:xfrm>
          <a:solidFill>
            <a:schemeClr val="accent6">
              <a:alpha val="30000"/>
            </a:schemeClr>
          </a:solidFill>
        </p:grpSpPr>
        <p:sp>
          <p:nvSpPr>
            <p:cNvPr id="974" name="Freihandform: Form 973">
              <a:extLst>
                <a:ext uri="{FF2B5EF4-FFF2-40B4-BE49-F238E27FC236}">
                  <a16:creationId xmlns:a16="http://schemas.microsoft.com/office/drawing/2014/main" id="{68792E38-AB72-799B-3E05-5857960F05C1}"/>
                </a:ext>
              </a:extLst>
            </p:cNvPr>
            <p:cNvSpPr/>
            <p:nvPr/>
          </p:nvSpPr>
          <p:spPr>
            <a:xfrm>
              <a:off x="7323731" y="1435105"/>
              <a:ext cx="3873668" cy="1246464"/>
            </a:xfrm>
            <a:custGeom>
              <a:avLst/>
              <a:gdLst>
                <a:gd name="connsiteX0" fmla="*/ 2453717 w 3873668"/>
                <a:gd name="connsiteY0" fmla="*/ 929265 h 1246464"/>
                <a:gd name="connsiteX1" fmla="*/ 2049578 w 3873668"/>
                <a:gd name="connsiteY1" fmla="*/ 929265 h 1246464"/>
                <a:gd name="connsiteX2" fmla="*/ 2049578 w 3873668"/>
                <a:gd name="connsiteY2" fmla="*/ 910121 h 1246464"/>
                <a:gd name="connsiteX3" fmla="*/ 1775013 w 3873668"/>
                <a:gd name="connsiteY3" fmla="*/ 910121 h 1246464"/>
                <a:gd name="connsiteX4" fmla="*/ 1775013 w 3873668"/>
                <a:gd name="connsiteY4" fmla="*/ 907063 h 1246464"/>
                <a:gd name="connsiteX5" fmla="*/ 1725934 w 3873668"/>
                <a:gd name="connsiteY5" fmla="*/ 907063 h 1246464"/>
                <a:gd name="connsiteX6" fmla="*/ 1725934 w 3873668"/>
                <a:gd name="connsiteY6" fmla="*/ 884862 h 1246464"/>
                <a:gd name="connsiteX7" fmla="*/ 1627875 w 3873668"/>
                <a:gd name="connsiteY7" fmla="*/ 884862 h 1246464"/>
                <a:gd name="connsiteX8" fmla="*/ 1627875 w 3873668"/>
                <a:gd name="connsiteY8" fmla="*/ 862661 h 1246464"/>
                <a:gd name="connsiteX9" fmla="*/ 1581334 w 3873668"/>
                <a:gd name="connsiteY9" fmla="*/ 862661 h 1246464"/>
                <a:gd name="connsiteX10" fmla="*/ 1581334 w 3873668"/>
                <a:gd name="connsiteY10" fmla="*/ 840327 h 1246464"/>
                <a:gd name="connsiteX11" fmla="*/ 1566601 w 3873668"/>
                <a:gd name="connsiteY11" fmla="*/ 840327 h 1246464"/>
                <a:gd name="connsiteX12" fmla="*/ 1566601 w 3873668"/>
                <a:gd name="connsiteY12" fmla="*/ 817992 h 1246464"/>
                <a:gd name="connsiteX13" fmla="*/ 1385216 w 3873668"/>
                <a:gd name="connsiteY13" fmla="*/ 817992 h 1246464"/>
                <a:gd name="connsiteX14" fmla="*/ 1385216 w 3873668"/>
                <a:gd name="connsiteY14" fmla="*/ 795392 h 1246464"/>
                <a:gd name="connsiteX15" fmla="*/ 1289597 w 3873668"/>
                <a:gd name="connsiteY15" fmla="*/ 795392 h 1246464"/>
                <a:gd name="connsiteX16" fmla="*/ 1289597 w 3873668"/>
                <a:gd name="connsiteY16" fmla="*/ 772792 h 1246464"/>
                <a:gd name="connsiteX17" fmla="*/ 1287157 w 3873668"/>
                <a:gd name="connsiteY17" fmla="*/ 772792 h 1246464"/>
                <a:gd name="connsiteX18" fmla="*/ 1287157 w 3873668"/>
                <a:gd name="connsiteY18" fmla="*/ 750059 h 1246464"/>
                <a:gd name="connsiteX19" fmla="*/ 1260130 w 3873668"/>
                <a:gd name="connsiteY19" fmla="*/ 750059 h 1246464"/>
                <a:gd name="connsiteX20" fmla="*/ 1260130 w 3873668"/>
                <a:gd name="connsiteY20" fmla="*/ 727193 h 1246464"/>
                <a:gd name="connsiteX21" fmla="*/ 1137581 w 3873668"/>
                <a:gd name="connsiteY21" fmla="*/ 727193 h 1246464"/>
                <a:gd name="connsiteX22" fmla="*/ 1137581 w 3873668"/>
                <a:gd name="connsiteY22" fmla="*/ 681727 h 1246464"/>
                <a:gd name="connsiteX23" fmla="*/ 1127726 w 3873668"/>
                <a:gd name="connsiteY23" fmla="*/ 681727 h 1246464"/>
                <a:gd name="connsiteX24" fmla="*/ 1127726 w 3873668"/>
                <a:gd name="connsiteY24" fmla="*/ 658861 h 1246464"/>
                <a:gd name="connsiteX25" fmla="*/ 1115432 w 3873668"/>
                <a:gd name="connsiteY25" fmla="*/ 658861 h 1246464"/>
                <a:gd name="connsiteX26" fmla="*/ 1115432 w 3873668"/>
                <a:gd name="connsiteY26" fmla="*/ 635862 h 1246464"/>
                <a:gd name="connsiteX27" fmla="*/ 1110554 w 3873668"/>
                <a:gd name="connsiteY27" fmla="*/ 635862 h 1246464"/>
                <a:gd name="connsiteX28" fmla="*/ 1110554 w 3873668"/>
                <a:gd name="connsiteY28" fmla="*/ 589465 h 1246464"/>
                <a:gd name="connsiteX29" fmla="*/ 1090942 w 3873668"/>
                <a:gd name="connsiteY29" fmla="*/ 589465 h 1246464"/>
                <a:gd name="connsiteX30" fmla="*/ 1090942 w 3873668"/>
                <a:gd name="connsiteY30" fmla="*/ 566067 h 1246464"/>
                <a:gd name="connsiteX31" fmla="*/ 1032107 w 3873668"/>
                <a:gd name="connsiteY31" fmla="*/ 566067 h 1246464"/>
                <a:gd name="connsiteX32" fmla="*/ 1032107 w 3873668"/>
                <a:gd name="connsiteY32" fmla="*/ 518607 h 1246464"/>
                <a:gd name="connsiteX33" fmla="*/ 1012495 w 3873668"/>
                <a:gd name="connsiteY33" fmla="*/ 518607 h 1246464"/>
                <a:gd name="connsiteX34" fmla="*/ 1012495 w 3873668"/>
                <a:gd name="connsiteY34" fmla="*/ 494677 h 1246464"/>
                <a:gd name="connsiteX35" fmla="*/ 1000201 w 3873668"/>
                <a:gd name="connsiteY35" fmla="*/ 494677 h 1246464"/>
                <a:gd name="connsiteX36" fmla="*/ 1000201 w 3873668"/>
                <a:gd name="connsiteY36" fmla="*/ 470482 h 1246464"/>
                <a:gd name="connsiteX37" fmla="*/ 897263 w 3873668"/>
                <a:gd name="connsiteY37" fmla="*/ 470482 h 1246464"/>
                <a:gd name="connsiteX38" fmla="*/ 897263 w 3873668"/>
                <a:gd name="connsiteY38" fmla="*/ 446153 h 1246464"/>
                <a:gd name="connsiteX39" fmla="*/ 823695 w 3873668"/>
                <a:gd name="connsiteY39" fmla="*/ 446153 h 1246464"/>
                <a:gd name="connsiteX40" fmla="*/ 823695 w 3873668"/>
                <a:gd name="connsiteY40" fmla="*/ 421559 h 1246464"/>
                <a:gd name="connsiteX41" fmla="*/ 791887 w 3873668"/>
                <a:gd name="connsiteY41" fmla="*/ 421559 h 1246464"/>
                <a:gd name="connsiteX42" fmla="*/ 791887 w 3873668"/>
                <a:gd name="connsiteY42" fmla="*/ 396699 h 1246464"/>
                <a:gd name="connsiteX43" fmla="*/ 767396 w 3873668"/>
                <a:gd name="connsiteY43" fmla="*/ 396699 h 1246464"/>
                <a:gd name="connsiteX44" fmla="*/ 767396 w 3873668"/>
                <a:gd name="connsiteY44" fmla="*/ 371972 h 1246464"/>
                <a:gd name="connsiteX45" fmla="*/ 745345 w 3873668"/>
                <a:gd name="connsiteY45" fmla="*/ 371972 h 1246464"/>
                <a:gd name="connsiteX46" fmla="*/ 745345 w 3873668"/>
                <a:gd name="connsiteY46" fmla="*/ 346846 h 1246464"/>
                <a:gd name="connsiteX47" fmla="*/ 703585 w 3873668"/>
                <a:gd name="connsiteY47" fmla="*/ 346846 h 1246464"/>
                <a:gd name="connsiteX48" fmla="*/ 703585 w 3873668"/>
                <a:gd name="connsiteY48" fmla="*/ 321454 h 1246464"/>
                <a:gd name="connsiteX49" fmla="*/ 683973 w 3873668"/>
                <a:gd name="connsiteY49" fmla="*/ 321454 h 1246464"/>
                <a:gd name="connsiteX50" fmla="*/ 683973 w 3873668"/>
                <a:gd name="connsiteY50" fmla="*/ 295663 h 1246464"/>
                <a:gd name="connsiteX51" fmla="*/ 669240 w 3873668"/>
                <a:gd name="connsiteY51" fmla="*/ 295663 h 1246464"/>
                <a:gd name="connsiteX52" fmla="*/ 669240 w 3873668"/>
                <a:gd name="connsiteY52" fmla="*/ 269473 h 1246464"/>
                <a:gd name="connsiteX53" fmla="*/ 637334 w 3873668"/>
                <a:gd name="connsiteY53" fmla="*/ 269473 h 1246464"/>
                <a:gd name="connsiteX54" fmla="*/ 637334 w 3873668"/>
                <a:gd name="connsiteY54" fmla="*/ 242752 h 1246464"/>
                <a:gd name="connsiteX55" fmla="*/ 607965 w 3873668"/>
                <a:gd name="connsiteY55" fmla="*/ 242752 h 1246464"/>
                <a:gd name="connsiteX56" fmla="*/ 607965 w 3873668"/>
                <a:gd name="connsiteY56" fmla="*/ 215366 h 1246464"/>
                <a:gd name="connsiteX57" fmla="*/ 554008 w 3873668"/>
                <a:gd name="connsiteY57" fmla="*/ 215366 h 1246464"/>
                <a:gd name="connsiteX58" fmla="*/ 554008 w 3873668"/>
                <a:gd name="connsiteY58" fmla="*/ 187714 h 1246464"/>
                <a:gd name="connsiteX59" fmla="*/ 505028 w 3873668"/>
                <a:gd name="connsiteY59" fmla="*/ 187714 h 1246464"/>
                <a:gd name="connsiteX60" fmla="*/ 505028 w 3873668"/>
                <a:gd name="connsiteY60" fmla="*/ 158999 h 1246464"/>
                <a:gd name="connsiteX61" fmla="*/ 429020 w 3873668"/>
                <a:gd name="connsiteY61" fmla="*/ 158999 h 1246464"/>
                <a:gd name="connsiteX62" fmla="*/ 429020 w 3873668"/>
                <a:gd name="connsiteY62" fmla="*/ 128954 h 1246464"/>
                <a:gd name="connsiteX63" fmla="*/ 365306 w 3873668"/>
                <a:gd name="connsiteY63" fmla="*/ 128954 h 1246464"/>
                <a:gd name="connsiteX64" fmla="*/ 365306 w 3873668"/>
                <a:gd name="connsiteY64" fmla="*/ 96782 h 1246464"/>
                <a:gd name="connsiteX65" fmla="*/ 159334 w 3873668"/>
                <a:gd name="connsiteY65" fmla="*/ 96782 h 1246464"/>
                <a:gd name="connsiteX66" fmla="*/ 159334 w 3873668"/>
                <a:gd name="connsiteY66" fmla="*/ 61153 h 1246464"/>
                <a:gd name="connsiteX67" fmla="*/ 12294 w 3873668"/>
                <a:gd name="connsiteY67" fmla="*/ 61153 h 1246464"/>
                <a:gd name="connsiteX68" fmla="*/ 12294 w 3873668"/>
                <a:gd name="connsiteY68" fmla="*/ 60090 h 1246464"/>
                <a:gd name="connsiteX69" fmla="*/ 0 w 3873668"/>
                <a:gd name="connsiteY69" fmla="*/ 60090 h 1246464"/>
                <a:gd name="connsiteX70" fmla="*/ 0 w 3873668"/>
                <a:gd name="connsiteY70" fmla="*/ 29513 h 1246464"/>
                <a:gd name="connsiteX71" fmla="*/ 154065 w 3873668"/>
                <a:gd name="connsiteY71" fmla="*/ 29513 h 1246464"/>
                <a:gd name="connsiteX72" fmla="*/ 154065 w 3873668"/>
                <a:gd name="connsiteY72" fmla="*/ 42409 h 1246464"/>
                <a:gd name="connsiteX73" fmla="*/ 155626 w 3873668"/>
                <a:gd name="connsiteY73" fmla="*/ 47460 h 1246464"/>
                <a:gd name="connsiteX74" fmla="*/ 159334 w 3873668"/>
                <a:gd name="connsiteY74" fmla="*/ 49587 h 1246464"/>
                <a:gd name="connsiteX75" fmla="*/ 360037 w 3873668"/>
                <a:gd name="connsiteY75" fmla="*/ 49587 h 1246464"/>
                <a:gd name="connsiteX76" fmla="*/ 360037 w 3873668"/>
                <a:gd name="connsiteY76" fmla="*/ 62616 h 1246464"/>
                <a:gd name="connsiteX77" fmla="*/ 361598 w 3873668"/>
                <a:gd name="connsiteY77" fmla="*/ 67667 h 1246464"/>
                <a:gd name="connsiteX78" fmla="*/ 365306 w 3873668"/>
                <a:gd name="connsiteY78" fmla="*/ 69795 h 1246464"/>
                <a:gd name="connsiteX79" fmla="*/ 423849 w 3873668"/>
                <a:gd name="connsiteY79" fmla="*/ 69795 h 1246464"/>
                <a:gd name="connsiteX80" fmla="*/ 423849 w 3873668"/>
                <a:gd name="connsiteY80" fmla="*/ 82956 h 1246464"/>
                <a:gd name="connsiteX81" fmla="*/ 425410 w 3873668"/>
                <a:gd name="connsiteY81" fmla="*/ 88008 h 1246464"/>
                <a:gd name="connsiteX82" fmla="*/ 429117 w 3873668"/>
                <a:gd name="connsiteY82" fmla="*/ 90135 h 1246464"/>
                <a:gd name="connsiteX83" fmla="*/ 499954 w 3873668"/>
                <a:gd name="connsiteY83" fmla="*/ 90135 h 1246464"/>
                <a:gd name="connsiteX84" fmla="*/ 499954 w 3873668"/>
                <a:gd name="connsiteY84" fmla="*/ 103296 h 1246464"/>
                <a:gd name="connsiteX85" fmla="*/ 501515 w 3873668"/>
                <a:gd name="connsiteY85" fmla="*/ 108348 h 1246464"/>
                <a:gd name="connsiteX86" fmla="*/ 505223 w 3873668"/>
                <a:gd name="connsiteY86" fmla="*/ 110475 h 1246464"/>
                <a:gd name="connsiteX87" fmla="*/ 549032 w 3873668"/>
                <a:gd name="connsiteY87" fmla="*/ 110475 h 1246464"/>
                <a:gd name="connsiteX88" fmla="*/ 549032 w 3873668"/>
                <a:gd name="connsiteY88" fmla="*/ 123636 h 1246464"/>
                <a:gd name="connsiteX89" fmla="*/ 550594 w 3873668"/>
                <a:gd name="connsiteY89" fmla="*/ 128688 h 1246464"/>
                <a:gd name="connsiteX90" fmla="*/ 554301 w 3873668"/>
                <a:gd name="connsiteY90" fmla="*/ 130815 h 1246464"/>
                <a:gd name="connsiteX91" fmla="*/ 602989 w 3873668"/>
                <a:gd name="connsiteY91" fmla="*/ 130815 h 1246464"/>
                <a:gd name="connsiteX92" fmla="*/ 602989 w 3873668"/>
                <a:gd name="connsiteY92" fmla="*/ 144109 h 1246464"/>
                <a:gd name="connsiteX93" fmla="*/ 604550 w 3873668"/>
                <a:gd name="connsiteY93" fmla="*/ 149161 h 1246464"/>
                <a:gd name="connsiteX94" fmla="*/ 608258 w 3873668"/>
                <a:gd name="connsiteY94" fmla="*/ 151288 h 1246464"/>
                <a:gd name="connsiteX95" fmla="*/ 632456 w 3873668"/>
                <a:gd name="connsiteY95" fmla="*/ 151288 h 1246464"/>
                <a:gd name="connsiteX96" fmla="*/ 632456 w 3873668"/>
                <a:gd name="connsiteY96" fmla="*/ 164582 h 1246464"/>
                <a:gd name="connsiteX97" fmla="*/ 634017 w 3873668"/>
                <a:gd name="connsiteY97" fmla="*/ 169634 h 1246464"/>
                <a:gd name="connsiteX98" fmla="*/ 637724 w 3873668"/>
                <a:gd name="connsiteY98" fmla="*/ 171761 h 1246464"/>
                <a:gd name="connsiteX99" fmla="*/ 664361 w 3873668"/>
                <a:gd name="connsiteY99" fmla="*/ 171761 h 1246464"/>
                <a:gd name="connsiteX100" fmla="*/ 664361 w 3873668"/>
                <a:gd name="connsiteY100" fmla="*/ 185055 h 1246464"/>
                <a:gd name="connsiteX101" fmla="*/ 665922 w 3873668"/>
                <a:gd name="connsiteY101" fmla="*/ 190107 h 1246464"/>
                <a:gd name="connsiteX102" fmla="*/ 669630 w 3873668"/>
                <a:gd name="connsiteY102" fmla="*/ 192234 h 1246464"/>
                <a:gd name="connsiteX103" fmla="*/ 679095 w 3873668"/>
                <a:gd name="connsiteY103" fmla="*/ 192234 h 1246464"/>
                <a:gd name="connsiteX104" fmla="*/ 679095 w 3873668"/>
                <a:gd name="connsiteY104" fmla="*/ 205528 h 1246464"/>
                <a:gd name="connsiteX105" fmla="*/ 680656 w 3873668"/>
                <a:gd name="connsiteY105" fmla="*/ 210580 h 1246464"/>
                <a:gd name="connsiteX106" fmla="*/ 684363 w 3873668"/>
                <a:gd name="connsiteY106" fmla="*/ 212707 h 1246464"/>
                <a:gd name="connsiteX107" fmla="*/ 698706 w 3873668"/>
                <a:gd name="connsiteY107" fmla="*/ 212707 h 1246464"/>
                <a:gd name="connsiteX108" fmla="*/ 698706 w 3873668"/>
                <a:gd name="connsiteY108" fmla="*/ 226001 h 1246464"/>
                <a:gd name="connsiteX109" fmla="*/ 700267 w 3873668"/>
                <a:gd name="connsiteY109" fmla="*/ 231053 h 1246464"/>
                <a:gd name="connsiteX110" fmla="*/ 703975 w 3873668"/>
                <a:gd name="connsiteY110" fmla="*/ 233180 h 1246464"/>
                <a:gd name="connsiteX111" fmla="*/ 740467 w 3873668"/>
                <a:gd name="connsiteY111" fmla="*/ 233180 h 1246464"/>
                <a:gd name="connsiteX112" fmla="*/ 740467 w 3873668"/>
                <a:gd name="connsiteY112" fmla="*/ 246475 h 1246464"/>
                <a:gd name="connsiteX113" fmla="*/ 742028 w 3873668"/>
                <a:gd name="connsiteY113" fmla="*/ 251526 h 1246464"/>
                <a:gd name="connsiteX114" fmla="*/ 745736 w 3873668"/>
                <a:gd name="connsiteY114" fmla="*/ 253653 h 1246464"/>
                <a:gd name="connsiteX115" fmla="*/ 762518 w 3873668"/>
                <a:gd name="connsiteY115" fmla="*/ 253653 h 1246464"/>
                <a:gd name="connsiteX116" fmla="*/ 762518 w 3873668"/>
                <a:gd name="connsiteY116" fmla="*/ 266948 h 1246464"/>
                <a:gd name="connsiteX117" fmla="*/ 764079 w 3873668"/>
                <a:gd name="connsiteY117" fmla="*/ 271999 h 1246464"/>
                <a:gd name="connsiteX118" fmla="*/ 767787 w 3873668"/>
                <a:gd name="connsiteY118" fmla="*/ 274126 h 1246464"/>
                <a:gd name="connsiteX119" fmla="*/ 787106 w 3873668"/>
                <a:gd name="connsiteY119" fmla="*/ 274126 h 1246464"/>
                <a:gd name="connsiteX120" fmla="*/ 787106 w 3873668"/>
                <a:gd name="connsiteY120" fmla="*/ 287687 h 1246464"/>
                <a:gd name="connsiteX121" fmla="*/ 788667 w 3873668"/>
                <a:gd name="connsiteY121" fmla="*/ 292738 h 1246464"/>
                <a:gd name="connsiteX122" fmla="*/ 792375 w 3873668"/>
                <a:gd name="connsiteY122" fmla="*/ 294865 h 1246464"/>
                <a:gd name="connsiteX123" fmla="*/ 819011 w 3873668"/>
                <a:gd name="connsiteY123" fmla="*/ 294865 h 1246464"/>
                <a:gd name="connsiteX124" fmla="*/ 819011 w 3873668"/>
                <a:gd name="connsiteY124" fmla="*/ 308425 h 1246464"/>
                <a:gd name="connsiteX125" fmla="*/ 820573 w 3873668"/>
                <a:gd name="connsiteY125" fmla="*/ 313477 h 1246464"/>
                <a:gd name="connsiteX126" fmla="*/ 824280 w 3873668"/>
                <a:gd name="connsiteY126" fmla="*/ 315604 h 1246464"/>
                <a:gd name="connsiteX127" fmla="*/ 892580 w 3873668"/>
                <a:gd name="connsiteY127" fmla="*/ 315604 h 1246464"/>
                <a:gd name="connsiteX128" fmla="*/ 892580 w 3873668"/>
                <a:gd name="connsiteY128" fmla="*/ 329164 h 1246464"/>
                <a:gd name="connsiteX129" fmla="*/ 894141 w 3873668"/>
                <a:gd name="connsiteY129" fmla="*/ 334216 h 1246464"/>
                <a:gd name="connsiteX130" fmla="*/ 897849 w 3873668"/>
                <a:gd name="connsiteY130" fmla="*/ 336343 h 1246464"/>
                <a:gd name="connsiteX131" fmla="*/ 995517 w 3873668"/>
                <a:gd name="connsiteY131" fmla="*/ 336343 h 1246464"/>
                <a:gd name="connsiteX132" fmla="*/ 995517 w 3873668"/>
                <a:gd name="connsiteY132" fmla="*/ 349903 h 1246464"/>
                <a:gd name="connsiteX133" fmla="*/ 997079 w 3873668"/>
                <a:gd name="connsiteY133" fmla="*/ 354955 h 1246464"/>
                <a:gd name="connsiteX134" fmla="*/ 1000786 w 3873668"/>
                <a:gd name="connsiteY134" fmla="*/ 357082 h 1246464"/>
                <a:gd name="connsiteX135" fmla="*/ 1007811 w 3873668"/>
                <a:gd name="connsiteY135" fmla="*/ 357082 h 1246464"/>
                <a:gd name="connsiteX136" fmla="*/ 1007811 w 3873668"/>
                <a:gd name="connsiteY136" fmla="*/ 370642 h 1246464"/>
                <a:gd name="connsiteX137" fmla="*/ 1009373 w 3873668"/>
                <a:gd name="connsiteY137" fmla="*/ 375694 h 1246464"/>
                <a:gd name="connsiteX138" fmla="*/ 1013080 w 3873668"/>
                <a:gd name="connsiteY138" fmla="*/ 377821 h 1246464"/>
                <a:gd name="connsiteX139" fmla="*/ 1027521 w 3873668"/>
                <a:gd name="connsiteY139" fmla="*/ 377821 h 1246464"/>
                <a:gd name="connsiteX140" fmla="*/ 1027521 w 3873668"/>
                <a:gd name="connsiteY140" fmla="*/ 411987 h 1246464"/>
                <a:gd name="connsiteX141" fmla="*/ 1029082 w 3873668"/>
                <a:gd name="connsiteY141" fmla="*/ 417039 h 1246464"/>
                <a:gd name="connsiteX142" fmla="*/ 1032790 w 3873668"/>
                <a:gd name="connsiteY142" fmla="*/ 419166 h 1246464"/>
                <a:gd name="connsiteX143" fmla="*/ 1086356 w 3873668"/>
                <a:gd name="connsiteY143" fmla="*/ 419166 h 1246464"/>
                <a:gd name="connsiteX144" fmla="*/ 1086356 w 3873668"/>
                <a:gd name="connsiteY144" fmla="*/ 432726 h 1246464"/>
                <a:gd name="connsiteX145" fmla="*/ 1087917 w 3873668"/>
                <a:gd name="connsiteY145" fmla="*/ 437778 h 1246464"/>
                <a:gd name="connsiteX146" fmla="*/ 1091625 w 3873668"/>
                <a:gd name="connsiteY146" fmla="*/ 439905 h 1246464"/>
                <a:gd name="connsiteX147" fmla="*/ 1106066 w 3873668"/>
                <a:gd name="connsiteY147" fmla="*/ 439905 h 1246464"/>
                <a:gd name="connsiteX148" fmla="*/ 1106066 w 3873668"/>
                <a:gd name="connsiteY148" fmla="*/ 474071 h 1246464"/>
                <a:gd name="connsiteX149" fmla="*/ 1107627 w 3873668"/>
                <a:gd name="connsiteY149" fmla="*/ 479123 h 1246464"/>
                <a:gd name="connsiteX150" fmla="*/ 1110944 w 3873668"/>
                <a:gd name="connsiteY150" fmla="*/ 481250 h 1246464"/>
                <a:gd name="connsiteX151" fmla="*/ 1110944 w 3873668"/>
                <a:gd name="connsiteY151" fmla="*/ 494810 h 1246464"/>
                <a:gd name="connsiteX152" fmla="*/ 1112505 w 3873668"/>
                <a:gd name="connsiteY152" fmla="*/ 499862 h 1246464"/>
                <a:gd name="connsiteX153" fmla="*/ 1116213 w 3873668"/>
                <a:gd name="connsiteY153" fmla="*/ 501989 h 1246464"/>
                <a:gd name="connsiteX154" fmla="*/ 1123238 w 3873668"/>
                <a:gd name="connsiteY154" fmla="*/ 501989 h 1246464"/>
                <a:gd name="connsiteX155" fmla="*/ 1123238 w 3873668"/>
                <a:gd name="connsiteY155" fmla="*/ 515549 h 1246464"/>
                <a:gd name="connsiteX156" fmla="*/ 1124799 w 3873668"/>
                <a:gd name="connsiteY156" fmla="*/ 520601 h 1246464"/>
                <a:gd name="connsiteX157" fmla="*/ 1128507 w 3873668"/>
                <a:gd name="connsiteY157" fmla="*/ 522728 h 1246464"/>
                <a:gd name="connsiteX158" fmla="*/ 1133093 w 3873668"/>
                <a:gd name="connsiteY158" fmla="*/ 522728 h 1246464"/>
                <a:gd name="connsiteX159" fmla="*/ 1133093 w 3873668"/>
                <a:gd name="connsiteY159" fmla="*/ 556894 h 1246464"/>
                <a:gd name="connsiteX160" fmla="*/ 1134654 w 3873668"/>
                <a:gd name="connsiteY160" fmla="*/ 561946 h 1246464"/>
                <a:gd name="connsiteX161" fmla="*/ 1138362 w 3873668"/>
                <a:gd name="connsiteY161" fmla="*/ 564073 h 1246464"/>
                <a:gd name="connsiteX162" fmla="*/ 1255739 w 3873668"/>
                <a:gd name="connsiteY162" fmla="*/ 564073 h 1246464"/>
                <a:gd name="connsiteX163" fmla="*/ 1255739 w 3873668"/>
                <a:gd name="connsiteY163" fmla="*/ 577899 h 1246464"/>
                <a:gd name="connsiteX164" fmla="*/ 1257301 w 3873668"/>
                <a:gd name="connsiteY164" fmla="*/ 582951 h 1246464"/>
                <a:gd name="connsiteX165" fmla="*/ 1261008 w 3873668"/>
                <a:gd name="connsiteY165" fmla="*/ 585078 h 1246464"/>
                <a:gd name="connsiteX166" fmla="*/ 1282767 w 3873668"/>
                <a:gd name="connsiteY166" fmla="*/ 585078 h 1246464"/>
                <a:gd name="connsiteX167" fmla="*/ 1282767 w 3873668"/>
                <a:gd name="connsiteY167" fmla="*/ 598904 h 1246464"/>
                <a:gd name="connsiteX168" fmla="*/ 1284328 w 3873668"/>
                <a:gd name="connsiteY168" fmla="*/ 603956 h 1246464"/>
                <a:gd name="connsiteX169" fmla="*/ 1285206 w 3873668"/>
                <a:gd name="connsiteY169" fmla="*/ 604886 h 1246464"/>
                <a:gd name="connsiteX170" fmla="*/ 1285206 w 3873668"/>
                <a:gd name="connsiteY170" fmla="*/ 619776 h 1246464"/>
                <a:gd name="connsiteX171" fmla="*/ 1286767 w 3873668"/>
                <a:gd name="connsiteY171" fmla="*/ 624828 h 1246464"/>
                <a:gd name="connsiteX172" fmla="*/ 1290475 w 3873668"/>
                <a:gd name="connsiteY172" fmla="*/ 626955 h 1246464"/>
                <a:gd name="connsiteX173" fmla="*/ 1380826 w 3873668"/>
                <a:gd name="connsiteY173" fmla="*/ 626955 h 1246464"/>
                <a:gd name="connsiteX174" fmla="*/ 1380826 w 3873668"/>
                <a:gd name="connsiteY174" fmla="*/ 640781 h 1246464"/>
                <a:gd name="connsiteX175" fmla="*/ 1382387 w 3873668"/>
                <a:gd name="connsiteY175" fmla="*/ 645832 h 1246464"/>
                <a:gd name="connsiteX176" fmla="*/ 1386094 w 3873668"/>
                <a:gd name="connsiteY176" fmla="*/ 647959 h 1246464"/>
                <a:gd name="connsiteX177" fmla="*/ 1562308 w 3873668"/>
                <a:gd name="connsiteY177" fmla="*/ 647959 h 1246464"/>
                <a:gd name="connsiteX178" fmla="*/ 1562308 w 3873668"/>
                <a:gd name="connsiteY178" fmla="*/ 661785 h 1246464"/>
                <a:gd name="connsiteX179" fmla="*/ 1563869 w 3873668"/>
                <a:gd name="connsiteY179" fmla="*/ 666837 h 1246464"/>
                <a:gd name="connsiteX180" fmla="*/ 1567577 w 3873668"/>
                <a:gd name="connsiteY180" fmla="*/ 668964 h 1246464"/>
                <a:gd name="connsiteX181" fmla="*/ 1577041 w 3873668"/>
                <a:gd name="connsiteY181" fmla="*/ 668964 h 1246464"/>
                <a:gd name="connsiteX182" fmla="*/ 1577041 w 3873668"/>
                <a:gd name="connsiteY182" fmla="*/ 682790 h 1246464"/>
                <a:gd name="connsiteX183" fmla="*/ 1578602 w 3873668"/>
                <a:gd name="connsiteY183" fmla="*/ 687842 h 1246464"/>
                <a:gd name="connsiteX184" fmla="*/ 1582310 w 3873668"/>
                <a:gd name="connsiteY184" fmla="*/ 689969 h 1246464"/>
                <a:gd name="connsiteX185" fmla="*/ 1623680 w 3873668"/>
                <a:gd name="connsiteY185" fmla="*/ 689969 h 1246464"/>
                <a:gd name="connsiteX186" fmla="*/ 1623680 w 3873668"/>
                <a:gd name="connsiteY186" fmla="*/ 703795 h 1246464"/>
                <a:gd name="connsiteX187" fmla="*/ 1625241 w 3873668"/>
                <a:gd name="connsiteY187" fmla="*/ 708847 h 1246464"/>
                <a:gd name="connsiteX188" fmla="*/ 1628949 w 3873668"/>
                <a:gd name="connsiteY188" fmla="*/ 710974 h 1246464"/>
                <a:gd name="connsiteX189" fmla="*/ 1721739 w 3873668"/>
                <a:gd name="connsiteY189" fmla="*/ 710974 h 1246464"/>
                <a:gd name="connsiteX190" fmla="*/ 1721739 w 3873668"/>
                <a:gd name="connsiteY190" fmla="*/ 724800 h 1246464"/>
                <a:gd name="connsiteX191" fmla="*/ 1723300 w 3873668"/>
                <a:gd name="connsiteY191" fmla="*/ 729852 h 1246464"/>
                <a:gd name="connsiteX192" fmla="*/ 1727008 w 3873668"/>
                <a:gd name="connsiteY192" fmla="*/ 731979 h 1246464"/>
                <a:gd name="connsiteX193" fmla="*/ 1770817 w 3873668"/>
                <a:gd name="connsiteY193" fmla="*/ 731979 h 1246464"/>
                <a:gd name="connsiteX194" fmla="*/ 1770817 w 3873668"/>
                <a:gd name="connsiteY194" fmla="*/ 745805 h 1246464"/>
                <a:gd name="connsiteX195" fmla="*/ 1772378 w 3873668"/>
                <a:gd name="connsiteY195" fmla="*/ 750857 h 1246464"/>
                <a:gd name="connsiteX196" fmla="*/ 1776086 w 3873668"/>
                <a:gd name="connsiteY196" fmla="*/ 752984 h 1246464"/>
                <a:gd name="connsiteX197" fmla="*/ 1795307 w 3873668"/>
                <a:gd name="connsiteY197" fmla="*/ 752984 h 1246464"/>
                <a:gd name="connsiteX198" fmla="*/ 1795307 w 3873668"/>
                <a:gd name="connsiteY198" fmla="*/ 766810 h 1246464"/>
                <a:gd name="connsiteX199" fmla="*/ 1796869 w 3873668"/>
                <a:gd name="connsiteY199" fmla="*/ 771861 h 1246464"/>
                <a:gd name="connsiteX200" fmla="*/ 1800576 w 3873668"/>
                <a:gd name="connsiteY200" fmla="*/ 773988 h 1246464"/>
                <a:gd name="connsiteX201" fmla="*/ 2072409 w 3873668"/>
                <a:gd name="connsiteY201" fmla="*/ 773988 h 1246464"/>
                <a:gd name="connsiteX202" fmla="*/ 2072409 w 3873668"/>
                <a:gd name="connsiteY202" fmla="*/ 789011 h 1246464"/>
                <a:gd name="connsiteX203" fmla="*/ 2073970 w 3873668"/>
                <a:gd name="connsiteY203" fmla="*/ 794063 h 1246464"/>
                <a:gd name="connsiteX204" fmla="*/ 2077678 w 3873668"/>
                <a:gd name="connsiteY204" fmla="*/ 796190 h 1246464"/>
                <a:gd name="connsiteX205" fmla="*/ 2094460 w 3873668"/>
                <a:gd name="connsiteY205" fmla="*/ 796190 h 1246464"/>
                <a:gd name="connsiteX206" fmla="*/ 2094460 w 3873668"/>
                <a:gd name="connsiteY206" fmla="*/ 811212 h 1246464"/>
                <a:gd name="connsiteX207" fmla="*/ 2096021 w 3873668"/>
                <a:gd name="connsiteY207" fmla="*/ 816264 h 1246464"/>
                <a:gd name="connsiteX208" fmla="*/ 2099729 w 3873668"/>
                <a:gd name="connsiteY208" fmla="*/ 818391 h 1246464"/>
                <a:gd name="connsiteX209" fmla="*/ 2126366 w 3873668"/>
                <a:gd name="connsiteY209" fmla="*/ 818391 h 1246464"/>
                <a:gd name="connsiteX210" fmla="*/ 2126366 w 3873668"/>
                <a:gd name="connsiteY210" fmla="*/ 833546 h 1246464"/>
                <a:gd name="connsiteX211" fmla="*/ 2127927 w 3873668"/>
                <a:gd name="connsiteY211" fmla="*/ 838598 h 1246464"/>
                <a:gd name="connsiteX212" fmla="*/ 2131635 w 3873668"/>
                <a:gd name="connsiteY212" fmla="*/ 840725 h 1246464"/>
                <a:gd name="connsiteX213" fmla="*/ 2138660 w 3873668"/>
                <a:gd name="connsiteY213" fmla="*/ 840725 h 1246464"/>
                <a:gd name="connsiteX214" fmla="*/ 2138660 w 3873668"/>
                <a:gd name="connsiteY214" fmla="*/ 855748 h 1246464"/>
                <a:gd name="connsiteX215" fmla="*/ 2140221 w 3873668"/>
                <a:gd name="connsiteY215" fmla="*/ 860800 h 1246464"/>
                <a:gd name="connsiteX216" fmla="*/ 2143929 w 3873668"/>
                <a:gd name="connsiteY216" fmla="*/ 862927 h 1246464"/>
                <a:gd name="connsiteX217" fmla="*/ 2298091 w 3873668"/>
                <a:gd name="connsiteY217" fmla="*/ 862927 h 1246464"/>
                <a:gd name="connsiteX218" fmla="*/ 2298091 w 3873668"/>
                <a:gd name="connsiteY218" fmla="*/ 878082 h 1246464"/>
                <a:gd name="connsiteX219" fmla="*/ 2299652 w 3873668"/>
                <a:gd name="connsiteY219" fmla="*/ 883134 h 1246464"/>
                <a:gd name="connsiteX220" fmla="*/ 2303360 w 3873668"/>
                <a:gd name="connsiteY220" fmla="*/ 885261 h 1246464"/>
                <a:gd name="connsiteX221" fmla="*/ 2334875 w 3873668"/>
                <a:gd name="connsiteY221" fmla="*/ 885261 h 1246464"/>
                <a:gd name="connsiteX222" fmla="*/ 2334875 w 3873668"/>
                <a:gd name="connsiteY222" fmla="*/ 900416 h 1246464"/>
                <a:gd name="connsiteX223" fmla="*/ 2336437 w 3873668"/>
                <a:gd name="connsiteY223" fmla="*/ 905468 h 1246464"/>
                <a:gd name="connsiteX224" fmla="*/ 2340144 w 3873668"/>
                <a:gd name="connsiteY224" fmla="*/ 907595 h 1246464"/>
                <a:gd name="connsiteX225" fmla="*/ 2388832 w 3873668"/>
                <a:gd name="connsiteY225" fmla="*/ 907595 h 1246464"/>
                <a:gd name="connsiteX226" fmla="*/ 2388832 w 3873668"/>
                <a:gd name="connsiteY226" fmla="*/ 923149 h 1246464"/>
                <a:gd name="connsiteX227" fmla="*/ 2390393 w 3873668"/>
                <a:gd name="connsiteY227" fmla="*/ 928201 h 1246464"/>
                <a:gd name="connsiteX228" fmla="*/ 2394101 w 3873668"/>
                <a:gd name="connsiteY228" fmla="*/ 930328 h 1246464"/>
                <a:gd name="connsiteX229" fmla="*/ 2455083 w 3873668"/>
                <a:gd name="connsiteY229" fmla="*/ 930328 h 1246464"/>
                <a:gd name="connsiteX230" fmla="*/ 2455083 w 3873668"/>
                <a:gd name="connsiteY230" fmla="*/ 931525 h 1246464"/>
                <a:gd name="connsiteX231" fmla="*/ 3873668 w 3873668"/>
                <a:gd name="connsiteY231" fmla="*/ 1246464 h 1246464"/>
                <a:gd name="connsiteX232" fmla="*/ 3873668 w 3873668"/>
                <a:gd name="connsiteY232" fmla="*/ 971407 h 1246464"/>
                <a:gd name="connsiteX233" fmla="*/ 2853563 w 3873668"/>
                <a:gd name="connsiteY233" fmla="*/ 971407 h 1246464"/>
                <a:gd name="connsiteX234" fmla="*/ 2853563 w 3873668"/>
                <a:gd name="connsiteY234" fmla="*/ 949871 h 1246464"/>
                <a:gd name="connsiteX235" fmla="*/ 2765261 w 3873668"/>
                <a:gd name="connsiteY235" fmla="*/ 949871 h 1246464"/>
                <a:gd name="connsiteX236" fmla="*/ 2765261 w 3873668"/>
                <a:gd name="connsiteY236" fmla="*/ 929265 h 1246464"/>
                <a:gd name="connsiteX237" fmla="*/ 2464059 w 3873668"/>
                <a:gd name="connsiteY237" fmla="*/ 929265 h 1246464"/>
                <a:gd name="connsiteX238" fmla="*/ 2464059 w 3873668"/>
                <a:gd name="connsiteY238" fmla="*/ 920889 h 1246464"/>
                <a:gd name="connsiteX239" fmla="*/ 2462498 w 3873668"/>
                <a:gd name="connsiteY239" fmla="*/ 915838 h 1246464"/>
                <a:gd name="connsiteX240" fmla="*/ 2458791 w 3873668"/>
                <a:gd name="connsiteY240" fmla="*/ 913711 h 1246464"/>
                <a:gd name="connsiteX241" fmla="*/ 2397809 w 3873668"/>
                <a:gd name="connsiteY241" fmla="*/ 913711 h 1246464"/>
                <a:gd name="connsiteX242" fmla="*/ 2397809 w 3873668"/>
                <a:gd name="connsiteY242" fmla="*/ 898156 h 1246464"/>
                <a:gd name="connsiteX243" fmla="*/ 2396248 w 3873668"/>
                <a:gd name="connsiteY243" fmla="*/ 893105 h 1246464"/>
                <a:gd name="connsiteX244" fmla="*/ 2392540 w 3873668"/>
                <a:gd name="connsiteY244" fmla="*/ 890977 h 1246464"/>
                <a:gd name="connsiteX245" fmla="*/ 2343852 w 3873668"/>
                <a:gd name="connsiteY245" fmla="*/ 890977 h 1246464"/>
                <a:gd name="connsiteX246" fmla="*/ 2343852 w 3873668"/>
                <a:gd name="connsiteY246" fmla="*/ 875822 h 1246464"/>
                <a:gd name="connsiteX247" fmla="*/ 2342291 w 3873668"/>
                <a:gd name="connsiteY247" fmla="*/ 870770 h 1246464"/>
                <a:gd name="connsiteX248" fmla="*/ 2338583 w 3873668"/>
                <a:gd name="connsiteY248" fmla="*/ 868643 h 1246464"/>
                <a:gd name="connsiteX249" fmla="*/ 2307068 w 3873668"/>
                <a:gd name="connsiteY249" fmla="*/ 868643 h 1246464"/>
                <a:gd name="connsiteX250" fmla="*/ 2307068 w 3873668"/>
                <a:gd name="connsiteY250" fmla="*/ 853488 h 1246464"/>
                <a:gd name="connsiteX251" fmla="*/ 2305506 w 3873668"/>
                <a:gd name="connsiteY251" fmla="*/ 848436 h 1246464"/>
                <a:gd name="connsiteX252" fmla="*/ 2301799 w 3873668"/>
                <a:gd name="connsiteY252" fmla="*/ 846309 h 1246464"/>
                <a:gd name="connsiteX253" fmla="*/ 2147637 w 3873668"/>
                <a:gd name="connsiteY253" fmla="*/ 846309 h 1246464"/>
                <a:gd name="connsiteX254" fmla="*/ 2147637 w 3873668"/>
                <a:gd name="connsiteY254" fmla="*/ 831286 h 1246464"/>
                <a:gd name="connsiteX255" fmla="*/ 2146075 w 3873668"/>
                <a:gd name="connsiteY255" fmla="*/ 826235 h 1246464"/>
                <a:gd name="connsiteX256" fmla="*/ 2142368 w 3873668"/>
                <a:gd name="connsiteY256" fmla="*/ 824108 h 1246464"/>
                <a:gd name="connsiteX257" fmla="*/ 2135440 w 3873668"/>
                <a:gd name="connsiteY257" fmla="*/ 824108 h 1246464"/>
                <a:gd name="connsiteX258" fmla="*/ 2135440 w 3873668"/>
                <a:gd name="connsiteY258" fmla="*/ 809085 h 1246464"/>
                <a:gd name="connsiteX259" fmla="*/ 2133879 w 3873668"/>
                <a:gd name="connsiteY259" fmla="*/ 804033 h 1246464"/>
                <a:gd name="connsiteX260" fmla="*/ 2130171 w 3873668"/>
                <a:gd name="connsiteY260" fmla="*/ 801906 h 1246464"/>
                <a:gd name="connsiteX261" fmla="*/ 2103534 w 3873668"/>
                <a:gd name="connsiteY261" fmla="*/ 801906 h 1246464"/>
                <a:gd name="connsiteX262" fmla="*/ 2103534 w 3873668"/>
                <a:gd name="connsiteY262" fmla="*/ 786884 h 1246464"/>
                <a:gd name="connsiteX263" fmla="*/ 2101973 w 3873668"/>
                <a:gd name="connsiteY263" fmla="*/ 781832 h 1246464"/>
                <a:gd name="connsiteX264" fmla="*/ 2098266 w 3873668"/>
                <a:gd name="connsiteY264" fmla="*/ 779705 h 1246464"/>
                <a:gd name="connsiteX265" fmla="*/ 2081483 w 3873668"/>
                <a:gd name="connsiteY265" fmla="*/ 779705 h 1246464"/>
                <a:gd name="connsiteX266" fmla="*/ 2081483 w 3873668"/>
                <a:gd name="connsiteY266" fmla="*/ 764683 h 1246464"/>
                <a:gd name="connsiteX267" fmla="*/ 2079922 w 3873668"/>
                <a:gd name="connsiteY267" fmla="*/ 759631 h 1246464"/>
                <a:gd name="connsiteX268" fmla="*/ 2076214 w 3873668"/>
                <a:gd name="connsiteY268" fmla="*/ 757504 h 1246464"/>
                <a:gd name="connsiteX269" fmla="*/ 1804381 w 3873668"/>
                <a:gd name="connsiteY269" fmla="*/ 757504 h 1246464"/>
                <a:gd name="connsiteX270" fmla="*/ 1804381 w 3873668"/>
                <a:gd name="connsiteY270" fmla="*/ 743678 h 1246464"/>
                <a:gd name="connsiteX271" fmla="*/ 1802820 w 3873668"/>
                <a:gd name="connsiteY271" fmla="*/ 738626 h 1246464"/>
                <a:gd name="connsiteX272" fmla="*/ 1799113 w 3873668"/>
                <a:gd name="connsiteY272" fmla="*/ 736499 h 1246464"/>
                <a:gd name="connsiteX273" fmla="*/ 1779891 w 3873668"/>
                <a:gd name="connsiteY273" fmla="*/ 736499 h 1246464"/>
                <a:gd name="connsiteX274" fmla="*/ 1779891 w 3873668"/>
                <a:gd name="connsiteY274" fmla="*/ 722673 h 1246464"/>
                <a:gd name="connsiteX275" fmla="*/ 1778330 w 3873668"/>
                <a:gd name="connsiteY275" fmla="*/ 717621 h 1246464"/>
                <a:gd name="connsiteX276" fmla="*/ 1774622 w 3873668"/>
                <a:gd name="connsiteY276" fmla="*/ 715494 h 1246464"/>
                <a:gd name="connsiteX277" fmla="*/ 1730813 w 3873668"/>
                <a:gd name="connsiteY277" fmla="*/ 715494 h 1246464"/>
                <a:gd name="connsiteX278" fmla="*/ 1730813 w 3873668"/>
                <a:gd name="connsiteY278" fmla="*/ 701668 h 1246464"/>
                <a:gd name="connsiteX279" fmla="*/ 1729252 w 3873668"/>
                <a:gd name="connsiteY279" fmla="*/ 696616 h 1246464"/>
                <a:gd name="connsiteX280" fmla="*/ 1725544 w 3873668"/>
                <a:gd name="connsiteY280" fmla="*/ 694489 h 1246464"/>
                <a:gd name="connsiteX281" fmla="*/ 1632754 w 3873668"/>
                <a:gd name="connsiteY281" fmla="*/ 694489 h 1246464"/>
                <a:gd name="connsiteX282" fmla="*/ 1632754 w 3873668"/>
                <a:gd name="connsiteY282" fmla="*/ 680663 h 1246464"/>
                <a:gd name="connsiteX283" fmla="*/ 1631193 w 3873668"/>
                <a:gd name="connsiteY283" fmla="*/ 675611 h 1246464"/>
                <a:gd name="connsiteX284" fmla="*/ 1627485 w 3873668"/>
                <a:gd name="connsiteY284" fmla="*/ 673484 h 1246464"/>
                <a:gd name="connsiteX285" fmla="*/ 1586115 w 3873668"/>
                <a:gd name="connsiteY285" fmla="*/ 673484 h 1246464"/>
                <a:gd name="connsiteX286" fmla="*/ 1586115 w 3873668"/>
                <a:gd name="connsiteY286" fmla="*/ 659658 h 1246464"/>
                <a:gd name="connsiteX287" fmla="*/ 1584554 w 3873668"/>
                <a:gd name="connsiteY287" fmla="*/ 654607 h 1246464"/>
                <a:gd name="connsiteX288" fmla="*/ 1580846 w 3873668"/>
                <a:gd name="connsiteY288" fmla="*/ 652479 h 1246464"/>
                <a:gd name="connsiteX289" fmla="*/ 1571382 w 3873668"/>
                <a:gd name="connsiteY289" fmla="*/ 652479 h 1246464"/>
                <a:gd name="connsiteX290" fmla="*/ 1571382 w 3873668"/>
                <a:gd name="connsiteY290" fmla="*/ 638653 h 1246464"/>
                <a:gd name="connsiteX291" fmla="*/ 1569821 w 3873668"/>
                <a:gd name="connsiteY291" fmla="*/ 633602 h 1246464"/>
                <a:gd name="connsiteX292" fmla="*/ 1566113 w 3873668"/>
                <a:gd name="connsiteY292" fmla="*/ 631475 h 1246464"/>
                <a:gd name="connsiteX293" fmla="*/ 1389900 w 3873668"/>
                <a:gd name="connsiteY293" fmla="*/ 631475 h 1246464"/>
                <a:gd name="connsiteX294" fmla="*/ 1389900 w 3873668"/>
                <a:gd name="connsiteY294" fmla="*/ 617649 h 1246464"/>
                <a:gd name="connsiteX295" fmla="*/ 1388339 w 3873668"/>
                <a:gd name="connsiteY295" fmla="*/ 612597 h 1246464"/>
                <a:gd name="connsiteX296" fmla="*/ 1384631 w 3873668"/>
                <a:gd name="connsiteY296" fmla="*/ 610470 h 1246464"/>
                <a:gd name="connsiteX297" fmla="*/ 1294280 w 3873668"/>
                <a:gd name="connsiteY297" fmla="*/ 610470 h 1246464"/>
                <a:gd name="connsiteX298" fmla="*/ 1294280 w 3873668"/>
                <a:gd name="connsiteY298" fmla="*/ 596644 h 1246464"/>
                <a:gd name="connsiteX299" fmla="*/ 1292719 w 3873668"/>
                <a:gd name="connsiteY299" fmla="*/ 591592 h 1246464"/>
                <a:gd name="connsiteX300" fmla="*/ 1291841 w 3873668"/>
                <a:gd name="connsiteY300" fmla="*/ 590528 h 1246464"/>
                <a:gd name="connsiteX301" fmla="*/ 1291841 w 3873668"/>
                <a:gd name="connsiteY301" fmla="*/ 575639 h 1246464"/>
                <a:gd name="connsiteX302" fmla="*/ 1290280 w 3873668"/>
                <a:gd name="connsiteY302" fmla="*/ 570587 h 1246464"/>
                <a:gd name="connsiteX303" fmla="*/ 1286572 w 3873668"/>
                <a:gd name="connsiteY303" fmla="*/ 568460 h 1246464"/>
                <a:gd name="connsiteX304" fmla="*/ 1264814 w 3873668"/>
                <a:gd name="connsiteY304" fmla="*/ 568460 h 1246464"/>
                <a:gd name="connsiteX305" fmla="*/ 1264814 w 3873668"/>
                <a:gd name="connsiteY305" fmla="*/ 554634 h 1246464"/>
                <a:gd name="connsiteX306" fmla="*/ 1263253 w 3873668"/>
                <a:gd name="connsiteY306" fmla="*/ 549582 h 1246464"/>
                <a:gd name="connsiteX307" fmla="*/ 1259545 w 3873668"/>
                <a:gd name="connsiteY307" fmla="*/ 547455 h 1246464"/>
                <a:gd name="connsiteX308" fmla="*/ 1142167 w 3873668"/>
                <a:gd name="connsiteY308" fmla="*/ 547455 h 1246464"/>
                <a:gd name="connsiteX309" fmla="*/ 1142167 w 3873668"/>
                <a:gd name="connsiteY309" fmla="*/ 513289 h 1246464"/>
                <a:gd name="connsiteX310" fmla="*/ 1140606 w 3873668"/>
                <a:gd name="connsiteY310" fmla="*/ 508237 h 1246464"/>
                <a:gd name="connsiteX311" fmla="*/ 1136898 w 3873668"/>
                <a:gd name="connsiteY311" fmla="*/ 506110 h 1246464"/>
                <a:gd name="connsiteX312" fmla="*/ 1132312 w 3873668"/>
                <a:gd name="connsiteY312" fmla="*/ 506110 h 1246464"/>
                <a:gd name="connsiteX313" fmla="*/ 1132312 w 3873668"/>
                <a:gd name="connsiteY313" fmla="*/ 492550 h 1246464"/>
                <a:gd name="connsiteX314" fmla="*/ 1130751 w 3873668"/>
                <a:gd name="connsiteY314" fmla="*/ 487498 h 1246464"/>
                <a:gd name="connsiteX315" fmla="*/ 1127043 w 3873668"/>
                <a:gd name="connsiteY315" fmla="*/ 485371 h 1246464"/>
                <a:gd name="connsiteX316" fmla="*/ 1120018 w 3873668"/>
                <a:gd name="connsiteY316" fmla="*/ 485371 h 1246464"/>
                <a:gd name="connsiteX317" fmla="*/ 1120018 w 3873668"/>
                <a:gd name="connsiteY317" fmla="*/ 471811 h 1246464"/>
                <a:gd name="connsiteX318" fmla="*/ 1118457 w 3873668"/>
                <a:gd name="connsiteY318" fmla="*/ 466759 h 1246464"/>
                <a:gd name="connsiteX319" fmla="*/ 1115140 w 3873668"/>
                <a:gd name="connsiteY319" fmla="*/ 464632 h 1246464"/>
                <a:gd name="connsiteX320" fmla="*/ 1115140 w 3873668"/>
                <a:gd name="connsiteY320" fmla="*/ 430466 h 1246464"/>
                <a:gd name="connsiteX321" fmla="*/ 1113579 w 3873668"/>
                <a:gd name="connsiteY321" fmla="*/ 425414 h 1246464"/>
                <a:gd name="connsiteX322" fmla="*/ 1109871 w 3873668"/>
                <a:gd name="connsiteY322" fmla="*/ 423287 h 1246464"/>
                <a:gd name="connsiteX323" fmla="*/ 1095430 w 3873668"/>
                <a:gd name="connsiteY323" fmla="*/ 423287 h 1246464"/>
                <a:gd name="connsiteX324" fmla="*/ 1095430 w 3873668"/>
                <a:gd name="connsiteY324" fmla="*/ 409727 h 1246464"/>
                <a:gd name="connsiteX325" fmla="*/ 1093869 w 3873668"/>
                <a:gd name="connsiteY325" fmla="*/ 404676 h 1246464"/>
                <a:gd name="connsiteX326" fmla="*/ 1090161 w 3873668"/>
                <a:gd name="connsiteY326" fmla="*/ 402548 h 1246464"/>
                <a:gd name="connsiteX327" fmla="*/ 1036595 w 3873668"/>
                <a:gd name="connsiteY327" fmla="*/ 402548 h 1246464"/>
                <a:gd name="connsiteX328" fmla="*/ 1036595 w 3873668"/>
                <a:gd name="connsiteY328" fmla="*/ 368382 h 1246464"/>
                <a:gd name="connsiteX329" fmla="*/ 1035034 w 3873668"/>
                <a:gd name="connsiteY329" fmla="*/ 363331 h 1246464"/>
                <a:gd name="connsiteX330" fmla="*/ 1031326 w 3873668"/>
                <a:gd name="connsiteY330" fmla="*/ 361203 h 1246464"/>
                <a:gd name="connsiteX331" fmla="*/ 1016886 w 3873668"/>
                <a:gd name="connsiteY331" fmla="*/ 361203 h 1246464"/>
                <a:gd name="connsiteX332" fmla="*/ 1016886 w 3873668"/>
                <a:gd name="connsiteY332" fmla="*/ 347643 h 1246464"/>
                <a:gd name="connsiteX333" fmla="*/ 1015324 w 3873668"/>
                <a:gd name="connsiteY333" fmla="*/ 342592 h 1246464"/>
                <a:gd name="connsiteX334" fmla="*/ 1011617 w 3873668"/>
                <a:gd name="connsiteY334" fmla="*/ 340465 h 1246464"/>
                <a:gd name="connsiteX335" fmla="*/ 1004592 w 3873668"/>
                <a:gd name="connsiteY335" fmla="*/ 340465 h 1246464"/>
                <a:gd name="connsiteX336" fmla="*/ 1004592 w 3873668"/>
                <a:gd name="connsiteY336" fmla="*/ 326904 h 1246464"/>
                <a:gd name="connsiteX337" fmla="*/ 1003030 w 3873668"/>
                <a:gd name="connsiteY337" fmla="*/ 321853 h 1246464"/>
                <a:gd name="connsiteX338" fmla="*/ 999323 w 3873668"/>
                <a:gd name="connsiteY338" fmla="*/ 319726 h 1246464"/>
                <a:gd name="connsiteX339" fmla="*/ 901654 w 3873668"/>
                <a:gd name="connsiteY339" fmla="*/ 319726 h 1246464"/>
                <a:gd name="connsiteX340" fmla="*/ 901654 w 3873668"/>
                <a:gd name="connsiteY340" fmla="*/ 306165 h 1246464"/>
                <a:gd name="connsiteX341" fmla="*/ 900093 w 3873668"/>
                <a:gd name="connsiteY341" fmla="*/ 301114 h 1246464"/>
                <a:gd name="connsiteX342" fmla="*/ 896385 w 3873668"/>
                <a:gd name="connsiteY342" fmla="*/ 298987 h 1246464"/>
                <a:gd name="connsiteX343" fmla="*/ 828086 w 3873668"/>
                <a:gd name="connsiteY343" fmla="*/ 298987 h 1246464"/>
                <a:gd name="connsiteX344" fmla="*/ 828086 w 3873668"/>
                <a:gd name="connsiteY344" fmla="*/ 285427 h 1246464"/>
                <a:gd name="connsiteX345" fmla="*/ 826524 w 3873668"/>
                <a:gd name="connsiteY345" fmla="*/ 280375 h 1246464"/>
                <a:gd name="connsiteX346" fmla="*/ 822817 w 3873668"/>
                <a:gd name="connsiteY346" fmla="*/ 278248 h 1246464"/>
                <a:gd name="connsiteX347" fmla="*/ 796180 w 3873668"/>
                <a:gd name="connsiteY347" fmla="*/ 278248 h 1246464"/>
                <a:gd name="connsiteX348" fmla="*/ 796180 w 3873668"/>
                <a:gd name="connsiteY348" fmla="*/ 264688 h 1246464"/>
                <a:gd name="connsiteX349" fmla="*/ 794619 w 3873668"/>
                <a:gd name="connsiteY349" fmla="*/ 259636 h 1246464"/>
                <a:gd name="connsiteX350" fmla="*/ 790911 w 3873668"/>
                <a:gd name="connsiteY350" fmla="*/ 257509 h 1246464"/>
                <a:gd name="connsiteX351" fmla="*/ 771592 w 3873668"/>
                <a:gd name="connsiteY351" fmla="*/ 257509 h 1246464"/>
                <a:gd name="connsiteX352" fmla="*/ 771592 w 3873668"/>
                <a:gd name="connsiteY352" fmla="*/ 244214 h 1246464"/>
                <a:gd name="connsiteX353" fmla="*/ 770031 w 3873668"/>
                <a:gd name="connsiteY353" fmla="*/ 239163 h 1246464"/>
                <a:gd name="connsiteX354" fmla="*/ 766323 w 3873668"/>
                <a:gd name="connsiteY354" fmla="*/ 237036 h 1246464"/>
                <a:gd name="connsiteX355" fmla="*/ 749541 w 3873668"/>
                <a:gd name="connsiteY355" fmla="*/ 237036 h 1246464"/>
                <a:gd name="connsiteX356" fmla="*/ 749541 w 3873668"/>
                <a:gd name="connsiteY356" fmla="*/ 223741 h 1246464"/>
                <a:gd name="connsiteX357" fmla="*/ 747980 w 3873668"/>
                <a:gd name="connsiteY357" fmla="*/ 218690 h 1246464"/>
                <a:gd name="connsiteX358" fmla="*/ 744272 w 3873668"/>
                <a:gd name="connsiteY358" fmla="*/ 216563 h 1246464"/>
                <a:gd name="connsiteX359" fmla="*/ 707780 w 3873668"/>
                <a:gd name="connsiteY359" fmla="*/ 216563 h 1246464"/>
                <a:gd name="connsiteX360" fmla="*/ 707780 w 3873668"/>
                <a:gd name="connsiteY360" fmla="*/ 203268 h 1246464"/>
                <a:gd name="connsiteX361" fmla="*/ 706219 w 3873668"/>
                <a:gd name="connsiteY361" fmla="*/ 198217 h 1246464"/>
                <a:gd name="connsiteX362" fmla="*/ 702512 w 3873668"/>
                <a:gd name="connsiteY362" fmla="*/ 196089 h 1246464"/>
                <a:gd name="connsiteX363" fmla="*/ 688169 w 3873668"/>
                <a:gd name="connsiteY363" fmla="*/ 196089 h 1246464"/>
                <a:gd name="connsiteX364" fmla="*/ 688169 w 3873668"/>
                <a:gd name="connsiteY364" fmla="*/ 182795 h 1246464"/>
                <a:gd name="connsiteX365" fmla="*/ 686607 w 3873668"/>
                <a:gd name="connsiteY365" fmla="*/ 177743 h 1246464"/>
                <a:gd name="connsiteX366" fmla="*/ 682900 w 3873668"/>
                <a:gd name="connsiteY366" fmla="*/ 175616 h 1246464"/>
                <a:gd name="connsiteX367" fmla="*/ 673435 w 3873668"/>
                <a:gd name="connsiteY367" fmla="*/ 175616 h 1246464"/>
                <a:gd name="connsiteX368" fmla="*/ 673435 w 3873668"/>
                <a:gd name="connsiteY368" fmla="*/ 162322 h 1246464"/>
                <a:gd name="connsiteX369" fmla="*/ 671874 w 3873668"/>
                <a:gd name="connsiteY369" fmla="*/ 157270 h 1246464"/>
                <a:gd name="connsiteX370" fmla="*/ 668167 w 3873668"/>
                <a:gd name="connsiteY370" fmla="*/ 155143 h 1246464"/>
                <a:gd name="connsiteX371" fmla="*/ 641530 w 3873668"/>
                <a:gd name="connsiteY371" fmla="*/ 155143 h 1246464"/>
                <a:gd name="connsiteX372" fmla="*/ 641530 w 3873668"/>
                <a:gd name="connsiteY372" fmla="*/ 141849 h 1246464"/>
                <a:gd name="connsiteX373" fmla="*/ 639969 w 3873668"/>
                <a:gd name="connsiteY373" fmla="*/ 136797 h 1246464"/>
                <a:gd name="connsiteX374" fmla="*/ 636261 w 3873668"/>
                <a:gd name="connsiteY374" fmla="*/ 134670 h 1246464"/>
                <a:gd name="connsiteX375" fmla="*/ 612063 w 3873668"/>
                <a:gd name="connsiteY375" fmla="*/ 134670 h 1246464"/>
                <a:gd name="connsiteX376" fmla="*/ 612063 w 3873668"/>
                <a:gd name="connsiteY376" fmla="*/ 121376 h 1246464"/>
                <a:gd name="connsiteX377" fmla="*/ 610502 w 3873668"/>
                <a:gd name="connsiteY377" fmla="*/ 116324 h 1246464"/>
                <a:gd name="connsiteX378" fmla="*/ 606794 w 3873668"/>
                <a:gd name="connsiteY378" fmla="*/ 114197 h 1246464"/>
                <a:gd name="connsiteX379" fmla="*/ 558106 w 3873668"/>
                <a:gd name="connsiteY379" fmla="*/ 114197 h 1246464"/>
                <a:gd name="connsiteX380" fmla="*/ 558106 w 3873668"/>
                <a:gd name="connsiteY380" fmla="*/ 101036 h 1246464"/>
                <a:gd name="connsiteX381" fmla="*/ 556545 w 3873668"/>
                <a:gd name="connsiteY381" fmla="*/ 95984 h 1246464"/>
                <a:gd name="connsiteX382" fmla="*/ 552838 w 3873668"/>
                <a:gd name="connsiteY382" fmla="*/ 93857 h 1246464"/>
                <a:gd name="connsiteX383" fmla="*/ 509028 w 3873668"/>
                <a:gd name="connsiteY383" fmla="*/ 93857 h 1246464"/>
                <a:gd name="connsiteX384" fmla="*/ 509028 w 3873668"/>
                <a:gd name="connsiteY384" fmla="*/ 80696 h 1246464"/>
                <a:gd name="connsiteX385" fmla="*/ 507467 w 3873668"/>
                <a:gd name="connsiteY385" fmla="*/ 75644 h 1246464"/>
                <a:gd name="connsiteX386" fmla="*/ 503759 w 3873668"/>
                <a:gd name="connsiteY386" fmla="*/ 73517 h 1246464"/>
                <a:gd name="connsiteX387" fmla="*/ 433020 w 3873668"/>
                <a:gd name="connsiteY387" fmla="*/ 73517 h 1246464"/>
                <a:gd name="connsiteX388" fmla="*/ 433020 w 3873668"/>
                <a:gd name="connsiteY388" fmla="*/ 60356 h 1246464"/>
                <a:gd name="connsiteX389" fmla="*/ 431459 w 3873668"/>
                <a:gd name="connsiteY389" fmla="*/ 55304 h 1246464"/>
                <a:gd name="connsiteX390" fmla="*/ 427751 w 3873668"/>
                <a:gd name="connsiteY390" fmla="*/ 53177 h 1246464"/>
                <a:gd name="connsiteX391" fmla="*/ 369209 w 3873668"/>
                <a:gd name="connsiteY391" fmla="*/ 53177 h 1246464"/>
                <a:gd name="connsiteX392" fmla="*/ 369209 w 3873668"/>
                <a:gd name="connsiteY392" fmla="*/ 40148 h 1246464"/>
                <a:gd name="connsiteX393" fmla="*/ 367648 w 3873668"/>
                <a:gd name="connsiteY393" fmla="*/ 35097 h 1246464"/>
                <a:gd name="connsiteX394" fmla="*/ 363940 w 3873668"/>
                <a:gd name="connsiteY394" fmla="*/ 32970 h 1246464"/>
                <a:gd name="connsiteX395" fmla="*/ 163236 w 3873668"/>
                <a:gd name="connsiteY395" fmla="*/ 32970 h 1246464"/>
                <a:gd name="connsiteX396" fmla="*/ 163236 w 3873668"/>
                <a:gd name="connsiteY396" fmla="*/ 20074 h 1246464"/>
                <a:gd name="connsiteX397" fmla="*/ 161675 w 3873668"/>
                <a:gd name="connsiteY397" fmla="*/ 15022 h 1246464"/>
                <a:gd name="connsiteX398" fmla="*/ 157968 w 3873668"/>
                <a:gd name="connsiteY398" fmla="*/ 12895 h 1246464"/>
                <a:gd name="connsiteX399" fmla="*/ 3903 w 3873668"/>
                <a:gd name="connsiteY399" fmla="*/ 12895 h 1246464"/>
                <a:gd name="connsiteX400" fmla="*/ 3903 w 3873668"/>
                <a:gd name="connsiteY400" fmla="*/ 0 h 1246464"/>
                <a:gd name="connsiteX401" fmla="*/ 427654 w 3873668"/>
                <a:gd name="connsiteY401" fmla="*/ 0 h 1246464"/>
                <a:gd name="connsiteX402" fmla="*/ 427654 w 3873668"/>
                <a:gd name="connsiteY402" fmla="*/ 1595 h 1246464"/>
                <a:gd name="connsiteX403" fmla="*/ 503662 w 3873668"/>
                <a:gd name="connsiteY403" fmla="*/ 1595 h 1246464"/>
                <a:gd name="connsiteX404" fmla="*/ 503662 w 3873668"/>
                <a:gd name="connsiteY404" fmla="*/ 12629 h 1246464"/>
                <a:gd name="connsiteX405" fmla="*/ 552642 w 3873668"/>
                <a:gd name="connsiteY405" fmla="*/ 12629 h 1246464"/>
                <a:gd name="connsiteX406" fmla="*/ 552642 w 3873668"/>
                <a:gd name="connsiteY406" fmla="*/ 24727 h 1246464"/>
                <a:gd name="connsiteX407" fmla="*/ 606599 w 3873668"/>
                <a:gd name="connsiteY407" fmla="*/ 24727 h 1246464"/>
                <a:gd name="connsiteX408" fmla="*/ 606599 w 3873668"/>
                <a:gd name="connsiteY408" fmla="*/ 37490 h 1246464"/>
                <a:gd name="connsiteX409" fmla="*/ 635968 w 3873668"/>
                <a:gd name="connsiteY409" fmla="*/ 37490 h 1246464"/>
                <a:gd name="connsiteX410" fmla="*/ 635968 w 3873668"/>
                <a:gd name="connsiteY410" fmla="*/ 51050 h 1246464"/>
                <a:gd name="connsiteX411" fmla="*/ 667874 w 3873668"/>
                <a:gd name="connsiteY411" fmla="*/ 51050 h 1246464"/>
                <a:gd name="connsiteX412" fmla="*/ 667874 w 3873668"/>
                <a:gd name="connsiteY412" fmla="*/ 65009 h 1246464"/>
                <a:gd name="connsiteX413" fmla="*/ 682607 w 3873668"/>
                <a:gd name="connsiteY413" fmla="*/ 65009 h 1246464"/>
                <a:gd name="connsiteX414" fmla="*/ 682607 w 3873668"/>
                <a:gd name="connsiteY414" fmla="*/ 79366 h 1246464"/>
                <a:gd name="connsiteX415" fmla="*/ 702219 w 3873668"/>
                <a:gd name="connsiteY415" fmla="*/ 79366 h 1246464"/>
                <a:gd name="connsiteX416" fmla="*/ 702219 w 3873668"/>
                <a:gd name="connsiteY416" fmla="*/ 94123 h 1246464"/>
                <a:gd name="connsiteX417" fmla="*/ 743979 w 3873668"/>
                <a:gd name="connsiteY417" fmla="*/ 94123 h 1246464"/>
                <a:gd name="connsiteX418" fmla="*/ 743979 w 3873668"/>
                <a:gd name="connsiteY418" fmla="*/ 109278 h 1246464"/>
                <a:gd name="connsiteX419" fmla="*/ 766030 w 3873668"/>
                <a:gd name="connsiteY419" fmla="*/ 109278 h 1246464"/>
                <a:gd name="connsiteX420" fmla="*/ 766030 w 3873668"/>
                <a:gd name="connsiteY420" fmla="*/ 124700 h 1246464"/>
                <a:gd name="connsiteX421" fmla="*/ 790521 w 3873668"/>
                <a:gd name="connsiteY421" fmla="*/ 124700 h 1246464"/>
                <a:gd name="connsiteX422" fmla="*/ 790521 w 3873668"/>
                <a:gd name="connsiteY422" fmla="*/ 140387 h 1246464"/>
                <a:gd name="connsiteX423" fmla="*/ 822329 w 3873668"/>
                <a:gd name="connsiteY423" fmla="*/ 140387 h 1246464"/>
                <a:gd name="connsiteX424" fmla="*/ 822329 w 3873668"/>
                <a:gd name="connsiteY424" fmla="*/ 156473 h 1246464"/>
                <a:gd name="connsiteX425" fmla="*/ 895897 w 3873668"/>
                <a:gd name="connsiteY425" fmla="*/ 156473 h 1246464"/>
                <a:gd name="connsiteX426" fmla="*/ 895897 w 3873668"/>
                <a:gd name="connsiteY426" fmla="*/ 172692 h 1246464"/>
                <a:gd name="connsiteX427" fmla="*/ 998835 w 3873668"/>
                <a:gd name="connsiteY427" fmla="*/ 172692 h 1246464"/>
                <a:gd name="connsiteX428" fmla="*/ 998835 w 3873668"/>
                <a:gd name="connsiteY428" fmla="*/ 189177 h 1246464"/>
                <a:gd name="connsiteX429" fmla="*/ 1011129 w 3873668"/>
                <a:gd name="connsiteY429" fmla="*/ 189177 h 1246464"/>
                <a:gd name="connsiteX430" fmla="*/ 1011129 w 3873668"/>
                <a:gd name="connsiteY430" fmla="*/ 205794 h 1246464"/>
                <a:gd name="connsiteX431" fmla="*/ 1030741 w 3873668"/>
                <a:gd name="connsiteY431" fmla="*/ 205794 h 1246464"/>
                <a:gd name="connsiteX432" fmla="*/ 1030741 w 3873668"/>
                <a:gd name="connsiteY432" fmla="*/ 239694 h 1246464"/>
                <a:gd name="connsiteX433" fmla="*/ 1089576 w 3873668"/>
                <a:gd name="connsiteY433" fmla="*/ 239694 h 1246464"/>
                <a:gd name="connsiteX434" fmla="*/ 1089576 w 3873668"/>
                <a:gd name="connsiteY434" fmla="*/ 256844 h 1246464"/>
                <a:gd name="connsiteX435" fmla="*/ 1109188 w 3873668"/>
                <a:gd name="connsiteY435" fmla="*/ 256844 h 1246464"/>
                <a:gd name="connsiteX436" fmla="*/ 1109188 w 3873668"/>
                <a:gd name="connsiteY436" fmla="*/ 291542 h 1246464"/>
                <a:gd name="connsiteX437" fmla="*/ 1114066 w 3873668"/>
                <a:gd name="connsiteY437" fmla="*/ 291542 h 1246464"/>
                <a:gd name="connsiteX438" fmla="*/ 1114066 w 3873668"/>
                <a:gd name="connsiteY438" fmla="*/ 309090 h 1246464"/>
                <a:gd name="connsiteX439" fmla="*/ 1126360 w 3873668"/>
                <a:gd name="connsiteY439" fmla="*/ 309090 h 1246464"/>
                <a:gd name="connsiteX440" fmla="*/ 1126360 w 3873668"/>
                <a:gd name="connsiteY440" fmla="*/ 326772 h 1246464"/>
                <a:gd name="connsiteX441" fmla="*/ 1136215 w 3873668"/>
                <a:gd name="connsiteY441" fmla="*/ 326772 h 1246464"/>
                <a:gd name="connsiteX442" fmla="*/ 1136215 w 3873668"/>
                <a:gd name="connsiteY442" fmla="*/ 362533 h 1246464"/>
                <a:gd name="connsiteX443" fmla="*/ 1258764 w 3873668"/>
                <a:gd name="connsiteY443" fmla="*/ 362533 h 1246464"/>
                <a:gd name="connsiteX444" fmla="*/ 1258764 w 3873668"/>
                <a:gd name="connsiteY444" fmla="*/ 380746 h 1246464"/>
                <a:gd name="connsiteX445" fmla="*/ 1285791 w 3873668"/>
                <a:gd name="connsiteY445" fmla="*/ 380746 h 1246464"/>
                <a:gd name="connsiteX446" fmla="*/ 1285791 w 3873668"/>
                <a:gd name="connsiteY446" fmla="*/ 399092 h 1246464"/>
                <a:gd name="connsiteX447" fmla="*/ 1288231 w 3873668"/>
                <a:gd name="connsiteY447" fmla="*/ 399092 h 1246464"/>
                <a:gd name="connsiteX448" fmla="*/ 1288231 w 3873668"/>
                <a:gd name="connsiteY448" fmla="*/ 417571 h 1246464"/>
                <a:gd name="connsiteX449" fmla="*/ 1383850 w 3873668"/>
                <a:gd name="connsiteY449" fmla="*/ 417571 h 1246464"/>
                <a:gd name="connsiteX450" fmla="*/ 1383850 w 3873668"/>
                <a:gd name="connsiteY450" fmla="*/ 436050 h 1246464"/>
                <a:gd name="connsiteX451" fmla="*/ 1565235 w 3873668"/>
                <a:gd name="connsiteY451" fmla="*/ 436050 h 1246464"/>
                <a:gd name="connsiteX452" fmla="*/ 1565235 w 3873668"/>
                <a:gd name="connsiteY452" fmla="*/ 454662 h 1246464"/>
                <a:gd name="connsiteX453" fmla="*/ 1579968 w 3873668"/>
                <a:gd name="connsiteY453" fmla="*/ 454662 h 1246464"/>
                <a:gd name="connsiteX454" fmla="*/ 1579968 w 3873668"/>
                <a:gd name="connsiteY454" fmla="*/ 473407 h 1246464"/>
                <a:gd name="connsiteX455" fmla="*/ 1626509 w 3873668"/>
                <a:gd name="connsiteY455" fmla="*/ 473407 h 1246464"/>
                <a:gd name="connsiteX456" fmla="*/ 1626509 w 3873668"/>
                <a:gd name="connsiteY456" fmla="*/ 492284 h 1246464"/>
                <a:gd name="connsiteX457" fmla="*/ 1724568 w 3873668"/>
                <a:gd name="connsiteY457" fmla="*/ 492284 h 1246464"/>
                <a:gd name="connsiteX458" fmla="*/ 1724568 w 3873668"/>
                <a:gd name="connsiteY458" fmla="*/ 511162 h 1246464"/>
                <a:gd name="connsiteX459" fmla="*/ 1773647 w 3873668"/>
                <a:gd name="connsiteY459" fmla="*/ 511162 h 1246464"/>
                <a:gd name="connsiteX460" fmla="*/ 1773647 w 3873668"/>
                <a:gd name="connsiteY460" fmla="*/ 530173 h 1246464"/>
                <a:gd name="connsiteX461" fmla="*/ 1798137 w 3873668"/>
                <a:gd name="connsiteY461" fmla="*/ 530173 h 1246464"/>
                <a:gd name="connsiteX462" fmla="*/ 1798137 w 3873668"/>
                <a:gd name="connsiteY462" fmla="*/ 549316 h 1246464"/>
                <a:gd name="connsiteX463" fmla="*/ 2075239 w 3873668"/>
                <a:gd name="connsiteY463" fmla="*/ 549316 h 1246464"/>
                <a:gd name="connsiteX464" fmla="*/ 2075239 w 3873668"/>
                <a:gd name="connsiteY464" fmla="*/ 569391 h 1246464"/>
                <a:gd name="connsiteX465" fmla="*/ 2097290 w 3873668"/>
                <a:gd name="connsiteY465" fmla="*/ 569391 h 1246464"/>
                <a:gd name="connsiteX466" fmla="*/ 2097290 w 3873668"/>
                <a:gd name="connsiteY466" fmla="*/ 589598 h 1246464"/>
                <a:gd name="connsiteX467" fmla="*/ 2129196 w 3873668"/>
                <a:gd name="connsiteY467" fmla="*/ 589598 h 1246464"/>
                <a:gd name="connsiteX468" fmla="*/ 2129196 w 3873668"/>
                <a:gd name="connsiteY468" fmla="*/ 609805 h 1246464"/>
                <a:gd name="connsiteX469" fmla="*/ 2141392 w 3873668"/>
                <a:gd name="connsiteY469" fmla="*/ 609805 h 1246464"/>
                <a:gd name="connsiteX470" fmla="*/ 2141392 w 3873668"/>
                <a:gd name="connsiteY470" fmla="*/ 630278 h 1246464"/>
                <a:gd name="connsiteX471" fmla="*/ 2300726 w 3873668"/>
                <a:gd name="connsiteY471" fmla="*/ 630278 h 1246464"/>
                <a:gd name="connsiteX472" fmla="*/ 2300726 w 3873668"/>
                <a:gd name="connsiteY472" fmla="*/ 650751 h 1246464"/>
                <a:gd name="connsiteX473" fmla="*/ 2337510 w 3873668"/>
                <a:gd name="connsiteY473" fmla="*/ 650751 h 1246464"/>
                <a:gd name="connsiteX474" fmla="*/ 2337510 w 3873668"/>
                <a:gd name="connsiteY474" fmla="*/ 671357 h 1246464"/>
                <a:gd name="connsiteX475" fmla="*/ 2391467 w 3873668"/>
                <a:gd name="connsiteY475" fmla="*/ 671357 h 1246464"/>
                <a:gd name="connsiteX476" fmla="*/ 2391467 w 3873668"/>
                <a:gd name="connsiteY476" fmla="*/ 692362 h 1246464"/>
                <a:gd name="connsiteX477" fmla="*/ 2457620 w 3873668"/>
                <a:gd name="connsiteY477" fmla="*/ 692362 h 1246464"/>
                <a:gd name="connsiteX478" fmla="*/ 2457620 w 3873668"/>
                <a:gd name="connsiteY478" fmla="*/ 714032 h 1246464"/>
                <a:gd name="connsiteX479" fmla="*/ 2489526 w 3873668"/>
                <a:gd name="connsiteY479" fmla="*/ 714032 h 1246464"/>
                <a:gd name="connsiteX480" fmla="*/ 2489526 w 3873668"/>
                <a:gd name="connsiteY480" fmla="*/ 735834 h 1246464"/>
                <a:gd name="connsiteX481" fmla="*/ 2661055 w 3873668"/>
                <a:gd name="connsiteY481" fmla="*/ 735834 h 1246464"/>
                <a:gd name="connsiteX482" fmla="*/ 2661055 w 3873668"/>
                <a:gd name="connsiteY482" fmla="*/ 758035 h 1246464"/>
                <a:gd name="connsiteX483" fmla="*/ 3097393 w 3873668"/>
                <a:gd name="connsiteY483" fmla="*/ 758035 h 1246464"/>
                <a:gd name="connsiteX484" fmla="*/ 3097393 w 3873668"/>
                <a:gd name="connsiteY484" fmla="*/ 782497 h 1246464"/>
                <a:gd name="connsiteX485" fmla="*/ 3205209 w 3873668"/>
                <a:gd name="connsiteY485" fmla="*/ 782497 h 1246464"/>
                <a:gd name="connsiteX486" fmla="*/ 3205209 w 3873668"/>
                <a:gd name="connsiteY486" fmla="*/ 809218 h 1246464"/>
                <a:gd name="connsiteX487" fmla="*/ 3872400 w 3873668"/>
                <a:gd name="connsiteY487" fmla="*/ 809218 h 1246464"/>
                <a:gd name="connsiteX488" fmla="*/ 3872400 w 3873668"/>
                <a:gd name="connsiteY488" fmla="*/ 1244337 h 1246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</a:cxnLst>
              <a:rect l="l" t="t" r="r" b="b"/>
              <a:pathLst>
                <a:path w="3873668" h="1246464">
                  <a:moveTo>
                    <a:pt x="2453717" y="929265"/>
                  </a:moveTo>
                  <a:lnTo>
                    <a:pt x="2049578" y="929265"/>
                  </a:lnTo>
                  <a:lnTo>
                    <a:pt x="2049578" y="910121"/>
                  </a:lnTo>
                  <a:lnTo>
                    <a:pt x="1775013" y="910121"/>
                  </a:lnTo>
                  <a:lnTo>
                    <a:pt x="1775013" y="907063"/>
                  </a:lnTo>
                  <a:lnTo>
                    <a:pt x="1725934" y="907063"/>
                  </a:lnTo>
                  <a:lnTo>
                    <a:pt x="1725934" y="884862"/>
                  </a:lnTo>
                  <a:lnTo>
                    <a:pt x="1627875" y="884862"/>
                  </a:lnTo>
                  <a:lnTo>
                    <a:pt x="1627875" y="862661"/>
                  </a:lnTo>
                  <a:lnTo>
                    <a:pt x="1581334" y="862661"/>
                  </a:lnTo>
                  <a:lnTo>
                    <a:pt x="1581334" y="840327"/>
                  </a:lnTo>
                  <a:lnTo>
                    <a:pt x="1566601" y="840327"/>
                  </a:lnTo>
                  <a:lnTo>
                    <a:pt x="1566601" y="817992"/>
                  </a:lnTo>
                  <a:lnTo>
                    <a:pt x="1385216" y="817992"/>
                  </a:lnTo>
                  <a:lnTo>
                    <a:pt x="1385216" y="795392"/>
                  </a:lnTo>
                  <a:lnTo>
                    <a:pt x="1289597" y="795392"/>
                  </a:lnTo>
                  <a:lnTo>
                    <a:pt x="1289597" y="772792"/>
                  </a:lnTo>
                  <a:lnTo>
                    <a:pt x="1287157" y="772792"/>
                  </a:lnTo>
                  <a:lnTo>
                    <a:pt x="1287157" y="750059"/>
                  </a:lnTo>
                  <a:lnTo>
                    <a:pt x="1260130" y="750059"/>
                  </a:lnTo>
                  <a:lnTo>
                    <a:pt x="1260130" y="727193"/>
                  </a:lnTo>
                  <a:lnTo>
                    <a:pt x="1137581" y="727193"/>
                  </a:lnTo>
                  <a:lnTo>
                    <a:pt x="1137581" y="681727"/>
                  </a:lnTo>
                  <a:lnTo>
                    <a:pt x="1127726" y="681727"/>
                  </a:lnTo>
                  <a:lnTo>
                    <a:pt x="1127726" y="658861"/>
                  </a:lnTo>
                  <a:lnTo>
                    <a:pt x="1115432" y="658861"/>
                  </a:lnTo>
                  <a:lnTo>
                    <a:pt x="1115432" y="635862"/>
                  </a:lnTo>
                  <a:lnTo>
                    <a:pt x="1110554" y="635862"/>
                  </a:lnTo>
                  <a:lnTo>
                    <a:pt x="1110554" y="589465"/>
                  </a:lnTo>
                  <a:lnTo>
                    <a:pt x="1090942" y="589465"/>
                  </a:lnTo>
                  <a:lnTo>
                    <a:pt x="1090942" y="566067"/>
                  </a:lnTo>
                  <a:lnTo>
                    <a:pt x="1032107" y="566067"/>
                  </a:lnTo>
                  <a:lnTo>
                    <a:pt x="1032107" y="518607"/>
                  </a:lnTo>
                  <a:lnTo>
                    <a:pt x="1012495" y="518607"/>
                  </a:lnTo>
                  <a:lnTo>
                    <a:pt x="1012495" y="494677"/>
                  </a:lnTo>
                  <a:lnTo>
                    <a:pt x="1000201" y="494677"/>
                  </a:lnTo>
                  <a:lnTo>
                    <a:pt x="1000201" y="470482"/>
                  </a:lnTo>
                  <a:lnTo>
                    <a:pt x="897263" y="470482"/>
                  </a:lnTo>
                  <a:lnTo>
                    <a:pt x="897263" y="446153"/>
                  </a:lnTo>
                  <a:lnTo>
                    <a:pt x="823695" y="446153"/>
                  </a:lnTo>
                  <a:lnTo>
                    <a:pt x="823695" y="421559"/>
                  </a:lnTo>
                  <a:lnTo>
                    <a:pt x="791887" y="421559"/>
                  </a:lnTo>
                  <a:lnTo>
                    <a:pt x="791887" y="396699"/>
                  </a:lnTo>
                  <a:lnTo>
                    <a:pt x="767396" y="396699"/>
                  </a:lnTo>
                  <a:lnTo>
                    <a:pt x="767396" y="371972"/>
                  </a:lnTo>
                  <a:lnTo>
                    <a:pt x="745345" y="371972"/>
                  </a:lnTo>
                  <a:lnTo>
                    <a:pt x="745345" y="346846"/>
                  </a:lnTo>
                  <a:lnTo>
                    <a:pt x="703585" y="346846"/>
                  </a:lnTo>
                  <a:lnTo>
                    <a:pt x="703585" y="321454"/>
                  </a:lnTo>
                  <a:lnTo>
                    <a:pt x="683973" y="321454"/>
                  </a:lnTo>
                  <a:lnTo>
                    <a:pt x="683973" y="295663"/>
                  </a:lnTo>
                  <a:lnTo>
                    <a:pt x="669240" y="295663"/>
                  </a:lnTo>
                  <a:lnTo>
                    <a:pt x="669240" y="269473"/>
                  </a:lnTo>
                  <a:lnTo>
                    <a:pt x="637334" y="269473"/>
                  </a:lnTo>
                  <a:lnTo>
                    <a:pt x="637334" y="242752"/>
                  </a:lnTo>
                  <a:lnTo>
                    <a:pt x="607965" y="242752"/>
                  </a:lnTo>
                  <a:lnTo>
                    <a:pt x="607965" y="215366"/>
                  </a:lnTo>
                  <a:lnTo>
                    <a:pt x="554008" y="215366"/>
                  </a:lnTo>
                  <a:lnTo>
                    <a:pt x="554008" y="187714"/>
                  </a:lnTo>
                  <a:lnTo>
                    <a:pt x="505028" y="187714"/>
                  </a:lnTo>
                  <a:lnTo>
                    <a:pt x="505028" y="158999"/>
                  </a:lnTo>
                  <a:lnTo>
                    <a:pt x="429020" y="158999"/>
                  </a:lnTo>
                  <a:lnTo>
                    <a:pt x="429020" y="128954"/>
                  </a:lnTo>
                  <a:lnTo>
                    <a:pt x="365306" y="128954"/>
                  </a:lnTo>
                  <a:lnTo>
                    <a:pt x="365306" y="96782"/>
                  </a:lnTo>
                  <a:lnTo>
                    <a:pt x="159334" y="96782"/>
                  </a:lnTo>
                  <a:lnTo>
                    <a:pt x="159334" y="61153"/>
                  </a:lnTo>
                  <a:lnTo>
                    <a:pt x="12294" y="61153"/>
                  </a:lnTo>
                  <a:lnTo>
                    <a:pt x="12294" y="60090"/>
                  </a:lnTo>
                  <a:lnTo>
                    <a:pt x="0" y="60090"/>
                  </a:lnTo>
                  <a:lnTo>
                    <a:pt x="0" y="29513"/>
                  </a:lnTo>
                  <a:lnTo>
                    <a:pt x="154065" y="29513"/>
                  </a:lnTo>
                  <a:lnTo>
                    <a:pt x="154065" y="42409"/>
                  </a:lnTo>
                  <a:cubicBezTo>
                    <a:pt x="154065" y="44270"/>
                    <a:pt x="154650" y="46131"/>
                    <a:pt x="155626" y="47460"/>
                  </a:cubicBezTo>
                  <a:cubicBezTo>
                    <a:pt x="156602" y="48790"/>
                    <a:pt x="157968" y="49587"/>
                    <a:pt x="159334" y="49587"/>
                  </a:cubicBezTo>
                  <a:lnTo>
                    <a:pt x="360037" y="49587"/>
                  </a:lnTo>
                  <a:lnTo>
                    <a:pt x="360037" y="62616"/>
                  </a:lnTo>
                  <a:cubicBezTo>
                    <a:pt x="360037" y="64477"/>
                    <a:pt x="360623" y="66338"/>
                    <a:pt x="361598" y="67667"/>
                  </a:cubicBezTo>
                  <a:cubicBezTo>
                    <a:pt x="362574" y="68997"/>
                    <a:pt x="363940" y="69795"/>
                    <a:pt x="365306" y="69795"/>
                  </a:cubicBezTo>
                  <a:lnTo>
                    <a:pt x="423849" y="69795"/>
                  </a:lnTo>
                  <a:lnTo>
                    <a:pt x="423849" y="82956"/>
                  </a:lnTo>
                  <a:cubicBezTo>
                    <a:pt x="423849" y="84817"/>
                    <a:pt x="424434" y="86678"/>
                    <a:pt x="425410" y="88008"/>
                  </a:cubicBezTo>
                  <a:cubicBezTo>
                    <a:pt x="426386" y="89337"/>
                    <a:pt x="427751" y="90135"/>
                    <a:pt x="429117" y="90135"/>
                  </a:cubicBezTo>
                  <a:lnTo>
                    <a:pt x="499954" y="90135"/>
                  </a:lnTo>
                  <a:lnTo>
                    <a:pt x="499954" y="103296"/>
                  </a:lnTo>
                  <a:cubicBezTo>
                    <a:pt x="499954" y="105157"/>
                    <a:pt x="500539" y="107018"/>
                    <a:pt x="501515" y="108348"/>
                  </a:cubicBezTo>
                  <a:cubicBezTo>
                    <a:pt x="502491" y="109677"/>
                    <a:pt x="503857" y="110475"/>
                    <a:pt x="505223" y="110475"/>
                  </a:cubicBezTo>
                  <a:lnTo>
                    <a:pt x="549032" y="110475"/>
                  </a:lnTo>
                  <a:lnTo>
                    <a:pt x="549032" y="123636"/>
                  </a:lnTo>
                  <a:cubicBezTo>
                    <a:pt x="549032" y="125497"/>
                    <a:pt x="549618" y="127358"/>
                    <a:pt x="550594" y="128688"/>
                  </a:cubicBezTo>
                  <a:cubicBezTo>
                    <a:pt x="551569" y="130017"/>
                    <a:pt x="552935" y="130815"/>
                    <a:pt x="554301" y="130815"/>
                  </a:cubicBezTo>
                  <a:lnTo>
                    <a:pt x="602989" y="130815"/>
                  </a:lnTo>
                  <a:lnTo>
                    <a:pt x="602989" y="144109"/>
                  </a:lnTo>
                  <a:cubicBezTo>
                    <a:pt x="602989" y="145970"/>
                    <a:pt x="603575" y="147832"/>
                    <a:pt x="604550" y="149161"/>
                  </a:cubicBezTo>
                  <a:cubicBezTo>
                    <a:pt x="605526" y="150490"/>
                    <a:pt x="606892" y="151288"/>
                    <a:pt x="608258" y="151288"/>
                  </a:cubicBezTo>
                  <a:lnTo>
                    <a:pt x="632456" y="151288"/>
                  </a:lnTo>
                  <a:lnTo>
                    <a:pt x="632456" y="164582"/>
                  </a:lnTo>
                  <a:cubicBezTo>
                    <a:pt x="632456" y="166443"/>
                    <a:pt x="633041" y="168305"/>
                    <a:pt x="634017" y="169634"/>
                  </a:cubicBezTo>
                  <a:cubicBezTo>
                    <a:pt x="634992" y="170963"/>
                    <a:pt x="636358" y="171761"/>
                    <a:pt x="637724" y="171761"/>
                  </a:cubicBezTo>
                  <a:lnTo>
                    <a:pt x="664361" y="171761"/>
                  </a:lnTo>
                  <a:lnTo>
                    <a:pt x="664361" y="185055"/>
                  </a:lnTo>
                  <a:cubicBezTo>
                    <a:pt x="664361" y="186916"/>
                    <a:pt x="664947" y="188778"/>
                    <a:pt x="665922" y="190107"/>
                  </a:cubicBezTo>
                  <a:cubicBezTo>
                    <a:pt x="666898" y="191437"/>
                    <a:pt x="668264" y="192234"/>
                    <a:pt x="669630" y="192234"/>
                  </a:cubicBezTo>
                  <a:lnTo>
                    <a:pt x="679095" y="192234"/>
                  </a:lnTo>
                  <a:lnTo>
                    <a:pt x="679095" y="205528"/>
                  </a:lnTo>
                  <a:cubicBezTo>
                    <a:pt x="679095" y="207390"/>
                    <a:pt x="679680" y="209251"/>
                    <a:pt x="680656" y="210580"/>
                  </a:cubicBezTo>
                  <a:cubicBezTo>
                    <a:pt x="681631" y="211910"/>
                    <a:pt x="682997" y="212707"/>
                    <a:pt x="684363" y="212707"/>
                  </a:cubicBezTo>
                  <a:lnTo>
                    <a:pt x="698706" y="212707"/>
                  </a:lnTo>
                  <a:lnTo>
                    <a:pt x="698706" y="226001"/>
                  </a:lnTo>
                  <a:cubicBezTo>
                    <a:pt x="698706" y="227863"/>
                    <a:pt x="699292" y="229724"/>
                    <a:pt x="700267" y="231053"/>
                  </a:cubicBezTo>
                  <a:cubicBezTo>
                    <a:pt x="701243" y="232383"/>
                    <a:pt x="702609" y="233180"/>
                    <a:pt x="703975" y="233180"/>
                  </a:cubicBezTo>
                  <a:lnTo>
                    <a:pt x="740467" y="233180"/>
                  </a:lnTo>
                  <a:lnTo>
                    <a:pt x="740467" y="246475"/>
                  </a:lnTo>
                  <a:cubicBezTo>
                    <a:pt x="740467" y="248336"/>
                    <a:pt x="741052" y="250197"/>
                    <a:pt x="742028" y="251526"/>
                  </a:cubicBezTo>
                  <a:cubicBezTo>
                    <a:pt x="743004" y="252856"/>
                    <a:pt x="744370" y="253653"/>
                    <a:pt x="745736" y="253653"/>
                  </a:cubicBezTo>
                  <a:lnTo>
                    <a:pt x="762518" y="253653"/>
                  </a:lnTo>
                  <a:lnTo>
                    <a:pt x="762518" y="266948"/>
                  </a:lnTo>
                  <a:cubicBezTo>
                    <a:pt x="762518" y="268809"/>
                    <a:pt x="763103" y="270670"/>
                    <a:pt x="764079" y="271999"/>
                  </a:cubicBezTo>
                  <a:cubicBezTo>
                    <a:pt x="765055" y="273329"/>
                    <a:pt x="766421" y="274126"/>
                    <a:pt x="767787" y="274126"/>
                  </a:cubicBezTo>
                  <a:lnTo>
                    <a:pt x="787106" y="274126"/>
                  </a:lnTo>
                  <a:lnTo>
                    <a:pt x="787106" y="287687"/>
                  </a:lnTo>
                  <a:cubicBezTo>
                    <a:pt x="787106" y="289548"/>
                    <a:pt x="787691" y="291409"/>
                    <a:pt x="788667" y="292738"/>
                  </a:cubicBezTo>
                  <a:cubicBezTo>
                    <a:pt x="789643" y="294068"/>
                    <a:pt x="791009" y="294865"/>
                    <a:pt x="792375" y="294865"/>
                  </a:cubicBezTo>
                  <a:lnTo>
                    <a:pt x="819011" y="294865"/>
                  </a:lnTo>
                  <a:lnTo>
                    <a:pt x="819011" y="308425"/>
                  </a:lnTo>
                  <a:cubicBezTo>
                    <a:pt x="819011" y="310287"/>
                    <a:pt x="819597" y="312148"/>
                    <a:pt x="820573" y="313477"/>
                  </a:cubicBezTo>
                  <a:cubicBezTo>
                    <a:pt x="821548" y="314807"/>
                    <a:pt x="822914" y="315604"/>
                    <a:pt x="824280" y="315604"/>
                  </a:cubicBezTo>
                  <a:lnTo>
                    <a:pt x="892580" y="315604"/>
                  </a:lnTo>
                  <a:lnTo>
                    <a:pt x="892580" y="329164"/>
                  </a:lnTo>
                  <a:cubicBezTo>
                    <a:pt x="892580" y="331026"/>
                    <a:pt x="893165" y="332887"/>
                    <a:pt x="894141" y="334216"/>
                  </a:cubicBezTo>
                  <a:cubicBezTo>
                    <a:pt x="895117" y="335546"/>
                    <a:pt x="896483" y="336343"/>
                    <a:pt x="897849" y="336343"/>
                  </a:cubicBezTo>
                  <a:lnTo>
                    <a:pt x="995517" y="336343"/>
                  </a:lnTo>
                  <a:lnTo>
                    <a:pt x="995517" y="349903"/>
                  </a:lnTo>
                  <a:cubicBezTo>
                    <a:pt x="995517" y="351765"/>
                    <a:pt x="996103" y="353626"/>
                    <a:pt x="997079" y="354955"/>
                  </a:cubicBezTo>
                  <a:cubicBezTo>
                    <a:pt x="998054" y="356285"/>
                    <a:pt x="999420" y="357082"/>
                    <a:pt x="1000786" y="357082"/>
                  </a:cubicBezTo>
                  <a:lnTo>
                    <a:pt x="1007811" y="357082"/>
                  </a:lnTo>
                  <a:lnTo>
                    <a:pt x="1007811" y="370642"/>
                  </a:lnTo>
                  <a:cubicBezTo>
                    <a:pt x="1007811" y="372504"/>
                    <a:pt x="1008397" y="374365"/>
                    <a:pt x="1009373" y="375694"/>
                  </a:cubicBezTo>
                  <a:cubicBezTo>
                    <a:pt x="1010348" y="377024"/>
                    <a:pt x="1011714" y="377821"/>
                    <a:pt x="1013080" y="377821"/>
                  </a:cubicBezTo>
                  <a:lnTo>
                    <a:pt x="1027521" y="377821"/>
                  </a:lnTo>
                  <a:lnTo>
                    <a:pt x="1027521" y="411987"/>
                  </a:lnTo>
                  <a:cubicBezTo>
                    <a:pt x="1027521" y="413849"/>
                    <a:pt x="1028106" y="415710"/>
                    <a:pt x="1029082" y="417039"/>
                  </a:cubicBezTo>
                  <a:cubicBezTo>
                    <a:pt x="1030058" y="418369"/>
                    <a:pt x="1031424" y="419166"/>
                    <a:pt x="1032790" y="419166"/>
                  </a:cubicBezTo>
                  <a:lnTo>
                    <a:pt x="1086356" y="419166"/>
                  </a:lnTo>
                  <a:lnTo>
                    <a:pt x="1086356" y="432726"/>
                  </a:lnTo>
                  <a:cubicBezTo>
                    <a:pt x="1086356" y="434587"/>
                    <a:pt x="1086942" y="436449"/>
                    <a:pt x="1087917" y="437778"/>
                  </a:cubicBezTo>
                  <a:cubicBezTo>
                    <a:pt x="1088893" y="439108"/>
                    <a:pt x="1090259" y="439905"/>
                    <a:pt x="1091625" y="439905"/>
                  </a:cubicBezTo>
                  <a:lnTo>
                    <a:pt x="1106066" y="439905"/>
                  </a:lnTo>
                  <a:lnTo>
                    <a:pt x="1106066" y="474071"/>
                  </a:lnTo>
                  <a:cubicBezTo>
                    <a:pt x="1106066" y="475932"/>
                    <a:pt x="1106651" y="477794"/>
                    <a:pt x="1107627" y="479123"/>
                  </a:cubicBezTo>
                  <a:cubicBezTo>
                    <a:pt x="1108505" y="480320"/>
                    <a:pt x="1109676" y="481117"/>
                    <a:pt x="1110944" y="481250"/>
                  </a:cubicBezTo>
                  <a:lnTo>
                    <a:pt x="1110944" y="494810"/>
                  </a:lnTo>
                  <a:cubicBezTo>
                    <a:pt x="1110944" y="496671"/>
                    <a:pt x="1111529" y="498533"/>
                    <a:pt x="1112505" y="499862"/>
                  </a:cubicBezTo>
                  <a:cubicBezTo>
                    <a:pt x="1113481" y="501191"/>
                    <a:pt x="1114847" y="501989"/>
                    <a:pt x="1116213" y="501989"/>
                  </a:cubicBezTo>
                  <a:lnTo>
                    <a:pt x="1123238" y="501989"/>
                  </a:lnTo>
                  <a:lnTo>
                    <a:pt x="1123238" y="515549"/>
                  </a:lnTo>
                  <a:cubicBezTo>
                    <a:pt x="1123238" y="517410"/>
                    <a:pt x="1123823" y="519272"/>
                    <a:pt x="1124799" y="520601"/>
                  </a:cubicBezTo>
                  <a:cubicBezTo>
                    <a:pt x="1125775" y="521930"/>
                    <a:pt x="1127141" y="522728"/>
                    <a:pt x="1128507" y="522728"/>
                  </a:cubicBezTo>
                  <a:lnTo>
                    <a:pt x="1133093" y="522728"/>
                  </a:lnTo>
                  <a:lnTo>
                    <a:pt x="1133093" y="556894"/>
                  </a:lnTo>
                  <a:cubicBezTo>
                    <a:pt x="1133093" y="558755"/>
                    <a:pt x="1133678" y="560617"/>
                    <a:pt x="1134654" y="561946"/>
                  </a:cubicBezTo>
                  <a:cubicBezTo>
                    <a:pt x="1135630" y="563275"/>
                    <a:pt x="1136996" y="564073"/>
                    <a:pt x="1138362" y="564073"/>
                  </a:cubicBezTo>
                  <a:lnTo>
                    <a:pt x="1255739" y="564073"/>
                  </a:lnTo>
                  <a:lnTo>
                    <a:pt x="1255739" y="577899"/>
                  </a:lnTo>
                  <a:cubicBezTo>
                    <a:pt x="1255739" y="579760"/>
                    <a:pt x="1256325" y="581621"/>
                    <a:pt x="1257301" y="582951"/>
                  </a:cubicBezTo>
                  <a:cubicBezTo>
                    <a:pt x="1258276" y="584280"/>
                    <a:pt x="1259642" y="585078"/>
                    <a:pt x="1261008" y="585078"/>
                  </a:cubicBezTo>
                  <a:lnTo>
                    <a:pt x="1282767" y="585078"/>
                  </a:lnTo>
                  <a:lnTo>
                    <a:pt x="1282767" y="598904"/>
                  </a:lnTo>
                  <a:cubicBezTo>
                    <a:pt x="1282767" y="600765"/>
                    <a:pt x="1283352" y="602626"/>
                    <a:pt x="1284328" y="603956"/>
                  </a:cubicBezTo>
                  <a:cubicBezTo>
                    <a:pt x="1284621" y="604354"/>
                    <a:pt x="1284913" y="604620"/>
                    <a:pt x="1285206" y="604886"/>
                  </a:cubicBezTo>
                  <a:lnTo>
                    <a:pt x="1285206" y="619776"/>
                  </a:lnTo>
                  <a:cubicBezTo>
                    <a:pt x="1285206" y="621637"/>
                    <a:pt x="1285791" y="623498"/>
                    <a:pt x="1286767" y="624828"/>
                  </a:cubicBezTo>
                  <a:cubicBezTo>
                    <a:pt x="1287743" y="626157"/>
                    <a:pt x="1289109" y="626955"/>
                    <a:pt x="1290475" y="626955"/>
                  </a:cubicBezTo>
                  <a:lnTo>
                    <a:pt x="1380826" y="626955"/>
                  </a:lnTo>
                  <a:lnTo>
                    <a:pt x="1380826" y="640781"/>
                  </a:lnTo>
                  <a:cubicBezTo>
                    <a:pt x="1380826" y="642642"/>
                    <a:pt x="1381411" y="644503"/>
                    <a:pt x="1382387" y="645832"/>
                  </a:cubicBezTo>
                  <a:cubicBezTo>
                    <a:pt x="1383362" y="647162"/>
                    <a:pt x="1384728" y="647959"/>
                    <a:pt x="1386094" y="647959"/>
                  </a:cubicBezTo>
                  <a:lnTo>
                    <a:pt x="1562308" y="647959"/>
                  </a:lnTo>
                  <a:lnTo>
                    <a:pt x="1562308" y="661785"/>
                  </a:lnTo>
                  <a:cubicBezTo>
                    <a:pt x="1562308" y="663647"/>
                    <a:pt x="1562893" y="665508"/>
                    <a:pt x="1563869" y="666837"/>
                  </a:cubicBezTo>
                  <a:cubicBezTo>
                    <a:pt x="1564845" y="668167"/>
                    <a:pt x="1566211" y="668964"/>
                    <a:pt x="1567577" y="668964"/>
                  </a:cubicBezTo>
                  <a:lnTo>
                    <a:pt x="1577041" y="668964"/>
                  </a:lnTo>
                  <a:lnTo>
                    <a:pt x="1577041" y="682790"/>
                  </a:lnTo>
                  <a:cubicBezTo>
                    <a:pt x="1577041" y="684651"/>
                    <a:pt x="1577626" y="686513"/>
                    <a:pt x="1578602" y="687842"/>
                  </a:cubicBezTo>
                  <a:cubicBezTo>
                    <a:pt x="1579578" y="689171"/>
                    <a:pt x="1580944" y="689969"/>
                    <a:pt x="1582310" y="689969"/>
                  </a:cubicBezTo>
                  <a:lnTo>
                    <a:pt x="1623680" y="689969"/>
                  </a:lnTo>
                  <a:lnTo>
                    <a:pt x="1623680" y="703795"/>
                  </a:lnTo>
                  <a:cubicBezTo>
                    <a:pt x="1623680" y="705656"/>
                    <a:pt x="1624265" y="707517"/>
                    <a:pt x="1625241" y="708847"/>
                  </a:cubicBezTo>
                  <a:cubicBezTo>
                    <a:pt x="1626217" y="710176"/>
                    <a:pt x="1627583" y="710974"/>
                    <a:pt x="1628949" y="710974"/>
                  </a:cubicBezTo>
                  <a:lnTo>
                    <a:pt x="1721739" y="710974"/>
                  </a:lnTo>
                  <a:lnTo>
                    <a:pt x="1721739" y="724800"/>
                  </a:lnTo>
                  <a:cubicBezTo>
                    <a:pt x="1721739" y="726661"/>
                    <a:pt x="1722324" y="728522"/>
                    <a:pt x="1723300" y="729852"/>
                  </a:cubicBezTo>
                  <a:cubicBezTo>
                    <a:pt x="1724276" y="731181"/>
                    <a:pt x="1725642" y="731979"/>
                    <a:pt x="1727008" y="731979"/>
                  </a:cubicBezTo>
                  <a:lnTo>
                    <a:pt x="1770817" y="731979"/>
                  </a:lnTo>
                  <a:lnTo>
                    <a:pt x="1770817" y="745805"/>
                  </a:lnTo>
                  <a:cubicBezTo>
                    <a:pt x="1770817" y="747666"/>
                    <a:pt x="1771403" y="749527"/>
                    <a:pt x="1772378" y="750857"/>
                  </a:cubicBezTo>
                  <a:cubicBezTo>
                    <a:pt x="1773354" y="752186"/>
                    <a:pt x="1774720" y="752984"/>
                    <a:pt x="1776086" y="752984"/>
                  </a:cubicBezTo>
                  <a:lnTo>
                    <a:pt x="1795307" y="752984"/>
                  </a:lnTo>
                  <a:lnTo>
                    <a:pt x="1795307" y="766810"/>
                  </a:lnTo>
                  <a:cubicBezTo>
                    <a:pt x="1795307" y="768671"/>
                    <a:pt x="1795893" y="770532"/>
                    <a:pt x="1796869" y="771861"/>
                  </a:cubicBezTo>
                  <a:cubicBezTo>
                    <a:pt x="1797844" y="773191"/>
                    <a:pt x="1799210" y="773988"/>
                    <a:pt x="1800576" y="773988"/>
                  </a:cubicBezTo>
                  <a:lnTo>
                    <a:pt x="2072409" y="773988"/>
                  </a:lnTo>
                  <a:lnTo>
                    <a:pt x="2072409" y="789011"/>
                  </a:lnTo>
                  <a:cubicBezTo>
                    <a:pt x="2072409" y="790872"/>
                    <a:pt x="2072995" y="792733"/>
                    <a:pt x="2073970" y="794063"/>
                  </a:cubicBezTo>
                  <a:cubicBezTo>
                    <a:pt x="2074946" y="795392"/>
                    <a:pt x="2076312" y="796190"/>
                    <a:pt x="2077678" y="796190"/>
                  </a:cubicBezTo>
                  <a:lnTo>
                    <a:pt x="2094460" y="796190"/>
                  </a:lnTo>
                  <a:lnTo>
                    <a:pt x="2094460" y="811212"/>
                  </a:lnTo>
                  <a:cubicBezTo>
                    <a:pt x="2094460" y="813073"/>
                    <a:pt x="2095046" y="814935"/>
                    <a:pt x="2096021" y="816264"/>
                  </a:cubicBezTo>
                  <a:cubicBezTo>
                    <a:pt x="2096997" y="817593"/>
                    <a:pt x="2098363" y="818391"/>
                    <a:pt x="2099729" y="818391"/>
                  </a:cubicBezTo>
                  <a:lnTo>
                    <a:pt x="2126366" y="818391"/>
                  </a:lnTo>
                  <a:lnTo>
                    <a:pt x="2126366" y="833546"/>
                  </a:lnTo>
                  <a:cubicBezTo>
                    <a:pt x="2126366" y="835408"/>
                    <a:pt x="2126952" y="837269"/>
                    <a:pt x="2127927" y="838598"/>
                  </a:cubicBezTo>
                  <a:cubicBezTo>
                    <a:pt x="2128903" y="839928"/>
                    <a:pt x="2130269" y="840725"/>
                    <a:pt x="2131635" y="840725"/>
                  </a:cubicBezTo>
                  <a:lnTo>
                    <a:pt x="2138660" y="840725"/>
                  </a:lnTo>
                  <a:lnTo>
                    <a:pt x="2138660" y="855748"/>
                  </a:lnTo>
                  <a:cubicBezTo>
                    <a:pt x="2138660" y="857609"/>
                    <a:pt x="2139245" y="859470"/>
                    <a:pt x="2140221" y="860800"/>
                  </a:cubicBezTo>
                  <a:cubicBezTo>
                    <a:pt x="2141197" y="862129"/>
                    <a:pt x="2142563" y="862927"/>
                    <a:pt x="2143929" y="862927"/>
                  </a:cubicBezTo>
                  <a:lnTo>
                    <a:pt x="2298091" y="862927"/>
                  </a:lnTo>
                  <a:lnTo>
                    <a:pt x="2298091" y="878082"/>
                  </a:lnTo>
                  <a:cubicBezTo>
                    <a:pt x="2298091" y="879943"/>
                    <a:pt x="2298677" y="881804"/>
                    <a:pt x="2299652" y="883134"/>
                  </a:cubicBezTo>
                  <a:cubicBezTo>
                    <a:pt x="2300628" y="884463"/>
                    <a:pt x="2301994" y="885261"/>
                    <a:pt x="2303360" y="885261"/>
                  </a:cubicBezTo>
                  <a:lnTo>
                    <a:pt x="2334875" y="885261"/>
                  </a:lnTo>
                  <a:lnTo>
                    <a:pt x="2334875" y="900416"/>
                  </a:lnTo>
                  <a:cubicBezTo>
                    <a:pt x="2334875" y="902278"/>
                    <a:pt x="2335461" y="904139"/>
                    <a:pt x="2336437" y="905468"/>
                  </a:cubicBezTo>
                  <a:cubicBezTo>
                    <a:pt x="2337412" y="906798"/>
                    <a:pt x="2338778" y="907595"/>
                    <a:pt x="2340144" y="907595"/>
                  </a:cubicBezTo>
                  <a:lnTo>
                    <a:pt x="2388832" y="907595"/>
                  </a:lnTo>
                  <a:lnTo>
                    <a:pt x="2388832" y="923149"/>
                  </a:lnTo>
                  <a:cubicBezTo>
                    <a:pt x="2388832" y="925011"/>
                    <a:pt x="2389418" y="926872"/>
                    <a:pt x="2390393" y="928201"/>
                  </a:cubicBezTo>
                  <a:cubicBezTo>
                    <a:pt x="2391369" y="929531"/>
                    <a:pt x="2392735" y="930328"/>
                    <a:pt x="2394101" y="930328"/>
                  </a:cubicBezTo>
                  <a:lnTo>
                    <a:pt x="2455083" y="930328"/>
                  </a:lnTo>
                  <a:lnTo>
                    <a:pt x="2455083" y="931525"/>
                  </a:lnTo>
                  <a:moveTo>
                    <a:pt x="3873668" y="1246464"/>
                  </a:moveTo>
                  <a:lnTo>
                    <a:pt x="3873668" y="971407"/>
                  </a:lnTo>
                  <a:lnTo>
                    <a:pt x="2853563" y="971407"/>
                  </a:lnTo>
                  <a:lnTo>
                    <a:pt x="2853563" y="949871"/>
                  </a:lnTo>
                  <a:lnTo>
                    <a:pt x="2765261" y="949871"/>
                  </a:lnTo>
                  <a:lnTo>
                    <a:pt x="2765261" y="929265"/>
                  </a:lnTo>
                  <a:lnTo>
                    <a:pt x="2464059" y="929265"/>
                  </a:lnTo>
                  <a:lnTo>
                    <a:pt x="2464059" y="920889"/>
                  </a:lnTo>
                  <a:cubicBezTo>
                    <a:pt x="2464059" y="919028"/>
                    <a:pt x="2463474" y="917167"/>
                    <a:pt x="2462498" y="915838"/>
                  </a:cubicBezTo>
                  <a:cubicBezTo>
                    <a:pt x="2461522" y="914508"/>
                    <a:pt x="2460157" y="913711"/>
                    <a:pt x="2458791" y="913711"/>
                  </a:cubicBezTo>
                  <a:lnTo>
                    <a:pt x="2397809" y="913711"/>
                  </a:lnTo>
                  <a:lnTo>
                    <a:pt x="2397809" y="898156"/>
                  </a:lnTo>
                  <a:cubicBezTo>
                    <a:pt x="2397809" y="896295"/>
                    <a:pt x="2397223" y="894434"/>
                    <a:pt x="2396248" y="893105"/>
                  </a:cubicBezTo>
                  <a:cubicBezTo>
                    <a:pt x="2395272" y="891775"/>
                    <a:pt x="2393906" y="890977"/>
                    <a:pt x="2392540" y="890977"/>
                  </a:cubicBezTo>
                  <a:lnTo>
                    <a:pt x="2343852" y="890977"/>
                  </a:lnTo>
                  <a:lnTo>
                    <a:pt x="2343852" y="875822"/>
                  </a:lnTo>
                  <a:cubicBezTo>
                    <a:pt x="2343852" y="873961"/>
                    <a:pt x="2343266" y="872100"/>
                    <a:pt x="2342291" y="870770"/>
                  </a:cubicBezTo>
                  <a:cubicBezTo>
                    <a:pt x="2341315" y="869441"/>
                    <a:pt x="2339949" y="868643"/>
                    <a:pt x="2338583" y="868643"/>
                  </a:cubicBezTo>
                  <a:lnTo>
                    <a:pt x="2307068" y="868643"/>
                  </a:lnTo>
                  <a:lnTo>
                    <a:pt x="2307068" y="853488"/>
                  </a:lnTo>
                  <a:cubicBezTo>
                    <a:pt x="2307068" y="851627"/>
                    <a:pt x="2306482" y="849765"/>
                    <a:pt x="2305506" y="848436"/>
                  </a:cubicBezTo>
                  <a:cubicBezTo>
                    <a:pt x="2304531" y="847107"/>
                    <a:pt x="2303165" y="846309"/>
                    <a:pt x="2301799" y="846309"/>
                  </a:cubicBezTo>
                  <a:lnTo>
                    <a:pt x="2147637" y="846309"/>
                  </a:lnTo>
                  <a:lnTo>
                    <a:pt x="2147637" y="831286"/>
                  </a:lnTo>
                  <a:cubicBezTo>
                    <a:pt x="2147637" y="829425"/>
                    <a:pt x="2147051" y="827564"/>
                    <a:pt x="2146075" y="826235"/>
                  </a:cubicBezTo>
                  <a:cubicBezTo>
                    <a:pt x="2145100" y="824905"/>
                    <a:pt x="2143734" y="824108"/>
                    <a:pt x="2142368" y="824108"/>
                  </a:cubicBezTo>
                  <a:lnTo>
                    <a:pt x="2135440" y="824108"/>
                  </a:lnTo>
                  <a:lnTo>
                    <a:pt x="2135440" y="809085"/>
                  </a:lnTo>
                  <a:cubicBezTo>
                    <a:pt x="2135440" y="807224"/>
                    <a:pt x="2134855" y="805363"/>
                    <a:pt x="2133879" y="804033"/>
                  </a:cubicBezTo>
                  <a:cubicBezTo>
                    <a:pt x="2132903" y="802704"/>
                    <a:pt x="2131537" y="801906"/>
                    <a:pt x="2130171" y="801906"/>
                  </a:cubicBezTo>
                  <a:lnTo>
                    <a:pt x="2103534" y="801906"/>
                  </a:lnTo>
                  <a:lnTo>
                    <a:pt x="2103534" y="786884"/>
                  </a:lnTo>
                  <a:cubicBezTo>
                    <a:pt x="2103534" y="785023"/>
                    <a:pt x="2102949" y="783161"/>
                    <a:pt x="2101973" y="781832"/>
                  </a:cubicBezTo>
                  <a:cubicBezTo>
                    <a:pt x="2100998" y="780503"/>
                    <a:pt x="2099632" y="779705"/>
                    <a:pt x="2098266" y="779705"/>
                  </a:cubicBezTo>
                  <a:lnTo>
                    <a:pt x="2081483" y="779705"/>
                  </a:lnTo>
                  <a:lnTo>
                    <a:pt x="2081483" y="764683"/>
                  </a:lnTo>
                  <a:cubicBezTo>
                    <a:pt x="2081483" y="762821"/>
                    <a:pt x="2080898" y="760960"/>
                    <a:pt x="2079922" y="759631"/>
                  </a:cubicBezTo>
                  <a:cubicBezTo>
                    <a:pt x="2078946" y="758301"/>
                    <a:pt x="2077580" y="757504"/>
                    <a:pt x="2076214" y="757504"/>
                  </a:cubicBezTo>
                  <a:lnTo>
                    <a:pt x="1804381" y="757504"/>
                  </a:lnTo>
                  <a:lnTo>
                    <a:pt x="1804381" y="743678"/>
                  </a:lnTo>
                  <a:cubicBezTo>
                    <a:pt x="1804381" y="741817"/>
                    <a:pt x="1803796" y="739955"/>
                    <a:pt x="1802820" y="738626"/>
                  </a:cubicBezTo>
                  <a:cubicBezTo>
                    <a:pt x="1801845" y="737296"/>
                    <a:pt x="1800479" y="736499"/>
                    <a:pt x="1799113" y="736499"/>
                  </a:cubicBezTo>
                  <a:lnTo>
                    <a:pt x="1779891" y="736499"/>
                  </a:lnTo>
                  <a:lnTo>
                    <a:pt x="1779891" y="722673"/>
                  </a:lnTo>
                  <a:cubicBezTo>
                    <a:pt x="1779891" y="720812"/>
                    <a:pt x="1779306" y="718950"/>
                    <a:pt x="1778330" y="717621"/>
                  </a:cubicBezTo>
                  <a:cubicBezTo>
                    <a:pt x="1777354" y="716292"/>
                    <a:pt x="1775988" y="715494"/>
                    <a:pt x="1774622" y="715494"/>
                  </a:cubicBezTo>
                  <a:lnTo>
                    <a:pt x="1730813" y="715494"/>
                  </a:lnTo>
                  <a:lnTo>
                    <a:pt x="1730813" y="701668"/>
                  </a:lnTo>
                  <a:cubicBezTo>
                    <a:pt x="1730813" y="699807"/>
                    <a:pt x="1730228" y="697946"/>
                    <a:pt x="1729252" y="696616"/>
                  </a:cubicBezTo>
                  <a:cubicBezTo>
                    <a:pt x="1728276" y="695287"/>
                    <a:pt x="1726910" y="694489"/>
                    <a:pt x="1725544" y="694489"/>
                  </a:cubicBezTo>
                  <a:lnTo>
                    <a:pt x="1632754" y="694489"/>
                  </a:lnTo>
                  <a:lnTo>
                    <a:pt x="1632754" y="680663"/>
                  </a:lnTo>
                  <a:cubicBezTo>
                    <a:pt x="1632754" y="678802"/>
                    <a:pt x="1632169" y="676941"/>
                    <a:pt x="1631193" y="675611"/>
                  </a:cubicBezTo>
                  <a:cubicBezTo>
                    <a:pt x="1630217" y="674282"/>
                    <a:pt x="1628851" y="673484"/>
                    <a:pt x="1627485" y="673484"/>
                  </a:cubicBezTo>
                  <a:lnTo>
                    <a:pt x="1586115" y="673484"/>
                  </a:lnTo>
                  <a:lnTo>
                    <a:pt x="1586115" y="659658"/>
                  </a:lnTo>
                  <a:cubicBezTo>
                    <a:pt x="1586115" y="657797"/>
                    <a:pt x="1585530" y="655936"/>
                    <a:pt x="1584554" y="654607"/>
                  </a:cubicBezTo>
                  <a:cubicBezTo>
                    <a:pt x="1583578" y="653277"/>
                    <a:pt x="1582212" y="652479"/>
                    <a:pt x="1580846" y="652479"/>
                  </a:cubicBezTo>
                  <a:lnTo>
                    <a:pt x="1571382" y="652479"/>
                  </a:lnTo>
                  <a:lnTo>
                    <a:pt x="1571382" y="638653"/>
                  </a:lnTo>
                  <a:cubicBezTo>
                    <a:pt x="1571382" y="636792"/>
                    <a:pt x="1570797" y="634931"/>
                    <a:pt x="1569821" y="633602"/>
                  </a:cubicBezTo>
                  <a:cubicBezTo>
                    <a:pt x="1568845" y="632272"/>
                    <a:pt x="1567479" y="631475"/>
                    <a:pt x="1566113" y="631475"/>
                  </a:cubicBezTo>
                  <a:lnTo>
                    <a:pt x="1389900" y="631475"/>
                  </a:lnTo>
                  <a:lnTo>
                    <a:pt x="1389900" y="617649"/>
                  </a:lnTo>
                  <a:cubicBezTo>
                    <a:pt x="1389900" y="615787"/>
                    <a:pt x="1389314" y="613926"/>
                    <a:pt x="1388339" y="612597"/>
                  </a:cubicBezTo>
                  <a:cubicBezTo>
                    <a:pt x="1387363" y="611267"/>
                    <a:pt x="1385997" y="610470"/>
                    <a:pt x="1384631" y="610470"/>
                  </a:cubicBezTo>
                  <a:lnTo>
                    <a:pt x="1294280" y="610470"/>
                  </a:lnTo>
                  <a:lnTo>
                    <a:pt x="1294280" y="596644"/>
                  </a:lnTo>
                  <a:cubicBezTo>
                    <a:pt x="1294280" y="594783"/>
                    <a:pt x="1293695" y="592921"/>
                    <a:pt x="1292719" y="591592"/>
                  </a:cubicBezTo>
                  <a:cubicBezTo>
                    <a:pt x="1292426" y="591193"/>
                    <a:pt x="1292133" y="590927"/>
                    <a:pt x="1291841" y="590528"/>
                  </a:cubicBezTo>
                  <a:lnTo>
                    <a:pt x="1291841" y="575639"/>
                  </a:lnTo>
                  <a:cubicBezTo>
                    <a:pt x="1291841" y="573778"/>
                    <a:pt x="1291255" y="571917"/>
                    <a:pt x="1290280" y="570587"/>
                  </a:cubicBezTo>
                  <a:cubicBezTo>
                    <a:pt x="1289304" y="569258"/>
                    <a:pt x="1287938" y="568460"/>
                    <a:pt x="1286572" y="568460"/>
                  </a:cubicBezTo>
                  <a:lnTo>
                    <a:pt x="1264814" y="568460"/>
                  </a:lnTo>
                  <a:lnTo>
                    <a:pt x="1264814" y="554634"/>
                  </a:lnTo>
                  <a:cubicBezTo>
                    <a:pt x="1264814" y="552773"/>
                    <a:pt x="1264228" y="550912"/>
                    <a:pt x="1263253" y="549582"/>
                  </a:cubicBezTo>
                  <a:cubicBezTo>
                    <a:pt x="1262277" y="548253"/>
                    <a:pt x="1260911" y="547455"/>
                    <a:pt x="1259545" y="547455"/>
                  </a:cubicBezTo>
                  <a:lnTo>
                    <a:pt x="1142167" y="547455"/>
                  </a:lnTo>
                  <a:lnTo>
                    <a:pt x="1142167" y="513289"/>
                  </a:lnTo>
                  <a:cubicBezTo>
                    <a:pt x="1142167" y="511428"/>
                    <a:pt x="1141581" y="509567"/>
                    <a:pt x="1140606" y="508237"/>
                  </a:cubicBezTo>
                  <a:cubicBezTo>
                    <a:pt x="1139630" y="506908"/>
                    <a:pt x="1138264" y="506110"/>
                    <a:pt x="1136898" y="506110"/>
                  </a:cubicBezTo>
                  <a:lnTo>
                    <a:pt x="1132312" y="506110"/>
                  </a:lnTo>
                  <a:lnTo>
                    <a:pt x="1132312" y="492550"/>
                  </a:lnTo>
                  <a:cubicBezTo>
                    <a:pt x="1132312" y="490689"/>
                    <a:pt x="1131727" y="488828"/>
                    <a:pt x="1130751" y="487498"/>
                  </a:cubicBezTo>
                  <a:cubicBezTo>
                    <a:pt x="1129775" y="486169"/>
                    <a:pt x="1128409" y="485371"/>
                    <a:pt x="1127043" y="485371"/>
                  </a:cubicBezTo>
                  <a:lnTo>
                    <a:pt x="1120018" y="485371"/>
                  </a:lnTo>
                  <a:lnTo>
                    <a:pt x="1120018" y="471811"/>
                  </a:lnTo>
                  <a:cubicBezTo>
                    <a:pt x="1120018" y="469950"/>
                    <a:pt x="1119433" y="468089"/>
                    <a:pt x="1118457" y="466759"/>
                  </a:cubicBezTo>
                  <a:cubicBezTo>
                    <a:pt x="1117579" y="465563"/>
                    <a:pt x="1116408" y="464765"/>
                    <a:pt x="1115140" y="464632"/>
                  </a:cubicBezTo>
                  <a:lnTo>
                    <a:pt x="1115140" y="430466"/>
                  </a:lnTo>
                  <a:cubicBezTo>
                    <a:pt x="1115140" y="428605"/>
                    <a:pt x="1114554" y="426744"/>
                    <a:pt x="1113579" y="425414"/>
                  </a:cubicBezTo>
                  <a:cubicBezTo>
                    <a:pt x="1112603" y="424085"/>
                    <a:pt x="1111237" y="423287"/>
                    <a:pt x="1109871" y="423287"/>
                  </a:cubicBezTo>
                  <a:lnTo>
                    <a:pt x="1095430" y="423287"/>
                  </a:lnTo>
                  <a:lnTo>
                    <a:pt x="1095430" y="409727"/>
                  </a:lnTo>
                  <a:cubicBezTo>
                    <a:pt x="1095430" y="407866"/>
                    <a:pt x="1094845" y="406005"/>
                    <a:pt x="1093869" y="404676"/>
                  </a:cubicBezTo>
                  <a:cubicBezTo>
                    <a:pt x="1092893" y="403346"/>
                    <a:pt x="1091527" y="402548"/>
                    <a:pt x="1090161" y="402548"/>
                  </a:cubicBezTo>
                  <a:lnTo>
                    <a:pt x="1036595" y="402548"/>
                  </a:lnTo>
                  <a:lnTo>
                    <a:pt x="1036595" y="368382"/>
                  </a:lnTo>
                  <a:cubicBezTo>
                    <a:pt x="1036595" y="366521"/>
                    <a:pt x="1036009" y="364660"/>
                    <a:pt x="1035034" y="363331"/>
                  </a:cubicBezTo>
                  <a:cubicBezTo>
                    <a:pt x="1034058" y="362001"/>
                    <a:pt x="1032692" y="361203"/>
                    <a:pt x="1031326" y="361203"/>
                  </a:cubicBezTo>
                  <a:lnTo>
                    <a:pt x="1016886" y="361203"/>
                  </a:lnTo>
                  <a:lnTo>
                    <a:pt x="1016886" y="347643"/>
                  </a:lnTo>
                  <a:cubicBezTo>
                    <a:pt x="1016886" y="345782"/>
                    <a:pt x="1016300" y="343921"/>
                    <a:pt x="1015324" y="342592"/>
                  </a:cubicBezTo>
                  <a:cubicBezTo>
                    <a:pt x="1014349" y="341262"/>
                    <a:pt x="1012983" y="340465"/>
                    <a:pt x="1011617" y="340465"/>
                  </a:cubicBezTo>
                  <a:lnTo>
                    <a:pt x="1004592" y="340465"/>
                  </a:lnTo>
                  <a:lnTo>
                    <a:pt x="1004592" y="326904"/>
                  </a:lnTo>
                  <a:cubicBezTo>
                    <a:pt x="1004592" y="325043"/>
                    <a:pt x="1004006" y="323182"/>
                    <a:pt x="1003030" y="321853"/>
                  </a:cubicBezTo>
                  <a:cubicBezTo>
                    <a:pt x="1002055" y="320523"/>
                    <a:pt x="1000689" y="319726"/>
                    <a:pt x="999323" y="319726"/>
                  </a:cubicBezTo>
                  <a:lnTo>
                    <a:pt x="901654" y="319726"/>
                  </a:lnTo>
                  <a:lnTo>
                    <a:pt x="901654" y="306165"/>
                  </a:lnTo>
                  <a:cubicBezTo>
                    <a:pt x="901654" y="304304"/>
                    <a:pt x="901069" y="302443"/>
                    <a:pt x="900093" y="301114"/>
                  </a:cubicBezTo>
                  <a:cubicBezTo>
                    <a:pt x="899117" y="299784"/>
                    <a:pt x="897751" y="298987"/>
                    <a:pt x="896385" y="298987"/>
                  </a:cubicBezTo>
                  <a:lnTo>
                    <a:pt x="828086" y="298987"/>
                  </a:lnTo>
                  <a:lnTo>
                    <a:pt x="828086" y="285427"/>
                  </a:lnTo>
                  <a:cubicBezTo>
                    <a:pt x="828086" y="283565"/>
                    <a:pt x="827500" y="281704"/>
                    <a:pt x="826524" y="280375"/>
                  </a:cubicBezTo>
                  <a:cubicBezTo>
                    <a:pt x="825549" y="279045"/>
                    <a:pt x="824183" y="278248"/>
                    <a:pt x="822817" y="278248"/>
                  </a:cubicBezTo>
                  <a:lnTo>
                    <a:pt x="796180" y="278248"/>
                  </a:lnTo>
                  <a:lnTo>
                    <a:pt x="796180" y="264688"/>
                  </a:lnTo>
                  <a:cubicBezTo>
                    <a:pt x="796180" y="262826"/>
                    <a:pt x="795594" y="260965"/>
                    <a:pt x="794619" y="259636"/>
                  </a:cubicBezTo>
                  <a:cubicBezTo>
                    <a:pt x="793643" y="258306"/>
                    <a:pt x="792277" y="257509"/>
                    <a:pt x="790911" y="257509"/>
                  </a:cubicBezTo>
                  <a:lnTo>
                    <a:pt x="771592" y="257509"/>
                  </a:lnTo>
                  <a:lnTo>
                    <a:pt x="771592" y="244214"/>
                  </a:lnTo>
                  <a:cubicBezTo>
                    <a:pt x="771592" y="242353"/>
                    <a:pt x="771006" y="240492"/>
                    <a:pt x="770031" y="239163"/>
                  </a:cubicBezTo>
                  <a:cubicBezTo>
                    <a:pt x="769055" y="237833"/>
                    <a:pt x="767689" y="237036"/>
                    <a:pt x="766323" y="237036"/>
                  </a:cubicBezTo>
                  <a:lnTo>
                    <a:pt x="749541" y="237036"/>
                  </a:lnTo>
                  <a:lnTo>
                    <a:pt x="749541" y="223741"/>
                  </a:lnTo>
                  <a:cubicBezTo>
                    <a:pt x="749541" y="221880"/>
                    <a:pt x="748955" y="220019"/>
                    <a:pt x="747980" y="218690"/>
                  </a:cubicBezTo>
                  <a:cubicBezTo>
                    <a:pt x="747004" y="217360"/>
                    <a:pt x="745638" y="216563"/>
                    <a:pt x="744272" y="216563"/>
                  </a:cubicBezTo>
                  <a:lnTo>
                    <a:pt x="707780" y="216563"/>
                  </a:lnTo>
                  <a:lnTo>
                    <a:pt x="707780" y="203268"/>
                  </a:lnTo>
                  <a:cubicBezTo>
                    <a:pt x="707780" y="201407"/>
                    <a:pt x="707195" y="199546"/>
                    <a:pt x="706219" y="198217"/>
                  </a:cubicBezTo>
                  <a:cubicBezTo>
                    <a:pt x="705244" y="196887"/>
                    <a:pt x="703878" y="196089"/>
                    <a:pt x="702512" y="196089"/>
                  </a:cubicBezTo>
                  <a:lnTo>
                    <a:pt x="688169" y="196089"/>
                  </a:lnTo>
                  <a:lnTo>
                    <a:pt x="688169" y="182795"/>
                  </a:lnTo>
                  <a:cubicBezTo>
                    <a:pt x="688169" y="180934"/>
                    <a:pt x="687583" y="179073"/>
                    <a:pt x="686607" y="177743"/>
                  </a:cubicBezTo>
                  <a:cubicBezTo>
                    <a:pt x="685632" y="176414"/>
                    <a:pt x="684266" y="175616"/>
                    <a:pt x="682900" y="175616"/>
                  </a:cubicBezTo>
                  <a:lnTo>
                    <a:pt x="673435" y="175616"/>
                  </a:lnTo>
                  <a:lnTo>
                    <a:pt x="673435" y="162322"/>
                  </a:lnTo>
                  <a:cubicBezTo>
                    <a:pt x="673435" y="160461"/>
                    <a:pt x="672850" y="158600"/>
                    <a:pt x="671874" y="157270"/>
                  </a:cubicBezTo>
                  <a:cubicBezTo>
                    <a:pt x="670899" y="155941"/>
                    <a:pt x="669533" y="155143"/>
                    <a:pt x="668167" y="155143"/>
                  </a:cubicBezTo>
                  <a:lnTo>
                    <a:pt x="641530" y="155143"/>
                  </a:lnTo>
                  <a:lnTo>
                    <a:pt x="641530" y="141849"/>
                  </a:lnTo>
                  <a:cubicBezTo>
                    <a:pt x="641530" y="139988"/>
                    <a:pt x="640944" y="138127"/>
                    <a:pt x="639969" y="136797"/>
                  </a:cubicBezTo>
                  <a:cubicBezTo>
                    <a:pt x="638993" y="135468"/>
                    <a:pt x="637627" y="134670"/>
                    <a:pt x="636261" y="134670"/>
                  </a:cubicBezTo>
                  <a:lnTo>
                    <a:pt x="612063" y="134670"/>
                  </a:lnTo>
                  <a:lnTo>
                    <a:pt x="612063" y="121376"/>
                  </a:lnTo>
                  <a:cubicBezTo>
                    <a:pt x="612063" y="119515"/>
                    <a:pt x="611478" y="117654"/>
                    <a:pt x="610502" y="116324"/>
                  </a:cubicBezTo>
                  <a:cubicBezTo>
                    <a:pt x="609526" y="114995"/>
                    <a:pt x="608160" y="114197"/>
                    <a:pt x="606794" y="114197"/>
                  </a:cubicBezTo>
                  <a:lnTo>
                    <a:pt x="558106" y="114197"/>
                  </a:lnTo>
                  <a:lnTo>
                    <a:pt x="558106" y="101036"/>
                  </a:lnTo>
                  <a:cubicBezTo>
                    <a:pt x="558106" y="99175"/>
                    <a:pt x="557521" y="97314"/>
                    <a:pt x="556545" y="95984"/>
                  </a:cubicBezTo>
                  <a:cubicBezTo>
                    <a:pt x="555570" y="94655"/>
                    <a:pt x="554204" y="93857"/>
                    <a:pt x="552838" y="93857"/>
                  </a:cubicBezTo>
                  <a:lnTo>
                    <a:pt x="509028" y="93857"/>
                  </a:lnTo>
                  <a:lnTo>
                    <a:pt x="509028" y="80696"/>
                  </a:lnTo>
                  <a:cubicBezTo>
                    <a:pt x="509028" y="78835"/>
                    <a:pt x="508443" y="76973"/>
                    <a:pt x="507467" y="75644"/>
                  </a:cubicBezTo>
                  <a:cubicBezTo>
                    <a:pt x="506491" y="74315"/>
                    <a:pt x="505125" y="73517"/>
                    <a:pt x="503759" y="73517"/>
                  </a:cubicBezTo>
                  <a:lnTo>
                    <a:pt x="433020" y="73517"/>
                  </a:lnTo>
                  <a:lnTo>
                    <a:pt x="433020" y="60356"/>
                  </a:lnTo>
                  <a:cubicBezTo>
                    <a:pt x="433020" y="58494"/>
                    <a:pt x="432435" y="56633"/>
                    <a:pt x="431459" y="55304"/>
                  </a:cubicBezTo>
                  <a:cubicBezTo>
                    <a:pt x="430483" y="53974"/>
                    <a:pt x="429117" y="53177"/>
                    <a:pt x="427751" y="53177"/>
                  </a:cubicBezTo>
                  <a:lnTo>
                    <a:pt x="369209" y="53177"/>
                  </a:lnTo>
                  <a:lnTo>
                    <a:pt x="369209" y="40148"/>
                  </a:lnTo>
                  <a:cubicBezTo>
                    <a:pt x="369209" y="38287"/>
                    <a:pt x="368623" y="36426"/>
                    <a:pt x="367648" y="35097"/>
                  </a:cubicBezTo>
                  <a:cubicBezTo>
                    <a:pt x="366672" y="33767"/>
                    <a:pt x="365306" y="32970"/>
                    <a:pt x="363940" y="32970"/>
                  </a:cubicBezTo>
                  <a:lnTo>
                    <a:pt x="163236" y="32970"/>
                  </a:lnTo>
                  <a:lnTo>
                    <a:pt x="163236" y="20074"/>
                  </a:lnTo>
                  <a:cubicBezTo>
                    <a:pt x="163236" y="18213"/>
                    <a:pt x="162651" y="16352"/>
                    <a:pt x="161675" y="15022"/>
                  </a:cubicBezTo>
                  <a:cubicBezTo>
                    <a:pt x="160700" y="13693"/>
                    <a:pt x="159334" y="12895"/>
                    <a:pt x="157968" y="12895"/>
                  </a:cubicBezTo>
                  <a:lnTo>
                    <a:pt x="3903" y="12895"/>
                  </a:lnTo>
                  <a:lnTo>
                    <a:pt x="3903" y="0"/>
                  </a:lnTo>
                  <a:lnTo>
                    <a:pt x="427654" y="0"/>
                  </a:lnTo>
                  <a:lnTo>
                    <a:pt x="427654" y="1595"/>
                  </a:lnTo>
                  <a:lnTo>
                    <a:pt x="503662" y="1595"/>
                  </a:lnTo>
                  <a:lnTo>
                    <a:pt x="503662" y="12629"/>
                  </a:lnTo>
                  <a:lnTo>
                    <a:pt x="552642" y="12629"/>
                  </a:lnTo>
                  <a:lnTo>
                    <a:pt x="552642" y="24727"/>
                  </a:lnTo>
                  <a:lnTo>
                    <a:pt x="606599" y="24727"/>
                  </a:lnTo>
                  <a:lnTo>
                    <a:pt x="606599" y="37490"/>
                  </a:lnTo>
                  <a:lnTo>
                    <a:pt x="635968" y="37490"/>
                  </a:lnTo>
                  <a:lnTo>
                    <a:pt x="635968" y="51050"/>
                  </a:lnTo>
                  <a:lnTo>
                    <a:pt x="667874" y="51050"/>
                  </a:lnTo>
                  <a:lnTo>
                    <a:pt x="667874" y="65009"/>
                  </a:lnTo>
                  <a:lnTo>
                    <a:pt x="682607" y="65009"/>
                  </a:lnTo>
                  <a:lnTo>
                    <a:pt x="682607" y="79366"/>
                  </a:lnTo>
                  <a:lnTo>
                    <a:pt x="702219" y="79366"/>
                  </a:lnTo>
                  <a:lnTo>
                    <a:pt x="702219" y="94123"/>
                  </a:lnTo>
                  <a:lnTo>
                    <a:pt x="743979" y="94123"/>
                  </a:lnTo>
                  <a:lnTo>
                    <a:pt x="743979" y="109278"/>
                  </a:lnTo>
                  <a:lnTo>
                    <a:pt x="766030" y="109278"/>
                  </a:lnTo>
                  <a:lnTo>
                    <a:pt x="766030" y="124700"/>
                  </a:lnTo>
                  <a:lnTo>
                    <a:pt x="790521" y="124700"/>
                  </a:lnTo>
                  <a:lnTo>
                    <a:pt x="790521" y="140387"/>
                  </a:lnTo>
                  <a:lnTo>
                    <a:pt x="822329" y="140387"/>
                  </a:lnTo>
                  <a:lnTo>
                    <a:pt x="822329" y="156473"/>
                  </a:lnTo>
                  <a:lnTo>
                    <a:pt x="895897" y="156473"/>
                  </a:lnTo>
                  <a:lnTo>
                    <a:pt x="895897" y="172692"/>
                  </a:lnTo>
                  <a:lnTo>
                    <a:pt x="998835" y="172692"/>
                  </a:lnTo>
                  <a:lnTo>
                    <a:pt x="998835" y="189177"/>
                  </a:lnTo>
                  <a:lnTo>
                    <a:pt x="1011129" y="189177"/>
                  </a:lnTo>
                  <a:lnTo>
                    <a:pt x="1011129" y="205794"/>
                  </a:lnTo>
                  <a:lnTo>
                    <a:pt x="1030741" y="205794"/>
                  </a:lnTo>
                  <a:lnTo>
                    <a:pt x="1030741" y="239694"/>
                  </a:lnTo>
                  <a:lnTo>
                    <a:pt x="1089576" y="239694"/>
                  </a:lnTo>
                  <a:lnTo>
                    <a:pt x="1089576" y="256844"/>
                  </a:lnTo>
                  <a:lnTo>
                    <a:pt x="1109188" y="256844"/>
                  </a:lnTo>
                  <a:lnTo>
                    <a:pt x="1109188" y="291542"/>
                  </a:lnTo>
                  <a:lnTo>
                    <a:pt x="1114066" y="291542"/>
                  </a:lnTo>
                  <a:lnTo>
                    <a:pt x="1114066" y="309090"/>
                  </a:lnTo>
                  <a:lnTo>
                    <a:pt x="1126360" y="309090"/>
                  </a:lnTo>
                  <a:lnTo>
                    <a:pt x="1126360" y="326772"/>
                  </a:lnTo>
                  <a:lnTo>
                    <a:pt x="1136215" y="326772"/>
                  </a:lnTo>
                  <a:lnTo>
                    <a:pt x="1136215" y="362533"/>
                  </a:lnTo>
                  <a:lnTo>
                    <a:pt x="1258764" y="362533"/>
                  </a:lnTo>
                  <a:lnTo>
                    <a:pt x="1258764" y="380746"/>
                  </a:lnTo>
                  <a:lnTo>
                    <a:pt x="1285791" y="380746"/>
                  </a:lnTo>
                  <a:lnTo>
                    <a:pt x="1285791" y="399092"/>
                  </a:lnTo>
                  <a:lnTo>
                    <a:pt x="1288231" y="399092"/>
                  </a:lnTo>
                  <a:lnTo>
                    <a:pt x="1288231" y="417571"/>
                  </a:lnTo>
                  <a:lnTo>
                    <a:pt x="1383850" y="417571"/>
                  </a:lnTo>
                  <a:lnTo>
                    <a:pt x="1383850" y="436050"/>
                  </a:lnTo>
                  <a:lnTo>
                    <a:pt x="1565235" y="436050"/>
                  </a:lnTo>
                  <a:lnTo>
                    <a:pt x="1565235" y="454662"/>
                  </a:lnTo>
                  <a:lnTo>
                    <a:pt x="1579968" y="454662"/>
                  </a:lnTo>
                  <a:lnTo>
                    <a:pt x="1579968" y="473407"/>
                  </a:lnTo>
                  <a:lnTo>
                    <a:pt x="1626509" y="473407"/>
                  </a:lnTo>
                  <a:lnTo>
                    <a:pt x="1626509" y="492284"/>
                  </a:lnTo>
                  <a:lnTo>
                    <a:pt x="1724568" y="492284"/>
                  </a:lnTo>
                  <a:lnTo>
                    <a:pt x="1724568" y="511162"/>
                  </a:lnTo>
                  <a:lnTo>
                    <a:pt x="1773647" y="511162"/>
                  </a:lnTo>
                  <a:lnTo>
                    <a:pt x="1773647" y="530173"/>
                  </a:lnTo>
                  <a:lnTo>
                    <a:pt x="1798137" y="530173"/>
                  </a:lnTo>
                  <a:lnTo>
                    <a:pt x="1798137" y="549316"/>
                  </a:lnTo>
                  <a:lnTo>
                    <a:pt x="2075239" y="549316"/>
                  </a:lnTo>
                  <a:lnTo>
                    <a:pt x="2075239" y="569391"/>
                  </a:lnTo>
                  <a:lnTo>
                    <a:pt x="2097290" y="569391"/>
                  </a:lnTo>
                  <a:lnTo>
                    <a:pt x="2097290" y="589598"/>
                  </a:lnTo>
                  <a:lnTo>
                    <a:pt x="2129196" y="589598"/>
                  </a:lnTo>
                  <a:lnTo>
                    <a:pt x="2129196" y="609805"/>
                  </a:lnTo>
                  <a:lnTo>
                    <a:pt x="2141392" y="609805"/>
                  </a:lnTo>
                  <a:lnTo>
                    <a:pt x="2141392" y="630278"/>
                  </a:lnTo>
                  <a:lnTo>
                    <a:pt x="2300726" y="630278"/>
                  </a:lnTo>
                  <a:lnTo>
                    <a:pt x="2300726" y="650751"/>
                  </a:lnTo>
                  <a:lnTo>
                    <a:pt x="2337510" y="650751"/>
                  </a:lnTo>
                  <a:lnTo>
                    <a:pt x="2337510" y="671357"/>
                  </a:lnTo>
                  <a:lnTo>
                    <a:pt x="2391467" y="671357"/>
                  </a:lnTo>
                  <a:lnTo>
                    <a:pt x="2391467" y="692362"/>
                  </a:lnTo>
                  <a:lnTo>
                    <a:pt x="2457620" y="692362"/>
                  </a:lnTo>
                  <a:lnTo>
                    <a:pt x="2457620" y="714032"/>
                  </a:lnTo>
                  <a:lnTo>
                    <a:pt x="2489526" y="714032"/>
                  </a:lnTo>
                  <a:lnTo>
                    <a:pt x="2489526" y="735834"/>
                  </a:lnTo>
                  <a:lnTo>
                    <a:pt x="2661055" y="735834"/>
                  </a:lnTo>
                  <a:lnTo>
                    <a:pt x="2661055" y="758035"/>
                  </a:lnTo>
                  <a:lnTo>
                    <a:pt x="3097393" y="758035"/>
                  </a:lnTo>
                  <a:lnTo>
                    <a:pt x="3097393" y="782497"/>
                  </a:lnTo>
                  <a:lnTo>
                    <a:pt x="3205209" y="782497"/>
                  </a:lnTo>
                  <a:lnTo>
                    <a:pt x="3205209" y="809218"/>
                  </a:lnTo>
                  <a:lnTo>
                    <a:pt x="3872400" y="809218"/>
                  </a:lnTo>
                  <a:lnTo>
                    <a:pt x="3872400" y="1244337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75" name="Freihandform: Form 974">
              <a:extLst>
                <a:ext uri="{FF2B5EF4-FFF2-40B4-BE49-F238E27FC236}">
                  <a16:creationId xmlns:a16="http://schemas.microsoft.com/office/drawing/2014/main" id="{6CD7DECA-81D2-42BA-A3DC-BA25DBDF89B4}"/>
                </a:ext>
              </a:extLst>
            </p:cNvPr>
            <p:cNvSpPr/>
            <p:nvPr/>
          </p:nvSpPr>
          <p:spPr>
            <a:xfrm>
              <a:off x="9098451" y="2345227"/>
              <a:ext cx="2099046" cy="336343"/>
            </a:xfrm>
            <a:custGeom>
              <a:avLst/>
              <a:gdLst>
                <a:gd name="connsiteX0" fmla="*/ 1073672 w 2099046"/>
                <a:gd name="connsiteY0" fmla="*/ 275855 h 336343"/>
                <a:gd name="connsiteX1" fmla="*/ 887702 w 2099046"/>
                <a:gd name="connsiteY1" fmla="*/ 275855 h 336343"/>
                <a:gd name="connsiteX2" fmla="*/ 887702 w 2099046"/>
                <a:gd name="connsiteY2" fmla="*/ 251393 h 336343"/>
                <a:gd name="connsiteX3" fmla="*/ 716171 w 2099046"/>
                <a:gd name="connsiteY3" fmla="*/ 251393 h 336343"/>
                <a:gd name="connsiteX4" fmla="*/ 716171 w 2099046"/>
                <a:gd name="connsiteY4" fmla="*/ 244746 h 336343"/>
                <a:gd name="connsiteX5" fmla="*/ 985468 w 2099046"/>
                <a:gd name="connsiteY5" fmla="*/ 244746 h 336343"/>
                <a:gd name="connsiteX6" fmla="*/ 985468 w 2099046"/>
                <a:gd name="connsiteY6" fmla="*/ 259237 h 336343"/>
                <a:gd name="connsiteX7" fmla="*/ 987029 w 2099046"/>
                <a:gd name="connsiteY7" fmla="*/ 264289 h 336343"/>
                <a:gd name="connsiteX8" fmla="*/ 990737 w 2099046"/>
                <a:gd name="connsiteY8" fmla="*/ 266416 h 336343"/>
                <a:gd name="connsiteX9" fmla="*/ 1073769 w 2099046"/>
                <a:gd name="connsiteY9" fmla="*/ 266416 h 336343"/>
                <a:gd name="connsiteX10" fmla="*/ 1073769 w 2099046"/>
                <a:gd name="connsiteY10" fmla="*/ 275855 h 336343"/>
                <a:gd name="connsiteX11" fmla="*/ 2098949 w 2099046"/>
                <a:gd name="connsiteY11" fmla="*/ 336343 h 336343"/>
                <a:gd name="connsiteX12" fmla="*/ 1431758 w 2099046"/>
                <a:gd name="connsiteY12" fmla="*/ 336343 h 336343"/>
                <a:gd name="connsiteX13" fmla="*/ 1431758 w 2099046"/>
                <a:gd name="connsiteY13" fmla="*/ 304038 h 336343"/>
                <a:gd name="connsiteX14" fmla="*/ 1323942 w 2099046"/>
                <a:gd name="connsiteY14" fmla="*/ 304038 h 336343"/>
                <a:gd name="connsiteX15" fmla="*/ 1323942 w 2099046"/>
                <a:gd name="connsiteY15" fmla="*/ 288883 h 336343"/>
                <a:gd name="connsiteX16" fmla="*/ 2098949 w 2099046"/>
                <a:gd name="connsiteY16" fmla="*/ 288883 h 336343"/>
                <a:gd name="connsiteX17" fmla="*/ 2098949 w 2099046"/>
                <a:gd name="connsiteY17" fmla="*/ 274658 h 336343"/>
                <a:gd name="connsiteX18" fmla="*/ 1084015 w 2099046"/>
                <a:gd name="connsiteY18" fmla="*/ 274658 h 336343"/>
                <a:gd name="connsiteX19" fmla="*/ 1084015 w 2099046"/>
                <a:gd name="connsiteY19" fmla="*/ 259237 h 336343"/>
                <a:gd name="connsiteX20" fmla="*/ 1082453 w 2099046"/>
                <a:gd name="connsiteY20" fmla="*/ 254185 h 336343"/>
                <a:gd name="connsiteX21" fmla="*/ 1078746 w 2099046"/>
                <a:gd name="connsiteY21" fmla="*/ 252058 h 336343"/>
                <a:gd name="connsiteX22" fmla="*/ 995713 w 2099046"/>
                <a:gd name="connsiteY22" fmla="*/ 252058 h 336343"/>
                <a:gd name="connsiteX23" fmla="*/ 995713 w 2099046"/>
                <a:gd name="connsiteY23" fmla="*/ 237567 h 336343"/>
                <a:gd name="connsiteX24" fmla="*/ 994151 w 2099046"/>
                <a:gd name="connsiteY24" fmla="*/ 232516 h 336343"/>
                <a:gd name="connsiteX25" fmla="*/ 990444 w 2099046"/>
                <a:gd name="connsiteY25" fmla="*/ 230389 h 336343"/>
                <a:gd name="connsiteX26" fmla="*/ 715879 w 2099046"/>
                <a:gd name="connsiteY26" fmla="*/ 230389 h 336343"/>
                <a:gd name="connsiteX27" fmla="*/ 715879 w 2099046"/>
                <a:gd name="connsiteY27" fmla="*/ 227331 h 336343"/>
                <a:gd name="connsiteX28" fmla="*/ 683973 w 2099046"/>
                <a:gd name="connsiteY28" fmla="*/ 227331 h 336343"/>
                <a:gd name="connsiteX29" fmla="*/ 683973 w 2099046"/>
                <a:gd name="connsiteY29" fmla="*/ 203135 h 336343"/>
                <a:gd name="connsiteX30" fmla="*/ 617820 w 2099046"/>
                <a:gd name="connsiteY30" fmla="*/ 203135 h 336343"/>
                <a:gd name="connsiteX31" fmla="*/ 617820 w 2099046"/>
                <a:gd name="connsiteY31" fmla="*/ 179871 h 336343"/>
                <a:gd name="connsiteX32" fmla="*/ 563863 w 2099046"/>
                <a:gd name="connsiteY32" fmla="*/ 179871 h 336343"/>
                <a:gd name="connsiteX33" fmla="*/ 563863 w 2099046"/>
                <a:gd name="connsiteY33" fmla="*/ 156872 h 336343"/>
                <a:gd name="connsiteX34" fmla="*/ 527079 w 2099046"/>
                <a:gd name="connsiteY34" fmla="*/ 156872 h 336343"/>
                <a:gd name="connsiteX35" fmla="*/ 527079 w 2099046"/>
                <a:gd name="connsiteY35" fmla="*/ 133873 h 336343"/>
                <a:gd name="connsiteX36" fmla="*/ 367745 w 2099046"/>
                <a:gd name="connsiteY36" fmla="*/ 133873 h 336343"/>
                <a:gd name="connsiteX37" fmla="*/ 367745 w 2099046"/>
                <a:gd name="connsiteY37" fmla="*/ 110741 h 336343"/>
                <a:gd name="connsiteX38" fmla="*/ 355549 w 2099046"/>
                <a:gd name="connsiteY38" fmla="*/ 110741 h 336343"/>
                <a:gd name="connsiteX39" fmla="*/ 355549 w 2099046"/>
                <a:gd name="connsiteY39" fmla="*/ 87476 h 336343"/>
                <a:gd name="connsiteX40" fmla="*/ 323643 w 2099046"/>
                <a:gd name="connsiteY40" fmla="*/ 87476 h 336343"/>
                <a:gd name="connsiteX41" fmla="*/ 323643 w 2099046"/>
                <a:gd name="connsiteY41" fmla="*/ 64211 h 336343"/>
                <a:gd name="connsiteX42" fmla="*/ 301592 w 2099046"/>
                <a:gd name="connsiteY42" fmla="*/ 64211 h 336343"/>
                <a:gd name="connsiteX43" fmla="*/ 301592 w 2099046"/>
                <a:gd name="connsiteY43" fmla="*/ 40813 h 336343"/>
                <a:gd name="connsiteX44" fmla="*/ 24490 w 2099046"/>
                <a:gd name="connsiteY44" fmla="*/ 40813 h 336343"/>
                <a:gd name="connsiteX45" fmla="*/ 24490 w 2099046"/>
                <a:gd name="connsiteY45" fmla="*/ 18878 h 336343"/>
                <a:gd name="connsiteX46" fmla="*/ 0 w 2099046"/>
                <a:gd name="connsiteY46" fmla="*/ 18878 h 336343"/>
                <a:gd name="connsiteX47" fmla="*/ 0 w 2099046"/>
                <a:gd name="connsiteY47" fmla="*/ 0 h 336343"/>
                <a:gd name="connsiteX48" fmla="*/ 274565 w 2099046"/>
                <a:gd name="connsiteY48" fmla="*/ 0 h 336343"/>
                <a:gd name="connsiteX49" fmla="*/ 274565 w 2099046"/>
                <a:gd name="connsiteY49" fmla="*/ 19144 h 336343"/>
                <a:gd name="connsiteX50" fmla="*/ 678704 w 2099046"/>
                <a:gd name="connsiteY50" fmla="*/ 19144 h 336343"/>
                <a:gd name="connsiteX51" fmla="*/ 678704 w 2099046"/>
                <a:gd name="connsiteY51" fmla="*/ 34166 h 336343"/>
                <a:gd name="connsiteX52" fmla="*/ 680265 w 2099046"/>
                <a:gd name="connsiteY52" fmla="*/ 39218 h 336343"/>
                <a:gd name="connsiteX53" fmla="*/ 683973 w 2099046"/>
                <a:gd name="connsiteY53" fmla="*/ 41345 h 336343"/>
                <a:gd name="connsiteX54" fmla="*/ 710610 w 2099046"/>
                <a:gd name="connsiteY54" fmla="*/ 41345 h 336343"/>
                <a:gd name="connsiteX55" fmla="*/ 710610 w 2099046"/>
                <a:gd name="connsiteY55" fmla="*/ 57697 h 336343"/>
                <a:gd name="connsiteX56" fmla="*/ 712171 w 2099046"/>
                <a:gd name="connsiteY56" fmla="*/ 62749 h 336343"/>
                <a:gd name="connsiteX57" fmla="*/ 715879 w 2099046"/>
                <a:gd name="connsiteY57" fmla="*/ 64876 h 336343"/>
                <a:gd name="connsiteX58" fmla="*/ 882238 w 2099046"/>
                <a:gd name="connsiteY58" fmla="*/ 64876 h 336343"/>
                <a:gd name="connsiteX59" fmla="*/ 882238 w 2099046"/>
                <a:gd name="connsiteY59" fmla="*/ 81626 h 336343"/>
                <a:gd name="connsiteX60" fmla="*/ 883798 w 2099046"/>
                <a:gd name="connsiteY60" fmla="*/ 86678 h 336343"/>
                <a:gd name="connsiteX61" fmla="*/ 887506 w 2099046"/>
                <a:gd name="connsiteY61" fmla="*/ 88805 h 336343"/>
                <a:gd name="connsiteX62" fmla="*/ 1318673 w 2099046"/>
                <a:gd name="connsiteY62" fmla="*/ 88805 h 336343"/>
                <a:gd name="connsiteX63" fmla="*/ 1318673 w 2099046"/>
                <a:gd name="connsiteY63" fmla="*/ 108747 h 336343"/>
                <a:gd name="connsiteX64" fmla="*/ 1320234 w 2099046"/>
                <a:gd name="connsiteY64" fmla="*/ 113798 h 336343"/>
                <a:gd name="connsiteX65" fmla="*/ 1323942 w 2099046"/>
                <a:gd name="connsiteY65" fmla="*/ 115925 h 336343"/>
                <a:gd name="connsiteX66" fmla="*/ 1426586 w 2099046"/>
                <a:gd name="connsiteY66" fmla="*/ 115925 h 336343"/>
                <a:gd name="connsiteX67" fmla="*/ 1426586 w 2099046"/>
                <a:gd name="connsiteY67" fmla="*/ 139323 h 336343"/>
                <a:gd name="connsiteX68" fmla="*/ 1428148 w 2099046"/>
                <a:gd name="connsiteY68" fmla="*/ 144375 h 336343"/>
                <a:gd name="connsiteX69" fmla="*/ 1431855 w 2099046"/>
                <a:gd name="connsiteY69" fmla="*/ 146502 h 336343"/>
                <a:gd name="connsiteX70" fmla="*/ 2099046 w 2099046"/>
                <a:gd name="connsiteY70" fmla="*/ 146502 h 336343"/>
                <a:gd name="connsiteX71" fmla="*/ 2099046 w 2099046"/>
                <a:gd name="connsiteY71" fmla="*/ 132277 h 336343"/>
                <a:gd name="connsiteX72" fmla="*/ 1437124 w 2099046"/>
                <a:gd name="connsiteY72" fmla="*/ 132277 h 336343"/>
                <a:gd name="connsiteX73" fmla="*/ 1437124 w 2099046"/>
                <a:gd name="connsiteY73" fmla="*/ 108880 h 336343"/>
                <a:gd name="connsiteX74" fmla="*/ 1435563 w 2099046"/>
                <a:gd name="connsiteY74" fmla="*/ 103828 h 336343"/>
                <a:gd name="connsiteX75" fmla="*/ 1431855 w 2099046"/>
                <a:gd name="connsiteY75" fmla="*/ 101701 h 336343"/>
                <a:gd name="connsiteX76" fmla="*/ 1329211 w 2099046"/>
                <a:gd name="connsiteY76" fmla="*/ 101701 h 336343"/>
                <a:gd name="connsiteX77" fmla="*/ 1329211 w 2099046"/>
                <a:gd name="connsiteY77" fmla="*/ 81759 h 336343"/>
                <a:gd name="connsiteX78" fmla="*/ 1327649 w 2099046"/>
                <a:gd name="connsiteY78" fmla="*/ 76708 h 336343"/>
                <a:gd name="connsiteX79" fmla="*/ 1323942 w 2099046"/>
                <a:gd name="connsiteY79" fmla="*/ 74580 h 336343"/>
                <a:gd name="connsiteX80" fmla="*/ 892775 w 2099046"/>
                <a:gd name="connsiteY80" fmla="*/ 74580 h 336343"/>
                <a:gd name="connsiteX81" fmla="*/ 892775 w 2099046"/>
                <a:gd name="connsiteY81" fmla="*/ 57830 h 336343"/>
                <a:gd name="connsiteX82" fmla="*/ 891214 w 2099046"/>
                <a:gd name="connsiteY82" fmla="*/ 52778 h 336343"/>
                <a:gd name="connsiteX83" fmla="*/ 887506 w 2099046"/>
                <a:gd name="connsiteY83" fmla="*/ 50651 h 336343"/>
                <a:gd name="connsiteX84" fmla="*/ 721148 w 2099046"/>
                <a:gd name="connsiteY84" fmla="*/ 50651 h 336343"/>
                <a:gd name="connsiteX85" fmla="*/ 721148 w 2099046"/>
                <a:gd name="connsiteY85" fmla="*/ 34299 h 336343"/>
                <a:gd name="connsiteX86" fmla="*/ 719587 w 2099046"/>
                <a:gd name="connsiteY86" fmla="*/ 29247 h 336343"/>
                <a:gd name="connsiteX87" fmla="*/ 715879 w 2099046"/>
                <a:gd name="connsiteY87" fmla="*/ 27120 h 336343"/>
                <a:gd name="connsiteX88" fmla="*/ 689242 w 2099046"/>
                <a:gd name="connsiteY88" fmla="*/ 27120 h 336343"/>
                <a:gd name="connsiteX89" fmla="*/ 689242 w 2099046"/>
                <a:gd name="connsiteY89" fmla="*/ 19144 h 336343"/>
                <a:gd name="connsiteX90" fmla="*/ 990444 w 2099046"/>
                <a:gd name="connsiteY90" fmla="*/ 19144 h 336343"/>
                <a:gd name="connsiteX91" fmla="*/ 990444 w 2099046"/>
                <a:gd name="connsiteY91" fmla="*/ 39750 h 336343"/>
                <a:gd name="connsiteX92" fmla="*/ 1078746 w 2099046"/>
                <a:gd name="connsiteY92" fmla="*/ 39750 h 336343"/>
                <a:gd name="connsiteX93" fmla="*/ 1078746 w 2099046"/>
                <a:gd name="connsiteY93" fmla="*/ 61286 h 336343"/>
                <a:gd name="connsiteX94" fmla="*/ 2098851 w 2099046"/>
                <a:gd name="connsiteY94" fmla="*/ 61286 h 336343"/>
                <a:gd name="connsiteX95" fmla="*/ 2098851 w 2099046"/>
                <a:gd name="connsiteY95" fmla="*/ 336343 h 336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</a:cxnLst>
              <a:rect l="l" t="t" r="r" b="b"/>
              <a:pathLst>
                <a:path w="2099046" h="336343">
                  <a:moveTo>
                    <a:pt x="1073672" y="275855"/>
                  </a:moveTo>
                  <a:lnTo>
                    <a:pt x="887702" y="275855"/>
                  </a:lnTo>
                  <a:lnTo>
                    <a:pt x="887702" y="251393"/>
                  </a:lnTo>
                  <a:lnTo>
                    <a:pt x="716171" y="251393"/>
                  </a:lnTo>
                  <a:lnTo>
                    <a:pt x="716171" y="244746"/>
                  </a:lnTo>
                  <a:lnTo>
                    <a:pt x="985468" y="244746"/>
                  </a:lnTo>
                  <a:lnTo>
                    <a:pt x="985468" y="259237"/>
                  </a:lnTo>
                  <a:cubicBezTo>
                    <a:pt x="985468" y="261098"/>
                    <a:pt x="986053" y="262959"/>
                    <a:pt x="987029" y="264289"/>
                  </a:cubicBezTo>
                  <a:cubicBezTo>
                    <a:pt x="988005" y="265618"/>
                    <a:pt x="989370" y="266416"/>
                    <a:pt x="990737" y="266416"/>
                  </a:cubicBezTo>
                  <a:lnTo>
                    <a:pt x="1073769" y="266416"/>
                  </a:lnTo>
                  <a:lnTo>
                    <a:pt x="1073769" y="275855"/>
                  </a:lnTo>
                  <a:moveTo>
                    <a:pt x="2098949" y="336343"/>
                  </a:moveTo>
                  <a:lnTo>
                    <a:pt x="1431758" y="336343"/>
                  </a:lnTo>
                  <a:lnTo>
                    <a:pt x="1431758" y="304038"/>
                  </a:lnTo>
                  <a:lnTo>
                    <a:pt x="1323942" y="304038"/>
                  </a:lnTo>
                  <a:lnTo>
                    <a:pt x="1323942" y="288883"/>
                  </a:lnTo>
                  <a:lnTo>
                    <a:pt x="2098949" y="288883"/>
                  </a:lnTo>
                  <a:lnTo>
                    <a:pt x="2098949" y="274658"/>
                  </a:lnTo>
                  <a:lnTo>
                    <a:pt x="1084015" y="274658"/>
                  </a:lnTo>
                  <a:lnTo>
                    <a:pt x="1084015" y="259237"/>
                  </a:lnTo>
                  <a:cubicBezTo>
                    <a:pt x="1084015" y="257376"/>
                    <a:pt x="1083429" y="255515"/>
                    <a:pt x="1082453" y="254185"/>
                  </a:cubicBezTo>
                  <a:cubicBezTo>
                    <a:pt x="1081478" y="252856"/>
                    <a:pt x="1080112" y="252058"/>
                    <a:pt x="1078746" y="252058"/>
                  </a:cubicBezTo>
                  <a:lnTo>
                    <a:pt x="995713" y="252058"/>
                  </a:lnTo>
                  <a:lnTo>
                    <a:pt x="995713" y="237567"/>
                  </a:lnTo>
                  <a:cubicBezTo>
                    <a:pt x="995713" y="235706"/>
                    <a:pt x="995127" y="233845"/>
                    <a:pt x="994151" y="232516"/>
                  </a:cubicBezTo>
                  <a:cubicBezTo>
                    <a:pt x="993176" y="231186"/>
                    <a:pt x="991810" y="230389"/>
                    <a:pt x="990444" y="230389"/>
                  </a:cubicBezTo>
                  <a:lnTo>
                    <a:pt x="715879" y="230389"/>
                  </a:lnTo>
                  <a:lnTo>
                    <a:pt x="715879" y="227331"/>
                  </a:lnTo>
                  <a:lnTo>
                    <a:pt x="683973" y="227331"/>
                  </a:lnTo>
                  <a:lnTo>
                    <a:pt x="683973" y="203135"/>
                  </a:lnTo>
                  <a:lnTo>
                    <a:pt x="617820" y="203135"/>
                  </a:lnTo>
                  <a:lnTo>
                    <a:pt x="617820" y="179871"/>
                  </a:lnTo>
                  <a:lnTo>
                    <a:pt x="563863" y="179871"/>
                  </a:lnTo>
                  <a:lnTo>
                    <a:pt x="563863" y="156872"/>
                  </a:lnTo>
                  <a:lnTo>
                    <a:pt x="527079" y="156872"/>
                  </a:lnTo>
                  <a:lnTo>
                    <a:pt x="527079" y="133873"/>
                  </a:lnTo>
                  <a:lnTo>
                    <a:pt x="367745" y="133873"/>
                  </a:lnTo>
                  <a:lnTo>
                    <a:pt x="367745" y="110741"/>
                  </a:lnTo>
                  <a:lnTo>
                    <a:pt x="355549" y="110741"/>
                  </a:lnTo>
                  <a:lnTo>
                    <a:pt x="355549" y="87476"/>
                  </a:lnTo>
                  <a:lnTo>
                    <a:pt x="323643" y="87476"/>
                  </a:lnTo>
                  <a:lnTo>
                    <a:pt x="323643" y="64211"/>
                  </a:lnTo>
                  <a:lnTo>
                    <a:pt x="301592" y="64211"/>
                  </a:lnTo>
                  <a:lnTo>
                    <a:pt x="301592" y="40813"/>
                  </a:lnTo>
                  <a:lnTo>
                    <a:pt x="24490" y="40813"/>
                  </a:lnTo>
                  <a:lnTo>
                    <a:pt x="24490" y="18878"/>
                  </a:lnTo>
                  <a:lnTo>
                    <a:pt x="0" y="18878"/>
                  </a:lnTo>
                  <a:lnTo>
                    <a:pt x="0" y="0"/>
                  </a:lnTo>
                  <a:lnTo>
                    <a:pt x="274565" y="0"/>
                  </a:lnTo>
                  <a:lnTo>
                    <a:pt x="274565" y="19144"/>
                  </a:lnTo>
                  <a:lnTo>
                    <a:pt x="678704" y="19144"/>
                  </a:lnTo>
                  <a:lnTo>
                    <a:pt x="678704" y="34166"/>
                  </a:lnTo>
                  <a:cubicBezTo>
                    <a:pt x="678704" y="36027"/>
                    <a:pt x="679290" y="37889"/>
                    <a:pt x="680265" y="39218"/>
                  </a:cubicBezTo>
                  <a:cubicBezTo>
                    <a:pt x="681241" y="40547"/>
                    <a:pt x="682607" y="41345"/>
                    <a:pt x="683973" y="41345"/>
                  </a:cubicBezTo>
                  <a:lnTo>
                    <a:pt x="710610" y="41345"/>
                  </a:lnTo>
                  <a:lnTo>
                    <a:pt x="710610" y="57697"/>
                  </a:lnTo>
                  <a:cubicBezTo>
                    <a:pt x="710610" y="59558"/>
                    <a:pt x="711195" y="61419"/>
                    <a:pt x="712171" y="62749"/>
                  </a:cubicBezTo>
                  <a:cubicBezTo>
                    <a:pt x="713147" y="64078"/>
                    <a:pt x="714513" y="64876"/>
                    <a:pt x="715879" y="64876"/>
                  </a:cubicBezTo>
                  <a:lnTo>
                    <a:pt x="882238" y="64876"/>
                  </a:lnTo>
                  <a:lnTo>
                    <a:pt x="882238" y="81626"/>
                  </a:lnTo>
                  <a:cubicBezTo>
                    <a:pt x="882238" y="83488"/>
                    <a:pt x="882823" y="85349"/>
                    <a:pt x="883798" y="86678"/>
                  </a:cubicBezTo>
                  <a:cubicBezTo>
                    <a:pt x="884774" y="88008"/>
                    <a:pt x="886140" y="88805"/>
                    <a:pt x="887506" y="88805"/>
                  </a:cubicBezTo>
                  <a:lnTo>
                    <a:pt x="1318673" y="88805"/>
                  </a:lnTo>
                  <a:lnTo>
                    <a:pt x="1318673" y="108747"/>
                  </a:lnTo>
                  <a:cubicBezTo>
                    <a:pt x="1318673" y="110608"/>
                    <a:pt x="1319258" y="112469"/>
                    <a:pt x="1320234" y="113798"/>
                  </a:cubicBezTo>
                  <a:cubicBezTo>
                    <a:pt x="1321210" y="115128"/>
                    <a:pt x="1322576" y="115925"/>
                    <a:pt x="1323942" y="115925"/>
                  </a:cubicBezTo>
                  <a:lnTo>
                    <a:pt x="1426586" y="115925"/>
                  </a:lnTo>
                  <a:lnTo>
                    <a:pt x="1426586" y="139323"/>
                  </a:lnTo>
                  <a:cubicBezTo>
                    <a:pt x="1426586" y="141184"/>
                    <a:pt x="1427172" y="143046"/>
                    <a:pt x="1428148" y="144375"/>
                  </a:cubicBezTo>
                  <a:cubicBezTo>
                    <a:pt x="1429123" y="145704"/>
                    <a:pt x="1430489" y="146502"/>
                    <a:pt x="1431855" y="146502"/>
                  </a:cubicBezTo>
                  <a:lnTo>
                    <a:pt x="2099046" y="146502"/>
                  </a:lnTo>
                  <a:lnTo>
                    <a:pt x="2099046" y="132277"/>
                  </a:lnTo>
                  <a:lnTo>
                    <a:pt x="1437124" y="132277"/>
                  </a:lnTo>
                  <a:lnTo>
                    <a:pt x="1437124" y="108880"/>
                  </a:lnTo>
                  <a:cubicBezTo>
                    <a:pt x="1437124" y="107018"/>
                    <a:pt x="1436539" y="105157"/>
                    <a:pt x="1435563" y="103828"/>
                  </a:cubicBezTo>
                  <a:cubicBezTo>
                    <a:pt x="1434587" y="102498"/>
                    <a:pt x="1433221" y="101701"/>
                    <a:pt x="1431855" y="101701"/>
                  </a:cubicBezTo>
                  <a:lnTo>
                    <a:pt x="1329211" y="101701"/>
                  </a:lnTo>
                  <a:lnTo>
                    <a:pt x="1329211" y="81759"/>
                  </a:lnTo>
                  <a:cubicBezTo>
                    <a:pt x="1329211" y="79898"/>
                    <a:pt x="1328625" y="78037"/>
                    <a:pt x="1327649" y="76708"/>
                  </a:cubicBezTo>
                  <a:cubicBezTo>
                    <a:pt x="1326674" y="75378"/>
                    <a:pt x="1325308" y="74580"/>
                    <a:pt x="1323942" y="74580"/>
                  </a:cubicBezTo>
                  <a:lnTo>
                    <a:pt x="892775" y="74580"/>
                  </a:lnTo>
                  <a:lnTo>
                    <a:pt x="892775" y="57830"/>
                  </a:lnTo>
                  <a:cubicBezTo>
                    <a:pt x="892775" y="55969"/>
                    <a:pt x="892190" y="54107"/>
                    <a:pt x="891214" y="52778"/>
                  </a:cubicBezTo>
                  <a:cubicBezTo>
                    <a:pt x="890238" y="51449"/>
                    <a:pt x="888872" y="50651"/>
                    <a:pt x="887506" y="50651"/>
                  </a:cubicBezTo>
                  <a:lnTo>
                    <a:pt x="721148" y="50651"/>
                  </a:lnTo>
                  <a:lnTo>
                    <a:pt x="721148" y="34299"/>
                  </a:lnTo>
                  <a:cubicBezTo>
                    <a:pt x="721148" y="32438"/>
                    <a:pt x="720562" y="30577"/>
                    <a:pt x="719587" y="29247"/>
                  </a:cubicBezTo>
                  <a:cubicBezTo>
                    <a:pt x="718611" y="27918"/>
                    <a:pt x="717245" y="27120"/>
                    <a:pt x="715879" y="27120"/>
                  </a:cubicBezTo>
                  <a:lnTo>
                    <a:pt x="689242" y="27120"/>
                  </a:lnTo>
                  <a:lnTo>
                    <a:pt x="689242" y="19144"/>
                  </a:lnTo>
                  <a:lnTo>
                    <a:pt x="990444" y="19144"/>
                  </a:lnTo>
                  <a:lnTo>
                    <a:pt x="990444" y="39750"/>
                  </a:lnTo>
                  <a:lnTo>
                    <a:pt x="1078746" y="39750"/>
                  </a:lnTo>
                  <a:lnTo>
                    <a:pt x="1078746" y="61286"/>
                  </a:lnTo>
                  <a:lnTo>
                    <a:pt x="2098851" y="61286"/>
                  </a:lnTo>
                  <a:lnTo>
                    <a:pt x="2098851" y="336343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76" name="Freihandform: Form 975">
              <a:extLst>
                <a:ext uri="{FF2B5EF4-FFF2-40B4-BE49-F238E27FC236}">
                  <a16:creationId xmlns:a16="http://schemas.microsoft.com/office/drawing/2014/main" id="{EB14CE6B-DDF1-7F5B-E1DB-3A74A887F1BD}"/>
                </a:ext>
              </a:extLst>
            </p:cNvPr>
            <p:cNvSpPr/>
            <p:nvPr/>
          </p:nvSpPr>
          <p:spPr>
            <a:xfrm>
              <a:off x="7323926" y="1495328"/>
              <a:ext cx="12293" cy="1063"/>
            </a:xfrm>
            <a:custGeom>
              <a:avLst/>
              <a:gdLst>
                <a:gd name="connsiteX0" fmla="*/ 0 w 12293"/>
                <a:gd name="connsiteY0" fmla="*/ 0 h 1063"/>
                <a:gd name="connsiteX1" fmla="*/ 12294 w 12293"/>
                <a:gd name="connsiteY1" fmla="*/ 0 h 1063"/>
                <a:gd name="connsiteX2" fmla="*/ 12294 w 12293"/>
                <a:gd name="connsiteY2" fmla="*/ 1064 h 1063"/>
                <a:gd name="connsiteX3" fmla="*/ 0 w 12293"/>
                <a:gd name="connsiteY3" fmla="*/ 1064 h 1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93" h="1063">
                  <a:moveTo>
                    <a:pt x="0" y="0"/>
                  </a:moveTo>
                  <a:lnTo>
                    <a:pt x="12294" y="0"/>
                  </a:lnTo>
                  <a:lnTo>
                    <a:pt x="12294" y="1064"/>
                  </a:lnTo>
                  <a:lnTo>
                    <a:pt x="0" y="1064"/>
                  </a:lnTo>
                  <a:close/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977" name="Grafik 996">
            <a:extLst>
              <a:ext uri="{FF2B5EF4-FFF2-40B4-BE49-F238E27FC236}">
                <a16:creationId xmlns:a16="http://schemas.microsoft.com/office/drawing/2014/main" id="{822E3528-D208-8AD2-C907-9DA8EDA606BD}"/>
              </a:ext>
            </a:extLst>
          </p:cNvPr>
          <p:cNvGrpSpPr/>
          <p:nvPr/>
        </p:nvGrpSpPr>
        <p:grpSpPr>
          <a:xfrm>
            <a:off x="7360007" y="1604345"/>
            <a:ext cx="3767120" cy="962500"/>
            <a:chOff x="7430278" y="1677326"/>
            <a:chExt cx="3767120" cy="962500"/>
          </a:xfrm>
          <a:solidFill>
            <a:schemeClr val="accent2"/>
          </a:solidFill>
        </p:grpSpPr>
        <p:sp>
          <p:nvSpPr>
            <p:cNvPr id="978" name="Freihandform: Form 977">
              <a:extLst>
                <a:ext uri="{FF2B5EF4-FFF2-40B4-BE49-F238E27FC236}">
                  <a16:creationId xmlns:a16="http://schemas.microsoft.com/office/drawing/2014/main" id="{FBAD4DBA-3FB9-678E-5E91-207E6AA40F89}"/>
                </a:ext>
              </a:extLst>
            </p:cNvPr>
            <p:cNvSpPr/>
            <p:nvPr/>
          </p:nvSpPr>
          <p:spPr>
            <a:xfrm>
              <a:off x="7430278" y="1677326"/>
              <a:ext cx="32491" cy="44269"/>
            </a:xfrm>
            <a:custGeom>
              <a:avLst/>
              <a:gdLst>
                <a:gd name="connsiteX0" fmla="*/ 13367 w 32491"/>
                <a:gd name="connsiteY0" fmla="*/ 44270 h 44269"/>
                <a:gd name="connsiteX1" fmla="*/ 13367 w 32491"/>
                <a:gd name="connsiteY1" fmla="*/ 25924 h 44269"/>
                <a:gd name="connsiteX2" fmla="*/ 0 w 32491"/>
                <a:gd name="connsiteY2" fmla="*/ 25924 h 44269"/>
                <a:gd name="connsiteX3" fmla="*/ 0 w 32491"/>
                <a:gd name="connsiteY3" fmla="*/ 18213 h 44269"/>
                <a:gd name="connsiteX4" fmla="*/ 13367 w 32491"/>
                <a:gd name="connsiteY4" fmla="*/ 18213 h 44269"/>
                <a:gd name="connsiteX5" fmla="*/ 13367 w 32491"/>
                <a:gd name="connsiteY5" fmla="*/ 0 h 44269"/>
                <a:gd name="connsiteX6" fmla="*/ 19124 w 32491"/>
                <a:gd name="connsiteY6" fmla="*/ 0 h 44269"/>
                <a:gd name="connsiteX7" fmla="*/ 19124 w 32491"/>
                <a:gd name="connsiteY7" fmla="*/ 18213 h 44269"/>
                <a:gd name="connsiteX8" fmla="*/ 32491 w 32491"/>
                <a:gd name="connsiteY8" fmla="*/ 18213 h 44269"/>
                <a:gd name="connsiteX9" fmla="*/ 32491 w 32491"/>
                <a:gd name="connsiteY9" fmla="*/ 25924 h 44269"/>
                <a:gd name="connsiteX10" fmla="*/ 19124 w 32491"/>
                <a:gd name="connsiteY10" fmla="*/ 25924 h 44269"/>
                <a:gd name="connsiteX11" fmla="*/ 19124 w 32491"/>
                <a:gd name="connsiteY11" fmla="*/ 44270 h 44269"/>
                <a:gd name="connsiteX12" fmla="*/ 13367 w 32491"/>
                <a:gd name="connsiteY12" fmla="*/ 44270 h 44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91" h="44269">
                  <a:moveTo>
                    <a:pt x="13367" y="44270"/>
                  </a:moveTo>
                  <a:lnTo>
                    <a:pt x="13367" y="25924"/>
                  </a:lnTo>
                  <a:lnTo>
                    <a:pt x="0" y="25924"/>
                  </a:lnTo>
                  <a:lnTo>
                    <a:pt x="0" y="18213"/>
                  </a:lnTo>
                  <a:lnTo>
                    <a:pt x="13367" y="18213"/>
                  </a:lnTo>
                  <a:lnTo>
                    <a:pt x="13367" y="0"/>
                  </a:lnTo>
                  <a:lnTo>
                    <a:pt x="19124" y="0"/>
                  </a:lnTo>
                  <a:lnTo>
                    <a:pt x="19124" y="18213"/>
                  </a:lnTo>
                  <a:lnTo>
                    <a:pt x="32491" y="18213"/>
                  </a:lnTo>
                  <a:lnTo>
                    <a:pt x="32491" y="25924"/>
                  </a:lnTo>
                  <a:lnTo>
                    <a:pt x="19124" y="25924"/>
                  </a:lnTo>
                  <a:lnTo>
                    <a:pt x="19124" y="44270"/>
                  </a:lnTo>
                  <a:lnTo>
                    <a:pt x="13367" y="44270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79" name="Freihandform: Form 978">
              <a:extLst>
                <a:ext uri="{FF2B5EF4-FFF2-40B4-BE49-F238E27FC236}">
                  <a16:creationId xmlns:a16="http://schemas.microsoft.com/office/drawing/2014/main" id="{EFE4ECEB-A680-2069-8D35-B44D9B46F698}"/>
                </a:ext>
              </a:extLst>
            </p:cNvPr>
            <p:cNvSpPr/>
            <p:nvPr/>
          </p:nvSpPr>
          <p:spPr>
            <a:xfrm>
              <a:off x="7623957" y="1932840"/>
              <a:ext cx="32491" cy="44269"/>
            </a:xfrm>
            <a:custGeom>
              <a:avLst/>
              <a:gdLst>
                <a:gd name="connsiteX0" fmla="*/ 13367 w 32491"/>
                <a:gd name="connsiteY0" fmla="*/ 44270 h 44269"/>
                <a:gd name="connsiteX1" fmla="*/ 13367 w 32491"/>
                <a:gd name="connsiteY1" fmla="*/ 25924 h 44269"/>
                <a:gd name="connsiteX2" fmla="*/ 0 w 32491"/>
                <a:gd name="connsiteY2" fmla="*/ 25924 h 44269"/>
                <a:gd name="connsiteX3" fmla="*/ 0 w 32491"/>
                <a:gd name="connsiteY3" fmla="*/ 18213 h 44269"/>
                <a:gd name="connsiteX4" fmla="*/ 13367 w 32491"/>
                <a:gd name="connsiteY4" fmla="*/ 18213 h 44269"/>
                <a:gd name="connsiteX5" fmla="*/ 13367 w 32491"/>
                <a:gd name="connsiteY5" fmla="*/ 0 h 44269"/>
                <a:gd name="connsiteX6" fmla="*/ 19026 w 32491"/>
                <a:gd name="connsiteY6" fmla="*/ 0 h 44269"/>
                <a:gd name="connsiteX7" fmla="*/ 19026 w 32491"/>
                <a:gd name="connsiteY7" fmla="*/ 18213 h 44269"/>
                <a:gd name="connsiteX8" fmla="*/ 32491 w 32491"/>
                <a:gd name="connsiteY8" fmla="*/ 18213 h 44269"/>
                <a:gd name="connsiteX9" fmla="*/ 32491 w 32491"/>
                <a:gd name="connsiteY9" fmla="*/ 25924 h 44269"/>
                <a:gd name="connsiteX10" fmla="*/ 19026 w 32491"/>
                <a:gd name="connsiteY10" fmla="*/ 25924 h 44269"/>
                <a:gd name="connsiteX11" fmla="*/ 19026 w 32491"/>
                <a:gd name="connsiteY11" fmla="*/ 44270 h 44269"/>
                <a:gd name="connsiteX12" fmla="*/ 13367 w 32491"/>
                <a:gd name="connsiteY12" fmla="*/ 44270 h 44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91" h="44269">
                  <a:moveTo>
                    <a:pt x="13367" y="44270"/>
                  </a:moveTo>
                  <a:lnTo>
                    <a:pt x="13367" y="25924"/>
                  </a:lnTo>
                  <a:lnTo>
                    <a:pt x="0" y="25924"/>
                  </a:lnTo>
                  <a:lnTo>
                    <a:pt x="0" y="18213"/>
                  </a:lnTo>
                  <a:lnTo>
                    <a:pt x="13367" y="18213"/>
                  </a:lnTo>
                  <a:lnTo>
                    <a:pt x="13367" y="0"/>
                  </a:lnTo>
                  <a:lnTo>
                    <a:pt x="19026" y="0"/>
                  </a:lnTo>
                  <a:lnTo>
                    <a:pt x="19026" y="18213"/>
                  </a:lnTo>
                  <a:lnTo>
                    <a:pt x="32491" y="18213"/>
                  </a:lnTo>
                  <a:lnTo>
                    <a:pt x="32491" y="25924"/>
                  </a:lnTo>
                  <a:lnTo>
                    <a:pt x="19026" y="25924"/>
                  </a:lnTo>
                  <a:lnTo>
                    <a:pt x="19026" y="44270"/>
                  </a:lnTo>
                  <a:lnTo>
                    <a:pt x="13367" y="44270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80" name="Freihandform: Form 979">
              <a:extLst>
                <a:ext uri="{FF2B5EF4-FFF2-40B4-BE49-F238E27FC236}">
                  <a16:creationId xmlns:a16="http://schemas.microsoft.com/office/drawing/2014/main" id="{A253A874-BD17-AC0E-DF5F-F4A807D6110C}"/>
                </a:ext>
              </a:extLst>
            </p:cNvPr>
            <p:cNvSpPr/>
            <p:nvPr/>
          </p:nvSpPr>
          <p:spPr>
            <a:xfrm>
              <a:off x="7945063" y="2246584"/>
              <a:ext cx="32491" cy="44269"/>
            </a:xfrm>
            <a:custGeom>
              <a:avLst/>
              <a:gdLst>
                <a:gd name="connsiteX0" fmla="*/ 13367 w 32491"/>
                <a:gd name="connsiteY0" fmla="*/ 44270 h 44269"/>
                <a:gd name="connsiteX1" fmla="*/ 13367 w 32491"/>
                <a:gd name="connsiteY1" fmla="*/ 25924 h 44269"/>
                <a:gd name="connsiteX2" fmla="*/ 0 w 32491"/>
                <a:gd name="connsiteY2" fmla="*/ 25924 h 44269"/>
                <a:gd name="connsiteX3" fmla="*/ 0 w 32491"/>
                <a:gd name="connsiteY3" fmla="*/ 18213 h 44269"/>
                <a:gd name="connsiteX4" fmla="*/ 13367 w 32491"/>
                <a:gd name="connsiteY4" fmla="*/ 18213 h 44269"/>
                <a:gd name="connsiteX5" fmla="*/ 13367 w 32491"/>
                <a:gd name="connsiteY5" fmla="*/ 0 h 44269"/>
                <a:gd name="connsiteX6" fmla="*/ 19124 w 32491"/>
                <a:gd name="connsiteY6" fmla="*/ 0 h 44269"/>
                <a:gd name="connsiteX7" fmla="*/ 19124 w 32491"/>
                <a:gd name="connsiteY7" fmla="*/ 18213 h 44269"/>
                <a:gd name="connsiteX8" fmla="*/ 32491 w 32491"/>
                <a:gd name="connsiteY8" fmla="*/ 18213 h 44269"/>
                <a:gd name="connsiteX9" fmla="*/ 32491 w 32491"/>
                <a:gd name="connsiteY9" fmla="*/ 25924 h 44269"/>
                <a:gd name="connsiteX10" fmla="*/ 19124 w 32491"/>
                <a:gd name="connsiteY10" fmla="*/ 25924 h 44269"/>
                <a:gd name="connsiteX11" fmla="*/ 19124 w 32491"/>
                <a:gd name="connsiteY11" fmla="*/ 44270 h 44269"/>
                <a:gd name="connsiteX12" fmla="*/ 13367 w 32491"/>
                <a:gd name="connsiteY12" fmla="*/ 44270 h 44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91" h="44269">
                  <a:moveTo>
                    <a:pt x="13367" y="44270"/>
                  </a:moveTo>
                  <a:lnTo>
                    <a:pt x="13367" y="25924"/>
                  </a:lnTo>
                  <a:lnTo>
                    <a:pt x="0" y="25924"/>
                  </a:lnTo>
                  <a:lnTo>
                    <a:pt x="0" y="18213"/>
                  </a:lnTo>
                  <a:lnTo>
                    <a:pt x="13367" y="18213"/>
                  </a:lnTo>
                  <a:lnTo>
                    <a:pt x="13367" y="0"/>
                  </a:lnTo>
                  <a:lnTo>
                    <a:pt x="19124" y="0"/>
                  </a:lnTo>
                  <a:lnTo>
                    <a:pt x="19124" y="18213"/>
                  </a:lnTo>
                  <a:lnTo>
                    <a:pt x="32491" y="18213"/>
                  </a:lnTo>
                  <a:lnTo>
                    <a:pt x="32491" y="25924"/>
                  </a:lnTo>
                  <a:lnTo>
                    <a:pt x="19124" y="25924"/>
                  </a:lnTo>
                  <a:lnTo>
                    <a:pt x="19124" y="44270"/>
                  </a:lnTo>
                  <a:lnTo>
                    <a:pt x="13367" y="44270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81" name="Freihandform: Form 980">
              <a:extLst>
                <a:ext uri="{FF2B5EF4-FFF2-40B4-BE49-F238E27FC236}">
                  <a16:creationId xmlns:a16="http://schemas.microsoft.com/office/drawing/2014/main" id="{3AEEF0BF-77F7-BFF9-E91B-12C78ACC7D16}"/>
                </a:ext>
              </a:extLst>
            </p:cNvPr>
            <p:cNvSpPr/>
            <p:nvPr/>
          </p:nvSpPr>
          <p:spPr>
            <a:xfrm>
              <a:off x="8025950" y="2284073"/>
              <a:ext cx="32491" cy="44269"/>
            </a:xfrm>
            <a:custGeom>
              <a:avLst/>
              <a:gdLst>
                <a:gd name="connsiteX0" fmla="*/ 13367 w 32491"/>
                <a:gd name="connsiteY0" fmla="*/ 44270 h 44269"/>
                <a:gd name="connsiteX1" fmla="*/ 13367 w 32491"/>
                <a:gd name="connsiteY1" fmla="*/ 25791 h 44269"/>
                <a:gd name="connsiteX2" fmla="*/ 0 w 32491"/>
                <a:gd name="connsiteY2" fmla="*/ 25791 h 44269"/>
                <a:gd name="connsiteX3" fmla="*/ 0 w 32491"/>
                <a:gd name="connsiteY3" fmla="*/ 18213 h 44269"/>
                <a:gd name="connsiteX4" fmla="*/ 13367 w 32491"/>
                <a:gd name="connsiteY4" fmla="*/ 18213 h 44269"/>
                <a:gd name="connsiteX5" fmla="*/ 13367 w 32491"/>
                <a:gd name="connsiteY5" fmla="*/ 0 h 44269"/>
                <a:gd name="connsiteX6" fmla="*/ 19124 w 32491"/>
                <a:gd name="connsiteY6" fmla="*/ 0 h 44269"/>
                <a:gd name="connsiteX7" fmla="*/ 19124 w 32491"/>
                <a:gd name="connsiteY7" fmla="*/ 18213 h 44269"/>
                <a:gd name="connsiteX8" fmla="*/ 32491 w 32491"/>
                <a:gd name="connsiteY8" fmla="*/ 18213 h 44269"/>
                <a:gd name="connsiteX9" fmla="*/ 32491 w 32491"/>
                <a:gd name="connsiteY9" fmla="*/ 25791 h 44269"/>
                <a:gd name="connsiteX10" fmla="*/ 19124 w 32491"/>
                <a:gd name="connsiteY10" fmla="*/ 25791 h 44269"/>
                <a:gd name="connsiteX11" fmla="*/ 19124 w 32491"/>
                <a:gd name="connsiteY11" fmla="*/ 44270 h 44269"/>
                <a:gd name="connsiteX12" fmla="*/ 13367 w 32491"/>
                <a:gd name="connsiteY12" fmla="*/ 44270 h 44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91" h="44269">
                  <a:moveTo>
                    <a:pt x="13367" y="44270"/>
                  </a:moveTo>
                  <a:lnTo>
                    <a:pt x="13367" y="25791"/>
                  </a:lnTo>
                  <a:lnTo>
                    <a:pt x="0" y="25791"/>
                  </a:lnTo>
                  <a:lnTo>
                    <a:pt x="0" y="18213"/>
                  </a:lnTo>
                  <a:lnTo>
                    <a:pt x="13367" y="18213"/>
                  </a:lnTo>
                  <a:lnTo>
                    <a:pt x="13367" y="0"/>
                  </a:lnTo>
                  <a:lnTo>
                    <a:pt x="19124" y="0"/>
                  </a:lnTo>
                  <a:lnTo>
                    <a:pt x="19124" y="18213"/>
                  </a:lnTo>
                  <a:lnTo>
                    <a:pt x="32491" y="18213"/>
                  </a:lnTo>
                  <a:lnTo>
                    <a:pt x="32491" y="25791"/>
                  </a:lnTo>
                  <a:lnTo>
                    <a:pt x="19124" y="25791"/>
                  </a:lnTo>
                  <a:lnTo>
                    <a:pt x="19124" y="44270"/>
                  </a:lnTo>
                  <a:lnTo>
                    <a:pt x="13367" y="44270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82" name="Freihandform: Form 981">
              <a:extLst>
                <a:ext uri="{FF2B5EF4-FFF2-40B4-BE49-F238E27FC236}">
                  <a16:creationId xmlns:a16="http://schemas.microsoft.com/office/drawing/2014/main" id="{131B7725-2839-35AA-D06A-44254BC71719}"/>
                </a:ext>
              </a:extLst>
            </p:cNvPr>
            <p:cNvSpPr/>
            <p:nvPr/>
          </p:nvSpPr>
          <p:spPr>
            <a:xfrm>
              <a:off x="8523562" y="2473782"/>
              <a:ext cx="32491" cy="44269"/>
            </a:xfrm>
            <a:custGeom>
              <a:avLst/>
              <a:gdLst>
                <a:gd name="connsiteX0" fmla="*/ 13367 w 32491"/>
                <a:gd name="connsiteY0" fmla="*/ 44270 h 44269"/>
                <a:gd name="connsiteX1" fmla="*/ 13367 w 32491"/>
                <a:gd name="connsiteY1" fmla="*/ 25924 h 44269"/>
                <a:gd name="connsiteX2" fmla="*/ 0 w 32491"/>
                <a:gd name="connsiteY2" fmla="*/ 25924 h 44269"/>
                <a:gd name="connsiteX3" fmla="*/ 0 w 32491"/>
                <a:gd name="connsiteY3" fmla="*/ 18213 h 44269"/>
                <a:gd name="connsiteX4" fmla="*/ 13367 w 32491"/>
                <a:gd name="connsiteY4" fmla="*/ 18213 h 44269"/>
                <a:gd name="connsiteX5" fmla="*/ 13367 w 32491"/>
                <a:gd name="connsiteY5" fmla="*/ 0 h 44269"/>
                <a:gd name="connsiteX6" fmla="*/ 19124 w 32491"/>
                <a:gd name="connsiteY6" fmla="*/ 0 h 44269"/>
                <a:gd name="connsiteX7" fmla="*/ 19124 w 32491"/>
                <a:gd name="connsiteY7" fmla="*/ 18213 h 44269"/>
                <a:gd name="connsiteX8" fmla="*/ 32491 w 32491"/>
                <a:gd name="connsiteY8" fmla="*/ 18213 h 44269"/>
                <a:gd name="connsiteX9" fmla="*/ 32491 w 32491"/>
                <a:gd name="connsiteY9" fmla="*/ 25924 h 44269"/>
                <a:gd name="connsiteX10" fmla="*/ 19124 w 32491"/>
                <a:gd name="connsiteY10" fmla="*/ 25924 h 44269"/>
                <a:gd name="connsiteX11" fmla="*/ 19124 w 32491"/>
                <a:gd name="connsiteY11" fmla="*/ 44270 h 44269"/>
                <a:gd name="connsiteX12" fmla="*/ 13367 w 32491"/>
                <a:gd name="connsiteY12" fmla="*/ 44270 h 44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91" h="44269">
                  <a:moveTo>
                    <a:pt x="13367" y="44270"/>
                  </a:moveTo>
                  <a:lnTo>
                    <a:pt x="13367" y="25924"/>
                  </a:lnTo>
                  <a:lnTo>
                    <a:pt x="0" y="25924"/>
                  </a:lnTo>
                  <a:lnTo>
                    <a:pt x="0" y="18213"/>
                  </a:lnTo>
                  <a:lnTo>
                    <a:pt x="13367" y="18213"/>
                  </a:lnTo>
                  <a:lnTo>
                    <a:pt x="13367" y="0"/>
                  </a:lnTo>
                  <a:lnTo>
                    <a:pt x="19124" y="0"/>
                  </a:lnTo>
                  <a:lnTo>
                    <a:pt x="19124" y="18213"/>
                  </a:lnTo>
                  <a:lnTo>
                    <a:pt x="32491" y="18213"/>
                  </a:lnTo>
                  <a:lnTo>
                    <a:pt x="32491" y="25924"/>
                  </a:lnTo>
                  <a:lnTo>
                    <a:pt x="19124" y="25924"/>
                  </a:lnTo>
                  <a:lnTo>
                    <a:pt x="19124" y="44270"/>
                  </a:lnTo>
                  <a:lnTo>
                    <a:pt x="13367" y="44270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83" name="Freihandform: Form 982">
              <a:extLst>
                <a:ext uri="{FF2B5EF4-FFF2-40B4-BE49-F238E27FC236}">
                  <a16:creationId xmlns:a16="http://schemas.microsoft.com/office/drawing/2014/main" id="{85F1B60A-9110-A738-3B66-B047B1AD8EB4}"/>
                </a:ext>
              </a:extLst>
            </p:cNvPr>
            <p:cNvSpPr/>
            <p:nvPr/>
          </p:nvSpPr>
          <p:spPr>
            <a:xfrm>
              <a:off x="9281006" y="2531611"/>
              <a:ext cx="32491" cy="44269"/>
            </a:xfrm>
            <a:custGeom>
              <a:avLst/>
              <a:gdLst>
                <a:gd name="connsiteX0" fmla="*/ 13367 w 32491"/>
                <a:gd name="connsiteY0" fmla="*/ 44270 h 44269"/>
                <a:gd name="connsiteX1" fmla="*/ 13367 w 32491"/>
                <a:gd name="connsiteY1" fmla="*/ 25924 h 44269"/>
                <a:gd name="connsiteX2" fmla="*/ 0 w 32491"/>
                <a:gd name="connsiteY2" fmla="*/ 25924 h 44269"/>
                <a:gd name="connsiteX3" fmla="*/ 0 w 32491"/>
                <a:gd name="connsiteY3" fmla="*/ 18213 h 44269"/>
                <a:gd name="connsiteX4" fmla="*/ 13367 w 32491"/>
                <a:gd name="connsiteY4" fmla="*/ 18213 h 44269"/>
                <a:gd name="connsiteX5" fmla="*/ 13367 w 32491"/>
                <a:gd name="connsiteY5" fmla="*/ 0 h 44269"/>
                <a:gd name="connsiteX6" fmla="*/ 19124 w 32491"/>
                <a:gd name="connsiteY6" fmla="*/ 0 h 44269"/>
                <a:gd name="connsiteX7" fmla="*/ 19124 w 32491"/>
                <a:gd name="connsiteY7" fmla="*/ 18213 h 44269"/>
                <a:gd name="connsiteX8" fmla="*/ 32491 w 32491"/>
                <a:gd name="connsiteY8" fmla="*/ 18213 h 44269"/>
                <a:gd name="connsiteX9" fmla="*/ 32491 w 32491"/>
                <a:gd name="connsiteY9" fmla="*/ 25924 h 44269"/>
                <a:gd name="connsiteX10" fmla="*/ 19124 w 32491"/>
                <a:gd name="connsiteY10" fmla="*/ 25924 h 44269"/>
                <a:gd name="connsiteX11" fmla="*/ 19124 w 32491"/>
                <a:gd name="connsiteY11" fmla="*/ 44270 h 44269"/>
                <a:gd name="connsiteX12" fmla="*/ 13367 w 32491"/>
                <a:gd name="connsiteY12" fmla="*/ 44270 h 44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91" h="44269">
                  <a:moveTo>
                    <a:pt x="13367" y="44270"/>
                  </a:moveTo>
                  <a:lnTo>
                    <a:pt x="13367" y="25924"/>
                  </a:lnTo>
                  <a:lnTo>
                    <a:pt x="0" y="25924"/>
                  </a:lnTo>
                  <a:lnTo>
                    <a:pt x="0" y="18213"/>
                  </a:lnTo>
                  <a:lnTo>
                    <a:pt x="13367" y="18213"/>
                  </a:lnTo>
                  <a:lnTo>
                    <a:pt x="13367" y="0"/>
                  </a:lnTo>
                  <a:lnTo>
                    <a:pt x="19124" y="0"/>
                  </a:lnTo>
                  <a:lnTo>
                    <a:pt x="19124" y="18213"/>
                  </a:lnTo>
                  <a:lnTo>
                    <a:pt x="32491" y="18213"/>
                  </a:lnTo>
                  <a:lnTo>
                    <a:pt x="32491" y="25924"/>
                  </a:lnTo>
                  <a:lnTo>
                    <a:pt x="19124" y="25924"/>
                  </a:lnTo>
                  <a:lnTo>
                    <a:pt x="19124" y="44270"/>
                  </a:lnTo>
                  <a:lnTo>
                    <a:pt x="13367" y="44270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84" name="Freihandform: Form 983">
              <a:extLst>
                <a:ext uri="{FF2B5EF4-FFF2-40B4-BE49-F238E27FC236}">
                  <a16:creationId xmlns:a16="http://schemas.microsoft.com/office/drawing/2014/main" id="{AD036588-D3B3-E756-DCE0-F2A0B150AF44}"/>
                </a:ext>
              </a:extLst>
            </p:cNvPr>
            <p:cNvSpPr/>
            <p:nvPr/>
          </p:nvSpPr>
          <p:spPr>
            <a:xfrm>
              <a:off x="9494296" y="2551287"/>
              <a:ext cx="32491" cy="44269"/>
            </a:xfrm>
            <a:custGeom>
              <a:avLst/>
              <a:gdLst>
                <a:gd name="connsiteX0" fmla="*/ 13367 w 32491"/>
                <a:gd name="connsiteY0" fmla="*/ 44270 h 44269"/>
                <a:gd name="connsiteX1" fmla="*/ 13367 w 32491"/>
                <a:gd name="connsiteY1" fmla="*/ 25924 h 44269"/>
                <a:gd name="connsiteX2" fmla="*/ 0 w 32491"/>
                <a:gd name="connsiteY2" fmla="*/ 25924 h 44269"/>
                <a:gd name="connsiteX3" fmla="*/ 0 w 32491"/>
                <a:gd name="connsiteY3" fmla="*/ 18213 h 44269"/>
                <a:gd name="connsiteX4" fmla="*/ 13367 w 32491"/>
                <a:gd name="connsiteY4" fmla="*/ 18213 h 44269"/>
                <a:gd name="connsiteX5" fmla="*/ 13367 w 32491"/>
                <a:gd name="connsiteY5" fmla="*/ 0 h 44269"/>
                <a:gd name="connsiteX6" fmla="*/ 19124 w 32491"/>
                <a:gd name="connsiteY6" fmla="*/ 0 h 44269"/>
                <a:gd name="connsiteX7" fmla="*/ 19124 w 32491"/>
                <a:gd name="connsiteY7" fmla="*/ 18213 h 44269"/>
                <a:gd name="connsiteX8" fmla="*/ 32491 w 32491"/>
                <a:gd name="connsiteY8" fmla="*/ 18213 h 44269"/>
                <a:gd name="connsiteX9" fmla="*/ 32491 w 32491"/>
                <a:gd name="connsiteY9" fmla="*/ 25924 h 44269"/>
                <a:gd name="connsiteX10" fmla="*/ 19124 w 32491"/>
                <a:gd name="connsiteY10" fmla="*/ 25924 h 44269"/>
                <a:gd name="connsiteX11" fmla="*/ 19124 w 32491"/>
                <a:gd name="connsiteY11" fmla="*/ 44270 h 44269"/>
                <a:gd name="connsiteX12" fmla="*/ 13367 w 32491"/>
                <a:gd name="connsiteY12" fmla="*/ 44270 h 44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91" h="44269">
                  <a:moveTo>
                    <a:pt x="13367" y="44270"/>
                  </a:moveTo>
                  <a:lnTo>
                    <a:pt x="13367" y="25924"/>
                  </a:lnTo>
                  <a:lnTo>
                    <a:pt x="0" y="25924"/>
                  </a:lnTo>
                  <a:lnTo>
                    <a:pt x="0" y="18213"/>
                  </a:lnTo>
                  <a:lnTo>
                    <a:pt x="13367" y="18213"/>
                  </a:lnTo>
                  <a:lnTo>
                    <a:pt x="13367" y="0"/>
                  </a:lnTo>
                  <a:lnTo>
                    <a:pt x="19124" y="0"/>
                  </a:lnTo>
                  <a:lnTo>
                    <a:pt x="19124" y="18213"/>
                  </a:lnTo>
                  <a:lnTo>
                    <a:pt x="32491" y="18213"/>
                  </a:lnTo>
                  <a:lnTo>
                    <a:pt x="32491" y="25924"/>
                  </a:lnTo>
                  <a:lnTo>
                    <a:pt x="19124" y="25924"/>
                  </a:lnTo>
                  <a:lnTo>
                    <a:pt x="19124" y="44270"/>
                  </a:lnTo>
                  <a:lnTo>
                    <a:pt x="13367" y="44270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85" name="Freihandform: Form 984">
              <a:extLst>
                <a:ext uri="{FF2B5EF4-FFF2-40B4-BE49-F238E27FC236}">
                  <a16:creationId xmlns:a16="http://schemas.microsoft.com/office/drawing/2014/main" id="{494110A9-786F-4C36-9DC3-31C1BCE45F2C}"/>
                </a:ext>
              </a:extLst>
            </p:cNvPr>
            <p:cNvSpPr/>
            <p:nvPr/>
          </p:nvSpPr>
          <p:spPr>
            <a:xfrm>
              <a:off x="9533520" y="2551287"/>
              <a:ext cx="32491" cy="44269"/>
            </a:xfrm>
            <a:custGeom>
              <a:avLst/>
              <a:gdLst>
                <a:gd name="connsiteX0" fmla="*/ 13367 w 32491"/>
                <a:gd name="connsiteY0" fmla="*/ 44270 h 44269"/>
                <a:gd name="connsiteX1" fmla="*/ 13367 w 32491"/>
                <a:gd name="connsiteY1" fmla="*/ 25924 h 44269"/>
                <a:gd name="connsiteX2" fmla="*/ 0 w 32491"/>
                <a:gd name="connsiteY2" fmla="*/ 25924 h 44269"/>
                <a:gd name="connsiteX3" fmla="*/ 0 w 32491"/>
                <a:gd name="connsiteY3" fmla="*/ 18213 h 44269"/>
                <a:gd name="connsiteX4" fmla="*/ 13367 w 32491"/>
                <a:gd name="connsiteY4" fmla="*/ 18213 h 44269"/>
                <a:gd name="connsiteX5" fmla="*/ 13367 w 32491"/>
                <a:gd name="connsiteY5" fmla="*/ 0 h 44269"/>
                <a:gd name="connsiteX6" fmla="*/ 19026 w 32491"/>
                <a:gd name="connsiteY6" fmla="*/ 0 h 44269"/>
                <a:gd name="connsiteX7" fmla="*/ 19026 w 32491"/>
                <a:gd name="connsiteY7" fmla="*/ 18213 h 44269"/>
                <a:gd name="connsiteX8" fmla="*/ 32491 w 32491"/>
                <a:gd name="connsiteY8" fmla="*/ 18213 h 44269"/>
                <a:gd name="connsiteX9" fmla="*/ 32491 w 32491"/>
                <a:gd name="connsiteY9" fmla="*/ 25924 h 44269"/>
                <a:gd name="connsiteX10" fmla="*/ 19026 w 32491"/>
                <a:gd name="connsiteY10" fmla="*/ 25924 h 44269"/>
                <a:gd name="connsiteX11" fmla="*/ 19026 w 32491"/>
                <a:gd name="connsiteY11" fmla="*/ 44270 h 44269"/>
                <a:gd name="connsiteX12" fmla="*/ 13367 w 32491"/>
                <a:gd name="connsiteY12" fmla="*/ 44270 h 44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91" h="44269">
                  <a:moveTo>
                    <a:pt x="13367" y="44270"/>
                  </a:moveTo>
                  <a:lnTo>
                    <a:pt x="13367" y="25924"/>
                  </a:lnTo>
                  <a:lnTo>
                    <a:pt x="0" y="25924"/>
                  </a:lnTo>
                  <a:lnTo>
                    <a:pt x="0" y="18213"/>
                  </a:lnTo>
                  <a:lnTo>
                    <a:pt x="13367" y="18213"/>
                  </a:lnTo>
                  <a:lnTo>
                    <a:pt x="13367" y="0"/>
                  </a:lnTo>
                  <a:lnTo>
                    <a:pt x="19026" y="0"/>
                  </a:lnTo>
                  <a:lnTo>
                    <a:pt x="19026" y="18213"/>
                  </a:lnTo>
                  <a:lnTo>
                    <a:pt x="32491" y="18213"/>
                  </a:lnTo>
                  <a:lnTo>
                    <a:pt x="32491" y="25924"/>
                  </a:lnTo>
                  <a:lnTo>
                    <a:pt x="19026" y="25924"/>
                  </a:lnTo>
                  <a:lnTo>
                    <a:pt x="19026" y="44270"/>
                  </a:lnTo>
                  <a:lnTo>
                    <a:pt x="13367" y="44270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86" name="Freihandform: Form 985">
              <a:extLst>
                <a:ext uri="{FF2B5EF4-FFF2-40B4-BE49-F238E27FC236}">
                  <a16:creationId xmlns:a16="http://schemas.microsoft.com/office/drawing/2014/main" id="{E57EF1BC-49B9-A2C2-19A0-258BB04CB5CA}"/>
                </a:ext>
              </a:extLst>
            </p:cNvPr>
            <p:cNvSpPr/>
            <p:nvPr/>
          </p:nvSpPr>
          <p:spPr>
            <a:xfrm>
              <a:off x="9629139" y="2551287"/>
              <a:ext cx="32491" cy="44269"/>
            </a:xfrm>
            <a:custGeom>
              <a:avLst/>
              <a:gdLst>
                <a:gd name="connsiteX0" fmla="*/ 13367 w 32491"/>
                <a:gd name="connsiteY0" fmla="*/ 44270 h 44269"/>
                <a:gd name="connsiteX1" fmla="*/ 13367 w 32491"/>
                <a:gd name="connsiteY1" fmla="*/ 25924 h 44269"/>
                <a:gd name="connsiteX2" fmla="*/ 0 w 32491"/>
                <a:gd name="connsiteY2" fmla="*/ 25924 h 44269"/>
                <a:gd name="connsiteX3" fmla="*/ 0 w 32491"/>
                <a:gd name="connsiteY3" fmla="*/ 18213 h 44269"/>
                <a:gd name="connsiteX4" fmla="*/ 13367 w 32491"/>
                <a:gd name="connsiteY4" fmla="*/ 18213 h 44269"/>
                <a:gd name="connsiteX5" fmla="*/ 13367 w 32491"/>
                <a:gd name="connsiteY5" fmla="*/ 0 h 44269"/>
                <a:gd name="connsiteX6" fmla="*/ 19026 w 32491"/>
                <a:gd name="connsiteY6" fmla="*/ 0 h 44269"/>
                <a:gd name="connsiteX7" fmla="*/ 19026 w 32491"/>
                <a:gd name="connsiteY7" fmla="*/ 18213 h 44269"/>
                <a:gd name="connsiteX8" fmla="*/ 32491 w 32491"/>
                <a:gd name="connsiteY8" fmla="*/ 18213 h 44269"/>
                <a:gd name="connsiteX9" fmla="*/ 32491 w 32491"/>
                <a:gd name="connsiteY9" fmla="*/ 25924 h 44269"/>
                <a:gd name="connsiteX10" fmla="*/ 19026 w 32491"/>
                <a:gd name="connsiteY10" fmla="*/ 25924 h 44269"/>
                <a:gd name="connsiteX11" fmla="*/ 19026 w 32491"/>
                <a:gd name="connsiteY11" fmla="*/ 44270 h 44269"/>
                <a:gd name="connsiteX12" fmla="*/ 13367 w 32491"/>
                <a:gd name="connsiteY12" fmla="*/ 44270 h 44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91" h="44269">
                  <a:moveTo>
                    <a:pt x="13367" y="44270"/>
                  </a:moveTo>
                  <a:lnTo>
                    <a:pt x="13367" y="25924"/>
                  </a:lnTo>
                  <a:lnTo>
                    <a:pt x="0" y="25924"/>
                  </a:lnTo>
                  <a:lnTo>
                    <a:pt x="0" y="18213"/>
                  </a:lnTo>
                  <a:lnTo>
                    <a:pt x="13367" y="18213"/>
                  </a:lnTo>
                  <a:lnTo>
                    <a:pt x="13367" y="0"/>
                  </a:lnTo>
                  <a:lnTo>
                    <a:pt x="19026" y="0"/>
                  </a:lnTo>
                  <a:lnTo>
                    <a:pt x="19026" y="18213"/>
                  </a:lnTo>
                  <a:lnTo>
                    <a:pt x="32491" y="18213"/>
                  </a:lnTo>
                  <a:lnTo>
                    <a:pt x="32491" y="25924"/>
                  </a:lnTo>
                  <a:lnTo>
                    <a:pt x="19026" y="25924"/>
                  </a:lnTo>
                  <a:lnTo>
                    <a:pt x="19026" y="44270"/>
                  </a:lnTo>
                  <a:lnTo>
                    <a:pt x="13367" y="44270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87" name="Freihandform: Form 986">
              <a:extLst>
                <a:ext uri="{FF2B5EF4-FFF2-40B4-BE49-F238E27FC236}">
                  <a16:creationId xmlns:a16="http://schemas.microsoft.com/office/drawing/2014/main" id="{A2BAD9FA-D363-9386-45D2-FCA24309BCED}"/>
                </a:ext>
              </a:extLst>
            </p:cNvPr>
            <p:cNvSpPr/>
            <p:nvPr/>
          </p:nvSpPr>
          <p:spPr>
            <a:xfrm>
              <a:off x="9788473" y="2551287"/>
              <a:ext cx="32393" cy="44269"/>
            </a:xfrm>
            <a:custGeom>
              <a:avLst/>
              <a:gdLst>
                <a:gd name="connsiteX0" fmla="*/ 13367 w 32393"/>
                <a:gd name="connsiteY0" fmla="*/ 44270 h 44269"/>
                <a:gd name="connsiteX1" fmla="*/ 13367 w 32393"/>
                <a:gd name="connsiteY1" fmla="*/ 25924 h 44269"/>
                <a:gd name="connsiteX2" fmla="*/ 0 w 32393"/>
                <a:gd name="connsiteY2" fmla="*/ 25924 h 44269"/>
                <a:gd name="connsiteX3" fmla="*/ 0 w 32393"/>
                <a:gd name="connsiteY3" fmla="*/ 18213 h 44269"/>
                <a:gd name="connsiteX4" fmla="*/ 13367 w 32393"/>
                <a:gd name="connsiteY4" fmla="*/ 18213 h 44269"/>
                <a:gd name="connsiteX5" fmla="*/ 13367 w 32393"/>
                <a:gd name="connsiteY5" fmla="*/ 0 h 44269"/>
                <a:gd name="connsiteX6" fmla="*/ 19026 w 32393"/>
                <a:gd name="connsiteY6" fmla="*/ 0 h 44269"/>
                <a:gd name="connsiteX7" fmla="*/ 19026 w 32393"/>
                <a:gd name="connsiteY7" fmla="*/ 18213 h 44269"/>
                <a:gd name="connsiteX8" fmla="*/ 32394 w 32393"/>
                <a:gd name="connsiteY8" fmla="*/ 18213 h 44269"/>
                <a:gd name="connsiteX9" fmla="*/ 32394 w 32393"/>
                <a:gd name="connsiteY9" fmla="*/ 25924 h 44269"/>
                <a:gd name="connsiteX10" fmla="*/ 19026 w 32393"/>
                <a:gd name="connsiteY10" fmla="*/ 25924 h 44269"/>
                <a:gd name="connsiteX11" fmla="*/ 19026 w 32393"/>
                <a:gd name="connsiteY11" fmla="*/ 44270 h 44269"/>
                <a:gd name="connsiteX12" fmla="*/ 13367 w 32393"/>
                <a:gd name="connsiteY12" fmla="*/ 44270 h 44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393" h="44269">
                  <a:moveTo>
                    <a:pt x="13367" y="44270"/>
                  </a:moveTo>
                  <a:lnTo>
                    <a:pt x="13367" y="25924"/>
                  </a:lnTo>
                  <a:lnTo>
                    <a:pt x="0" y="25924"/>
                  </a:lnTo>
                  <a:lnTo>
                    <a:pt x="0" y="18213"/>
                  </a:lnTo>
                  <a:lnTo>
                    <a:pt x="13367" y="18213"/>
                  </a:lnTo>
                  <a:lnTo>
                    <a:pt x="13367" y="0"/>
                  </a:lnTo>
                  <a:lnTo>
                    <a:pt x="19026" y="0"/>
                  </a:lnTo>
                  <a:lnTo>
                    <a:pt x="19026" y="18213"/>
                  </a:lnTo>
                  <a:lnTo>
                    <a:pt x="32394" y="18213"/>
                  </a:lnTo>
                  <a:lnTo>
                    <a:pt x="32394" y="25924"/>
                  </a:lnTo>
                  <a:lnTo>
                    <a:pt x="19026" y="25924"/>
                  </a:lnTo>
                  <a:lnTo>
                    <a:pt x="19026" y="44270"/>
                  </a:lnTo>
                  <a:lnTo>
                    <a:pt x="13367" y="44270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88" name="Freihandform: Form 987">
              <a:extLst>
                <a:ext uri="{FF2B5EF4-FFF2-40B4-BE49-F238E27FC236}">
                  <a16:creationId xmlns:a16="http://schemas.microsoft.com/office/drawing/2014/main" id="{BD616859-4DC8-B806-F657-7A77251F78CC}"/>
                </a:ext>
              </a:extLst>
            </p:cNvPr>
            <p:cNvSpPr/>
            <p:nvPr/>
          </p:nvSpPr>
          <p:spPr>
            <a:xfrm>
              <a:off x="9795791" y="2551287"/>
              <a:ext cx="32491" cy="44269"/>
            </a:xfrm>
            <a:custGeom>
              <a:avLst/>
              <a:gdLst>
                <a:gd name="connsiteX0" fmla="*/ 13367 w 32491"/>
                <a:gd name="connsiteY0" fmla="*/ 44270 h 44269"/>
                <a:gd name="connsiteX1" fmla="*/ 13367 w 32491"/>
                <a:gd name="connsiteY1" fmla="*/ 25924 h 44269"/>
                <a:gd name="connsiteX2" fmla="*/ 0 w 32491"/>
                <a:gd name="connsiteY2" fmla="*/ 25924 h 44269"/>
                <a:gd name="connsiteX3" fmla="*/ 0 w 32491"/>
                <a:gd name="connsiteY3" fmla="*/ 18213 h 44269"/>
                <a:gd name="connsiteX4" fmla="*/ 13367 w 32491"/>
                <a:gd name="connsiteY4" fmla="*/ 18213 h 44269"/>
                <a:gd name="connsiteX5" fmla="*/ 13367 w 32491"/>
                <a:gd name="connsiteY5" fmla="*/ 0 h 44269"/>
                <a:gd name="connsiteX6" fmla="*/ 19124 w 32491"/>
                <a:gd name="connsiteY6" fmla="*/ 0 h 44269"/>
                <a:gd name="connsiteX7" fmla="*/ 19124 w 32491"/>
                <a:gd name="connsiteY7" fmla="*/ 18213 h 44269"/>
                <a:gd name="connsiteX8" fmla="*/ 32491 w 32491"/>
                <a:gd name="connsiteY8" fmla="*/ 18213 h 44269"/>
                <a:gd name="connsiteX9" fmla="*/ 32491 w 32491"/>
                <a:gd name="connsiteY9" fmla="*/ 25924 h 44269"/>
                <a:gd name="connsiteX10" fmla="*/ 19124 w 32491"/>
                <a:gd name="connsiteY10" fmla="*/ 25924 h 44269"/>
                <a:gd name="connsiteX11" fmla="*/ 19124 w 32491"/>
                <a:gd name="connsiteY11" fmla="*/ 44270 h 44269"/>
                <a:gd name="connsiteX12" fmla="*/ 13367 w 32491"/>
                <a:gd name="connsiteY12" fmla="*/ 44270 h 44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91" h="44269">
                  <a:moveTo>
                    <a:pt x="13367" y="44270"/>
                  </a:moveTo>
                  <a:lnTo>
                    <a:pt x="13367" y="25924"/>
                  </a:lnTo>
                  <a:lnTo>
                    <a:pt x="0" y="25924"/>
                  </a:lnTo>
                  <a:lnTo>
                    <a:pt x="0" y="18213"/>
                  </a:lnTo>
                  <a:lnTo>
                    <a:pt x="13367" y="18213"/>
                  </a:lnTo>
                  <a:lnTo>
                    <a:pt x="13367" y="0"/>
                  </a:lnTo>
                  <a:lnTo>
                    <a:pt x="19124" y="0"/>
                  </a:lnTo>
                  <a:lnTo>
                    <a:pt x="19124" y="18213"/>
                  </a:lnTo>
                  <a:lnTo>
                    <a:pt x="32491" y="18213"/>
                  </a:lnTo>
                  <a:lnTo>
                    <a:pt x="32491" y="25924"/>
                  </a:lnTo>
                  <a:lnTo>
                    <a:pt x="19124" y="25924"/>
                  </a:lnTo>
                  <a:lnTo>
                    <a:pt x="19124" y="44270"/>
                  </a:lnTo>
                  <a:lnTo>
                    <a:pt x="13367" y="44270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89" name="Freihandform: Form 988">
              <a:extLst>
                <a:ext uri="{FF2B5EF4-FFF2-40B4-BE49-F238E27FC236}">
                  <a16:creationId xmlns:a16="http://schemas.microsoft.com/office/drawing/2014/main" id="{49E35160-8CA2-1CAE-2D0F-56D9DD54898A}"/>
                </a:ext>
              </a:extLst>
            </p:cNvPr>
            <p:cNvSpPr/>
            <p:nvPr/>
          </p:nvSpPr>
          <p:spPr>
            <a:xfrm>
              <a:off x="10087528" y="2572956"/>
              <a:ext cx="32491" cy="44269"/>
            </a:xfrm>
            <a:custGeom>
              <a:avLst/>
              <a:gdLst>
                <a:gd name="connsiteX0" fmla="*/ 13367 w 32491"/>
                <a:gd name="connsiteY0" fmla="*/ 44270 h 44269"/>
                <a:gd name="connsiteX1" fmla="*/ 13367 w 32491"/>
                <a:gd name="connsiteY1" fmla="*/ 25924 h 44269"/>
                <a:gd name="connsiteX2" fmla="*/ 0 w 32491"/>
                <a:gd name="connsiteY2" fmla="*/ 25924 h 44269"/>
                <a:gd name="connsiteX3" fmla="*/ 0 w 32491"/>
                <a:gd name="connsiteY3" fmla="*/ 18213 h 44269"/>
                <a:gd name="connsiteX4" fmla="*/ 13367 w 32491"/>
                <a:gd name="connsiteY4" fmla="*/ 18213 h 44269"/>
                <a:gd name="connsiteX5" fmla="*/ 13367 w 32491"/>
                <a:gd name="connsiteY5" fmla="*/ 0 h 44269"/>
                <a:gd name="connsiteX6" fmla="*/ 19026 w 32491"/>
                <a:gd name="connsiteY6" fmla="*/ 0 h 44269"/>
                <a:gd name="connsiteX7" fmla="*/ 19026 w 32491"/>
                <a:gd name="connsiteY7" fmla="*/ 18213 h 44269"/>
                <a:gd name="connsiteX8" fmla="*/ 32491 w 32491"/>
                <a:gd name="connsiteY8" fmla="*/ 18213 h 44269"/>
                <a:gd name="connsiteX9" fmla="*/ 32491 w 32491"/>
                <a:gd name="connsiteY9" fmla="*/ 25924 h 44269"/>
                <a:gd name="connsiteX10" fmla="*/ 19026 w 32491"/>
                <a:gd name="connsiteY10" fmla="*/ 25924 h 44269"/>
                <a:gd name="connsiteX11" fmla="*/ 19026 w 32491"/>
                <a:gd name="connsiteY11" fmla="*/ 44270 h 44269"/>
                <a:gd name="connsiteX12" fmla="*/ 13367 w 32491"/>
                <a:gd name="connsiteY12" fmla="*/ 44270 h 44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91" h="44269">
                  <a:moveTo>
                    <a:pt x="13367" y="44270"/>
                  </a:moveTo>
                  <a:lnTo>
                    <a:pt x="13367" y="25924"/>
                  </a:lnTo>
                  <a:lnTo>
                    <a:pt x="0" y="25924"/>
                  </a:lnTo>
                  <a:lnTo>
                    <a:pt x="0" y="18213"/>
                  </a:lnTo>
                  <a:lnTo>
                    <a:pt x="13367" y="18213"/>
                  </a:lnTo>
                  <a:lnTo>
                    <a:pt x="13367" y="0"/>
                  </a:lnTo>
                  <a:lnTo>
                    <a:pt x="19026" y="0"/>
                  </a:lnTo>
                  <a:lnTo>
                    <a:pt x="19026" y="18213"/>
                  </a:lnTo>
                  <a:lnTo>
                    <a:pt x="32491" y="18213"/>
                  </a:lnTo>
                  <a:lnTo>
                    <a:pt x="32491" y="25924"/>
                  </a:lnTo>
                  <a:lnTo>
                    <a:pt x="19026" y="25924"/>
                  </a:lnTo>
                  <a:lnTo>
                    <a:pt x="19026" y="44270"/>
                  </a:lnTo>
                  <a:lnTo>
                    <a:pt x="13367" y="44270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90" name="Freihandform: Form 989">
              <a:extLst>
                <a:ext uri="{FF2B5EF4-FFF2-40B4-BE49-F238E27FC236}">
                  <a16:creationId xmlns:a16="http://schemas.microsoft.com/office/drawing/2014/main" id="{6DA4C657-26D4-8A4D-FB76-C0AA5464BE21}"/>
                </a:ext>
              </a:extLst>
            </p:cNvPr>
            <p:cNvSpPr/>
            <p:nvPr/>
          </p:nvSpPr>
          <p:spPr>
            <a:xfrm>
              <a:off x="10151242" y="2572956"/>
              <a:ext cx="32491" cy="44269"/>
            </a:xfrm>
            <a:custGeom>
              <a:avLst/>
              <a:gdLst>
                <a:gd name="connsiteX0" fmla="*/ 13367 w 32491"/>
                <a:gd name="connsiteY0" fmla="*/ 44270 h 44269"/>
                <a:gd name="connsiteX1" fmla="*/ 13367 w 32491"/>
                <a:gd name="connsiteY1" fmla="*/ 25924 h 44269"/>
                <a:gd name="connsiteX2" fmla="*/ 0 w 32491"/>
                <a:gd name="connsiteY2" fmla="*/ 25924 h 44269"/>
                <a:gd name="connsiteX3" fmla="*/ 0 w 32491"/>
                <a:gd name="connsiteY3" fmla="*/ 18213 h 44269"/>
                <a:gd name="connsiteX4" fmla="*/ 13367 w 32491"/>
                <a:gd name="connsiteY4" fmla="*/ 18213 h 44269"/>
                <a:gd name="connsiteX5" fmla="*/ 13367 w 32491"/>
                <a:gd name="connsiteY5" fmla="*/ 0 h 44269"/>
                <a:gd name="connsiteX6" fmla="*/ 19124 w 32491"/>
                <a:gd name="connsiteY6" fmla="*/ 0 h 44269"/>
                <a:gd name="connsiteX7" fmla="*/ 19124 w 32491"/>
                <a:gd name="connsiteY7" fmla="*/ 18213 h 44269"/>
                <a:gd name="connsiteX8" fmla="*/ 32491 w 32491"/>
                <a:gd name="connsiteY8" fmla="*/ 18213 h 44269"/>
                <a:gd name="connsiteX9" fmla="*/ 32491 w 32491"/>
                <a:gd name="connsiteY9" fmla="*/ 25924 h 44269"/>
                <a:gd name="connsiteX10" fmla="*/ 19124 w 32491"/>
                <a:gd name="connsiteY10" fmla="*/ 25924 h 44269"/>
                <a:gd name="connsiteX11" fmla="*/ 19124 w 32491"/>
                <a:gd name="connsiteY11" fmla="*/ 44270 h 44269"/>
                <a:gd name="connsiteX12" fmla="*/ 13367 w 32491"/>
                <a:gd name="connsiteY12" fmla="*/ 44270 h 44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91" h="44269">
                  <a:moveTo>
                    <a:pt x="13367" y="44270"/>
                  </a:moveTo>
                  <a:lnTo>
                    <a:pt x="13367" y="25924"/>
                  </a:lnTo>
                  <a:lnTo>
                    <a:pt x="0" y="25924"/>
                  </a:lnTo>
                  <a:lnTo>
                    <a:pt x="0" y="18213"/>
                  </a:lnTo>
                  <a:lnTo>
                    <a:pt x="13367" y="18213"/>
                  </a:lnTo>
                  <a:lnTo>
                    <a:pt x="13367" y="0"/>
                  </a:lnTo>
                  <a:lnTo>
                    <a:pt x="19124" y="0"/>
                  </a:lnTo>
                  <a:lnTo>
                    <a:pt x="19124" y="18213"/>
                  </a:lnTo>
                  <a:lnTo>
                    <a:pt x="32491" y="18213"/>
                  </a:lnTo>
                  <a:lnTo>
                    <a:pt x="32491" y="25924"/>
                  </a:lnTo>
                  <a:lnTo>
                    <a:pt x="19124" y="25924"/>
                  </a:lnTo>
                  <a:lnTo>
                    <a:pt x="19124" y="44270"/>
                  </a:lnTo>
                  <a:lnTo>
                    <a:pt x="13367" y="44270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91" name="Freihandform: Form 990">
              <a:extLst>
                <a:ext uri="{FF2B5EF4-FFF2-40B4-BE49-F238E27FC236}">
                  <a16:creationId xmlns:a16="http://schemas.microsoft.com/office/drawing/2014/main" id="{49D5A39F-378A-D9B3-45B0-85E1063048E0}"/>
                </a:ext>
              </a:extLst>
            </p:cNvPr>
            <p:cNvSpPr/>
            <p:nvPr/>
          </p:nvSpPr>
          <p:spPr>
            <a:xfrm>
              <a:off x="10212517" y="2595556"/>
              <a:ext cx="32491" cy="44269"/>
            </a:xfrm>
            <a:custGeom>
              <a:avLst/>
              <a:gdLst>
                <a:gd name="connsiteX0" fmla="*/ 13367 w 32491"/>
                <a:gd name="connsiteY0" fmla="*/ 44270 h 44269"/>
                <a:gd name="connsiteX1" fmla="*/ 13367 w 32491"/>
                <a:gd name="connsiteY1" fmla="*/ 25924 h 44269"/>
                <a:gd name="connsiteX2" fmla="*/ 0 w 32491"/>
                <a:gd name="connsiteY2" fmla="*/ 25924 h 44269"/>
                <a:gd name="connsiteX3" fmla="*/ 0 w 32491"/>
                <a:gd name="connsiteY3" fmla="*/ 18213 h 44269"/>
                <a:gd name="connsiteX4" fmla="*/ 13367 w 32491"/>
                <a:gd name="connsiteY4" fmla="*/ 18213 h 44269"/>
                <a:gd name="connsiteX5" fmla="*/ 13367 w 32491"/>
                <a:gd name="connsiteY5" fmla="*/ 0 h 44269"/>
                <a:gd name="connsiteX6" fmla="*/ 19124 w 32491"/>
                <a:gd name="connsiteY6" fmla="*/ 0 h 44269"/>
                <a:gd name="connsiteX7" fmla="*/ 19124 w 32491"/>
                <a:gd name="connsiteY7" fmla="*/ 18213 h 44269"/>
                <a:gd name="connsiteX8" fmla="*/ 32491 w 32491"/>
                <a:gd name="connsiteY8" fmla="*/ 18213 h 44269"/>
                <a:gd name="connsiteX9" fmla="*/ 32491 w 32491"/>
                <a:gd name="connsiteY9" fmla="*/ 25924 h 44269"/>
                <a:gd name="connsiteX10" fmla="*/ 19124 w 32491"/>
                <a:gd name="connsiteY10" fmla="*/ 25924 h 44269"/>
                <a:gd name="connsiteX11" fmla="*/ 19124 w 32491"/>
                <a:gd name="connsiteY11" fmla="*/ 44270 h 44269"/>
                <a:gd name="connsiteX12" fmla="*/ 13367 w 32491"/>
                <a:gd name="connsiteY12" fmla="*/ 44270 h 44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91" h="44269">
                  <a:moveTo>
                    <a:pt x="13367" y="44270"/>
                  </a:moveTo>
                  <a:lnTo>
                    <a:pt x="13367" y="25924"/>
                  </a:lnTo>
                  <a:lnTo>
                    <a:pt x="0" y="25924"/>
                  </a:lnTo>
                  <a:lnTo>
                    <a:pt x="0" y="18213"/>
                  </a:lnTo>
                  <a:lnTo>
                    <a:pt x="13367" y="18213"/>
                  </a:lnTo>
                  <a:lnTo>
                    <a:pt x="13367" y="0"/>
                  </a:lnTo>
                  <a:lnTo>
                    <a:pt x="19124" y="0"/>
                  </a:lnTo>
                  <a:lnTo>
                    <a:pt x="19124" y="18213"/>
                  </a:lnTo>
                  <a:lnTo>
                    <a:pt x="32491" y="18213"/>
                  </a:lnTo>
                  <a:lnTo>
                    <a:pt x="32491" y="25924"/>
                  </a:lnTo>
                  <a:lnTo>
                    <a:pt x="19124" y="25924"/>
                  </a:lnTo>
                  <a:lnTo>
                    <a:pt x="19124" y="44270"/>
                  </a:lnTo>
                  <a:lnTo>
                    <a:pt x="13367" y="44270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92" name="Freihandform: Form 991">
              <a:extLst>
                <a:ext uri="{FF2B5EF4-FFF2-40B4-BE49-F238E27FC236}">
                  <a16:creationId xmlns:a16="http://schemas.microsoft.com/office/drawing/2014/main" id="{78446BC6-F5F6-A96B-6337-07EB47DBA06D}"/>
                </a:ext>
              </a:extLst>
            </p:cNvPr>
            <p:cNvSpPr/>
            <p:nvPr/>
          </p:nvSpPr>
          <p:spPr>
            <a:xfrm>
              <a:off x="10219932" y="2595556"/>
              <a:ext cx="32393" cy="44269"/>
            </a:xfrm>
            <a:custGeom>
              <a:avLst/>
              <a:gdLst>
                <a:gd name="connsiteX0" fmla="*/ 13367 w 32393"/>
                <a:gd name="connsiteY0" fmla="*/ 44270 h 44269"/>
                <a:gd name="connsiteX1" fmla="*/ 13367 w 32393"/>
                <a:gd name="connsiteY1" fmla="*/ 25924 h 44269"/>
                <a:gd name="connsiteX2" fmla="*/ 0 w 32393"/>
                <a:gd name="connsiteY2" fmla="*/ 25924 h 44269"/>
                <a:gd name="connsiteX3" fmla="*/ 0 w 32393"/>
                <a:gd name="connsiteY3" fmla="*/ 18213 h 44269"/>
                <a:gd name="connsiteX4" fmla="*/ 13367 w 32393"/>
                <a:gd name="connsiteY4" fmla="*/ 18213 h 44269"/>
                <a:gd name="connsiteX5" fmla="*/ 13367 w 32393"/>
                <a:gd name="connsiteY5" fmla="*/ 0 h 44269"/>
                <a:gd name="connsiteX6" fmla="*/ 19026 w 32393"/>
                <a:gd name="connsiteY6" fmla="*/ 0 h 44269"/>
                <a:gd name="connsiteX7" fmla="*/ 19026 w 32393"/>
                <a:gd name="connsiteY7" fmla="*/ 18213 h 44269"/>
                <a:gd name="connsiteX8" fmla="*/ 32394 w 32393"/>
                <a:gd name="connsiteY8" fmla="*/ 18213 h 44269"/>
                <a:gd name="connsiteX9" fmla="*/ 32394 w 32393"/>
                <a:gd name="connsiteY9" fmla="*/ 25924 h 44269"/>
                <a:gd name="connsiteX10" fmla="*/ 19026 w 32393"/>
                <a:gd name="connsiteY10" fmla="*/ 25924 h 44269"/>
                <a:gd name="connsiteX11" fmla="*/ 19026 w 32393"/>
                <a:gd name="connsiteY11" fmla="*/ 44270 h 44269"/>
                <a:gd name="connsiteX12" fmla="*/ 13367 w 32393"/>
                <a:gd name="connsiteY12" fmla="*/ 44270 h 44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393" h="44269">
                  <a:moveTo>
                    <a:pt x="13367" y="44270"/>
                  </a:moveTo>
                  <a:lnTo>
                    <a:pt x="13367" y="25924"/>
                  </a:lnTo>
                  <a:lnTo>
                    <a:pt x="0" y="25924"/>
                  </a:lnTo>
                  <a:lnTo>
                    <a:pt x="0" y="18213"/>
                  </a:lnTo>
                  <a:lnTo>
                    <a:pt x="13367" y="18213"/>
                  </a:lnTo>
                  <a:lnTo>
                    <a:pt x="13367" y="0"/>
                  </a:lnTo>
                  <a:lnTo>
                    <a:pt x="19026" y="0"/>
                  </a:lnTo>
                  <a:lnTo>
                    <a:pt x="19026" y="18213"/>
                  </a:lnTo>
                  <a:lnTo>
                    <a:pt x="32394" y="18213"/>
                  </a:lnTo>
                  <a:lnTo>
                    <a:pt x="32394" y="25924"/>
                  </a:lnTo>
                  <a:lnTo>
                    <a:pt x="19026" y="25924"/>
                  </a:lnTo>
                  <a:lnTo>
                    <a:pt x="19026" y="44270"/>
                  </a:lnTo>
                  <a:lnTo>
                    <a:pt x="13367" y="44270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93" name="Freihandform: Form 992">
              <a:extLst>
                <a:ext uri="{FF2B5EF4-FFF2-40B4-BE49-F238E27FC236}">
                  <a16:creationId xmlns:a16="http://schemas.microsoft.com/office/drawing/2014/main" id="{EC55E2DA-C013-9FAB-B23C-A4B2EC4C9771}"/>
                </a:ext>
              </a:extLst>
            </p:cNvPr>
            <p:cNvSpPr/>
            <p:nvPr/>
          </p:nvSpPr>
          <p:spPr>
            <a:xfrm>
              <a:off x="10288525" y="2595556"/>
              <a:ext cx="32491" cy="44269"/>
            </a:xfrm>
            <a:custGeom>
              <a:avLst/>
              <a:gdLst>
                <a:gd name="connsiteX0" fmla="*/ 13367 w 32491"/>
                <a:gd name="connsiteY0" fmla="*/ 44270 h 44269"/>
                <a:gd name="connsiteX1" fmla="*/ 13367 w 32491"/>
                <a:gd name="connsiteY1" fmla="*/ 25924 h 44269"/>
                <a:gd name="connsiteX2" fmla="*/ 0 w 32491"/>
                <a:gd name="connsiteY2" fmla="*/ 25924 h 44269"/>
                <a:gd name="connsiteX3" fmla="*/ 0 w 32491"/>
                <a:gd name="connsiteY3" fmla="*/ 18213 h 44269"/>
                <a:gd name="connsiteX4" fmla="*/ 13367 w 32491"/>
                <a:gd name="connsiteY4" fmla="*/ 18213 h 44269"/>
                <a:gd name="connsiteX5" fmla="*/ 13367 w 32491"/>
                <a:gd name="connsiteY5" fmla="*/ 0 h 44269"/>
                <a:gd name="connsiteX6" fmla="*/ 19124 w 32491"/>
                <a:gd name="connsiteY6" fmla="*/ 0 h 44269"/>
                <a:gd name="connsiteX7" fmla="*/ 19124 w 32491"/>
                <a:gd name="connsiteY7" fmla="*/ 18213 h 44269"/>
                <a:gd name="connsiteX8" fmla="*/ 32491 w 32491"/>
                <a:gd name="connsiteY8" fmla="*/ 18213 h 44269"/>
                <a:gd name="connsiteX9" fmla="*/ 32491 w 32491"/>
                <a:gd name="connsiteY9" fmla="*/ 25924 h 44269"/>
                <a:gd name="connsiteX10" fmla="*/ 19124 w 32491"/>
                <a:gd name="connsiteY10" fmla="*/ 25924 h 44269"/>
                <a:gd name="connsiteX11" fmla="*/ 19124 w 32491"/>
                <a:gd name="connsiteY11" fmla="*/ 44270 h 44269"/>
                <a:gd name="connsiteX12" fmla="*/ 13367 w 32491"/>
                <a:gd name="connsiteY12" fmla="*/ 44270 h 44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91" h="44269">
                  <a:moveTo>
                    <a:pt x="13367" y="44270"/>
                  </a:moveTo>
                  <a:lnTo>
                    <a:pt x="13367" y="25924"/>
                  </a:lnTo>
                  <a:lnTo>
                    <a:pt x="0" y="25924"/>
                  </a:lnTo>
                  <a:lnTo>
                    <a:pt x="0" y="18213"/>
                  </a:lnTo>
                  <a:lnTo>
                    <a:pt x="13367" y="18213"/>
                  </a:lnTo>
                  <a:lnTo>
                    <a:pt x="13367" y="0"/>
                  </a:lnTo>
                  <a:lnTo>
                    <a:pt x="19124" y="0"/>
                  </a:lnTo>
                  <a:lnTo>
                    <a:pt x="19124" y="18213"/>
                  </a:lnTo>
                  <a:lnTo>
                    <a:pt x="32491" y="18213"/>
                  </a:lnTo>
                  <a:lnTo>
                    <a:pt x="32491" y="25924"/>
                  </a:lnTo>
                  <a:lnTo>
                    <a:pt x="19124" y="25924"/>
                  </a:lnTo>
                  <a:lnTo>
                    <a:pt x="19124" y="44270"/>
                  </a:lnTo>
                  <a:lnTo>
                    <a:pt x="13367" y="44270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94" name="Freihandform: Form 993">
              <a:extLst>
                <a:ext uri="{FF2B5EF4-FFF2-40B4-BE49-F238E27FC236}">
                  <a16:creationId xmlns:a16="http://schemas.microsoft.com/office/drawing/2014/main" id="{FEB4348D-72C0-0059-4446-C4F563AC32CE}"/>
                </a:ext>
              </a:extLst>
            </p:cNvPr>
            <p:cNvSpPr/>
            <p:nvPr/>
          </p:nvSpPr>
          <p:spPr>
            <a:xfrm>
              <a:off x="10330187" y="2595556"/>
              <a:ext cx="32491" cy="44269"/>
            </a:xfrm>
            <a:custGeom>
              <a:avLst/>
              <a:gdLst>
                <a:gd name="connsiteX0" fmla="*/ 13367 w 32491"/>
                <a:gd name="connsiteY0" fmla="*/ 44270 h 44269"/>
                <a:gd name="connsiteX1" fmla="*/ 13367 w 32491"/>
                <a:gd name="connsiteY1" fmla="*/ 25924 h 44269"/>
                <a:gd name="connsiteX2" fmla="*/ 0 w 32491"/>
                <a:gd name="connsiteY2" fmla="*/ 25924 h 44269"/>
                <a:gd name="connsiteX3" fmla="*/ 0 w 32491"/>
                <a:gd name="connsiteY3" fmla="*/ 18213 h 44269"/>
                <a:gd name="connsiteX4" fmla="*/ 13367 w 32491"/>
                <a:gd name="connsiteY4" fmla="*/ 18213 h 44269"/>
                <a:gd name="connsiteX5" fmla="*/ 13367 w 32491"/>
                <a:gd name="connsiteY5" fmla="*/ 0 h 44269"/>
                <a:gd name="connsiteX6" fmla="*/ 19124 w 32491"/>
                <a:gd name="connsiteY6" fmla="*/ 0 h 44269"/>
                <a:gd name="connsiteX7" fmla="*/ 19124 w 32491"/>
                <a:gd name="connsiteY7" fmla="*/ 18213 h 44269"/>
                <a:gd name="connsiteX8" fmla="*/ 32491 w 32491"/>
                <a:gd name="connsiteY8" fmla="*/ 18213 h 44269"/>
                <a:gd name="connsiteX9" fmla="*/ 32491 w 32491"/>
                <a:gd name="connsiteY9" fmla="*/ 25924 h 44269"/>
                <a:gd name="connsiteX10" fmla="*/ 19124 w 32491"/>
                <a:gd name="connsiteY10" fmla="*/ 25924 h 44269"/>
                <a:gd name="connsiteX11" fmla="*/ 19124 w 32491"/>
                <a:gd name="connsiteY11" fmla="*/ 44270 h 44269"/>
                <a:gd name="connsiteX12" fmla="*/ 13367 w 32491"/>
                <a:gd name="connsiteY12" fmla="*/ 44270 h 44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91" h="44269">
                  <a:moveTo>
                    <a:pt x="13367" y="44270"/>
                  </a:moveTo>
                  <a:lnTo>
                    <a:pt x="13367" y="25924"/>
                  </a:lnTo>
                  <a:lnTo>
                    <a:pt x="0" y="25924"/>
                  </a:lnTo>
                  <a:lnTo>
                    <a:pt x="0" y="18213"/>
                  </a:lnTo>
                  <a:lnTo>
                    <a:pt x="13367" y="18213"/>
                  </a:lnTo>
                  <a:lnTo>
                    <a:pt x="13367" y="0"/>
                  </a:lnTo>
                  <a:lnTo>
                    <a:pt x="19124" y="0"/>
                  </a:lnTo>
                  <a:lnTo>
                    <a:pt x="19124" y="18213"/>
                  </a:lnTo>
                  <a:lnTo>
                    <a:pt x="32491" y="18213"/>
                  </a:lnTo>
                  <a:lnTo>
                    <a:pt x="32491" y="25924"/>
                  </a:lnTo>
                  <a:lnTo>
                    <a:pt x="19124" y="25924"/>
                  </a:lnTo>
                  <a:lnTo>
                    <a:pt x="19124" y="44270"/>
                  </a:lnTo>
                  <a:lnTo>
                    <a:pt x="13367" y="44270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95" name="Freihandform: Form 994">
              <a:extLst>
                <a:ext uri="{FF2B5EF4-FFF2-40B4-BE49-F238E27FC236}">
                  <a16:creationId xmlns:a16="http://schemas.microsoft.com/office/drawing/2014/main" id="{A1F994DB-2632-30D5-D559-50E09786BA8A}"/>
                </a:ext>
              </a:extLst>
            </p:cNvPr>
            <p:cNvSpPr/>
            <p:nvPr/>
          </p:nvSpPr>
          <p:spPr>
            <a:xfrm>
              <a:off x="10379266" y="2595556"/>
              <a:ext cx="32393" cy="44269"/>
            </a:xfrm>
            <a:custGeom>
              <a:avLst/>
              <a:gdLst>
                <a:gd name="connsiteX0" fmla="*/ 13270 w 32393"/>
                <a:gd name="connsiteY0" fmla="*/ 44270 h 44269"/>
                <a:gd name="connsiteX1" fmla="*/ 13270 w 32393"/>
                <a:gd name="connsiteY1" fmla="*/ 25924 h 44269"/>
                <a:gd name="connsiteX2" fmla="*/ 0 w 32393"/>
                <a:gd name="connsiteY2" fmla="*/ 25924 h 44269"/>
                <a:gd name="connsiteX3" fmla="*/ 0 w 32393"/>
                <a:gd name="connsiteY3" fmla="*/ 18213 h 44269"/>
                <a:gd name="connsiteX4" fmla="*/ 13270 w 32393"/>
                <a:gd name="connsiteY4" fmla="*/ 18213 h 44269"/>
                <a:gd name="connsiteX5" fmla="*/ 13270 w 32393"/>
                <a:gd name="connsiteY5" fmla="*/ 0 h 44269"/>
                <a:gd name="connsiteX6" fmla="*/ 19026 w 32393"/>
                <a:gd name="connsiteY6" fmla="*/ 0 h 44269"/>
                <a:gd name="connsiteX7" fmla="*/ 19026 w 32393"/>
                <a:gd name="connsiteY7" fmla="*/ 18213 h 44269"/>
                <a:gd name="connsiteX8" fmla="*/ 32394 w 32393"/>
                <a:gd name="connsiteY8" fmla="*/ 18213 h 44269"/>
                <a:gd name="connsiteX9" fmla="*/ 32394 w 32393"/>
                <a:gd name="connsiteY9" fmla="*/ 25924 h 44269"/>
                <a:gd name="connsiteX10" fmla="*/ 19026 w 32393"/>
                <a:gd name="connsiteY10" fmla="*/ 25924 h 44269"/>
                <a:gd name="connsiteX11" fmla="*/ 19026 w 32393"/>
                <a:gd name="connsiteY11" fmla="*/ 44270 h 44269"/>
                <a:gd name="connsiteX12" fmla="*/ 13270 w 32393"/>
                <a:gd name="connsiteY12" fmla="*/ 44270 h 44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393" h="44269">
                  <a:moveTo>
                    <a:pt x="13270" y="44270"/>
                  </a:moveTo>
                  <a:lnTo>
                    <a:pt x="13270" y="25924"/>
                  </a:lnTo>
                  <a:lnTo>
                    <a:pt x="0" y="25924"/>
                  </a:lnTo>
                  <a:lnTo>
                    <a:pt x="0" y="18213"/>
                  </a:lnTo>
                  <a:lnTo>
                    <a:pt x="13270" y="18213"/>
                  </a:lnTo>
                  <a:lnTo>
                    <a:pt x="13270" y="0"/>
                  </a:lnTo>
                  <a:lnTo>
                    <a:pt x="19026" y="0"/>
                  </a:lnTo>
                  <a:lnTo>
                    <a:pt x="19026" y="18213"/>
                  </a:lnTo>
                  <a:lnTo>
                    <a:pt x="32394" y="18213"/>
                  </a:lnTo>
                  <a:lnTo>
                    <a:pt x="32394" y="25924"/>
                  </a:lnTo>
                  <a:lnTo>
                    <a:pt x="19026" y="25924"/>
                  </a:lnTo>
                  <a:lnTo>
                    <a:pt x="19026" y="44270"/>
                  </a:lnTo>
                  <a:lnTo>
                    <a:pt x="13270" y="44270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96" name="Freihandform: Form 995">
              <a:extLst>
                <a:ext uri="{FF2B5EF4-FFF2-40B4-BE49-F238E27FC236}">
                  <a16:creationId xmlns:a16="http://schemas.microsoft.com/office/drawing/2014/main" id="{B7AC9393-2D5B-AC70-26DA-492A63C48E80}"/>
                </a:ext>
              </a:extLst>
            </p:cNvPr>
            <p:cNvSpPr/>
            <p:nvPr/>
          </p:nvSpPr>
          <p:spPr>
            <a:xfrm>
              <a:off x="10416050" y="2595556"/>
              <a:ext cx="32393" cy="44269"/>
            </a:xfrm>
            <a:custGeom>
              <a:avLst/>
              <a:gdLst>
                <a:gd name="connsiteX0" fmla="*/ 13367 w 32393"/>
                <a:gd name="connsiteY0" fmla="*/ 44270 h 44269"/>
                <a:gd name="connsiteX1" fmla="*/ 13367 w 32393"/>
                <a:gd name="connsiteY1" fmla="*/ 25924 h 44269"/>
                <a:gd name="connsiteX2" fmla="*/ 0 w 32393"/>
                <a:gd name="connsiteY2" fmla="*/ 25924 h 44269"/>
                <a:gd name="connsiteX3" fmla="*/ 0 w 32393"/>
                <a:gd name="connsiteY3" fmla="*/ 18213 h 44269"/>
                <a:gd name="connsiteX4" fmla="*/ 13367 w 32393"/>
                <a:gd name="connsiteY4" fmla="*/ 18213 h 44269"/>
                <a:gd name="connsiteX5" fmla="*/ 13367 w 32393"/>
                <a:gd name="connsiteY5" fmla="*/ 0 h 44269"/>
                <a:gd name="connsiteX6" fmla="*/ 19026 w 32393"/>
                <a:gd name="connsiteY6" fmla="*/ 0 h 44269"/>
                <a:gd name="connsiteX7" fmla="*/ 19026 w 32393"/>
                <a:gd name="connsiteY7" fmla="*/ 18213 h 44269"/>
                <a:gd name="connsiteX8" fmla="*/ 32393 w 32393"/>
                <a:gd name="connsiteY8" fmla="*/ 18213 h 44269"/>
                <a:gd name="connsiteX9" fmla="*/ 32393 w 32393"/>
                <a:gd name="connsiteY9" fmla="*/ 25924 h 44269"/>
                <a:gd name="connsiteX10" fmla="*/ 19026 w 32393"/>
                <a:gd name="connsiteY10" fmla="*/ 25924 h 44269"/>
                <a:gd name="connsiteX11" fmla="*/ 19026 w 32393"/>
                <a:gd name="connsiteY11" fmla="*/ 44270 h 44269"/>
                <a:gd name="connsiteX12" fmla="*/ 13367 w 32393"/>
                <a:gd name="connsiteY12" fmla="*/ 44270 h 44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393" h="44269">
                  <a:moveTo>
                    <a:pt x="13367" y="44270"/>
                  </a:moveTo>
                  <a:lnTo>
                    <a:pt x="13367" y="25924"/>
                  </a:lnTo>
                  <a:lnTo>
                    <a:pt x="0" y="25924"/>
                  </a:lnTo>
                  <a:lnTo>
                    <a:pt x="0" y="18213"/>
                  </a:lnTo>
                  <a:lnTo>
                    <a:pt x="13367" y="18213"/>
                  </a:lnTo>
                  <a:lnTo>
                    <a:pt x="13367" y="0"/>
                  </a:lnTo>
                  <a:lnTo>
                    <a:pt x="19026" y="0"/>
                  </a:lnTo>
                  <a:lnTo>
                    <a:pt x="19026" y="18213"/>
                  </a:lnTo>
                  <a:lnTo>
                    <a:pt x="32393" y="18213"/>
                  </a:lnTo>
                  <a:lnTo>
                    <a:pt x="32393" y="25924"/>
                  </a:lnTo>
                  <a:lnTo>
                    <a:pt x="19026" y="25924"/>
                  </a:lnTo>
                  <a:lnTo>
                    <a:pt x="19026" y="44270"/>
                  </a:lnTo>
                  <a:lnTo>
                    <a:pt x="13367" y="44270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97" name="Freihandform: Form 996">
              <a:extLst>
                <a:ext uri="{FF2B5EF4-FFF2-40B4-BE49-F238E27FC236}">
                  <a16:creationId xmlns:a16="http://schemas.microsoft.com/office/drawing/2014/main" id="{1E642CC6-4944-8BAE-88E3-F738F3F57BB9}"/>
                </a:ext>
              </a:extLst>
            </p:cNvPr>
            <p:cNvSpPr/>
            <p:nvPr/>
          </p:nvSpPr>
          <p:spPr>
            <a:xfrm>
              <a:off x="10435564" y="2595556"/>
              <a:ext cx="32491" cy="44269"/>
            </a:xfrm>
            <a:custGeom>
              <a:avLst/>
              <a:gdLst>
                <a:gd name="connsiteX0" fmla="*/ 13367 w 32491"/>
                <a:gd name="connsiteY0" fmla="*/ 44270 h 44269"/>
                <a:gd name="connsiteX1" fmla="*/ 13367 w 32491"/>
                <a:gd name="connsiteY1" fmla="*/ 25924 h 44269"/>
                <a:gd name="connsiteX2" fmla="*/ 0 w 32491"/>
                <a:gd name="connsiteY2" fmla="*/ 25924 h 44269"/>
                <a:gd name="connsiteX3" fmla="*/ 0 w 32491"/>
                <a:gd name="connsiteY3" fmla="*/ 18213 h 44269"/>
                <a:gd name="connsiteX4" fmla="*/ 13367 w 32491"/>
                <a:gd name="connsiteY4" fmla="*/ 18213 h 44269"/>
                <a:gd name="connsiteX5" fmla="*/ 13367 w 32491"/>
                <a:gd name="connsiteY5" fmla="*/ 0 h 44269"/>
                <a:gd name="connsiteX6" fmla="*/ 19124 w 32491"/>
                <a:gd name="connsiteY6" fmla="*/ 0 h 44269"/>
                <a:gd name="connsiteX7" fmla="*/ 19124 w 32491"/>
                <a:gd name="connsiteY7" fmla="*/ 18213 h 44269"/>
                <a:gd name="connsiteX8" fmla="*/ 32491 w 32491"/>
                <a:gd name="connsiteY8" fmla="*/ 18213 h 44269"/>
                <a:gd name="connsiteX9" fmla="*/ 32491 w 32491"/>
                <a:gd name="connsiteY9" fmla="*/ 25924 h 44269"/>
                <a:gd name="connsiteX10" fmla="*/ 19124 w 32491"/>
                <a:gd name="connsiteY10" fmla="*/ 25924 h 44269"/>
                <a:gd name="connsiteX11" fmla="*/ 19124 w 32491"/>
                <a:gd name="connsiteY11" fmla="*/ 44270 h 44269"/>
                <a:gd name="connsiteX12" fmla="*/ 13367 w 32491"/>
                <a:gd name="connsiteY12" fmla="*/ 44270 h 44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91" h="44269">
                  <a:moveTo>
                    <a:pt x="13367" y="44270"/>
                  </a:moveTo>
                  <a:lnTo>
                    <a:pt x="13367" y="25924"/>
                  </a:lnTo>
                  <a:lnTo>
                    <a:pt x="0" y="25924"/>
                  </a:lnTo>
                  <a:lnTo>
                    <a:pt x="0" y="18213"/>
                  </a:lnTo>
                  <a:lnTo>
                    <a:pt x="13367" y="18213"/>
                  </a:lnTo>
                  <a:lnTo>
                    <a:pt x="13367" y="0"/>
                  </a:lnTo>
                  <a:lnTo>
                    <a:pt x="19124" y="0"/>
                  </a:lnTo>
                  <a:lnTo>
                    <a:pt x="19124" y="18213"/>
                  </a:lnTo>
                  <a:lnTo>
                    <a:pt x="32491" y="18213"/>
                  </a:lnTo>
                  <a:lnTo>
                    <a:pt x="32491" y="25924"/>
                  </a:lnTo>
                  <a:lnTo>
                    <a:pt x="19124" y="25924"/>
                  </a:lnTo>
                  <a:lnTo>
                    <a:pt x="19124" y="44270"/>
                  </a:lnTo>
                  <a:lnTo>
                    <a:pt x="13367" y="44270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98" name="Freihandform: Form 997">
              <a:extLst>
                <a:ext uri="{FF2B5EF4-FFF2-40B4-BE49-F238E27FC236}">
                  <a16:creationId xmlns:a16="http://schemas.microsoft.com/office/drawing/2014/main" id="{06F92939-FB49-61BC-DFEA-7C46166D3F4B}"/>
                </a:ext>
              </a:extLst>
            </p:cNvPr>
            <p:cNvSpPr/>
            <p:nvPr/>
          </p:nvSpPr>
          <p:spPr>
            <a:xfrm>
              <a:off x="10455274" y="2595556"/>
              <a:ext cx="32393" cy="44269"/>
            </a:xfrm>
            <a:custGeom>
              <a:avLst/>
              <a:gdLst>
                <a:gd name="connsiteX0" fmla="*/ 13367 w 32393"/>
                <a:gd name="connsiteY0" fmla="*/ 44270 h 44269"/>
                <a:gd name="connsiteX1" fmla="*/ 13367 w 32393"/>
                <a:gd name="connsiteY1" fmla="*/ 25924 h 44269"/>
                <a:gd name="connsiteX2" fmla="*/ 0 w 32393"/>
                <a:gd name="connsiteY2" fmla="*/ 25924 h 44269"/>
                <a:gd name="connsiteX3" fmla="*/ 0 w 32393"/>
                <a:gd name="connsiteY3" fmla="*/ 18213 h 44269"/>
                <a:gd name="connsiteX4" fmla="*/ 13367 w 32393"/>
                <a:gd name="connsiteY4" fmla="*/ 18213 h 44269"/>
                <a:gd name="connsiteX5" fmla="*/ 13367 w 32393"/>
                <a:gd name="connsiteY5" fmla="*/ 0 h 44269"/>
                <a:gd name="connsiteX6" fmla="*/ 19026 w 32393"/>
                <a:gd name="connsiteY6" fmla="*/ 0 h 44269"/>
                <a:gd name="connsiteX7" fmla="*/ 19026 w 32393"/>
                <a:gd name="connsiteY7" fmla="*/ 18213 h 44269"/>
                <a:gd name="connsiteX8" fmla="*/ 32394 w 32393"/>
                <a:gd name="connsiteY8" fmla="*/ 18213 h 44269"/>
                <a:gd name="connsiteX9" fmla="*/ 32394 w 32393"/>
                <a:gd name="connsiteY9" fmla="*/ 25924 h 44269"/>
                <a:gd name="connsiteX10" fmla="*/ 19026 w 32393"/>
                <a:gd name="connsiteY10" fmla="*/ 25924 h 44269"/>
                <a:gd name="connsiteX11" fmla="*/ 19026 w 32393"/>
                <a:gd name="connsiteY11" fmla="*/ 44270 h 44269"/>
                <a:gd name="connsiteX12" fmla="*/ 13367 w 32393"/>
                <a:gd name="connsiteY12" fmla="*/ 44270 h 44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393" h="44269">
                  <a:moveTo>
                    <a:pt x="13367" y="44270"/>
                  </a:moveTo>
                  <a:lnTo>
                    <a:pt x="13367" y="25924"/>
                  </a:lnTo>
                  <a:lnTo>
                    <a:pt x="0" y="25924"/>
                  </a:lnTo>
                  <a:lnTo>
                    <a:pt x="0" y="18213"/>
                  </a:lnTo>
                  <a:lnTo>
                    <a:pt x="13367" y="18213"/>
                  </a:lnTo>
                  <a:lnTo>
                    <a:pt x="13367" y="0"/>
                  </a:lnTo>
                  <a:lnTo>
                    <a:pt x="19026" y="0"/>
                  </a:lnTo>
                  <a:lnTo>
                    <a:pt x="19026" y="18213"/>
                  </a:lnTo>
                  <a:lnTo>
                    <a:pt x="32394" y="18213"/>
                  </a:lnTo>
                  <a:lnTo>
                    <a:pt x="32394" y="25924"/>
                  </a:lnTo>
                  <a:lnTo>
                    <a:pt x="19026" y="25924"/>
                  </a:lnTo>
                  <a:lnTo>
                    <a:pt x="19026" y="44270"/>
                  </a:lnTo>
                  <a:lnTo>
                    <a:pt x="13367" y="44270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99" name="Freihandform: Form 998">
              <a:extLst>
                <a:ext uri="{FF2B5EF4-FFF2-40B4-BE49-F238E27FC236}">
                  <a16:creationId xmlns:a16="http://schemas.microsoft.com/office/drawing/2014/main" id="{AB9C2026-D65F-514D-FD03-6511E50F4B4F}"/>
                </a:ext>
              </a:extLst>
            </p:cNvPr>
            <p:cNvSpPr/>
            <p:nvPr/>
          </p:nvSpPr>
          <p:spPr>
            <a:xfrm>
              <a:off x="10465031" y="2595556"/>
              <a:ext cx="32491" cy="44269"/>
            </a:xfrm>
            <a:custGeom>
              <a:avLst/>
              <a:gdLst>
                <a:gd name="connsiteX0" fmla="*/ 13367 w 32491"/>
                <a:gd name="connsiteY0" fmla="*/ 44270 h 44269"/>
                <a:gd name="connsiteX1" fmla="*/ 13367 w 32491"/>
                <a:gd name="connsiteY1" fmla="*/ 25924 h 44269"/>
                <a:gd name="connsiteX2" fmla="*/ 0 w 32491"/>
                <a:gd name="connsiteY2" fmla="*/ 25924 h 44269"/>
                <a:gd name="connsiteX3" fmla="*/ 0 w 32491"/>
                <a:gd name="connsiteY3" fmla="*/ 18213 h 44269"/>
                <a:gd name="connsiteX4" fmla="*/ 13367 w 32491"/>
                <a:gd name="connsiteY4" fmla="*/ 18213 h 44269"/>
                <a:gd name="connsiteX5" fmla="*/ 13367 w 32491"/>
                <a:gd name="connsiteY5" fmla="*/ 0 h 44269"/>
                <a:gd name="connsiteX6" fmla="*/ 19124 w 32491"/>
                <a:gd name="connsiteY6" fmla="*/ 0 h 44269"/>
                <a:gd name="connsiteX7" fmla="*/ 19124 w 32491"/>
                <a:gd name="connsiteY7" fmla="*/ 18213 h 44269"/>
                <a:gd name="connsiteX8" fmla="*/ 32491 w 32491"/>
                <a:gd name="connsiteY8" fmla="*/ 18213 h 44269"/>
                <a:gd name="connsiteX9" fmla="*/ 32491 w 32491"/>
                <a:gd name="connsiteY9" fmla="*/ 25924 h 44269"/>
                <a:gd name="connsiteX10" fmla="*/ 19124 w 32491"/>
                <a:gd name="connsiteY10" fmla="*/ 25924 h 44269"/>
                <a:gd name="connsiteX11" fmla="*/ 19124 w 32491"/>
                <a:gd name="connsiteY11" fmla="*/ 44270 h 44269"/>
                <a:gd name="connsiteX12" fmla="*/ 13367 w 32491"/>
                <a:gd name="connsiteY12" fmla="*/ 44270 h 44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91" h="44269">
                  <a:moveTo>
                    <a:pt x="13367" y="44270"/>
                  </a:moveTo>
                  <a:lnTo>
                    <a:pt x="13367" y="25924"/>
                  </a:lnTo>
                  <a:lnTo>
                    <a:pt x="0" y="25924"/>
                  </a:lnTo>
                  <a:lnTo>
                    <a:pt x="0" y="18213"/>
                  </a:lnTo>
                  <a:lnTo>
                    <a:pt x="13367" y="18213"/>
                  </a:lnTo>
                  <a:lnTo>
                    <a:pt x="13367" y="0"/>
                  </a:lnTo>
                  <a:lnTo>
                    <a:pt x="19124" y="0"/>
                  </a:lnTo>
                  <a:lnTo>
                    <a:pt x="19124" y="18213"/>
                  </a:lnTo>
                  <a:lnTo>
                    <a:pt x="32491" y="18213"/>
                  </a:lnTo>
                  <a:lnTo>
                    <a:pt x="32491" y="25924"/>
                  </a:lnTo>
                  <a:lnTo>
                    <a:pt x="19124" y="25924"/>
                  </a:lnTo>
                  <a:lnTo>
                    <a:pt x="19124" y="44270"/>
                  </a:lnTo>
                  <a:lnTo>
                    <a:pt x="13367" y="44270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00" name="Freihandform: Form 999">
              <a:extLst>
                <a:ext uri="{FF2B5EF4-FFF2-40B4-BE49-F238E27FC236}">
                  <a16:creationId xmlns:a16="http://schemas.microsoft.com/office/drawing/2014/main" id="{3CBAE1EE-FD14-3AD2-4333-E97ED5184BE9}"/>
                </a:ext>
              </a:extLst>
            </p:cNvPr>
            <p:cNvSpPr/>
            <p:nvPr/>
          </p:nvSpPr>
          <p:spPr>
            <a:xfrm>
              <a:off x="10543478" y="2595556"/>
              <a:ext cx="32491" cy="44269"/>
            </a:xfrm>
            <a:custGeom>
              <a:avLst/>
              <a:gdLst>
                <a:gd name="connsiteX0" fmla="*/ 13367 w 32491"/>
                <a:gd name="connsiteY0" fmla="*/ 44270 h 44269"/>
                <a:gd name="connsiteX1" fmla="*/ 13367 w 32491"/>
                <a:gd name="connsiteY1" fmla="*/ 25924 h 44269"/>
                <a:gd name="connsiteX2" fmla="*/ 0 w 32491"/>
                <a:gd name="connsiteY2" fmla="*/ 25924 h 44269"/>
                <a:gd name="connsiteX3" fmla="*/ 0 w 32491"/>
                <a:gd name="connsiteY3" fmla="*/ 18213 h 44269"/>
                <a:gd name="connsiteX4" fmla="*/ 13367 w 32491"/>
                <a:gd name="connsiteY4" fmla="*/ 18213 h 44269"/>
                <a:gd name="connsiteX5" fmla="*/ 13367 w 32491"/>
                <a:gd name="connsiteY5" fmla="*/ 0 h 44269"/>
                <a:gd name="connsiteX6" fmla="*/ 19124 w 32491"/>
                <a:gd name="connsiteY6" fmla="*/ 0 h 44269"/>
                <a:gd name="connsiteX7" fmla="*/ 19124 w 32491"/>
                <a:gd name="connsiteY7" fmla="*/ 18213 h 44269"/>
                <a:gd name="connsiteX8" fmla="*/ 32491 w 32491"/>
                <a:gd name="connsiteY8" fmla="*/ 18213 h 44269"/>
                <a:gd name="connsiteX9" fmla="*/ 32491 w 32491"/>
                <a:gd name="connsiteY9" fmla="*/ 25924 h 44269"/>
                <a:gd name="connsiteX10" fmla="*/ 19124 w 32491"/>
                <a:gd name="connsiteY10" fmla="*/ 25924 h 44269"/>
                <a:gd name="connsiteX11" fmla="*/ 19124 w 32491"/>
                <a:gd name="connsiteY11" fmla="*/ 44270 h 44269"/>
                <a:gd name="connsiteX12" fmla="*/ 13367 w 32491"/>
                <a:gd name="connsiteY12" fmla="*/ 44270 h 44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91" h="44269">
                  <a:moveTo>
                    <a:pt x="13367" y="44270"/>
                  </a:moveTo>
                  <a:lnTo>
                    <a:pt x="13367" y="25924"/>
                  </a:lnTo>
                  <a:lnTo>
                    <a:pt x="0" y="25924"/>
                  </a:lnTo>
                  <a:lnTo>
                    <a:pt x="0" y="18213"/>
                  </a:lnTo>
                  <a:lnTo>
                    <a:pt x="13367" y="18213"/>
                  </a:lnTo>
                  <a:lnTo>
                    <a:pt x="13367" y="0"/>
                  </a:lnTo>
                  <a:lnTo>
                    <a:pt x="19124" y="0"/>
                  </a:lnTo>
                  <a:lnTo>
                    <a:pt x="19124" y="18213"/>
                  </a:lnTo>
                  <a:lnTo>
                    <a:pt x="32491" y="18213"/>
                  </a:lnTo>
                  <a:lnTo>
                    <a:pt x="32491" y="25924"/>
                  </a:lnTo>
                  <a:lnTo>
                    <a:pt x="19124" y="25924"/>
                  </a:lnTo>
                  <a:lnTo>
                    <a:pt x="19124" y="44270"/>
                  </a:lnTo>
                  <a:lnTo>
                    <a:pt x="13367" y="44270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01" name="Freihandform: Form 1000">
              <a:extLst>
                <a:ext uri="{FF2B5EF4-FFF2-40B4-BE49-F238E27FC236}">
                  <a16:creationId xmlns:a16="http://schemas.microsoft.com/office/drawing/2014/main" id="{0322FA96-A978-C146-D1A9-B2BA84E961E0}"/>
                </a:ext>
              </a:extLst>
            </p:cNvPr>
            <p:cNvSpPr/>
            <p:nvPr/>
          </p:nvSpPr>
          <p:spPr>
            <a:xfrm>
              <a:off x="10563090" y="2595556"/>
              <a:ext cx="32393" cy="44269"/>
            </a:xfrm>
            <a:custGeom>
              <a:avLst/>
              <a:gdLst>
                <a:gd name="connsiteX0" fmla="*/ 13367 w 32393"/>
                <a:gd name="connsiteY0" fmla="*/ 44270 h 44269"/>
                <a:gd name="connsiteX1" fmla="*/ 13367 w 32393"/>
                <a:gd name="connsiteY1" fmla="*/ 25924 h 44269"/>
                <a:gd name="connsiteX2" fmla="*/ 0 w 32393"/>
                <a:gd name="connsiteY2" fmla="*/ 25924 h 44269"/>
                <a:gd name="connsiteX3" fmla="*/ 0 w 32393"/>
                <a:gd name="connsiteY3" fmla="*/ 18213 h 44269"/>
                <a:gd name="connsiteX4" fmla="*/ 13367 w 32393"/>
                <a:gd name="connsiteY4" fmla="*/ 18213 h 44269"/>
                <a:gd name="connsiteX5" fmla="*/ 13367 w 32393"/>
                <a:gd name="connsiteY5" fmla="*/ 0 h 44269"/>
                <a:gd name="connsiteX6" fmla="*/ 19026 w 32393"/>
                <a:gd name="connsiteY6" fmla="*/ 0 h 44269"/>
                <a:gd name="connsiteX7" fmla="*/ 19026 w 32393"/>
                <a:gd name="connsiteY7" fmla="*/ 18213 h 44269"/>
                <a:gd name="connsiteX8" fmla="*/ 32394 w 32393"/>
                <a:gd name="connsiteY8" fmla="*/ 18213 h 44269"/>
                <a:gd name="connsiteX9" fmla="*/ 32394 w 32393"/>
                <a:gd name="connsiteY9" fmla="*/ 25924 h 44269"/>
                <a:gd name="connsiteX10" fmla="*/ 19026 w 32393"/>
                <a:gd name="connsiteY10" fmla="*/ 25924 h 44269"/>
                <a:gd name="connsiteX11" fmla="*/ 19026 w 32393"/>
                <a:gd name="connsiteY11" fmla="*/ 44270 h 44269"/>
                <a:gd name="connsiteX12" fmla="*/ 13367 w 32393"/>
                <a:gd name="connsiteY12" fmla="*/ 44270 h 44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393" h="44269">
                  <a:moveTo>
                    <a:pt x="13367" y="44270"/>
                  </a:moveTo>
                  <a:lnTo>
                    <a:pt x="13367" y="25924"/>
                  </a:lnTo>
                  <a:lnTo>
                    <a:pt x="0" y="25924"/>
                  </a:lnTo>
                  <a:lnTo>
                    <a:pt x="0" y="18213"/>
                  </a:lnTo>
                  <a:lnTo>
                    <a:pt x="13367" y="18213"/>
                  </a:lnTo>
                  <a:lnTo>
                    <a:pt x="13367" y="0"/>
                  </a:lnTo>
                  <a:lnTo>
                    <a:pt x="19026" y="0"/>
                  </a:lnTo>
                  <a:lnTo>
                    <a:pt x="19026" y="18213"/>
                  </a:lnTo>
                  <a:lnTo>
                    <a:pt x="32394" y="18213"/>
                  </a:lnTo>
                  <a:lnTo>
                    <a:pt x="32394" y="25924"/>
                  </a:lnTo>
                  <a:lnTo>
                    <a:pt x="19026" y="25924"/>
                  </a:lnTo>
                  <a:lnTo>
                    <a:pt x="19026" y="44270"/>
                  </a:lnTo>
                  <a:lnTo>
                    <a:pt x="13367" y="44270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02" name="Freihandform: Form 1001">
              <a:extLst>
                <a:ext uri="{FF2B5EF4-FFF2-40B4-BE49-F238E27FC236}">
                  <a16:creationId xmlns:a16="http://schemas.microsoft.com/office/drawing/2014/main" id="{7ACDA0B6-BC06-D1EB-9AF0-CFFF2B54E8D5}"/>
                </a:ext>
              </a:extLst>
            </p:cNvPr>
            <p:cNvSpPr/>
            <p:nvPr/>
          </p:nvSpPr>
          <p:spPr>
            <a:xfrm>
              <a:off x="10619486" y="2595556"/>
              <a:ext cx="32393" cy="44269"/>
            </a:xfrm>
            <a:custGeom>
              <a:avLst/>
              <a:gdLst>
                <a:gd name="connsiteX0" fmla="*/ 13367 w 32393"/>
                <a:gd name="connsiteY0" fmla="*/ 44270 h 44269"/>
                <a:gd name="connsiteX1" fmla="*/ 13367 w 32393"/>
                <a:gd name="connsiteY1" fmla="*/ 25924 h 44269"/>
                <a:gd name="connsiteX2" fmla="*/ 0 w 32393"/>
                <a:gd name="connsiteY2" fmla="*/ 25924 h 44269"/>
                <a:gd name="connsiteX3" fmla="*/ 0 w 32393"/>
                <a:gd name="connsiteY3" fmla="*/ 18213 h 44269"/>
                <a:gd name="connsiteX4" fmla="*/ 13367 w 32393"/>
                <a:gd name="connsiteY4" fmla="*/ 18213 h 44269"/>
                <a:gd name="connsiteX5" fmla="*/ 13367 w 32393"/>
                <a:gd name="connsiteY5" fmla="*/ 0 h 44269"/>
                <a:gd name="connsiteX6" fmla="*/ 19026 w 32393"/>
                <a:gd name="connsiteY6" fmla="*/ 0 h 44269"/>
                <a:gd name="connsiteX7" fmla="*/ 19026 w 32393"/>
                <a:gd name="connsiteY7" fmla="*/ 18213 h 44269"/>
                <a:gd name="connsiteX8" fmla="*/ 32394 w 32393"/>
                <a:gd name="connsiteY8" fmla="*/ 18213 h 44269"/>
                <a:gd name="connsiteX9" fmla="*/ 32394 w 32393"/>
                <a:gd name="connsiteY9" fmla="*/ 25924 h 44269"/>
                <a:gd name="connsiteX10" fmla="*/ 19026 w 32393"/>
                <a:gd name="connsiteY10" fmla="*/ 25924 h 44269"/>
                <a:gd name="connsiteX11" fmla="*/ 19026 w 32393"/>
                <a:gd name="connsiteY11" fmla="*/ 44270 h 44269"/>
                <a:gd name="connsiteX12" fmla="*/ 13367 w 32393"/>
                <a:gd name="connsiteY12" fmla="*/ 44270 h 44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393" h="44269">
                  <a:moveTo>
                    <a:pt x="13367" y="44270"/>
                  </a:moveTo>
                  <a:lnTo>
                    <a:pt x="13367" y="25924"/>
                  </a:lnTo>
                  <a:lnTo>
                    <a:pt x="0" y="25924"/>
                  </a:lnTo>
                  <a:lnTo>
                    <a:pt x="0" y="18213"/>
                  </a:lnTo>
                  <a:lnTo>
                    <a:pt x="13367" y="18213"/>
                  </a:lnTo>
                  <a:lnTo>
                    <a:pt x="13367" y="0"/>
                  </a:lnTo>
                  <a:lnTo>
                    <a:pt x="19026" y="0"/>
                  </a:lnTo>
                  <a:lnTo>
                    <a:pt x="19026" y="18213"/>
                  </a:lnTo>
                  <a:lnTo>
                    <a:pt x="32394" y="18213"/>
                  </a:lnTo>
                  <a:lnTo>
                    <a:pt x="32394" y="25924"/>
                  </a:lnTo>
                  <a:lnTo>
                    <a:pt x="19026" y="25924"/>
                  </a:lnTo>
                  <a:lnTo>
                    <a:pt x="19026" y="44270"/>
                  </a:lnTo>
                  <a:lnTo>
                    <a:pt x="13367" y="44270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03" name="Freihandform: Form 1002">
              <a:extLst>
                <a:ext uri="{FF2B5EF4-FFF2-40B4-BE49-F238E27FC236}">
                  <a16:creationId xmlns:a16="http://schemas.microsoft.com/office/drawing/2014/main" id="{A5744374-82F2-8598-98C7-F2A1BB3EE27F}"/>
                </a:ext>
              </a:extLst>
            </p:cNvPr>
            <p:cNvSpPr/>
            <p:nvPr/>
          </p:nvSpPr>
          <p:spPr>
            <a:xfrm>
              <a:off x="10634121" y="2595556"/>
              <a:ext cx="32491" cy="44269"/>
            </a:xfrm>
            <a:custGeom>
              <a:avLst/>
              <a:gdLst>
                <a:gd name="connsiteX0" fmla="*/ 13465 w 32491"/>
                <a:gd name="connsiteY0" fmla="*/ 44270 h 44269"/>
                <a:gd name="connsiteX1" fmla="*/ 13465 w 32491"/>
                <a:gd name="connsiteY1" fmla="*/ 25924 h 44269"/>
                <a:gd name="connsiteX2" fmla="*/ 0 w 32491"/>
                <a:gd name="connsiteY2" fmla="*/ 25924 h 44269"/>
                <a:gd name="connsiteX3" fmla="*/ 0 w 32491"/>
                <a:gd name="connsiteY3" fmla="*/ 18213 h 44269"/>
                <a:gd name="connsiteX4" fmla="*/ 13465 w 32491"/>
                <a:gd name="connsiteY4" fmla="*/ 18213 h 44269"/>
                <a:gd name="connsiteX5" fmla="*/ 13465 w 32491"/>
                <a:gd name="connsiteY5" fmla="*/ 0 h 44269"/>
                <a:gd name="connsiteX6" fmla="*/ 19124 w 32491"/>
                <a:gd name="connsiteY6" fmla="*/ 0 h 44269"/>
                <a:gd name="connsiteX7" fmla="*/ 19124 w 32491"/>
                <a:gd name="connsiteY7" fmla="*/ 18213 h 44269"/>
                <a:gd name="connsiteX8" fmla="*/ 32491 w 32491"/>
                <a:gd name="connsiteY8" fmla="*/ 18213 h 44269"/>
                <a:gd name="connsiteX9" fmla="*/ 32491 w 32491"/>
                <a:gd name="connsiteY9" fmla="*/ 25924 h 44269"/>
                <a:gd name="connsiteX10" fmla="*/ 19124 w 32491"/>
                <a:gd name="connsiteY10" fmla="*/ 25924 h 44269"/>
                <a:gd name="connsiteX11" fmla="*/ 19124 w 32491"/>
                <a:gd name="connsiteY11" fmla="*/ 44270 h 44269"/>
                <a:gd name="connsiteX12" fmla="*/ 13465 w 32491"/>
                <a:gd name="connsiteY12" fmla="*/ 44270 h 44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91" h="44269">
                  <a:moveTo>
                    <a:pt x="13465" y="44270"/>
                  </a:moveTo>
                  <a:lnTo>
                    <a:pt x="13465" y="25924"/>
                  </a:lnTo>
                  <a:lnTo>
                    <a:pt x="0" y="25924"/>
                  </a:lnTo>
                  <a:lnTo>
                    <a:pt x="0" y="18213"/>
                  </a:lnTo>
                  <a:lnTo>
                    <a:pt x="13465" y="18213"/>
                  </a:lnTo>
                  <a:lnTo>
                    <a:pt x="13465" y="0"/>
                  </a:lnTo>
                  <a:lnTo>
                    <a:pt x="19124" y="0"/>
                  </a:lnTo>
                  <a:lnTo>
                    <a:pt x="19124" y="18213"/>
                  </a:lnTo>
                  <a:lnTo>
                    <a:pt x="32491" y="18213"/>
                  </a:lnTo>
                  <a:lnTo>
                    <a:pt x="32491" y="25924"/>
                  </a:lnTo>
                  <a:lnTo>
                    <a:pt x="19124" y="25924"/>
                  </a:lnTo>
                  <a:lnTo>
                    <a:pt x="19124" y="44270"/>
                  </a:lnTo>
                  <a:lnTo>
                    <a:pt x="13465" y="44270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04" name="Freihandform: Form 1003">
              <a:extLst>
                <a:ext uri="{FF2B5EF4-FFF2-40B4-BE49-F238E27FC236}">
                  <a16:creationId xmlns:a16="http://schemas.microsoft.com/office/drawing/2014/main" id="{CB3723FE-005A-493A-3D7B-1D13A118C450}"/>
                </a:ext>
              </a:extLst>
            </p:cNvPr>
            <p:cNvSpPr/>
            <p:nvPr/>
          </p:nvSpPr>
          <p:spPr>
            <a:xfrm>
              <a:off x="10639097" y="2595556"/>
              <a:ext cx="32393" cy="44269"/>
            </a:xfrm>
            <a:custGeom>
              <a:avLst/>
              <a:gdLst>
                <a:gd name="connsiteX0" fmla="*/ 13367 w 32393"/>
                <a:gd name="connsiteY0" fmla="*/ 44270 h 44269"/>
                <a:gd name="connsiteX1" fmla="*/ 13367 w 32393"/>
                <a:gd name="connsiteY1" fmla="*/ 25924 h 44269"/>
                <a:gd name="connsiteX2" fmla="*/ 0 w 32393"/>
                <a:gd name="connsiteY2" fmla="*/ 25924 h 44269"/>
                <a:gd name="connsiteX3" fmla="*/ 0 w 32393"/>
                <a:gd name="connsiteY3" fmla="*/ 18213 h 44269"/>
                <a:gd name="connsiteX4" fmla="*/ 13367 w 32393"/>
                <a:gd name="connsiteY4" fmla="*/ 18213 h 44269"/>
                <a:gd name="connsiteX5" fmla="*/ 13367 w 32393"/>
                <a:gd name="connsiteY5" fmla="*/ 0 h 44269"/>
                <a:gd name="connsiteX6" fmla="*/ 19026 w 32393"/>
                <a:gd name="connsiteY6" fmla="*/ 0 h 44269"/>
                <a:gd name="connsiteX7" fmla="*/ 19026 w 32393"/>
                <a:gd name="connsiteY7" fmla="*/ 18213 h 44269"/>
                <a:gd name="connsiteX8" fmla="*/ 32394 w 32393"/>
                <a:gd name="connsiteY8" fmla="*/ 18213 h 44269"/>
                <a:gd name="connsiteX9" fmla="*/ 32394 w 32393"/>
                <a:gd name="connsiteY9" fmla="*/ 25924 h 44269"/>
                <a:gd name="connsiteX10" fmla="*/ 19026 w 32393"/>
                <a:gd name="connsiteY10" fmla="*/ 25924 h 44269"/>
                <a:gd name="connsiteX11" fmla="*/ 19026 w 32393"/>
                <a:gd name="connsiteY11" fmla="*/ 44270 h 44269"/>
                <a:gd name="connsiteX12" fmla="*/ 13367 w 32393"/>
                <a:gd name="connsiteY12" fmla="*/ 44270 h 44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393" h="44269">
                  <a:moveTo>
                    <a:pt x="13367" y="44270"/>
                  </a:moveTo>
                  <a:lnTo>
                    <a:pt x="13367" y="25924"/>
                  </a:lnTo>
                  <a:lnTo>
                    <a:pt x="0" y="25924"/>
                  </a:lnTo>
                  <a:lnTo>
                    <a:pt x="0" y="18213"/>
                  </a:lnTo>
                  <a:lnTo>
                    <a:pt x="13367" y="18213"/>
                  </a:lnTo>
                  <a:lnTo>
                    <a:pt x="13367" y="0"/>
                  </a:lnTo>
                  <a:lnTo>
                    <a:pt x="19026" y="0"/>
                  </a:lnTo>
                  <a:lnTo>
                    <a:pt x="19026" y="18213"/>
                  </a:lnTo>
                  <a:lnTo>
                    <a:pt x="32394" y="18213"/>
                  </a:lnTo>
                  <a:lnTo>
                    <a:pt x="32394" y="25924"/>
                  </a:lnTo>
                  <a:lnTo>
                    <a:pt x="19026" y="25924"/>
                  </a:lnTo>
                  <a:lnTo>
                    <a:pt x="19026" y="44270"/>
                  </a:lnTo>
                  <a:lnTo>
                    <a:pt x="13367" y="44270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05" name="Freihandform: Form 1004">
              <a:extLst>
                <a:ext uri="{FF2B5EF4-FFF2-40B4-BE49-F238E27FC236}">
                  <a16:creationId xmlns:a16="http://schemas.microsoft.com/office/drawing/2014/main" id="{743F77C4-D7E3-FC30-C09E-AF54CF4F26AD}"/>
                </a:ext>
              </a:extLst>
            </p:cNvPr>
            <p:cNvSpPr/>
            <p:nvPr/>
          </p:nvSpPr>
          <p:spPr>
            <a:xfrm>
              <a:off x="10651294" y="2595556"/>
              <a:ext cx="32491" cy="44269"/>
            </a:xfrm>
            <a:custGeom>
              <a:avLst/>
              <a:gdLst>
                <a:gd name="connsiteX0" fmla="*/ 13465 w 32491"/>
                <a:gd name="connsiteY0" fmla="*/ 44270 h 44269"/>
                <a:gd name="connsiteX1" fmla="*/ 13465 w 32491"/>
                <a:gd name="connsiteY1" fmla="*/ 25924 h 44269"/>
                <a:gd name="connsiteX2" fmla="*/ 0 w 32491"/>
                <a:gd name="connsiteY2" fmla="*/ 25924 h 44269"/>
                <a:gd name="connsiteX3" fmla="*/ 0 w 32491"/>
                <a:gd name="connsiteY3" fmla="*/ 18213 h 44269"/>
                <a:gd name="connsiteX4" fmla="*/ 13465 w 32491"/>
                <a:gd name="connsiteY4" fmla="*/ 18213 h 44269"/>
                <a:gd name="connsiteX5" fmla="*/ 13465 w 32491"/>
                <a:gd name="connsiteY5" fmla="*/ 0 h 44269"/>
                <a:gd name="connsiteX6" fmla="*/ 19124 w 32491"/>
                <a:gd name="connsiteY6" fmla="*/ 0 h 44269"/>
                <a:gd name="connsiteX7" fmla="*/ 19124 w 32491"/>
                <a:gd name="connsiteY7" fmla="*/ 18213 h 44269"/>
                <a:gd name="connsiteX8" fmla="*/ 32491 w 32491"/>
                <a:gd name="connsiteY8" fmla="*/ 18213 h 44269"/>
                <a:gd name="connsiteX9" fmla="*/ 32491 w 32491"/>
                <a:gd name="connsiteY9" fmla="*/ 25924 h 44269"/>
                <a:gd name="connsiteX10" fmla="*/ 19124 w 32491"/>
                <a:gd name="connsiteY10" fmla="*/ 25924 h 44269"/>
                <a:gd name="connsiteX11" fmla="*/ 19124 w 32491"/>
                <a:gd name="connsiteY11" fmla="*/ 44270 h 44269"/>
                <a:gd name="connsiteX12" fmla="*/ 13465 w 32491"/>
                <a:gd name="connsiteY12" fmla="*/ 44270 h 44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91" h="44269">
                  <a:moveTo>
                    <a:pt x="13465" y="44270"/>
                  </a:moveTo>
                  <a:lnTo>
                    <a:pt x="13465" y="25924"/>
                  </a:lnTo>
                  <a:lnTo>
                    <a:pt x="0" y="25924"/>
                  </a:lnTo>
                  <a:lnTo>
                    <a:pt x="0" y="18213"/>
                  </a:lnTo>
                  <a:lnTo>
                    <a:pt x="13465" y="18213"/>
                  </a:lnTo>
                  <a:lnTo>
                    <a:pt x="13465" y="0"/>
                  </a:lnTo>
                  <a:lnTo>
                    <a:pt x="19124" y="0"/>
                  </a:lnTo>
                  <a:lnTo>
                    <a:pt x="19124" y="18213"/>
                  </a:lnTo>
                  <a:lnTo>
                    <a:pt x="32491" y="18213"/>
                  </a:lnTo>
                  <a:lnTo>
                    <a:pt x="32491" y="25924"/>
                  </a:lnTo>
                  <a:lnTo>
                    <a:pt x="19124" y="25924"/>
                  </a:lnTo>
                  <a:lnTo>
                    <a:pt x="19124" y="44270"/>
                  </a:lnTo>
                  <a:lnTo>
                    <a:pt x="13465" y="44270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06" name="Freihandform: Form 1005">
              <a:extLst>
                <a:ext uri="{FF2B5EF4-FFF2-40B4-BE49-F238E27FC236}">
                  <a16:creationId xmlns:a16="http://schemas.microsoft.com/office/drawing/2014/main" id="{A9F80059-91AD-E69A-3FEC-6A98A118FE94}"/>
                </a:ext>
              </a:extLst>
            </p:cNvPr>
            <p:cNvSpPr/>
            <p:nvPr/>
          </p:nvSpPr>
          <p:spPr>
            <a:xfrm>
              <a:off x="10656270" y="2595556"/>
              <a:ext cx="32491" cy="44269"/>
            </a:xfrm>
            <a:custGeom>
              <a:avLst/>
              <a:gdLst>
                <a:gd name="connsiteX0" fmla="*/ 13367 w 32491"/>
                <a:gd name="connsiteY0" fmla="*/ 44270 h 44269"/>
                <a:gd name="connsiteX1" fmla="*/ 13367 w 32491"/>
                <a:gd name="connsiteY1" fmla="*/ 25924 h 44269"/>
                <a:gd name="connsiteX2" fmla="*/ 0 w 32491"/>
                <a:gd name="connsiteY2" fmla="*/ 25924 h 44269"/>
                <a:gd name="connsiteX3" fmla="*/ 0 w 32491"/>
                <a:gd name="connsiteY3" fmla="*/ 18213 h 44269"/>
                <a:gd name="connsiteX4" fmla="*/ 13367 w 32491"/>
                <a:gd name="connsiteY4" fmla="*/ 18213 h 44269"/>
                <a:gd name="connsiteX5" fmla="*/ 13367 w 32491"/>
                <a:gd name="connsiteY5" fmla="*/ 0 h 44269"/>
                <a:gd name="connsiteX6" fmla="*/ 19026 w 32491"/>
                <a:gd name="connsiteY6" fmla="*/ 0 h 44269"/>
                <a:gd name="connsiteX7" fmla="*/ 19026 w 32491"/>
                <a:gd name="connsiteY7" fmla="*/ 18213 h 44269"/>
                <a:gd name="connsiteX8" fmla="*/ 32491 w 32491"/>
                <a:gd name="connsiteY8" fmla="*/ 18213 h 44269"/>
                <a:gd name="connsiteX9" fmla="*/ 32491 w 32491"/>
                <a:gd name="connsiteY9" fmla="*/ 25924 h 44269"/>
                <a:gd name="connsiteX10" fmla="*/ 19026 w 32491"/>
                <a:gd name="connsiteY10" fmla="*/ 25924 h 44269"/>
                <a:gd name="connsiteX11" fmla="*/ 19026 w 32491"/>
                <a:gd name="connsiteY11" fmla="*/ 44270 h 44269"/>
                <a:gd name="connsiteX12" fmla="*/ 13367 w 32491"/>
                <a:gd name="connsiteY12" fmla="*/ 44270 h 44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91" h="44269">
                  <a:moveTo>
                    <a:pt x="13367" y="44270"/>
                  </a:moveTo>
                  <a:lnTo>
                    <a:pt x="13367" y="25924"/>
                  </a:lnTo>
                  <a:lnTo>
                    <a:pt x="0" y="25924"/>
                  </a:lnTo>
                  <a:lnTo>
                    <a:pt x="0" y="18213"/>
                  </a:lnTo>
                  <a:lnTo>
                    <a:pt x="13367" y="18213"/>
                  </a:lnTo>
                  <a:lnTo>
                    <a:pt x="13367" y="0"/>
                  </a:lnTo>
                  <a:lnTo>
                    <a:pt x="19026" y="0"/>
                  </a:lnTo>
                  <a:lnTo>
                    <a:pt x="19026" y="18213"/>
                  </a:lnTo>
                  <a:lnTo>
                    <a:pt x="32491" y="18213"/>
                  </a:lnTo>
                  <a:lnTo>
                    <a:pt x="32491" y="25924"/>
                  </a:lnTo>
                  <a:lnTo>
                    <a:pt x="19026" y="25924"/>
                  </a:lnTo>
                  <a:lnTo>
                    <a:pt x="19026" y="44270"/>
                  </a:lnTo>
                  <a:lnTo>
                    <a:pt x="13367" y="44270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07" name="Freihandform: Form 1006">
              <a:extLst>
                <a:ext uri="{FF2B5EF4-FFF2-40B4-BE49-F238E27FC236}">
                  <a16:creationId xmlns:a16="http://schemas.microsoft.com/office/drawing/2014/main" id="{7DE8C593-1502-0063-16A3-9CF0FA105ADD}"/>
                </a:ext>
              </a:extLst>
            </p:cNvPr>
            <p:cNvSpPr/>
            <p:nvPr/>
          </p:nvSpPr>
          <p:spPr>
            <a:xfrm>
              <a:off x="10692957" y="2595556"/>
              <a:ext cx="32491" cy="44269"/>
            </a:xfrm>
            <a:custGeom>
              <a:avLst/>
              <a:gdLst>
                <a:gd name="connsiteX0" fmla="*/ 13465 w 32491"/>
                <a:gd name="connsiteY0" fmla="*/ 44270 h 44269"/>
                <a:gd name="connsiteX1" fmla="*/ 13465 w 32491"/>
                <a:gd name="connsiteY1" fmla="*/ 25924 h 44269"/>
                <a:gd name="connsiteX2" fmla="*/ 0 w 32491"/>
                <a:gd name="connsiteY2" fmla="*/ 25924 h 44269"/>
                <a:gd name="connsiteX3" fmla="*/ 0 w 32491"/>
                <a:gd name="connsiteY3" fmla="*/ 18213 h 44269"/>
                <a:gd name="connsiteX4" fmla="*/ 13465 w 32491"/>
                <a:gd name="connsiteY4" fmla="*/ 18213 h 44269"/>
                <a:gd name="connsiteX5" fmla="*/ 13465 w 32491"/>
                <a:gd name="connsiteY5" fmla="*/ 0 h 44269"/>
                <a:gd name="connsiteX6" fmla="*/ 19124 w 32491"/>
                <a:gd name="connsiteY6" fmla="*/ 0 h 44269"/>
                <a:gd name="connsiteX7" fmla="*/ 19124 w 32491"/>
                <a:gd name="connsiteY7" fmla="*/ 18213 h 44269"/>
                <a:gd name="connsiteX8" fmla="*/ 32491 w 32491"/>
                <a:gd name="connsiteY8" fmla="*/ 18213 h 44269"/>
                <a:gd name="connsiteX9" fmla="*/ 32491 w 32491"/>
                <a:gd name="connsiteY9" fmla="*/ 25924 h 44269"/>
                <a:gd name="connsiteX10" fmla="*/ 19124 w 32491"/>
                <a:gd name="connsiteY10" fmla="*/ 25924 h 44269"/>
                <a:gd name="connsiteX11" fmla="*/ 19124 w 32491"/>
                <a:gd name="connsiteY11" fmla="*/ 44270 h 44269"/>
                <a:gd name="connsiteX12" fmla="*/ 13465 w 32491"/>
                <a:gd name="connsiteY12" fmla="*/ 44270 h 44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91" h="44269">
                  <a:moveTo>
                    <a:pt x="13465" y="44270"/>
                  </a:moveTo>
                  <a:lnTo>
                    <a:pt x="13465" y="25924"/>
                  </a:lnTo>
                  <a:lnTo>
                    <a:pt x="0" y="25924"/>
                  </a:lnTo>
                  <a:lnTo>
                    <a:pt x="0" y="18213"/>
                  </a:lnTo>
                  <a:lnTo>
                    <a:pt x="13465" y="18213"/>
                  </a:lnTo>
                  <a:lnTo>
                    <a:pt x="13465" y="0"/>
                  </a:lnTo>
                  <a:lnTo>
                    <a:pt x="19124" y="0"/>
                  </a:lnTo>
                  <a:lnTo>
                    <a:pt x="19124" y="18213"/>
                  </a:lnTo>
                  <a:lnTo>
                    <a:pt x="32491" y="18213"/>
                  </a:lnTo>
                  <a:lnTo>
                    <a:pt x="32491" y="25924"/>
                  </a:lnTo>
                  <a:lnTo>
                    <a:pt x="19124" y="25924"/>
                  </a:lnTo>
                  <a:lnTo>
                    <a:pt x="19124" y="44270"/>
                  </a:lnTo>
                  <a:lnTo>
                    <a:pt x="13465" y="44270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08" name="Freihandform: Form 1007">
              <a:extLst>
                <a:ext uri="{FF2B5EF4-FFF2-40B4-BE49-F238E27FC236}">
                  <a16:creationId xmlns:a16="http://schemas.microsoft.com/office/drawing/2014/main" id="{5537B6C0-2802-E920-36A9-378D043B81F2}"/>
                </a:ext>
              </a:extLst>
            </p:cNvPr>
            <p:cNvSpPr/>
            <p:nvPr/>
          </p:nvSpPr>
          <p:spPr>
            <a:xfrm>
              <a:off x="10712568" y="2595556"/>
              <a:ext cx="32491" cy="44269"/>
            </a:xfrm>
            <a:custGeom>
              <a:avLst/>
              <a:gdLst>
                <a:gd name="connsiteX0" fmla="*/ 13465 w 32491"/>
                <a:gd name="connsiteY0" fmla="*/ 44270 h 44269"/>
                <a:gd name="connsiteX1" fmla="*/ 13465 w 32491"/>
                <a:gd name="connsiteY1" fmla="*/ 25924 h 44269"/>
                <a:gd name="connsiteX2" fmla="*/ 0 w 32491"/>
                <a:gd name="connsiteY2" fmla="*/ 25924 h 44269"/>
                <a:gd name="connsiteX3" fmla="*/ 0 w 32491"/>
                <a:gd name="connsiteY3" fmla="*/ 18213 h 44269"/>
                <a:gd name="connsiteX4" fmla="*/ 13465 w 32491"/>
                <a:gd name="connsiteY4" fmla="*/ 18213 h 44269"/>
                <a:gd name="connsiteX5" fmla="*/ 13465 w 32491"/>
                <a:gd name="connsiteY5" fmla="*/ 0 h 44269"/>
                <a:gd name="connsiteX6" fmla="*/ 19124 w 32491"/>
                <a:gd name="connsiteY6" fmla="*/ 0 h 44269"/>
                <a:gd name="connsiteX7" fmla="*/ 19124 w 32491"/>
                <a:gd name="connsiteY7" fmla="*/ 18213 h 44269"/>
                <a:gd name="connsiteX8" fmla="*/ 32491 w 32491"/>
                <a:gd name="connsiteY8" fmla="*/ 18213 h 44269"/>
                <a:gd name="connsiteX9" fmla="*/ 32491 w 32491"/>
                <a:gd name="connsiteY9" fmla="*/ 25924 h 44269"/>
                <a:gd name="connsiteX10" fmla="*/ 19124 w 32491"/>
                <a:gd name="connsiteY10" fmla="*/ 25924 h 44269"/>
                <a:gd name="connsiteX11" fmla="*/ 19124 w 32491"/>
                <a:gd name="connsiteY11" fmla="*/ 44270 h 44269"/>
                <a:gd name="connsiteX12" fmla="*/ 13465 w 32491"/>
                <a:gd name="connsiteY12" fmla="*/ 44270 h 44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91" h="44269">
                  <a:moveTo>
                    <a:pt x="13465" y="44270"/>
                  </a:moveTo>
                  <a:lnTo>
                    <a:pt x="13465" y="25924"/>
                  </a:lnTo>
                  <a:lnTo>
                    <a:pt x="0" y="25924"/>
                  </a:lnTo>
                  <a:lnTo>
                    <a:pt x="0" y="18213"/>
                  </a:lnTo>
                  <a:lnTo>
                    <a:pt x="13465" y="18213"/>
                  </a:lnTo>
                  <a:lnTo>
                    <a:pt x="13465" y="0"/>
                  </a:lnTo>
                  <a:lnTo>
                    <a:pt x="19124" y="0"/>
                  </a:lnTo>
                  <a:lnTo>
                    <a:pt x="19124" y="18213"/>
                  </a:lnTo>
                  <a:lnTo>
                    <a:pt x="32491" y="18213"/>
                  </a:lnTo>
                  <a:lnTo>
                    <a:pt x="32491" y="25924"/>
                  </a:lnTo>
                  <a:lnTo>
                    <a:pt x="19124" y="25924"/>
                  </a:lnTo>
                  <a:lnTo>
                    <a:pt x="19124" y="44270"/>
                  </a:lnTo>
                  <a:lnTo>
                    <a:pt x="13465" y="44270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09" name="Freihandform: Form 1008">
              <a:extLst>
                <a:ext uri="{FF2B5EF4-FFF2-40B4-BE49-F238E27FC236}">
                  <a16:creationId xmlns:a16="http://schemas.microsoft.com/office/drawing/2014/main" id="{3C8662D8-C432-A5A2-F7CE-F1104A50775E}"/>
                </a:ext>
              </a:extLst>
            </p:cNvPr>
            <p:cNvSpPr/>
            <p:nvPr/>
          </p:nvSpPr>
          <p:spPr>
            <a:xfrm>
              <a:off x="10727302" y="2595556"/>
              <a:ext cx="32491" cy="44269"/>
            </a:xfrm>
            <a:custGeom>
              <a:avLst/>
              <a:gdLst>
                <a:gd name="connsiteX0" fmla="*/ 13465 w 32491"/>
                <a:gd name="connsiteY0" fmla="*/ 44270 h 44269"/>
                <a:gd name="connsiteX1" fmla="*/ 13465 w 32491"/>
                <a:gd name="connsiteY1" fmla="*/ 25924 h 44269"/>
                <a:gd name="connsiteX2" fmla="*/ 0 w 32491"/>
                <a:gd name="connsiteY2" fmla="*/ 25924 h 44269"/>
                <a:gd name="connsiteX3" fmla="*/ 0 w 32491"/>
                <a:gd name="connsiteY3" fmla="*/ 18213 h 44269"/>
                <a:gd name="connsiteX4" fmla="*/ 13465 w 32491"/>
                <a:gd name="connsiteY4" fmla="*/ 18213 h 44269"/>
                <a:gd name="connsiteX5" fmla="*/ 13465 w 32491"/>
                <a:gd name="connsiteY5" fmla="*/ 0 h 44269"/>
                <a:gd name="connsiteX6" fmla="*/ 19124 w 32491"/>
                <a:gd name="connsiteY6" fmla="*/ 0 h 44269"/>
                <a:gd name="connsiteX7" fmla="*/ 19124 w 32491"/>
                <a:gd name="connsiteY7" fmla="*/ 18213 h 44269"/>
                <a:gd name="connsiteX8" fmla="*/ 32491 w 32491"/>
                <a:gd name="connsiteY8" fmla="*/ 18213 h 44269"/>
                <a:gd name="connsiteX9" fmla="*/ 32491 w 32491"/>
                <a:gd name="connsiteY9" fmla="*/ 25924 h 44269"/>
                <a:gd name="connsiteX10" fmla="*/ 19124 w 32491"/>
                <a:gd name="connsiteY10" fmla="*/ 25924 h 44269"/>
                <a:gd name="connsiteX11" fmla="*/ 19124 w 32491"/>
                <a:gd name="connsiteY11" fmla="*/ 44270 h 44269"/>
                <a:gd name="connsiteX12" fmla="*/ 13465 w 32491"/>
                <a:gd name="connsiteY12" fmla="*/ 44270 h 44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91" h="44269">
                  <a:moveTo>
                    <a:pt x="13465" y="44270"/>
                  </a:moveTo>
                  <a:lnTo>
                    <a:pt x="13465" y="25924"/>
                  </a:lnTo>
                  <a:lnTo>
                    <a:pt x="0" y="25924"/>
                  </a:lnTo>
                  <a:lnTo>
                    <a:pt x="0" y="18213"/>
                  </a:lnTo>
                  <a:lnTo>
                    <a:pt x="13465" y="18213"/>
                  </a:lnTo>
                  <a:lnTo>
                    <a:pt x="13465" y="0"/>
                  </a:lnTo>
                  <a:lnTo>
                    <a:pt x="19124" y="0"/>
                  </a:lnTo>
                  <a:lnTo>
                    <a:pt x="19124" y="18213"/>
                  </a:lnTo>
                  <a:lnTo>
                    <a:pt x="32491" y="18213"/>
                  </a:lnTo>
                  <a:lnTo>
                    <a:pt x="32491" y="25924"/>
                  </a:lnTo>
                  <a:lnTo>
                    <a:pt x="19124" y="25924"/>
                  </a:lnTo>
                  <a:lnTo>
                    <a:pt x="19124" y="44270"/>
                  </a:lnTo>
                  <a:lnTo>
                    <a:pt x="13465" y="44270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10" name="Freihandform: Form 1009">
              <a:extLst>
                <a:ext uri="{FF2B5EF4-FFF2-40B4-BE49-F238E27FC236}">
                  <a16:creationId xmlns:a16="http://schemas.microsoft.com/office/drawing/2014/main" id="{4E594FF3-FDD7-9837-C415-411B93837E71}"/>
                </a:ext>
              </a:extLst>
            </p:cNvPr>
            <p:cNvSpPr/>
            <p:nvPr/>
          </p:nvSpPr>
          <p:spPr>
            <a:xfrm>
              <a:off x="10773941" y="2595556"/>
              <a:ext cx="32393" cy="44269"/>
            </a:xfrm>
            <a:custGeom>
              <a:avLst/>
              <a:gdLst>
                <a:gd name="connsiteX0" fmla="*/ 13367 w 32393"/>
                <a:gd name="connsiteY0" fmla="*/ 44270 h 44269"/>
                <a:gd name="connsiteX1" fmla="*/ 13367 w 32393"/>
                <a:gd name="connsiteY1" fmla="*/ 25924 h 44269"/>
                <a:gd name="connsiteX2" fmla="*/ 0 w 32393"/>
                <a:gd name="connsiteY2" fmla="*/ 25924 h 44269"/>
                <a:gd name="connsiteX3" fmla="*/ 0 w 32393"/>
                <a:gd name="connsiteY3" fmla="*/ 18213 h 44269"/>
                <a:gd name="connsiteX4" fmla="*/ 13367 w 32393"/>
                <a:gd name="connsiteY4" fmla="*/ 18213 h 44269"/>
                <a:gd name="connsiteX5" fmla="*/ 13367 w 32393"/>
                <a:gd name="connsiteY5" fmla="*/ 0 h 44269"/>
                <a:gd name="connsiteX6" fmla="*/ 19026 w 32393"/>
                <a:gd name="connsiteY6" fmla="*/ 0 h 44269"/>
                <a:gd name="connsiteX7" fmla="*/ 19026 w 32393"/>
                <a:gd name="connsiteY7" fmla="*/ 18213 h 44269"/>
                <a:gd name="connsiteX8" fmla="*/ 32394 w 32393"/>
                <a:gd name="connsiteY8" fmla="*/ 18213 h 44269"/>
                <a:gd name="connsiteX9" fmla="*/ 32394 w 32393"/>
                <a:gd name="connsiteY9" fmla="*/ 25924 h 44269"/>
                <a:gd name="connsiteX10" fmla="*/ 19026 w 32393"/>
                <a:gd name="connsiteY10" fmla="*/ 25924 h 44269"/>
                <a:gd name="connsiteX11" fmla="*/ 19026 w 32393"/>
                <a:gd name="connsiteY11" fmla="*/ 44270 h 44269"/>
                <a:gd name="connsiteX12" fmla="*/ 13367 w 32393"/>
                <a:gd name="connsiteY12" fmla="*/ 44270 h 44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393" h="44269">
                  <a:moveTo>
                    <a:pt x="13367" y="44270"/>
                  </a:moveTo>
                  <a:lnTo>
                    <a:pt x="13367" y="25924"/>
                  </a:lnTo>
                  <a:lnTo>
                    <a:pt x="0" y="25924"/>
                  </a:lnTo>
                  <a:lnTo>
                    <a:pt x="0" y="18213"/>
                  </a:lnTo>
                  <a:lnTo>
                    <a:pt x="13367" y="18213"/>
                  </a:lnTo>
                  <a:lnTo>
                    <a:pt x="13367" y="0"/>
                  </a:lnTo>
                  <a:lnTo>
                    <a:pt x="19026" y="0"/>
                  </a:lnTo>
                  <a:lnTo>
                    <a:pt x="19026" y="18213"/>
                  </a:lnTo>
                  <a:lnTo>
                    <a:pt x="32394" y="18213"/>
                  </a:lnTo>
                  <a:lnTo>
                    <a:pt x="32394" y="25924"/>
                  </a:lnTo>
                  <a:lnTo>
                    <a:pt x="19026" y="25924"/>
                  </a:lnTo>
                  <a:lnTo>
                    <a:pt x="19026" y="44270"/>
                  </a:lnTo>
                  <a:lnTo>
                    <a:pt x="13367" y="44270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11" name="Freihandform: Form 1010">
              <a:extLst>
                <a:ext uri="{FF2B5EF4-FFF2-40B4-BE49-F238E27FC236}">
                  <a16:creationId xmlns:a16="http://schemas.microsoft.com/office/drawing/2014/main" id="{0739EF0E-9676-F641-11B4-1B478FAB0C39}"/>
                </a:ext>
              </a:extLst>
            </p:cNvPr>
            <p:cNvSpPr/>
            <p:nvPr/>
          </p:nvSpPr>
          <p:spPr>
            <a:xfrm>
              <a:off x="10825361" y="2595556"/>
              <a:ext cx="32491" cy="44269"/>
            </a:xfrm>
            <a:custGeom>
              <a:avLst/>
              <a:gdLst>
                <a:gd name="connsiteX0" fmla="*/ 13367 w 32491"/>
                <a:gd name="connsiteY0" fmla="*/ 44270 h 44269"/>
                <a:gd name="connsiteX1" fmla="*/ 13367 w 32491"/>
                <a:gd name="connsiteY1" fmla="*/ 25924 h 44269"/>
                <a:gd name="connsiteX2" fmla="*/ 0 w 32491"/>
                <a:gd name="connsiteY2" fmla="*/ 25924 h 44269"/>
                <a:gd name="connsiteX3" fmla="*/ 0 w 32491"/>
                <a:gd name="connsiteY3" fmla="*/ 18213 h 44269"/>
                <a:gd name="connsiteX4" fmla="*/ 13367 w 32491"/>
                <a:gd name="connsiteY4" fmla="*/ 18213 h 44269"/>
                <a:gd name="connsiteX5" fmla="*/ 13367 w 32491"/>
                <a:gd name="connsiteY5" fmla="*/ 0 h 44269"/>
                <a:gd name="connsiteX6" fmla="*/ 19124 w 32491"/>
                <a:gd name="connsiteY6" fmla="*/ 0 h 44269"/>
                <a:gd name="connsiteX7" fmla="*/ 19124 w 32491"/>
                <a:gd name="connsiteY7" fmla="*/ 18213 h 44269"/>
                <a:gd name="connsiteX8" fmla="*/ 32491 w 32491"/>
                <a:gd name="connsiteY8" fmla="*/ 18213 h 44269"/>
                <a:gd name="connsiteX9" fmla="*/ 32491 w 32491"/>
                <a:gd name="connsiteY9" fmla="*/ 25924 h 44269"/>
                <a:gd name="connsiteX10" fmla="*/ 19124 w 32491"/>
                <a:gd name="connsiteY10" fmla="*/ 25924 h 44269"/>
                <a:gd name="connsiteX11" fmla="*/ 19124 w 32491"/>
                <a:gd name="connsiteY11" fmla="*/ 44270 h 44269"/>
                <a:gd name="connsiteX12" fmla="*/ 13367 w 32491"/>
                <a:gd name="connsiteY12" fmla="*/ 44270 h 44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91" h="44269">
                  <a:moveTo>
                    <a:pt x="13367" y="44270"/>
                  </a:moveTo>
                  <a:lnTo>
                    <a:pt x="13367" y="25924"/>
                  </a:lnTo>
                  <a:lnTo>
                    <a:pt x="0" y="25924"/>
                  </a:lnTo>
                  <a:lnTo>
                    <a:pt x="0" y="18213"/>
                  </a:lnTo>
                  <a:lnTo>
                    <a:pt x="13367" y="18213"/>
                  </a:lnTo>
                  <a:lnTo>
                    <a:pt x="13367" y="0"/>
                  </a:lnTo>
                  <a:lnTo>
                    <a:pt x="19124" y="0"/>
                  </a:lnTo>
                  <a:lnTo>
                    <a:pt x="19124" y="18213"/>
                  </a:lnTo>
                  <a:lnTo>
                    <a:pt x="32491" y="18213"/>
                  </a:lnTo>
                  <a:lnTo>
                    <a:pt x="32491" y="25924"/>
                  </a:lnTo>
                  <a:lnTo>
                    <a:pt x="19124" y="25924"/>
                  </a:lnTo>
                  <a:lnTo>
                    <a:pt x="19124" y="44270"/>
                  </a:lnTo>
                  <a:lnTo>
                    <a:pt x="13367" y="44270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12" name="Freihandform: Form 1011">
              <a:extLst>
                <a:ext uri="{FF2B5EF4-FFF2-40B4-BE49-F238E27FC236}">
                  <a16:creationId xmlns:a16="http://schemas.microsoft.com/office/drawing/2014/main" id="{EC18A714-7A2E-AA53-E70A-C1C134074BE6}"/>
                </a:ext>
              </a:extLst>
            </p:cNvPr>
            <p:cNvSpPr/>
            <p:nvPr/>
          </p:nvSpPr>
          <p:spPr>
            <a:xfrm>
              <a:off x="10952788" y="2595556"/>
              <a:ext cx="32491" cy="44269"/>
            </a:xfrm>
            <a:custGeom>
              <a:avLst/>
              <a:gdLst>
                <a:gd name="connsiteX0" fmla="*/ 13465 w 32491"/>
                <a:gd name="connsiteY0" fmla="*/ 44270 h 44269"/>
                <a:gd name="connsiteX1" fmla="*/ 13465 w 32491"/>
                <a:gd name="connsiteY1" fmla="*/ 25924 h 44269"/>
                <a:gd name="connsiteX2" fmla="*/ 0 w 32491"/>
                <a:gd name="connsiteY2" fmla="*/ 25924 h 44269"/>
                <a:gd name="connsiteX3" fmla="*/ 0 w 32491"/>
                <a:gd name="connsiteY3" fmla="*/ 18213 h 44269"/>
                <a:gd name="connsiteX4" fmla="*/ 13465 w 32491"/>
                <a:gd name="connsiteY4" fmla="*/ 18213 h 44269"/>
                <a:gd name="connsiteX5" fmla="*/ 13465 w 32491"/>
                <a:gd name="connsiteY5" fmla="*/ 0 h 44269"/>
                <a:gd name="connsiteX6" fmla="*/ 19124 w 32491"/>
                <a:gd name="connsiteY6" fmla="*/ 0 h 44269"/>
                <a:gd name="connsiteX7" fmla="*/ 19124 w 32491"/>
                <a:gd name="connsiteY7" fmla="*/ 18213 h 44269"/>
                <a:gd name="connsiteX8" fmla="*/ 32491 w 32491"/>
                <a:gd name="connsiteY8" fmla="*/ 18213 h 44269"/>
                <a:gd name="connsiteX9" fmla="*/ 32491 w 32491"/>
                <a:gd name="connsiteY9" fmla="*/ 25924 h 44269"/>
                <a:gd name="connsiteX10" fmla="*/ 19124 w 32491"/>
                <a:gd name="connsiteY10" fmla="*/ 25924 h 44269"/>
                <a:gd name="connsiteX11" fmla="*/ 19124 w 32491"/>
                <a:gd name="connsiteY11" fmla="*/ 44270 h 44269"/>
                <a:gd name="connsiteX12" fmla="*/ 13465 w 32491"/>
                <a:gd name="connsiteY12" fmla="*/ 44270 h 44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91" h="44269">
                  <a:moveTo>
                    <a:pt x="13465" y="44270"/>
                  </a:moveTo>
                  <a:lnTo>
                    <a:pt x="13465" y="25924"/>
                  </a:lnTo>
                  <a:lnTo>
                    <a:pt x="0" y="25924"/>
                  </a:lnTo>
                  <a:lnTo>
                    <a:pt x="0" y="18213"/>
                  </a:lnTo>
                  <a:lnTo>
                    <a:pt x="13465" y="18213"/>
                  </a:lnTo>
                  <a:lnTo>
                    <a:pt x="13465" y="0"/>
                  </a:lnTo>
                  <a:lnTo>
                    <a:pt x="19124" y="0"/>
                  </a:lnTo>
                  <a:lnTo>
                    <a:pt x="19124" y="18213"/>
                  </a:lnTo>
                  <a:lnTo>
                    <a:pt x="32491" y="18213"/>
                  </a:lnTo>
                  <a:lnTo>
                    <a:pt x="32491" y="25924"/>
                  </a:lnTo>
                  <a:lnTo>
                    <a:pt x="19124" y="25924"/>
                  </a:lnTo>
                  <a:lnTo>
                    <a:pt x="19124" y="44270"/>
                  </a:lnTo>
                  <a:lnTo>
                    <a:pt x="13465" y="44270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13" name="Freihandform: Form 1012">
              <a:extLst>
                <a:ext uri="{FF2B5EF4-FFF2-40B4-BE49-F238E27FC236}">
                  <a16:creationId xmlns:a16="http://schemas.microsoft.com/office/drawing/2014/main" id="{BA2E5275-FD8F-2B45-7FEA-56CC704E72F1}"/>
                </a:ext>
              </a:extLst>
            </p:cNvPr>
            <p:cNvSpPr/>
            <p:nvPr/>
          </p:nvSpPr>
          <p:spPr>
            <a:xfrm>
              <a:off x="10984694" y="2595556"/>
              <a:ext cx="32491" cy="44269"/>
            </a:xfrm>
            <a:custGeom>
              <a:avLst/>
              <a:gdLst>
                <a:gd name="connsiteX0" fmla="*/ 13367 w 32491"/>
                <a:gd name="connsiteY0" fmla="*/ 44270 h 44269"/>
                <a:gd name="connsiteX1" fmla="*/ 13367 w 32491"/>
                <a:gd name="connsiteY1" fmla="*/ 25924 h 44269"/>
                <a:gd name="connsiteX2" fmla="*/ 0 w 32491"/>
                <a:gd name="connsiteY2" fmla="*/ 25924 h 44269"/>
                <a:gd name="connsiteX3" fmla="*/ 0 w 32491"/>
                <a:gd name="connsiteY3" fmla="*/ 18213 h 44269"/>
                <a:gd name="connsiteX4" fmla="*/ 13367 w 32491"/>
                <a:gd name="connsiteY4" fmla="*/ 18213 h 44269"/>
                <a:gd name="connsiteX5" fmla="*/ 13367 w 32491"/>
                <a:gd name="connsiteY5" fmla="*/ 0 h 44269"/>
                <a:gd name="connsiteX6" fmla="*/ 19124 w 32491"/>
                <a:gd name="connsiteY6" fmla="*/ 0 h 44269"/>
                <a:gd name="connsiteX7" fmla="*/ 19124 w 32491"/>
                <a:gd name="connsiteY7" fmla="*/ 18213 h 44269"/>
                <a:gd name="connsiteX8" fmla="*/ 32491 w 32491"/>
                <a:gd name="connsiteY8" fmla="*/ 18213 h 44269"/>
                <a:gd name="connsiteX9" fmla="*/ 32491 w 32491"/>
                <a:gd name="connsiteY9" fmla="*/ 25924 h 44269"/>
                <a:gd name="connsiteX10" fmla="*/ 19124 w 32491"/>
                <a:gd name="connsiteY10" fmla="*/ 25924 h 44269"/>
                <a:gd name="connsiteX11" fmla="*/ 19124 w 32491"/>
                <a:gd name="connsiteY11" fmla="*/ 44270 h 44269"/>
                <a:gd name="connsiteX12" fmla="*/ 13367 w 32491"/>
                <a:gd name="connsiteY12" fmla="*/ 44270 h 44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91" h="44269">
                  <a:moveTo>
                    <a:pt x="13367" y="44270"/>
                  </a:moveTo>
                  <a:lnTo>
                    <a:pt x="13367" y="25924"/>
                  </a:lnTo>
                  <a:lnTo>
                    <a:pt x="0" y="25924"/>
                  </a:lnTo>
                  <a:lnTo>
                    <a:pt x="0" y="18213"/>
                  </a:lnTo>
                  <a:lnTo>
                    <a:pt x="13367" y="18213"/>
                  </a:lnTo>
                  <a:lnTo>
                    <a:pt x="13367" y="0"/>
                  </a:lnTo>
                  <a:lnTo>
                    <a:pt x="19124" y="0"/>
                  </a:lnTo>
                  <a:lnTo>
                    <a:pt x="19124" y="18213"/>
                  </a:lnTo>
                  <a:lnTo>
                    <a:pt x="32491" y="18213"/>
                  </a:lnTo>
                  <a:lnTo>
                    <a:pt x="32491" y="25924"/>
                  </a:lnTo>
                  <a:lnTo>
                    <a:pt x="19124" y="25924"/>
                  </a:lnTo>
                  <a:lnTo>
                    <a:pt x="19124" y="44270"/>
                  </a:lnTo>
                  <a:lnTo>
                    <a:pt x="13367" y="44270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14" name="Freihandform: Form 1013">
              <a:extLst>
                <a:ext uri="{FF2B5EF4-FFF2-40B4-BE49-F238E27FC236}">
                  <a16:creationId xmlns:a16="http://schemas.microsoft.com/office/drawing/2014/main" id="{D7B0EA28-B76E-9B48-D410-C7AC14BDE792}"/>
                </a:ext>
              </a:extLst>
            </p:cNvPr>
            <p:cNvSpPr/>
            <p:nvPr/>
          </p:nvSpPr>
          <p:spPr>
            <a:xfrm>
              <a:off x="11058263" y="2595556"/>
              <a:ext cx="32491" cy="44269"/>
            </a:xfrm>
            <a:custGeom>
              <a:avLst/>
              <a:gdLst>
                <a:gd name="connsiteX0" fmla="*/ 13367 w 32491"/>
                <a:gd name="connsiteY0" fmla="*/ 44270 h 44269"/>
                <a:gd name="connsiteX1" fmla="*/ 13367 w 32491"/>
                <a:gd name="connsiteY1" fmla="*/ 25924 h 44269"/>
                <a:gd name="connsiteX2" fmla="*/ 0 w 32491"/>
                <a:gd name="connsiteY2" fmla="*/ 25924 h 44269"/>
                <a:gd name="connsiteX3" fmla="*/ 0 w 32491"/>
                <a:gd name="connsiteY3" fmla="*/ 18213 h 44269"/>
                <a:gd name="connsiteX4" fmla="*/ 13367 w 32491"/>
                <a:gd name="connsiteY4" fmla="*/ 18213 h 44269"/>
                <a:gd name="connsiteX5" fmla="*/ 13367 w 32491"/>
                <a:gd name="connsiteY5" fmla="*/ 0 h 44269"/>
                <a:gd name="connsiteX6" fmla="*/ 19026 w 32491"/>
                <a:gd name="connsiteY6" fmla="*/ 0 h 44269"/>
                <a:gd name="connsiteX7" fmla="*/ 19026 w 32491"/>
                <a:gd name="connsiteY7" fmla="*/ 18213 h 44269"/>
                <a:gd name="connsiteX8" fmla="*/ 32491 w 32491"/>
                <a:gd name="connsiteY8" fmla="*/ 18213 h 44269"/>
                <a:gd name="connsiteX9" fmla="*/ 32491 w 32491"/>
                <a:gd name="connsiteY9" fmla="*/ 25924 h 44269"/>
                <a:gd name="connsiteX10" fmla="*/ 19026 w 32491"/>
                <a:gd name="connsiteY10" fmla="*/ 25924 h 44269"/>
                <a:gd name="connsiteX11" fmla="*/ 19026 w 32491"/>
                <a:gd name="connsiteY11" fmla="*/ 44270 h 44269"/>
                <a:gd name="connsiteX12" fmla="*/ 13367 w 32491"/>
                <a:gd name="connsiteY12" fmla="*/ 44270 h 44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91" h="44269">
                  <a:moveTo>
                    <a:pt x="13367" y="44270"/>
                  </a:moveTo>
                  <a:lnTo>
                    <a:pt x="13367" y="25924"/>
                  </a:lnTo>
                  <a:lnTo>
                    <a:pt x="0" y="25924"/>
                  </a:lnTo>
                  <a:lnTo>
                    <a:pt x="0" y="18213"/>
                  </a:lnTo>
                  <a:lnTo>
                    <a:pt x="13367" y="18213"/>
                  </a:lnTo>
                  <a:lnTo>
                    <a:pt x="13367" y="0"/>
                  </a:lnTo>
                  <a:lnTo>
                    <a:pt x="19026" y="0"/>
                  </a:lnTo>
                  <a:lnTo>
                    <a:pt x="19026" y="18213"/>
                  </a:lnTo>
                  <a:lnTo>
                    <a:pt x="32491" y="18213"/>
                  </a:lnTo>
                  <a:lnTo>
                    <a:pt x="32491" y="25924"/>
                  </a:lnTo>
                  <a:lnTo>
                    <a:pt x="19026" y="25924"/>
                  </a:lnTo>
                  <a:lnTo>
                    <a:pt x="19026" y="44270"/>
                  </a:lnTo>
                  <a:lnTo>
                    <a:pt x="13367" y="44270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15" name="Freihandform: Form 1014">
              <a:extLst>
                <a:ext uri="{FF2B5EF4-FFF2-40B4-BE49-F238E27FC236}">
                  <a16:creationId xmlns:a16="http://schemas.microsoft.com/office/drawing/2014/main" id="{BC67868A-C6E1-7ADE-A1DD-2EB214E02B9B}"/>
                </a:ext>
              </a:extLst>
            </p:cNvPr>
            <p:cNvSpPr/>
            <p:nvPr/>
          </p:nvSpPr>
          <p:spPr>
            <a:xfrm>
              <a:off x="11136710" y="2595556"/>
              <a:ext cx="32491" cy="44269"/>
            </a:xfrm>
            <a:custGeom>
              <a:avLst/>
              <a:gdLst>
                <a:gd name="connsiteX0" fmla="*/ 13367 w 32491"/>
                <a:gd name="connsiteY0" fmla="*/ 44270 h 44269"/>
                <a:gd name="connsiteX1" fmla="*/ 13367 w 32491"/>
                <a:gd name="connsiteY1" fmla="*/ 25924 h 44269"/>
                <a:gd name="connsiteX2" fmla="*/ 0 w 32491"/>
                <a:gd name="connsiteY2" fmla="*/ 25924 h 44269"/>
                <a:gd name="connsiteX3" fmla="*/ 0 w 32491"/>
                <a:gd name="connsiteY3" fmla="*/ 18213 h 44269"/>
                <a:gd name="connsiteX4" fmla="*/ 13367 w 32491"/>
                <a:gd name="connsiteY4" fmla="*/ 18213 h 44269"/>
                <a:gd name="connsiteX5" fmla="*/ 13367 w 32491"/>
                <a:gd name="connsiteY5" fmla="*/ 0 h 44269"/>
                <a:gd name="connsiteX6" fmla="*/ 19124 w 32491"/>
                <a:gd name="connsiteY6" fmla="*/ 0 h 44269"/>
                <a:gd name="connsiteX7" fmla="*/ 19124 w 32491"/>
                <a:gd name="connsiteY7" fmla="*/ 18213 h 44269"/>
                <a:gd name="connsiteX8" fmla="*/ 32491 w 32491"/>
                <a:gd name="connsiteY8" fmla="*/ 18213 h 44269"/>
                <a:gd name="connsiteX9" fmla="*/ 32491 w 32491"/>
                <a:gd name="connsiteY9" fmla="*/ 25924 h 44269"/>
                <a:gd name="connsiteX10" fmla="*/ 19124 w 32491"/>
                <a:gd name="connsiteY10" fmla="*/ 25924 h 44269"/>
                <a:gd name="connsiteX11" fmla="*/ 19124 w 32491"/>
                <a:gd name="connsiteY11" fmla="*/ 44270 h 44269"/>
                <a:gd name="connsiteX12" fmla="*/ 13367 w 32491"/>
                <a:gd name="connsiteY12" fmla="*/ 44270 h 44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91" h="44269">
                  <a:moveTo>
                    <a:pt x="13367" y="44270"/>
                  </a:moveTo>
                  <a:lnTo>
                    <a:pt x="13367" y="25924"/>
                  </a:lnTo>
                  <a:lnTo>
                    <a:pt x="0" y="25924"/>
                  </a:lnTo>
                  <a:lnTo>
                    <a:pt x="0" y="18213"/>
                  </a:lnTo>
                  <a:lnTo>
                    <a:pt x="13367" y="18213"/>
                  </a:lnTo>
                  <a:lnTo>
                    <a:pt x="13367" y="0"/>
                  </a:lnTo>
                  <a:lnTo>
                    <a:pt x="19124" y="0"/>
                  </a:lnTo>
                  <a:lnTo>
                    <a:pt x="19124" y="18213"/>
                  </a:lnTo>
                  <a:lnTo>
                    <a:pt x="32491" y="18213"/>
                  </a:lnTo>
                  <a:lnTo>
                    <a:pt x="32491" y="25924"/>
                  </a:lnTo>
                  <a:lnTo>
                    <a:pt x="19124" y="25924"/>
                  </a:lnTo>
                  <a:lnTo>
                    <a:pt x="19124" y="44270"/>
                  </a:lnTo>
                  <a:lnTo>
                    <a:pt x="13367" y="44270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16" name="Freihandform: Form 1015">
              <a:extLst>
                <a:ext uri="{FF2B5EF4-FFF2-40B4-BE49-F238E27FC236}">
                  <a16:creationId xmlns:a16="http://schemas.microsoft.com/office/drawing/2014/main" id="{627AB0E3-43A4-0A17-5774-67F0FADE967A}"/>
                </a:ext>
              </a:extLst>
            </p:cNvPr>
            <p:cNvSpPr/>
            <p:nvPr/>
          </p:nvSpPr>
          <p:spPr>
            <a:xfrm>
              <a:off x="11146565" y="2595556"/>
              <a:ext cx="32393" cy="44269"/>
            </a:xfrm>
            <a:custGeom>
              <a:avLst/>
              <a:gdLst>
                <a:gd name="connsiteX0" fmla="*/ 13367 w 32393"/>
                <a:gd name="connsiteY0" fmla="*/ 44270 h 44269"/>
                <a:gd name="connsiteX1" fmla="*/ 13367 w 32393"/>
                <a:gd name="connsiteY1" fmla="*/ 25924 h 44269"/>
                <a:gd name="connsiteX2" fmla="*/ 0 w 32393"/>
                <a:gd name="connsiteY2" fmla="*/ 25924 h 44269"/>
                <a:gd name="connsiteX3" fmla="*/ 0 w 32393"/>
                <a:gd name="connsiteY3" fmla="*/ 18213 h 44269"/>
                <a:gd name="connsiteX4" fmla="*/ 13367 w 32393"/>
                <a:gd name="connsiteY4" fmla="*/ 18213 h 44269"/>
                <a:gd name="connsiteX5" fmla="*/ 13367 w 32393"/>
                <a:gd name="connsiteY5" fmla="*/ 0 h 44269"/>
                <a:gd name="connsiteX6" fmla="*/ 19026 w 32393"/>
                <a:gd name="connsiteY6" fmla="*/ 0 h 44269"/>
                <a:gd name="connsiteX7" fmla="*/ 19026 w 32393"/>
                <a:gd name="connsiteY7" fmla="*/ 18213 h 44269"/>
                <a:gd name="connsiteX8" fmla="*/ 32394 w 32393"/>
                <a:gd name="connsiteY8" fmla="*/ 18213 h 44269"/>
                <a:gd name="connsiteX9" fmla="*/ 32394 w 32393"/>
                <a:gd name="connsiteY9" fmla="*/ 25924 h 44269"/>
                <a:gd name="connsiteX10" fmla="*/ 19026 w 32393"/>
                <a:gd name="connsiteY10" fmla="*/ 25924 h 44269"/>
                <a:gd name="connsiteX11" fmla="*/ 19026 w 32393"/>
                <a:gd name="connsiteY11" fmla="*/ 44270 h 44269"/>
                <a:gd name="connsiteX12" fmla="*/ 13367 w 32393"/>
                <a:gd name="connsiteY12" fmla="*/ 44270 h 44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393" h="44269">
                  <a:moveTo>
                    <a:pt x="13367" y="44270"/>
                  </a:moveTo>
                  <a:lnTo>
                    <a:pt x="13367" y="25924"/>
                  </a:lnTo>
                  <a:lnTo>
                    <a:pt x="0" y="25924"/>
                  </a:lnTo>
                  <a:lnTo>
                    <a:pt x="0" y="18213"/>
                  </a:lnTo>
                  <a:lnTo>
                    <a:pt x="13367" y="18213"/>
                  </a:lnTo>
                  <a:lnTo>
                    <a:pt x="13367" y="0"/>
                  </a:lnTo>
                  <a:lnTo>
                    <a:pt x="19026" y="0"/>
                  </a:lnTo>
                  <a:lnTo>
                    <a:pt x="19026" y="18213"/>
                  </a:lnTo>
                  <a:lnTo>
                    <a:pt x="32394" y="18213"/>
                  </a:lnTo>
                  <a:lnTo>
                    <a:pt x="32394" y="25924"/>
                  </a:lnTo>
                  <a:lnTo>
                    <a:pt x="19026" y="25924"/>
                  </a:lnTo>
                  <a:lnTo>
                    <a:pt x="19026" y="44270"/>
                  </a:lnTo>
                  <a:lnTo>
                    <a:pt x="13367" y="44270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17" name="Freihandform: Form 1016">
              <a:extLst>
                <a:ext uri="{FF2B5EF4-FFF2-40B4-BE49-F238E27FC236}">
                  <a16:creationId xmlns:a16="http://schemas.microsoft.com/office/drawing/2014/main" id="{6AE8C4E1-6A01-798C-DAF0-A7CF113B7B91}"/>
                </a:ext>
              </a:extLst>
            </p:cNvPr>
            <p:cNvSpPr/>
            <p:nvPr/>
          </p:nvSpPr>
          <p:spPr>
            <a:xfrm>
              <a:off x="11173494" y="2595556"/>
              <a:ext cx="23904" cy="44269"/>
            </a:xfrm>
            <a:custGeom>
              <a:avLst/>
              <a:gdLst>
                <a:gd name="connsiteX0" fmla="*/ 13367 w 23904"/>
                <a:gd name="connsiteY0" fmla="*/ 44270 h 44269"/>
                <a:gd name="connsiteX1" fmla="*/ 13367 w 23904"/>
                <a:gd name="connsiteY1" fmla="*/ 25924 h 44269"/>
                <a:gd name="connsiteX2" fmla="*/ 0 w 23904"/>
                <a:gd name="connsiteY2" fmla="*/ 25924 h 44269"/>
                <a:gd name="connsiteX3" fmla="*/ 0 w 23904"/>
                <a:gd name="connsiteY3" fmla="*/ 18213 h 44269"/>
                <a:gd name="connsiteX4" fmla="*/ 13367 w 23904"/>
                <a:gd name="connsiteY4" fmla="*/ 18213 h 44269"/>
                <a:gd name="connsiteX5" fmla="*/ 13367 w 23904"/>
                <a:gd name="connsiteY5" fmla="*/ 0 h 44269"/>
                <a:gd name="connsiteX6" fmla="*/ 19026 w 23904"/>
                <a:gd name="connsiteY6" fmla="*/ 0 h 44269"/>
                <a:gd name="connsiteX7" fmla="*/ 19026 w 23904"/>
                <a:gd name="connsiteY7" fmla="*/ 18213 h 44269"/>
                <a:gd name="connsiteX8" fmla="*/ 23905 w 23904"/>
                <a:gd name="connsiteY8" fmla="*/ 18213 h 44269"/>
                <a:gd name="connsiteX9" fmla="*/ 23905 w 23904"/>
                <a:gd name="connsiteY9" fmla="*/ 25924 h 44269"/>
                <a:gd name="connsiteX10" fmla="*/ 19026 w 23904"/>
                <a:gd name="connsiteY10" fmla="*/ 25924 h 44269"/>
                <a:gd name="connsiteX11" fmla="*/ 19026 w 23904"/>
                <a:gd name="connsiteY11" fmla="*/ 44270 h 44269"/>
                <a:gd name="connsiteX12" fmla="*/ 13367 w 23904"/>
                <a:gd name="connsiteY12" fmla="*/ 44270 h 44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3904" h="44269">
                  <a:moveTo>
                    <a:pt x="13367" y="44270"/>
                  </a:moveTo>
                  <a:lnTo>
                    <a:pt x="13367" y="25924"/>
                  </a:lnTo>
                  <a:lnTo>
                    <a:pt x="0" y="25924"/>
                  </a:lnTo>
                  <a:lnTo>
                    <a:pt x="0" y="18213"/>
                  </a:lnTo>
                  <a:lnTo>
                    <a:pt x="13367" y="18213"/>
                  </a:lnTo>
                  <a:lnTo>
                    <a:pt x="13367" y="0"/>
                  </a:lnTo>
                  <a:lnTo>
                    <a:pt x="19026" y="0"/>
                  </a:lnTo>
                  <a:lnTo>
                    <a:pt x="19026" y="18213"/>
                  </a:lnTo>
                  <a:lnTo>
                    <a:pt x="23905" y="18213"/>
                  </a:lnTo>
                  <a:lnTo>
                    <a:pt x="23905" y="25924"/>
                  </a:lnTo>
                  <a:lnTo>
                    <a:pt x="19026" y="25924"/>
                  </a:lnTo>
                  <a:lnTo>
                    <a:pt x="19026" y="44270"/>
                  </a:lnTo>
                  <a:lnTo>
                    <a:pt x="13367" y="44270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1018" name="Grafik 996">
            <a:extLst>
              <a:ext uri="{FF2B5EF4-FFF2-40B4-BE49-F238E27FC236}">
                <a16:creationId xmlns:a16="http://schemas.microsoft.com/office/drawing/2014/main" id="{229EA630-2FB5-E79B-C018-844F4ACE2B71}"/>
              </a:ext>
            </a:extLst>
          </p:cNvPr>
          <p:cNvGrpSpPr/>
          <p:nvPr/>
        </p:nvGrpSpPr>
        <p:grpSpPr>
          <a:xfrm>
            <a:off x="7411427" y="1373159"/>
            <a:ext cx="3715700" cy="1050906"/>
            <a:chOff x="7481698" y="1446140"/>
            <a:chExt cx="3715700" cy="1050906"/>
          </a:xfrm>
          <a:solidFill>
            <a:schemeClr val="accent6"/>
          </a:solidFill>
        </p:grpSpPr>
        <p:sp>
          <p:nvSpPr>
            <p:cNvPr id="1019" name="Freihandform: Form 1018">
              <a:extLst>
                <a:ext uri="{FF2B5EF4-FFF2-40B4-BE49-F238E27FC236}">
                  <a16:creationId xmlns:a16="http://schemas.microsoft.com/office/drawing/2014/main" id="{3A6AAA54-55DF-8851-7967-A3FE9D9DDE9B}"/>
                </a:ext>
              </a:extLst>
            </p:cNvPr>
            <p:cNvSpPr/>
            <p:nvPr/>
          </p:nvSpPr>
          <p:spPr>
            <a:xfrm>
              <a:off x="7481698" y="1446140"/>
              <a:ext cx="32491" cy="44269"/>
            </a:xfrm>
            <a:custGeom>
              <a:avLst/>
              <a:gdLst>
                <a:gd name="connsiteX0" fmla="*/ 13465 w 32491"/>
                <a:gd name="connsiteY0" fmla="*/ 44270 h 44269"/>
                <a:gd name="connsiteX1" fmla="*/ 13465 w 32491"/>
                <a:gd name="connsiteY1" fmla="*/ 25924 h 44269"/>
                <a:gd name="connsiteX2" fmla="*/ 0 w 32491"/>
                <a:gd name="connsiteY2" fmla="*/ 25924 h 44269"/>
                <a:gd name="connsiteX3" fmla="*/ 0 w 32491"/>
                <a:gd name="connsiteY3" fmla="*/ 18213 h 44269"/>
                <a:gd name="connsiteX4" fmla="*/ 13465 w 32491"/>
                <a:gd name="connsiteY4" fmla="*/ 18213 h 44269"/>
                <a:gd name="connsiteX5" fmla="*/ 13465 w 32491"/>
                <a:gd name="connsiteY5" fmla="*/ 0 h 44269"/>
                <a:gd name="connsiteX6" fmla="*/ 19124 w 32491"/>
                <a:gd name="connsiteY6" fmla="*/ 0 h 44269"/>
                <a:gd name="connsiteX7" fmla="*/ 19124 w 32491"/>
                <a:gd name="connsiteY7" fmla="*/ 18213 h 44269"/>
                <a:gd name="connsiteX8" fmla="*/ 32491 w 32491"/>
                <a:gd name="connsiteY8" fmla="*/ 18213 h 44269"/>
                <a:gd name="connsiteX9" fmla="*/ 32491 w 32491"/>
                <a:gd name="connsiteY9" fmla="*/ 25924 h 44269"/>
                <a:gd name="connsiteX10" fmla="*/ 19124 w 32491"/>
                <a:gd name="connsiteY10" fmla="*/ 25924 h 44269"/>
                <a:gd name="connsiteX11" fmla="*/ 19124 w 32491"/>
                <a:gd name="connsiteY11" fmla="*/ 44270 h 44269"/>
                <a:gd name="connsiteX12" fmla="*/ 13465 w 32491"/>
                <a:gd name="connsiteY12" fmla="*/ 44270 h 44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91" h="44269">
                  <a:moveTo>
                    <a:pt x="13465" y="44270"/>
                  </a:moveTo>
                  <a:lnTo>
                    <a:pt x="13465" y="25924"/>
                  </a:lnTo>
                  <a:lnTo>
                    <a:pt x="0" y="25924"/>
                  </a:lnTo>
                  <a:lnTo>
                    <a:pt x="0" y="18213"/>
                  </a:lnTo>
                  <a:lnTo>
                    <a:pt x="13465" y="18213"/>
                  </a:lnTo>
                  <a:lnTo>
                    <a:pt x="13465" y="0"/>
                  </a:lnTo>
                  <a:lnTo>
                    <a:pt x="19124" y="0"/>
                  </a:lnTo>
                  <a:lnTo>
                    <a:pt x="19124" y="18213"/>
                  </a:lnTo>
                  <a:lnTo>
                    <a:pt x="32491" y="18213"/>
                  </a:lnTo>
                  <a:lnTo>
                    <a:pt x="32491" y="25924"/>
                  </a:lnTo>
                  <a:lnTo>
                    <a:pt x="19124" y="25924"/>
                  </a:lnTo>
                  <a:lnTo>
                    <a:pt x="19124" y="44270"/>
                  </a:lnTo>
                  <a:lnTo>
                    <a:pt x="13465" y="44270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20" name="Freihandform: Form 1019">
              <a:extLst>
                <a:ext uri="{FF2B5EF4-FFF2-40B4-BE49-F238E27FC236}">
                  <a16:creationId xmlns:a16="http://schemas.microsoft.com/office/drawing/2014/main" id="{5EB29AF0-906E-2BD1-CED9-008B9F1EEE3D}"/>
                </a:ext>
              </a:extLst>
            </p:cNvPr>
            <p:cNvSpPr/>
            <p:nvPr/>
          </p:nvSpPr>
          <p:spPr>
            <a:xfrm>
              <a:off x="7913157" y="1527101"/>
              <a:ext cx="32491" cy="44269"/>
            </a:xfrm>
            <a:custGeom>
              <a:avLst/>
              <a:gdLst>
                <a:gd name="connsiteX0" fmla="*/ 13367 w 32491"/>
                <a:gd name="connsiteY0" fmla="*/ 44270 h 44269"/>
                <a:gd name="connsiteX1" fmla="*/ 13367 w 32491"/>
                <a:gd name="connsiteY1" fmla="*/ 25924 h 44269"/>
                <a:gd name="connsiteX2" fmla="*/ 0 w 32491"/>
                <a:gd name="connsiteY2" fmla="*/ 25924 h 44269"/>
                <a:gd name="connsiteX3" fmla="*/ 0 w 32491"/>
                <a:gd name="connsiteY3" fmla="*/ 18213 h 44269"/>
                <a:gd name="connsiteX4" fmla="*/ 13367 w 32491"/>
                <a:gd name="connsiteY4" fmla="*/ 18213 h 44269"/>
                <a:gd name="connsiteX5" fmla="*/ 13367 w 32491"/>
                <a:gd name="connsiteY5" fmla="*/ 0 h 44269"/>
                <a:gd name="connsiteX6" fmla="*/ 19124 w 32491"/>
                <a:gd name="connsiteY6" fmla="*/ 0 h 44269"/>
                <a:gd name="connsiteX7" fmla="*/ 19124 w 32491"/>
                <a:gd name="connsiteY7" fmla="*/ 18213 h 44269"/>
                <a:gd name="connsiteX8" fmla="*/ 32491 w 32491"/>
                <a:gd name="connsiteY8" fmla="*/ 18213 h 44269"/>
                <a:gd name="connsiteX9" fmla="*/ 32491 w 32491"/>
                <a:gd name="connsiteY9" fmla="*/ 25924 h 44269"/>
                <a:gd name="connsiteX10" fmla="*/ 19124 w 32491"/>
                <a:gd name="connsiteY10" fmla="*/ 25924 h 44269"/>
                <a:gd name="connsiteX11" fmla="*/ 19124 w 32491"/>
                <a:gd name="connsiteY11" fmla="*/ 44270 h 44269"/>
                <a:gd name="connsiteX12" fmla="*/ 13367 w 32491"/>
                <a:gd name="connsiteY12" fmla="*/ 44270 h 44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91" h="44269">
                  <a:moveTo>
                    <a:pt x="13367" y="44270"/>
                  </a:moveTo>
                  <a:lnTo>
                    <a:pt x="13367" y="25924"/>
                  </a:lnTo>
                  <a:lnTo>
                    <a:pt x="0" y="25924"/>
                  </a:lnTo>
                  <a:lnTo>
                    <a:pt x="0" y="18213"/>
                  </a:lnTo>
                  <a:lnTo>
                    <a:pt x="13367" y="18213"/>
                  </a:lnTo>
                  <a:lnTo>
                    <a:pt x="13367" y="0"/>
                  </a:lnTo>
                  <a:lnTo>
                    <a:pt x="19124" y="0"/>
                  </a:lnTo>
                  <a:lnTo>
                    <a:pt x="19124" y="18213"/>
                  </a:lnTo>
                  <a:lnTo>
                    <a:pt x="32491" y="18213"/>
                  </a:lnTo>
                  <a:lnTo>
                    <a:pt x="32491" y="25924"/>
                  </a:lnTo>
                  <a:lnTo>
                    <a:pt x="19124" y="25924"/>
                  </a:lnTo>
                  <a:lnTo>
                    <a:pt x="19124" y="44270"/>
                  </a:lnTo>
                  <a:lnTo>
                    <a:pt x="13367" y="44270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21" name="Freihandform: Form 1020">
              <a:extLst>
                <a:ext uri="{FF2B5EF4-FFF2-40B4-BE49-F238E27FC236}">
                  <a16:creationId xmlns:a16="http://schemas.microsoft.com/office/drawing/2014/main" id="{3FDA1D1C-7399-B3AF-83D3-E2E43A0A0B32}"/>
                </a:ext>
              </a:extLst>
            </p:cNvPr>
            <p:cNvSpPr/>
            <p:nvPr/>
          </p:nvSpPr>
          <p:spPr>
            <a:xfrm>
              <a:off x="8077370" y="1670280"/>
              <a:ext cx="32491" cy="44269"/>
            </a:xfrm>
            <a:custGeom>
              <a:avLst/>
              <a:gdLst>
                <a:gd name="connsiteX0" fmla="*/ 13465 w 32491"/>
                <a:gd name="connsiteY0" fmla="*/ 44270 h 44269"/>
                <a:gd name="connsiteX1" fmla="*/ 13465 w 32491"/>
                <a:gd name="connsiteY1" fmla="*/ 25924 h 44269"/>
                <a:gd name="connsiteX2" fmla="*/ 0 w 32491"/>
                <a:gd name="connsiteY2" fmla="*/ 25924 h 44269"/>
                <a:gd name="connsiteX3" fmla="*/ 0 w 32491"/>
                <a:gd name="connsiteY3" fmla="*/ 18213 h 44269"/>
                <a:gd name="connsiteX4" fmla="*/ 13465 w 32491"/>
                <a:gd name="connsiteY4" fmla="*/ 18213 h 44269"/>
                <a:gd name="connsiteX5" fmla="*/ 13465 w 32491"/>
                <a:gd name="connsiteY5" fmla="*/ 0 h 44269"/>
                <a:gd name="connsiteX6" fmla="*/ 19124 w 32491"/>
                <a:gd name="connsiteY6" fmla="*/ 0 h 44269"/>
                <a:gd name="connsiteX7" fmla="*/ 19124 w 32491"/>
                <a:gd name="connsiteY7" fmla="*/ 18213 h 44269"/>
                <a:gd name="connsiteX8" fmla="*/ 32491 w 32491"/>
                <a:gd name="connsiteY8" fmla="*/ 18213 h 44269"/>
                <a:gd name="connsiteX9" fmla="*/ 32491 w 32491"/>
                <a:gd name="connsiteY9" fmla="*/ 25924 h 44269"/>
                <a:gd name="connsiteX10" fmla="*/ 19124 w 32491"/>
                <a:gd name="connsiteY10" fmla="*/ 25924 h 44269"/>
                <a:gd name="connsiteX11" fmla="*/ 19124 w 32491"/>
                <a:gd name="connsiteY11" fmla="*/ 44270 h 44269"/>
                <a:gd name="connsiteX12" fmla="*/ 13465 w 32491"/>
                <a:gd name="connsiteY12" fmla="*/ 44270 h 44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91" h="44269">
                  <a:moveTo>
                    <a:pt x="13465" y="44270"/>
                  </a:moveTo>
                  <a:lnTo>
                    <a:pt x="13465" y="25924"/>
                  </a:lnTo>
                  <a:lnTo>
                    <a:pt x="0" y="25924"/>
                  </a:lnTo>
                  <a:lnTo>
                    <a:pt x="0" y="18213"/>
                  </a:lnTo>
                  <a:lnTo>
                    <a:pt x="13465" y="18213"/>
                  </a:lnTo>
                  <a:lnTo>
                    <a:pt x="13465" y="0"/>
                  </a:lnTo>
                  <a:lnTo>
                    <a:pt x="19124" y="0"/>
                  </a:lnTo>
                  <a:lnTo>
                    <a:pt x="19124" y="18213"/>
                  </a:lnTo>
                  <a:lnTo>
                    <a:pt x="32491" y="18213"/>
                  </a:lnTo>
                  <a:lnTo>
                    <a:pt x="32491" y="25924"/>
                  </a:lnTo>
                  <a:lnTo>
                    <a:pt x="19124" y="25924"/>
                  </a:lnTo>
                  <a:lnTo>
                    <a:pt x="19124" y="44270"/>
                  </a:lnTo>
                  <a:lnTo>
                    <a:pt x="13465" y="44270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22" name="Freihandform: Form 1021">
              <a:extLst>
                <a:ext uri="{FF2B5EF4-FFF2-40B4-BE49-F238E27FC236}">
                  <a16:creationId xmlns:a16="http://schemas.microsoft.com/office/drawing/2014/main" id="{6AEA3DE4-35AF-ACDB-C1C6-B2600FBA4D9C}"/>
                </a:ext>
              </a:extLst>
            </p:cNvPr>
            <p:cNvSpPr/>
            <p:nvPr/>
          </p:nvSpPr>
          <p:spPr>
            <a:xfrm>
              <a:off x="8454970" y="1959429"/>
              <a:ext cx="32393" cy="44402"/>
            </a:xfrm>
            <a:custGeom>
              <a:avLst/>
              <a:gdLst>
                <a:gd name="connsiteX0" fmla="*/ 13367 w 32393"/>
                <a:gd name="connsiteY0" fmla="*/ 44403 h 44402"/>
                <a:gd name="connsiteX1" fmla="*/ 13367 w 32393"/>
                <a:gd name="connsiteY1" fmla="*/ 25924 h 44402"/>
                <a:gd name="connsiteX2" fmla="*/ 0 w 32393"/>
                <a:gd name="connsiteY2" fmla="*/ 25924 h 44402"/>
                <a:gd name="connsiteX3" fmla="*/ 0 w 32393"/>
                <a:gd name="connsiteY3" fmla="*/ 18346 h 44402"/>
                <a:gd name="connsiteX4" fmla="*/ 13367 w 32393"/>
                <a:gd name="connsiteY4" fmla="*/ 18346 h 44402"/>
                <a:gd name="connsiteX5" fmla="*/ 13367 w 32393"/>
                <a:gd name="connsiteY5" fmla="*/ 0 h 44402"/>
                <a:gd name="connsiteX6" fmla="*/ 19026 w 32393"/>
                <a:gd name="connsiteY6" fmla="*/ 0 h 44402"/>
                <a:gd name="connsiteX7" fmla="*/ 19026 w 32393"/>
                <a:gd name="connsiteY7" fmla="*/ 18346 h 44402"/>
                <a:gd name="connsiteX8" fmla="*/ 32394 w 32393"/>
                <a:gd name="connsiteY8" fmla="*/ 18346 h 44402"/>
                <a:gd name="connsiteX9" fmla="*/ 32394 w 32393"/>
                <a:gd name="connsiteY9" fmla="*/ 25924 h 44402"/>
                <a:gd name="connsiteX10" fmla="*/ 19026 w 32393"/>
                <a:gd name="connsiteY10" fmla="*/ 25924 h 44402"/>
                <a:gd name="connsiteX11" fmla="*/ 19026 w 32393"/>
                <a:gd name="connsiteY11" fmla="*/ 44403 h 44402"/>
                <a:gd name="connsiteX12" fmla="*/ 13367 w 32393"/>
                <a:gd name="connsiteY12" fmla="*/ 44403 h 44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393" h="44402">
                  <a:moveTo>
                    <a:pt x="13367" y="44403"/>
                  </a:moveTo>
                  <a:lnTo>
                    <a:pt x="13367" y="25924"/>
                  </a:lnTo>
                  <a:lnTo>
                    <a:pt x="0" y="25924"/>
                  </a:lnTo>
                  <a:lnTo>
                    <a:pt x="0" y="18346"/>
                  </a:lnTo>
                  <a:lnTo>
                    <a:pt x="13367" y="18346"/>
                  </a:lnTo>
                  <a:lnTo>
                    <a:pt x="13367" y="0"/>
                  </a:lnTo>
                  <a:lnTo>
                    <a:pt x="19026" y="0"/>
                  </a:lnTo>
                  <a:lnTo>
                    <a:pt x="19026" y="18346"/>
                  </a:lnTo>
                  <a:lnTo>
                    <a:pt x="32394" y="18346"/>
                  </a:lnTo>
                  <a:lnTo>
                    <a:pt x="32394" y="25924"/>
                  </a:lnTo>
                  <a:lnTo>
                    <a:pt x="19026" y="25924"/>
                  </a:lnTo>
                  <a:lnTo>
                    <a:pt x="19026" y="44403"/>
                  </a:lnTo>
                  <a:lnTo>
                    <a:pt x="13367" y="44403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23" name="Freihandform: Form 1022">
              <a:extLst>
                <a:ext uri="{FF2B5EF4-FFF2-40B4-BE49-F238E27FC236}">
                  <a16:creationId xmlns:a16="http://schemas.microsoft.com/office/drawing/2014/main" id="{CCB9186D-81E6-61F2-8E3C-B74DAB6E88B7}"/>
                </a:ext>
              </a:extLst>
            </p:cNvPr>
            <p:cNvSpPr/>
            <p:nvPr/>
          </p:nvSpPr>
          <p:spPr>
            <a:xfrm>
              <a:off x="9180508" y="2168680"/>
              <a:ext cx="32491" cy="44269"/>
            </a:xfrm>
            <a:custGeom>
              <a:avLst/>
              <a:gdLst>
                <a:gd name="connsiteX0" fmla="*/ 13367 w 32491"/>
                <a:gd name="connsiteY0" fmla="*/ 44270 h 44269"/>
                <a:gd name="connsiteX1" fmla="*/ 13367 w 32491"/>
                <a:gd name="connsiteY1" fmla="*/ 25924 h 44269"/>
                <a:gd name="connsiteX2" fmla="*/ 0 w 32491"/>
                <a:gd name="connsiteY2" fmla="*/ 25924 h 44269"/>
                <a:gd name="connsiteX3" fmla="*/ 0 w 32491"/>
                <a:gd name="connsiteY3" fmla="*/ 18213 h 44269"/>
                <a:gd name="connsiteX4" fmla="*/ 13367 w 32491"/>
                <a:gd name="connsiteY4" fmla="*/ 18213 h 44269"/>
                <a:gd name="connsiteX5" fmla="*/ 13367 w 32491"/>
                <a:gd name="connsiteY5" fmla="*/ 0 h 44269"/>
                <a:gd name="connsiteX6" fmla="*/ 19124 w 32491"/>
                <a:gd name="connsiteY6" fmla="*/ 0 h 44269"/>
                <a:gd name="connsiteX7" fmla="*/ 19124 w 32491"/>
                <a:gd name="connsiteY7" fmla="*/ 18213 h 44269"/>
                <a:gd name="connsiteX8" fmla="*/ 32491 w 32491"/>
                <a:gd name="connsiteY8" fmla="*/ 18213 h 44269"/>
                <a:gd name="connsiteX9" fmla="*/ 32491 w 32491"/>
                <a:gd name="connsiteY9" fmla="*/ 25924 h 44269"/>
                <a:gd name="connsiteX10" fmla="*/ 19124 w 32491"/>
                <a:gd name="connsiteY10" fmla="*/ 25924 h 44269"/>
                <a:gd name="connsiteX11" fmla="*/ 19124 w 32491"/>
                <a:gd name="connsiteY11" fmla="*/ 44270 h 44269"/>
                <a:gd name="connsiteX12" fmla="*/ 13367 w 32491"/>
                <a:gd name="connsiteY12" fmla="*/ 44270 h 44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91" h="44269">
                  <a:moveTo>
                    <a:pt x="13367" y="44270"/>
                  </a:moveTo>
                  <a:lnTo>
                    <a:pt x="13367" y="25924"/>
                  </a:lnTo>
                  <a:lnTo>
                    <a:pt x="0" y="25924"/>
                  </a:lnTo>
                  <a:lnTo>
                    <a:pt x="0" y="18213"/>
                  </a:lnTo>
                  <a:lnTo>
                    <a:pt x="13367" y="18213"/>
                  </a:lnTo>
                  <a:lnTo>
                    <a:pt x="13367" y="0"/>
                  </a:lnTo>
                  <a:lnTo>
                    <a:pt x="19124" y="0"/>
                  </a:lnTo>
                  <a:lnTo>
                    <a:pt x="19124" y="18213"/>
                  </a:lnTo>
                  <a:lnTo>
                    <a:pt x="32491" y="18213"/>
                  </a:lnTo>
                  <a:lnTo>
                    <a:pt x="32491" y="25924"/>
                  </a:lnTo>
                  <a:lnTo>
                    <a:pt x="19124" y="25924"/>
                  </a:lnTo>
                  <a:lnTo>
                    <a:pt x="19124" y="44270"/>
                  </a:lnTo>
                  <a:lnTo>
                    <a:pt x="13367" y="44270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24" name="Freihandform: Form 1023">
              <a:extLst>
                <a:ext uri="{FF2B5EF4-FFF2-40B4-BE49-F238E27FC236}">
                  <a16:creationId xmlns:a16="http://schemas.microsoft.com/office/drawing/2014/main" id="{7354FFCE-B9E5-F715-5411-843906E25806}"/>
                </a:ext>
              </a:extLst>
            </p:cNvPr>
            <p:cNvSpPr/>
            <p:nvPr/>
          </p:nvSpPr>
          <p:spPr>
            <a:xfrm>
              <a:off x="9200120" y="2168680"/>
              <a:ext cx="32491" cy="44269"/>
            </a:xfrm>
            <a:custGeom>
              <a:avLst/>
              <a:gdLst>
                <a:gd name="connsiteX0" fmla="*/ 13367 w 32491"/>
                <a:gd name="connsiteY0" fmla="*/ 44270 h 44269"/>
                <a:gd name="connsiteX1" fmla="*/ 13367 w 32491"/>
                <a:gd name="connsiteY1" fmla="*/ 25924 h 44269"/>
                <a:gd name="connsiteX2" fmla="*/ 0 w 32491"/>
                <a:gd name="connsiteY2" fmla="*/ 25924 h 44269"/>
                <a:gd name="connsiteX3" fmla="*/ 0 w 32491"/>
                <a:gd name="connsiteY3" fmla="*/ 18213 h 44269"/>
                <a:gd name="connsiteX4" fmla="*/ 13367 w 32491"/>
                <a:gd name="connsiteY4" fmla="*/ 18213 h 44269"/>
                <a:gd name="connsiteX5" fmla="*/ 13367 w 32491"/>
                <a:gd name="connsiteY5" fmla="*/ 0 h 44269"/>
                <a:gd name="connsiteX6" fmla="*/ 19124 w 32491"/>
                <a:gd name="connsiteY6" fmla="*/ 0 h 44269"/>
                <a:gd name="connsiteX7" fmla="*/ 19124 w 32491"/>
                <a:gd name="connsiteY7" fmla="*/ 18213 h 44269"/>
                <a:gd name="connsiteX8" fmla="*/ 32491 w 32491"/>
                <a:gd name="connsiteY8" fmla="*/ 18213 h 44269"/>
                <a:gd name="connsiteX9" fmla="*/ 32491 w 32491"/>
                <a:gd name="connsiteY9" fmla="*/ 25924 h 44269"/>
                <a:gd name="connsiteX10" fmla="*/ 19124 w 32491"/>
                <a:gd name="connsiteY10" fmla="*/ 25924 h 44269"/>
                <a:gd name="connsiteX11" fmla="*/ 19124 w 32491"/>
                <a:gd name="connsiteY11" fmla="*/ 44270 h 44269"/>
                <a:gd name="connsiteX12" fmla="*/ 13367 w 32491"/>
                <a:gd name="connsiteY12" fmla="*/ 44270 h 44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91" h="44269">
                  <a:moveTo>
                    <a:pt x="13367" y="44270"/>
                  </a:moveTo>
                  <a:lnTo>
                    <a:pt x="13367" y="25924"/>
                  </a:lnTo>
                  <a:lnTo>
                    <a:pt x="0" y="25924"/>
                  </a:lnTo>
                  <a:lnTo>
                    <a:pt x="0" y="18213"/>
                  </a:lnTo>
                  <a:lnTo>
                    <a:pt x="13367" y="18213"/>
                  </a:lnTo>
                  <a:lnTo>
                    <a:pt x="13367" y="0"/>
                  </a:lnTo>
                  <a:lnTo>
                    <a:pt x="19124" y="0"/>
                  </a:lnTo>
                  <a:lnTo>
                    <a:pt x="19124" y="18213"/>
                  </a:lnTo>
                  <a:lnTo>
                    <a:pt x="32491" y="18213"/>
                  </a:lnTo>
                  <a:lnTo>
                    <a:pt x="32491" y="25924"/>
                  </a:lnTo>
                  <a:lnTo>
                    <a:pt x="19124" y="25924"/>
                  </a:lnTo>
                  <a:lnTo>
                    <a:pt x="19124" y="44270"/>
                  </a:lnTo>
                  <a:lnTo>
                    <a:pt x="13367" y="44270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25" name="Freihandform: Form 1024">
              <a:extLst>
                <a:ext uri="{FF2B5EF4-FFF2-40B4-BE49-F238E27FC236}">
                  <a16:creationId xmlns:a16="http://schemas.microsoft.com/office/drawing/2014/main" id="{543088C7-9359-ABF5-63D1-129422517CAE}"/>
                </a:ext>
              </a:extLst>
            </p:cNvPr>
            <p:cNvSpPr/>
            <p:nvPr/>
          </p:nvSpPr>
          <p:spPr>
            <a:xfrm>
              <a:off x="9295739" y="2168680"/>
              <a:ext cx="32491" cy="44269"/>
            </a:xfrm>
            <a:custGeom>
              <a:avLst/>
              <a:gdLst>
                <a:gd name="connsiteX0" fmla="*/ 13367 w 32491"/>
                <a:gd name="connsiteY0" fmla="*/ 44270 h 44269"/>
                <a:gd name="connsiteX1" fmla="*/ 13367 w 32491"/>
                <a:gd name="connsiteY1" fmla="*/ 25924 h 44269"/>
                <a:gd name="connsiteX2" fmla="*/ 0 w 32491"/>
                <a:gd name="connsiteY2" fmla="*/ 25924 h 44269"/>
                <a:gd name="connsiteX3" fmla="*/ 0 w 32491"/>
                <a:gd name="connsiteY3" fmla="*/ 18213 h 44269"/>
                <a:gd name="connsiteX4" fmla="*/ 13367 w 32491"/>
                <a:gd name="connsiteY4" fmla="*/ 18213 h 44269"/>
                <a:gd name="connsiteX5" fmla="*/ 13367 w 32491"/>
                <a:gd name="connsiteY5" fmla="*/ 0 h 44269"/>
                <a:gd name="connsiteX6" fmla="*/ 19124 w 32491"/>
                <a:gd name="connsiteY6" fmla="*/ 0 h 44269"/>
                <a:gd name="connsiteX7" fmla="*/ 19124 w 32491"/>
                <a:gd name="connsiteY7" fmla="*/ 18213 h 44269"/>
                <a:gd name="connsiteX8" fmla="*/ 32491 w 32491"/>
                <a:gd name="connsiteY8" fmla="*/ 18213 h 44269"/>
                <a:gd name="connsiteX9" fmla="*/ 32491 w 32491"/>
                <a:gd name="connsiteY9" fmla="*/ 25924 h 44269"/>
                <a:gd name="connsiteX10" fmla="*/ 19124 w 32491"/>
                <a:gd name="connsiteY10" fmla="*/ 25924 h 44269"/>
                <a:gd name="connsiteX11" fmla="*/ 19124 w 32491"/>
                <a:gd name="connsiteY11" fmla="*/ 44270 h 44269"/>
                <a:gd name="connsiteX12" fmla="*/ 13367 w 32491"/>
                <a:gd name="connsiteY12" fmla="*/ 44270 h 44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91" h="44269">
                  <a:moveTo>
                    <a:pt x="13367" y="44270"/>
                  </a:moveTo>
                  <a:lnTo>
                    <a:pt x="13367" y="25924"/>
                  </a:lnTo>
                  <a:lnTo>
                    <a:pt x="0" y="25924"/>
                  </a:lnTo>
                  <a:lnTo>
                    <a:pt x="0" y="18213"/>
                  </a:lnTo>
                  <a:lnTo>
                    <a:pt x="13367" y="18213"/>
                  </a:lnTo>
                  <a:lnTo>
                    <a:pt x="13367" y="0"/>
                  </a:lnTo>
                  <a:lnTo>
                    <a:pt x="19124" y="0"/>
                  </a:lnTo>
                  <a:lnTo>
                    <a:pt x="19124" y="18213"/>
                  </a:lnTo>
                  <a:lnTo>
                    <a:pt x="32491" y="18213"/>
                  </a:lnTo>
                  <a:lnTo>
                    <a:pt x="32491" y="25924"/>
                  </a:lnTo>
                  <a:lnTo>
                    <a:pt x="19124" y="25924"/>
                  </a:lnTo>
                  <a:lnTo>
                    <a:pt x="19124" y="44270"/>
                  </a:lnTo>
                  <a:lnTo>
                    <a:pt x="13367" y="44270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26" name="Freihandform: Form 1025">
              <a:extLst>
                <a:ext uri="{FF2B5EF4-FFF2-40B4-BE49-F238E27FC236}">
                  <a16:creationId xmlns:a16="http://schemas.microsoft.com/office/drawing/2014/main" id="{53DE8109-8492-ABB0-0A6F-FDDC443335F3}"/>
                </a:ext>
              </a:extLst>
            </p:cNvPr>
            <p:cNvSpPr/>
            <p:nvPr/>
          </p:nvSpPr>
          <p:spPr>
            <a:xfrm>
              <a:off x="9300618" y="2168680"/>
              <a:ext cx="32491" cy="44269"/>
            </a:xfrm>
            <a:custGeom>
              <a:avLst/>
              <a:gdLst>
                <a:gd name="connsiteX0" fmla="*/ 13367 w 32491"/>
                <a:gd name="connsiteY0" fmla="*/ 44270 h 44269"/>
                <a:gd name="connsiteX1" fmla="*/ 13367 w 32491"/>
                <a:gd name="connsiteY1" fmla="*/ 25924 h 44269"/>
                <a:gd name="connsiteX2" fmla="*/ 0 w 32491"/>
                <a:gd name="connsiteY2" fmla="*/ 25924 h 44269"/>
                <a:gd name="connsiteX3" fmla="*/ 0 w 32491"/>
                <a:gd name="connsiteY3" fmla="*/ 18213 h 44269"/>
                <a:gd name="connsiteX4" fmla="*/ 13367 w 32491"/>
                <a:gd name="connsiteY4" fmla="*/ 18213 h 44269"/>
                <a:gd name="connsiteX5" fmla="*/ 13367 w 32491"/>
                <a:gd name="connsiteY5" fmla="*/ 0 h 44269"/>
                <a:gd name="connsiteX6" fmla="*/ 19124 w 32491"/>
                <a:gd name="connsiteY6" fmla="*/ 0 h 44269"/>
                <a:gd name="connsiteX7" fmla="*/ 19124 w 32491"/>
                <a:gd name="connsiteY7" fmla="*/ 18213 h 44269"/>
                <a:gd name="connsiteX8" fmla="*/ 32491 w 32491"/>
                <a:gd name="connsiteY8" fmla="*/ 18213 h 44269"/>
                <a:gd name="connsiteX9" fmla="*/ 32491 w 32491"/>
                <a:gd name="connsiteY9" fmla="*/ 25924 h 44269"/>
                <a:gd name="connsiteX10" fmla="*/ 19124 w 32491"/>
                <a:gd name="connsiteY10" fmla="*/ 25924 h 44269"/>
                <a:gd name="connsiteX11" fmla="*/ 19124 w 32491"/>
                <a:gd name="connsiteY11" fmla="*/ 44270 h 44269"/>
                <a:gd name="connsiteX12" fmla="*/ 13367 w 32491"/>
                <a:gd name="connsiteY12" fmla="*/ 44270 h 44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91" h="44269">
                  <a:moveTo>
                    <a:pt x="13367" y="44270"/>
                  </a:moveTo>
                  <a:lnTo>
                    <a:pt x="13367" y="25924"/>
                  </a:lnTo>
                  <a:lnTo>
                    <a:pt x="0" y="25924"/>
                  </a:lnTo>
                  <a:lnTo>
                    <a:pt x="0" y="18213"/>
                  </a:lnTo>
                  <a:lnTo>
                    <a:pt x="13367" y="18213"/>
                  </a:lnTo>
                  <a:lnTo>
                    <a:pt x="13367" y="0"/>
                  </a:lnTo>
                  <a:lnTo>
                    <a:pt x="19124" y="0"/>
                  </a:lnTo>
                  <a:lnTo>
                    <a:pt x="19124" y="18213"/>
                  </a:lnTo>
                  <a:lnTo>
                    <a:pt x="32491" y="18213"/>
                  </a:lnTo>
                  <a:lnTo>
                    <a:pt x="32491" y="25924"/>
                  </a:lnTo>
                  <a:lnTo>
                    <a:pt x="19124" y="25924"/>
                  </a:lnTo>
                  <a:lnTo>
                    <a:pt x="19124" y="44270"/>
                  </a:lnTo>
                  <a:lnTo>
                    <a:pt x="13367" y="44270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27" name="Freihandform: Form 1026">
              <a:extLst>
                <a:ext uri="{FF2B5EF4-FFF2-40B4-BE49-F238E27FC236}">
                  <a16:creationId xmlns:a16="http://schemas.microsoft.com/office/drawing/2014/main" id="{B83C3713-2CE1-93EE-8A8D-FA7EAC25BAB1}"/>
                </a:ext>
              </a:extLst>
            </p:cNvPr>
            <p:cNvSpPr/>
            <p:nvPr/>
          </p:nvSpPr>
          <p:spPr>
            <a:xfrm>
              <a:off x="9692854" y="2301887"/>
              <a:ext cx="32491" cy="44402"/>
            </a:xfrm>
            <a:custGeom>
              <a:avLst/>
              <a:gdLst>
                <a:gd name="connsiteX0" fmla="*/ 13367 w 32491"/>
                <a:gd name="connsiteY0" fmla="*/ 44403 h 44402"/>
                <a:gd name="connsiteX1" fmla="*/ 13367 w 32491"/>
                <a:gd name="connsiteY1" fmla="*/ 25924 h 44402"/>
                <a:gd name="connsiteX2" fmla="*/ 0 w 32491"/>
                <a:gd name="connsiteY2" fmla="*/ 25924 h 44402"/>
                <a:gd name="connsiteX3" fmla="*/ 0 w 32491"/>
                <a:gd name="connsiteY3" fmla="*/ 18346 h 44402"/>
                <a:gd name="connsiteX4" fmla="*/ 13367 w 32491"/>
                <a:gd name="connsiteY4" fmla="*/ 18346 h 44402"/>
                <a:gd name="connsiteX5" fmla="*/ 13367 w 32491"/>
                <a:gd name="connsiteY5" fmla="*/ 0 h 44402"/>
                <a:gd name="connsiteX6" fmla="*/ 19124 w 32491"/>
                <a:gd name="connsiteY6" fmla="*/ 0 h 44402"/>
                <a:gd name="connsiteX7" fmla="*/ 19124 w 32491"/>
                <a:gd name="connsiteY7" fmla="*/ 18346 h 44402"/>
                <a:gd name="connsiteX8" fmla="*/ 32491 w 32491"/>
                <a:gd name="connsiteY8" fmla="*/ 18346 h 44402"/>
                <a:gd name="connsiteX9" fmla="*/ 32491 w 32491"/>
                <a:gd name="connsiteY9" fmla="*/ 25924 h 44402"/>
                <a:gd name="connsiteX10" fmla="*/ 19124 w 32491"/>
                <a:gd name="connsiteY10" fmla="*/ 25924 h 44402"/>
                <a:gd name="connsiteX11" fmla="*/ 19124 w 32491"/>
                <a:gd name="connsiteY11" fmla="*/ 44403 h 44402"/>
                <a:gd name="connsiteX12" fmla="*/ 13367 w 32491"/>
                <a:gd name="connsiteY12" fmla="*/ 44403 h 44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91" h="44402">
                  <a:moveTo>
                    <a:pt x="13367" y="44403"/>
                  </a:moveTo>
                  <a:lnTo>
                    <a:pt x="13367" y="25924"/>
                  </a:lnTo>
                  <a:lnTo>
                    <a:pt x="0" y="25924"/>
                  </a:lnTo>
                  <a:lnTo>
                    <a:pt x="0" y="18346"/>
                  </a:lnTo>
                  <a:lnTo>
                    <a:pt x="13367" y="18346"/>
                  </a:lnTo>
                  <a:lnTo>
                    <a:pt x="13367" y="0"/>
                  </a:lnTo>
                  <a:lnTo>
                    <a:pt x="19124" y="0"/>
                  </a:lnTo>
                  <a:lnTo>
                    <a:pt x="19124" y="18346"/>
                  </a:lnTo>
                  <a:lnTo>
                    <a:pt x="32491" y="18346"/>
                  </a:lnTo>
                  <a:lnTo>
                    <a:pt x="32491" y="25924"/>
                  </a:lnTo>
                  <a:lnTo>
                    <a:pt x="19124" y="25924"/>
                  </a:lnTo>
                  <a:lnTo>
                    <a:pt x="19124" y="44403"/>
                  </a:lnTo>
                  <a:lnTo>
                    <a:pt x="13367" y="44403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28" name="Freihandform: Form 1027">
              <a:extLst>
                <a:ext uri="{FF2B5EF4-FFF2-40B4-BE49-F238E27FC236}">
                  <a16:creationId xmlns:a16="http://schemas.microsoft.com/office/drawing/2014/main" id="{51A88E7B-D07B-8EC8-1989-E79F9DBFD2B2}"/>
                </a:ext>
              </a:extLst>
            </p:cNvPr>
            <p:cNvSpPr/>
            <p:nvPr/>
          </p:nvSpPr>
          <p:spPr>
            <a:xfrm>
              <a:off x="9744371" y="2324488"/>
              <a:ext cx="32491" cy="44269"/>
            </a:xfrm>
            <a:custGeom>
              <a:avLst/>
              <a:gdLst>
                <a:gd name="connsiteX0" fmla="*/ 13367 w 32491"/>
                <a:gd name="connsiteY0" fmla="*/ 44270 h 44269"/>
                <a:gd name="connsiteX1" fmla="*/ 13367 w 32491"/>
                <a:gd name="connsiteY1" fmla="*/ 25924 h 44269"/>
                <a:gd name="connsiteX2" fmla="*/ 0 w 32491"/>
                <a:gd name="connsiteY2" fmla="*/ 25924 h 44269"/>
                <a:gd name="connsiteX3" fmla="*/ 0 w 32491"/>
                <a:gd name="connsiteY3" fmla="*/ 18346 h 44269"/>
                <a:gd name="connsiteX4" fmla="*/ 13367 w 32491"/>
                <a:gd name="connsiteY4" fmla="*/ 18346 h 44269"/>
                <a:gd name="connsiteX5" fmla="*/ 13367 w 32491"/>
                <a:gd name="connsiteY5" fmla="*/ 0 h 44269"/>
                <a:gd name="connsiteX6" fmla="*/ 19026 w 32491"/>
                <a:gd name="connsiteY6" fmla="*/ 0 h 44269"/>
                <a:gd name="connsiteX7" fmla="*/ 19026 w 32491"/>
                <a:gd name="connsiteY7" fmla="*/ 18346 h 44269"/>
                <a:gd name="connsiteX8" fmla="*/ 32491 w 32491"/>
                <a:gd name="connsiteY8" fmla="*/ 18346 h 44269"/>
                <a:gd name="connsiteX9" fmla="*/ 32491 w 32491"/>
                <a:gd name="connsiteY9" fmla="*/ 25924 h 44269"/>
                <a:gd name="connsiteX10" fmla="*/ 19026 w 32491"/>
                <a:gd name="connsiteY10" fmla="*/ 25924 h 44269"/>
                <a:gd name="connsiteX11" fmla="*/ 19026 w 32491"/>
                <a:gd name="connsiteY11" fmla="*/ 44270 h 44269"/>
                <a:gd name="connsiteX12" fmla="*/ 13367 w 32491"/>
                <a:gd name="connsiteY12" fmla="*/ 44270 h 44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91" h="44269">
                  <a:moveTo>
                    <a:pt x="13367" y="44270"/>
                  </a:moveTo>
                  <a:lnTo>
                    <a:pt x="13367" y="25924"/>
                  </a:lnTo>
                  <a:lnTo>
                    <a:pt x="0" y="25924"/>
                  </a:lnTo>
                  <a:lnTo>
                    <a:pt x="0" y="18346"/>
                  </a:lnTo>
                  <a:lnTo>
                    <a:pt x="13367" y="18346"/>
                  </a:lnTo>
                  <a:lnTo>
                    <a:pt x="13367" y="0"/>
                  </a:lnTo>
                  <a:lnTo>
                    <a:pt x="19026" y="0"/>
                  </a:lnTo>
                  <a:lnTo>
                    <a:pt x="19026" y="18346"/>
                  </a:lnTo>
                  <a:lnTo>
                    <a:pt x="32491" y="18346"/>
                  </a:lnTo>
                  <a:lnTo>
                    <a:pt x="32491" y="25924"/>
                  </a:lnTo>
                  <a:lnTo>
                    <a:pt x="19026" y="25924"/>
                  </a:lnTo>
                  <a:lnTo>
                    <a:pt x="19026" y="44270"/>
                  </a:lnTo>
                  <a:lnTo>
                    <a:pt x="13367" y="44270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29" name="Freihandform: Form 1028">
              <a:extLst>
                <a:ext uri="{FF2B5EF4-FFF2-40B4-BE49-F238E27FC236}">
                  <a16:creationId xmlns:a16="http://schemas.microsoft.com/office/drawing/2014/main" id="{BB0301CC-7A1E-7F08-705F-00A4D62ADC0F}"/>
                </a:ext>
              </a:extLst>
            </p:cNvPr>
            <p:cNvSpPr/>
            <p:nvPr/>
          </p:nvSpPr>
          <p:spPr>
            <a:xfrm>
              <a:off x="9756567" y="2324488"/>
              <a:ext cx="32491" cy="44269"/>
            </a:xfrm>
            <a:custGeom>
              <a:avLst/>
              <a:gdLst>
                <a:gd name="connsiteX0" fmla="*/ 13465 w 32491"/>
                <a:gd name="connsiteY0" fmla="*/ 44270 h 44269"/>
                <a:gd name="connsiteX1" fmla="*/ 13465 w 32491"/>
                <a:gd name="connsiteY1" fmla="*/ 25924 h 44269"/>
                <a:gd name="connsiteX2" fmla="*/ 0 w 32491"/>
                <a:gd name="connsiteY2" fmla="*/ 25924 h 44269"/>
                <a:gd name="connsiteX3" fmla="*/ 0 w 32491"/>
                <a:gd name="connsiteY3" fmla="*/ 18346 h 44269"/>
                <a:gd name="connsiteX4" fmla="*/ 13465 w 32491"/>
                <a:gd name="connsiteY4" fmla="*/ 18346 h 44269"/>
                <a:gd name="connsiteX5" fmla="*/ 13465 w 32491"/>
                <a:gd name="connsiteY5" fmla="*/ 0 h 44269"/>
                <a:gd name="connsiteX6" fmla="*/ 19124 w 32491"/>
                <a:gd name="connsiteY6" fmla="*/ 0 h 44269"/>
                <a:gd name="connsiteX7" fmla="*/ 19124 w 32491"/>
                <a:gd name="connsiteY7" fmla="*/ 18346 h 44269"/>
                <a:gd name="connsiteX8" fmla="*/ 32491 w 32491"/>
                <a:gd name="connsiteY8" fmla="*/ 18346 h 44269"/>
                <a:gd name="connsiteX9" fmla="*/ 32491 w 32491"/>
                <a:gd name="connsiteY9" fmla="*/ 25924 h 44269"/>
                <a:gd name="connsiteX10" fmla="*/ 19124 w 32491"/>
                <a:gd name="connsiteY10" fmla="*/ 25924 h 44269"/>
                <a:gd name="connsiteX11" fmla="*/ 19124 w 32491"/>
                <a:gd name="connsiteY11" fmla="*/ 44270 h 44269"/>
                <a:gd name="connsiteX12" fmla="*/ 13465 w 32491"/>
                <a:gd name="connsiteY12" fmla="*/ 44270 h 44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91" h="44269">
                  <a:moveTo>
                    <a:pt x="13465" y="44270"/>
                  </a:moveTo>
                  <a:lnTo>
                    <a:pt x="13465" y="25924"/>
                  </a:lnTo>
                  <a:lnTo>
                    <a:pt x="0" y="25924"/>
                  </a:lnTo>
                  <a:lnTo>
                    <a:pt x="0" y="18346"/>
                  </a:lnTo>
                  <a:lnTo>
                    <a:pt x="13465" y="18346"/>
                  </a:lnTo>
                  <a:lnTo>
                    <a:pt x="13465" y="0"/>
                  </a:lnTo>
                  <a:lnTo>
                    <a:pt x="19124" y="0"/>
                  </a:lnTo>
                  <a:lnTo>
                    <a:pt x="19124" y="18346"/>
                  </a:lnTo>
                  <a:lnTo>
                    <a:pt x="32491" y="18346"/>
                  </a:lnTo>
                  <a:lnTo>
                    <a:pt x="32491" y="25924"/>
                  </a:lnTo>
                  <a:lnTo>
                    <a:pt x="19124" y="25924"/>
                  </a:lnTo>
                  <a:lnTo>
                    <a:pt x="19124" y="44270"/>
                  </a:lnTo>
                  <a:lnTo>
                    <a:pt x="13465" y="44270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30" name="Freihandform: Form 1029">
              <a:extLst>
                <a:ext uri="{FF2B5EF4-FFF2-40B4-BE49-F238E27FC236}">
                  <a16:creationId xmlns:a16="http://schemas.microsoft.com/office/drawing/2014/main" id="{F16B74B3-9C21-3936-4AAC-9F1ECDB021DE}"/>
                </a:ext>
              </a:extLst>
            </p:cNvPr>
            <p:cNvSpPr/>
            <p:nvPr/>
          </p:nvSpPr>
          <p:spPr>
            <a:xfrm>
              <a:off x="9825257" y="2371283"/>
              <a:ext cx="32393" cy="44402"/>
            </a:xfrm>
            <a:custGeom>
              <a:avLst/>
              <a:gdLst>
                <a:gd name="connsiteX0" fmla="*/ 13367 w 32393"/>
                <a:gd name="connsiteY0" fmla="*/ 44403 h 44402"/>
                <a:gd name="connsiteX1" fmla="*/ 13367 w 32393"/>
                <a:gd name="connsiteY1" fmla="*/ 25924 h 44402"/>
                <a:gd name="connsiteX2" fmla="*/ 0 w 32393"/>
                <a:gd name="connsiteY2" fmla="*/ 25924 h 44402"/>
                <a:gd name="connsiteX3" fmla="*/ 0 w 32393"/>
                <a:gd name="connsiteY3" fmla="*/ 18346 h 44402"/>
                <a:gd name="connsiteX4" fmla="*/ 13367 w 32393"/>
                <a:gd name="connsiteY4" fmla="*/ 18346 h 44402"/>
                <a:gd name="connsiteX5" fmla="*/ 13367 w 32393"/>
                <a:gd name="connsiteY5" fmla="*/ 0 h 44402"/>
                <a:gd name="connsiteX6" fmla="*/ 19026 w 32393"/>
                <a:gd name="connsiteY6" fmla="*/ 0 h 44402"/>
                <a:gd name="connsiteX7" fmla="*/ 19026 w 32393"/>
                <a:gd name="connsiteY7" fmla="*/ 18346 h 44402"/>
                <a:gd name="connsiteX8" fmla="*/ 32394 w 32393"/>
                <a:gd name="connsiteY8" fmla="*/ 18346 h 44402"/>
                <a:gd name="connsiteX9" fmla="*/ 32394 w 32393"/>
                <a:gd name="connsiteY9" fmla="*/ 25924 h 44402"/>
                <a:gd name="connsiteX10" fmla="*/ 19026 w 32393"/>
                <a:gd name="connsiteY10" fmla="*/ 25924 h 44402"/>
                <a:gd name="connsiteX11" fmla="*/ 19026 w 32393"/>
                <a:gd name="connsiteY11" fmla="*/ 44403 h 44402"/>
                <a:gd name="connsiteX12" fmla="*/ 13367 w 32393"/>
                <a:gd name="connsiteY12" fmla="*/ 44403 h 44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393" h="44402">
                  <a:moveTo>
                    <a:pt x="13367" y="44403"/>
                  </a:moveTo>
                  <a:lnTo>
                    <a:pt x="13367" y="25924"/>
                  </a:lnTo>
                  <a:lnTo>
                    <a:pt x="0" y="25924"/>
                  </a:lnTo>
                  <a:lnTo>
                    <a:pt x="0" y="18346"/>
                  </a:lnTo>
                  <a:lnTo>
                    <a:pt x="13367" y="18346"/>
                  </a:lnTo>
                  <a:lnTo>
                    <a:pt x="13367" y="0"/>
                  </a:lnTo>
                  <a:lnTo>
                    <a:pt x="19026" y="0"/>
                  </a:lnTo>
                  <a:lnTo>
                    <a:pt x="19026" y="18346"/>
                  </a:lnTo>
                  <a:lnTo>
                    <a:pt x="32394" y="18346"/>
                  </a:lnTo>
                  <a:lnTo>
                    <a:pt x="32394" y="25924"/>
                  </a:lnTo>
                  <a:lnTo>
                    <a:pt x="19026" y="25924"/>
                  </a:lnTo>
                  <a:lnTo>
                    <a:pt x="19026" y="44403"/>
                  </a:lnTo>
                  <a:lnTo>
                    <a:pt x="13367" y="44403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31" name="Freihandform: Form 1030">
              <a:extLst>
                <a:ext uri="{FF2B5EF4-FFF2-40B4-BE49-F238E27FC236}">
                  <a16:creationId xmlns:a16="http://schemas.microsoft.com/office/drawing/2014/main" id="{267BF90D-B16D-5FAD-5781-E0A4B0D95C23}"/>
                </a:ext>
              </a:extLst>
            </p:cNvPr>
            <p:cNvSpPr/>
            <p:nvPr/>
          </p:nvSpPr>
          <p:spPr>
            <a:xfrm>
              <a:off x="10048305" y="2395213"/>
              <a:ext cx="32491" cy="44269"/>
            </a:xfrm>
            <a:custGeom>
              <a:avLst/>
              <a:gdLst>
                <a:gd name="connsiteX0" fmla="*/ 13367 w 32491"/>
                <a:gd name="connsiteY0" fmla="*/ 44270 h 44269"/>
                <a:gd name="connsiteX1" fmla="*/ 13367 w 32491"/>
                <a:gd name="connsiteY1" fmla="*/ 25924 h 44269"/>
                <a:gd name="connsiteX2" fmla="*/ 0 w 32491"/>
                <a:gd name="connsiteY2" fmla="*/ 25924 h 44269"/>
                <a:gd name="connsiteX3" fmla="*/ 0 w 32491"/>
                <a:gd name="connsiteY3" fmla="*/ 18213 h 44269"/>
                <a:gd name="connsiteX4" fmla="*/ 13367 w 32491"/>
                <a:gd name="connsiteY4" fmla="*/ 18213 h 44269"/>
                <a:gd name="connsiteX5" fmla="*/ 13367 w 32491"/>
                <a:gd name="connsiteY5" fmla="*/ 0 h 44269"/>
                <a:gd name="connsiteX6" fmla="*/ 19124 w 32491"/>
                <a:gd name="connsiteY6" fmla="*/ 0 h 44269"/>
                <a:gd name="connsiteX7" fmla="*/ 19124 w 32491"/>
                <a:gd name="connsiteY7" fmla="*/ 18213 h 44269"/>
                <a:gd name="connsiteX8" fmla="*/ 32491 w 32491"/>
                <a:gd name="connsiteY8" fmla="*/ 18213 h 44269"/>
                <a:gd name="connsiteX9" fmla="*/ 32491 w 32491"/>
                <a:gd name="connsiteY9" fmla="*/ 25924 h 44269"/>
                <a:gd name="connsiteX10" fmla="*/ 19124 w 32491"/>
                <a:gd name="connsiteY10" fmla="*/ 25924 h 44269"/>
                <a:gd name="connsiteX11" fmla="*/ 19124 w 32491"/>
                <a:gd name="connsiteY11" fmla="*/ 44270 h 44269"/>
                <a:gd name="connsiteX12" fmla="*/ 13367 w 32491"/>
                <a:gd name="connsiteY12" fmla="*/ 44270 h 44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91" h="44269">
                  <a:moveTo>
                    <a:pt x="13367" y="44270"/>
                  </a:moveTo>
                  <a:lnTo>
                    <a:pt x="13367" y="25924"/>
                  </a:lnTo>
                  <a:lnTo>
                    <a:pt x="0" y="25924"/>
                  </a:lnTo>
                  <a:lnTo>
                    <a:pt x="0" y="18213"/>
                  </a:lnTo>
                  <a:lnTo>
                    <a:pt x="13367" y="18213"/>
                  </a:lnTo>
                  <a:lnTo>
                    <a:pt x="13367" y="0"/>
                  </a:lnTo>
                  <a:lnTo>
                    <a:pt x="19124" y="0"/>
                  </a:lnTo>
                  <a:lnTo>
                    <a:pt x="19124" y="18213"/>
                  </a:lnTo>
                  <a:lnTo>
                    <a:pt x="32491" y="18213"/>
                  </a:lnTo>
                  <a:lnTo>
                    <a:pt x="32491" y="25924"/>
                  </a:lnTo>
                  <a:lnTo>
                    <a:pt x="19124" y="25924"/>
                  </a:lnTo>
                  <a:lnTo>
                    <a:pt x="19124" y="44270"/>
                  </a:lnTo>
                  <a:lnTo>
                    <a:pt x="13367" y="44270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32" name="Freihandform: Form 1031">
              <a:extLst>
                <a:ext uri="{FF2B5EF4-FFF2-40B4-BE49-F238E27FC236}">
                  <a16:creationId xmlns:a16="http://schemas.microsoft.com/office/drawing/2014/main" id="{97698220-0A9B-B75D-F87D-258E5F4E0687}"/>
                </a:ext>
              </a:extLst>
            </p:cNvPr>
            <p:cNvSpPr/>
            <p:nvPr/>
          </p:nvSpPr>
          <p:spPr>
            <a:xfrm>
              <a:off x="10060599" y="2395213"/>
              <a:ext cx="32491" cy="44269"/>
            </a:xfrm>
            <a:custGeom>
              <a:avLst/>
              <a:gdLst>
                <a:gd name="connsiteX0" fmla="*/ 13367 w 32491"/>
                <a:gd name="connsiteY0" fmla="*/ 44270 h 44269"/>
                <a:gd name="connsiteX1" fmla="*/ 13367 w 32491"/>
                <a:gd name="connsiteY1" fmla="*/ 25924 h 44269"/>
                <a:gd name="connsiteX2" fmla="*/ 0 w 32491"/>
                <a:gd name="connsiteY2" fmla="*/ 25924 h 44269"/>
                <a:gd name="connsiteX3" fmla="*/ 0 w 32491"/>
                <a:gd name="connsiteY3" fmla="*/ 18213 h 44269"/>
                <a:gd name="connsiteX4" fmla="*/ 13367 w 32491"/>
                <a:gd name="connsiteY4" fmla="*/ 18213 h 44269"/>
                <a:gd name="connsiteX5" fmla="*/ 13367 w 32491"/>
                <a:gd name="connsiteY5" fmla="*/ 0 h 44269"/>
                <a:gd name="connsiteX6" fmla="*/ 19026 w 32491"/>
                <a:gd name="connsiteY6" fmla="*/ 0 h 44269"/>
                <a:gd name="connsiteX7" fmla="*/ 19026 w 32491"/>
                <a:gd name="connsiteY7" fmla="*/ 18213 h 44269"/>
                <a:gd name="connsiteX8" fmla="*/ 32491 w 32491"/>
                <a:gd name="connsiteY8" fmla="*/ 18213 h 44269"/>
                <a:gd name="connsiteX9" fmla="*/ 32491 w 32491"/>
                <a:gd name="connsiteY9" fmla="*/ 25924 h 44269"/>
                <a:gd name="connsiteX10" fmla="*/ 19026 w 32491"/>
                <a:gd name="connsiteY10" fmla="*/ 25924 h 44269"/>
                <a:gd name="connsiteX11" fmla="*/ 19026 w 32491"/>
                <a:gd name="connsiteY11" fmla="*/ 44270 h 44269"/>
                <a:gd name="connsiteX12" fmla="*/ 13367 w 32491"/>
                <a:gd name="connsiteY12" fmla="*/ 44270 h 44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91" h="44269">
                  <a:moveTo>
                    <a:pt x="13367" y="44270"/>
                  </a:moveTo>
                  <a:lnTo>
                    <a:pt x="13367" y="25924"/>
                  </a:lnTo>
                  <a:lnTo>
                    <a:pt x="0" y="25924"/>
                  </a:lnTo>
                  <a:lnTo>
                    <a:pt x="0" y="18213"/>
                  </a:lnTo>
                  <a:lnTo>
                    <a:pt x="13367" y="18213"/>
                  </a:lnTo>
                  <a:lnTo>
                    <a:pt x="13367" y="0"/>
                  </a:lnTo>
                  <a:lnTo>
                    <a:pt x="19026" y="0"/>
                  </a:lnTo>
                  <a:lnTo>
                    <a:pt x="19026" y="18213"/>
                  </a:lnTo>
                  <a:lnTo>
                    <a:pt x="32491" y="18213"/>
                  </a:lnTo>
                  <a:lnTo>
                    <a:pt x="32491" y="25924"/>
                  </a:lnTo>
                  <a:lnTo>
                    <a:pt x="19026" y="25924"/>
                  </a:lnTo>
                  <a:lnTo>
                    <a:pt x="19026" y="44270"/>
                  </a:lnTo>
                  <a:lnTo>
                    <a:pt x="13367" y="44270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33" name="Freihandform: Form 1032">
              <a:extLst>
                <a:ext uri="{FF2B5EF4-FFF2-40B4-BE49-F238E27FC236}">
                  <a16:creationId xmlns:a16="http://schemas.microsoft.com/office/drawing/2014/main" id="{46378C7E-CF45-8841-96EF-F087A92F5A4A}"/>
                </a:ext>
              </a:extLst>
            </p:cNvPr>
            <p:cNvSpPr/>
            <p:nvPr/>
          </p:nvSpPr>
          <p:spPr>
            <a:xfrm>
              <a:off x="10070356" y="2395213"/>
              <a:ext cx="32491" cy="44269"/>
            </a:xfrm>
            <a:custGeom>
              <a:avLst/>
              <a:gdLst>
                <a:gd name="connsiteX0" fmla="*/ 13367 w 32491"/>
                <a:gd name="connsiteY0" fmla="*/ 44270 h 44269"/>
                <a:gd name="connsiteX1" fmla="*/ 13367 w 32491"/>
                <a:gd name="connsiteY1" fmla="*/ 25924 h 44269"/>
                <a:gd name="connsiteX2" fmla="*/ 0 w 32491"/>
                <a:gd name="connsiteY2" fmla="*/ 25924 h 44269"/>
                <a:gd name="connsiteX3" fmla="*/ 0 w 32491"/>
                <a:gd name="connsiteY3" fmla="*/ 18213 h 44269"/>
                <a:gd name="connsiteX4" fmla="*/ 13367 w 32491"/>
                <a:gd name="connsiteY4" fmla="*/ 18213 h 44269"/>
                <a:gd name="connsiteX5" fmla="*/ 13367 w 32491"/>
                <a:gd name="connsiteY5" fmla="*/ 0 h 44269"/>
                <a:gd name="connsiteX6" fmla="*/ 19026 w 32491"/>
                <a:gd name="connsiteY6" fmla="*/ 0 h 44269"/>
                <a:gd name="connsiteX7" fmla="*/ 19026 w 32491"/>
                <a:gd name="connsiteY7" fmla="*/ 18213 h 44269"/>
                <a:gd name="connsiteX8" fmla="*/ 32491 w 32491"/>
                <a:gd name="connsiteY8" fmla="*/ 18213 h 44269"/>
                <a:gd name="connsiteX9" fmla="*/ 32491 w 32491"/>
                <a:gd name="connsiteY9" fmla="*/ 25924 h 44269"/>
                <a:gd name="connsiteX10" fmla="*/ 19026 w 32491"/>
                <a:gd name="connsiteY10" fmla="*/ 25924 h 44269"/>
                <a:gd name="connsiteX11" fmla="*/ 19026 w 32491"/>
                <a:gd name="connsiteY11" fmla="*/ 44270 h 44269"/>
                <a:gd name="connsiteX12" fmla="*/ 13367 w 32491"/>
                <a:gd name="connsiteY12" fmla="*/ 44270 h 44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91" h="44269">
                  <a:moveTo>
                    <a:pt x="13367" y="44270"/>
                  </a:moveTo>
                  <a:lnTo>
                    <a:pt x="13367" y="25924"/>
                  </a:lnTo>
                  <a:lnTo>
                    <a:pt x="0" y="25924"/>
                  </a:lnTo>
                  <a:lnTo>
                    <a:pt x="0" y="18213"/>
                  </a:lnTo>
                  <a:lnTo>
                    <a:pt x="13367" y="18213"/>
                  </a:lnTo>
                  <a:lnTo>
                    <a:pt x="13367" y="0"/>
                  </a:lnTo>
                  <a:lnTo>
                    <a:pt x="19026" y="0"/>
                  </a:lnTo>
                  <a:lnTo>
                    <a:pt x="19026" y="18213"/>
                  </a:lnTo>
                  <a:lnTo>
                    <a:pt x="32491" y="18213"/>
                  </a:lnTo>
                  <a:lnTo>
                    <a:pt x="32491" y="25924"/>
                  </a:lnTo>
                  <a:lnTo>
                    <a:pt x="19026" y="25924"/>
                  </a:lnTo>
                  <a:lnTo>
                    <a:pt x="19026" y="44270"/>
                  </a:lnTo>
                  <a:lnTo>
                    <a:pt x="13367" y="44270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34" name="Freihandform: Form 1033">
              <a:extLst>
                <a:ext uri="{FF2B5EF4-FFF2-40B4-BE49-F238E27FC236}">
                  <a16:creationId xmlns:a16="http://schemas.microsoft.com/office/drawing/2014/main" id="{D81FFFAF-AF5A-BAE4-461F-D6343A680901}"/>
                </a:ext>
              </a:extLst>
            </p:cNvPr>
            <p:cNvSpPr/>
            <p:nvPr/>
          </p:nvSpPr>
          <p:spPr>
            <a:xfrm>
              <a:off x="10163536" y="2395213"/>
              <a:ext cx="32491" cy="44269"/>
            </a:xfrm>
            <a:custGeom>
              <a:avLst/>
              <a:gdLst>
                <a:gd name="connsiteX0" fmla="*/ 13367 w 32491"/>
                <a:gd name="connsiteY0" fmla="*/ 44270 h 44269"/>
                <a:gd name="connsiteX1" fmla="*/ 13367 w 32491"/>
                <a:gd name="connsiteY1" fmla="*/ 25924 h 44269"/>
                <a:gd name="connsiteX2" fmla="*/ 0 w 32491"/>
                <a:gd name="connsiteY2" fmla="*/ 25924 h 44269"/>
                <a:gd name="connsiteX3" fmla="*/ 0 w 32491"/>
                <a:gd name="connsiteY3" fmla="*/ 18213 h 44269"/>
                <a:gd name="connsiteX4" fmla="*/ 13367 w 32491"/>
                <a:gd name="connsiteY4" fmla="*/ 18213 h 44269"/>
                <a:gd name="connsiteX5" fmla="*/ 13367 w 32491"/>
                <a:gd name="connsiteY5" fmla="*/ 0 h 44269"/>
                <a:gd name="connsiteX6" fmla="*/ 19026 w 32491"/>
                <a:gd name="connsiteY6" fmla="*/ 0 h 44269"/>
                <a:gd name="connsiteX7" fmla="*/ 19026 w 32491"/>
                <a:gd name="connsiteY7" fmla="*/ 18213 h 44269"/>
                <a:gd name="connsiteX8" fmla="*/ 32491 w 32491"/>
                <a:gd name="connsiteY8" fmla="*/ 18213 h 44269"/>
                <a:gd name="connsiteX9" fmla="*/ 32491 w 32491"/>
                <a:gd name="connsiteY9" fmla="*/ 25924 h 44269"/>
                <a:gd name="connsiteX10" fmla="*/ 19026 w 32491"/>
                <a:gd name="connsiteY10" fmla="*/ 25924 h 44269"/>
                <a:gd name="connsiteX11" fmla="*/ 19026 w 32491"/>
                <a:gd name="connsiteY11" fmla="*/ 44270 h 44269"/>
                <a:gd name="connsiteX12" fmla="*/ 13367 w 32491"/>
                <a:gd name="connsiteY12" fmla="*/ 44270 h 44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91" h="44269">
                  <a:moveTo>
                    <a:pt x="13367" y="44270"/>
                  </a:moveTo>
                  <a:lnTo>
                    <a:pt x="13367" y="25924"/>
                  </a:lnTo>
                  <a:lnTo>
                    <a:pt x="0" y="25924"/>
                  </a:lnTo>
                  <a:lnTo>
                    <a:pt x="0" y="18213"/>
                  </a:lnTo>
                  <a:lnTo>
                    <a:pt x="13367" y="18213"/>
                  </a:lnTo>
                  <a:lnTo>
                    <a:pt x="13367" y="0"/>
                  </a:lnTo>
                  <a:lnTo>
                    <a:pt x="19026" y="0"/>
                  </a:lnTo>
                  <a:lnTo>
                    <a:pt x="19026" y="18213"/>
                  </a:lnTo>
                  <a:lnTo>
                    <a:pt x="32491" y="18213"/>
                  </a:lnTo>
                  <a:lnTo>
                    <a:pt x="32491" y="25924"/>
                  </a:lnTo>
                  <a:lnTo>
                    <a:pt x="19026" y="25924"/>
                  </a:lnTo>
                  <a:lnTo>
                    <a:pt x="19026" y="44270"/>
                  </a:lnTo>
                  <a:lnTo>
                    <a:pt x="13367" y="44270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35" name="Freihandform: Form 1034">
              <a:extLst>
                <a:ext uri="{FF2B5EF4-FFF2-40B4-BE49-F238E27FC236}">
                  <a16:creationId xmlns:a16="http://schemas.microsoft.com/office/drawing/2014/main" id="{EA2E4B00-50E2-3BB4-2B43-55A87EFD247C}"/>
                </a:ext>
              </a:extLst>
            </p:cNvPr>
            <p:cNvSpPr/>
            <p:nvPr/>
          </p:nvSpPr>
          <p:spPr>
            <a:xfrm>
              <a:off x="10229689" y="2395213"/>
              <a:ext cx="32491" cy="44269"/>
            </a:xfrm>
            <a:custGeom>
              <a:avLst/>
              <a:gdLst>
                <a:gd name="connsiteX0" fmla="*/ 13367 w 32491"/>
                <a:gd name="connsiteY0" fmla="*/ 44270 h 44269"/>
                <a:gd name="connsiteX1" fmla="*/ 13367 w 32491"/>
                <a:gd name="connsiteY1" fmla="*/ 25924 h 44269"/>
                <a:gd name="connsiteX2" fmla="*/ 0 w 32491"/>
                <a:gd name="connsiteY2" fmla="*/ 25924 h 44269"/>
                <a:gd name="connsiteX3" fmla="*/ 0 w 32491"/>
                <a:gd name="connsiteY3" fmla="*/ 18213 h 44269"/>
                <a:gd name="connsiteX4" fmla="*/ 13367 w 32491"/>
                <a:gd name="connsiteY4" fmla="*/ 18213 h 44269"/>
                <a:gd name="connsiteX5" fmla="*/ 13367 w 32491"/>
                <a:gd name="connsiteY5" fmla="*/ 0 h 44269"/>
                <a:gd name="connsiteX6" fmla="*/ 19124 w 32491"/>
                <a:gd name="connsiteY6" fmla="*/ 0 h 44269"/>
                <a:gd name="connsiteX7" fmla="*/ 19124 w 32491"/>
                <a:gd name="connsiteY7" fmla="*/ 18213 h 44269"/>
                <a:gd name="connsiteX8" fmla="*/ 32491 w 32491"/>
                <a:gd name="connsiteY8" fmla="*/ 18213 h 44269"/>
                <a:gd name="connsiteX9" fmla="*/ 32491 w 32491"/>
                <a:gd name="connsiteY9" fmla="*/ 25924 h 44269"/>
                <a:gd name="connsiteX10" fmla="*/ 19124 w 32491"/>
                <a:gd name="connsiteY10" fmla="*/ 25924 h 44269"/>
                <a:gd name="connsiteX11" fmla="*/ 19124 w 32491"/>
                <a:gd name="connsiteY11" fmla="*/ 44270 h 44269"/>
                <a:gd name="connsiteX12" fmla="*/ 13367 w 32491"/>
                <a:gd name="connsiteY12" fmla="*/ 44270 h 44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91" h="44269">
                  <a:moveTo>
                    <a:pt x="13367" y="44270"/>
                  </a:moveTo>
                  <a:lnTo>
                    <a:pt x="13367" y="25924"/>
                  </a:lnTo>
                  <a:lnTo>
                    <a:pt x="0" y="25924"/>
                  </a:lnTo>
                  <a:lnTo>
                    <a:pt x="0" y="18213"/>
                  </a:lnTo>
                  <a:lnTo>
                    <a:pt x="13367" y="18213"/>
                  </a:lnTo>
                  <a:lnTo>
                    <a:pt x="13367" y="0"/>
                  </a:lnTo>
                  <a:lnTo>
                    <a:pt x="19124" y="0"/>
                  </a:lnTo>
                  <a:lnTo>
                    <a:pt x="19124" y="18213"/>
                  </a:lnTo>
                  <a:lnTo>
                    <a:pt x="32491" y="18213"/>
                  </a:lnTo>
                  <a:lnTo>
                    <a:pt x="32491" y="25924"/>
                  </a:lnTo>
                  <a:lnTo>
                    <a:pt x="19124" y="25924"/>
                  </a:lnTo>
                  <a:lnTo>
                    <a:pt x="19124" y="44270"/>
                  </a:lnTo>
                  <a:lnTo>
                    <a:pt x="13367" y="44270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36" name="Freihandform: Form 1035">
              <a:extLst>
                <a:ext uri="{FF2B5EF4-FFF2-40B4-BE49-F238E27FC236}">
                  <a16:creationId xmlns:a16="http://schemas.microsoft.com/office/drawing/2014/main" id="{D0327E3D-EC95-1727-8670-9CEC6B0895C4}"/>
                </a:ext>
              </a:extLst>
            </p:cNvPr>
            <p:cNvSpPr/>
            <p:nvPr/>
          </p:nvSpPr>
          <p:spPr>
            <a:xfrm>
              <a:off x="10264034" y="2395213"/>
              <a:ext cx="32393" cy="44269"/>
            </a:xfrm>
            <a:custGeom>
              <a:avLst/>
              <a:gdLst>
                <a:gd name="connsiteX0" fmla="*/ 13367 w 32393"/>
                <a:gd name="connsiteY0" fmla="*/ 44270 h 44269"/>
                <a:gd name="connsiteX1" fmla="*/ 13367 w 32393"/>
                <a:gd name="connsiteY1" fmla="*/ 25924 h 44269"/>
                <a:gd name="connsiteX2" fmla="*/ 0 w 32393"/>
                <a:gd name="connsiteY2" fmla="*/ 25924 h 44269"/>
                <a:gd name="connsiteX3" fmla="*/ 0 w 32393"/>
                <a:gd name="connsiteY3" fmla="*/ 18213 h 44269"/>
                <a:gd name="connsiteX4" fmla="*/ 13367 w 32393"/>
                <a:gd name="connsiteY4" fmla="*/ 18213 h 44269"/>
                <a:gd name="connsiteX5" fmla="*/ 13367 w 32393"/>
                <a:gd name="connsiteY5" fmla="*/ 0 h 44269"/>
                <a:gd name="connsiteX6" fmla="*/ 19026 w 32393"/>
                <a:gd name="connsiteY6" fmla="*/ 0 h 44269"/>
                <a:gd name="connsiteX7" fmla="*/ 19026 w 32393"/>
                <a:gd name="connsiteY7" fmla="*/ 18213 h 44269"/>
                <a:gd name="connsiteX8" fmla="*/ 32394 w 32393"/>
                <a:gd name="connsiteY8" fmla="*/ 18213 h 44269"/>
                <a:gd name="connsiteX9" fmla="*/ 32394 w 32393"/>
                <a:gd name="connsiteY9" fmla="*/ 25924 h 44269"/>
                <a:gd name="connsiteX10" fmla="*/ 19026 w 32393"/>
                <a:gd name="connsiteY10" fmla="*/ 25924 h 44269"/>
                <a:gd name="connsiteX11" fmla="*/ 19026 w 32393"/>
                <a:gd name="connsiteY11" fmla="*/ 44270 h 44269"/>
                <a:gd name="connsiteX12" fmla="*/ 13367 w 32393"/>
                <a:gd name="connsiteY12" fmla="*/ 44270 h 44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393" h="44269">
                  <a:moveTo>
                    <a:pt x="13367" y="44270"/>
                  </a:moveTo>
                  <a:lnTo>
                    <a:pt x="13367" y="25924"/>
                  </a:lnTo>
                  <a:lnTo>
                    <a:pt x="0" y="25924"/>
                  </a:lnTo>
                  <a:lnTo>
                    <a:pt x="0" y="18213"/>
                  </a:lnTo>
                  <a:lnTo>
                    <a:pt x="13367" y="18213"/>
                  </a:lnTo>
                  <a:lnTo>
                    <a:pt x="13367" y="0"/>
                  </a:lnTo>
                  <a:lnTo>
                    <a:pt x="19026" y="0"/>
                  </a:lnTo>
                  <a:lnTo>
                    <a:pt x="19026" y="18213"/>
                  </a:lnTo>
                  <a:lnTo>
                    <a:pt x="32394" y="18213"/>
                  </a:lnTo>
                  <a:lnTo>
                    <a:pt x="32394" y="25924"/>
                  </a:lnTo>
                  <a:lnTo>
                    <a:pt x="19026" y="25924"/>
                  </a:lnTo>
                  <a:lnTo>
                    <a:pt x="19026" y="44270"/>
                  </a:lnTo>
                  <a:lnTo>
                    <a:pt x="13367" y="44270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37" name="Freihandform: Form 1036">
              <a:extLst>
                <a:ext uri="{FF2B5EF4-FFF2-40B4-BE49-F238E27FC236}">
                  <a16:creationId xmlns:a16="http://schemas.microsoft.com/office/drawing/2014/main" id="{B5BE659B-30C8-BB5B-F57E-8F02DE437D31}"/>
                </a:ext>
              </a:extLst>
            </p:cNvPr>
            <p:cNvSpPr/>
            <p:nvPr/>
          </p:nvSpPr>
          <p:spPr>
            <a:xfrm>
              <a:off x="10416050" y="2422333"/>
              <a:ext cx="32393" cy="44269"/>
            </a:xfrm>
            <a:custGeom>
              <a:avLst/>
              <a:gdLst>
                <a:gd name="connsiteX0" fmla="*/ 13367 w 32393"/>
                <a:gd name="connsiteY0" fmla="*/ 44270 h 44269"/>
                <a:gd name="connsiteX1" fmla="*/ 13367 w 32393"/>
                <a:gd name="connsiteY1" fmla="*/ 25924 h 44269"/>
                <a:gd name="connsiteX2" fmla="*/ 0 w 32393"/>
                <a:gd name="connsiteY2" fmla="*/ 25924 h 44269"/>
                <a:gd name="connsiteX3" fmla="*/ 0 w 32393"/>
                <a:gd name="connsiteY3" fmla="*/ 18213 h 44269"/>
                <a:gd name="connsiteX4" fmla="*/ 13367 w 32393"/>
                <a:gd name="connsiteY4" fmla="*/ 18213 h 44269"/>
                <a:gd name="connsiteX5" fmla="*/ 13367 w 32393"/>
                <a:gd name="connsiteY5" fmla="*/ 0 h 44269"/>
                <a:gd name="connsiteX6" fmla="*/ 19026 w 32393"/>
                <a:gd name="connsiteY6" fmla="*/ 0 h 44269"/>
                <a:gd name="connsiteX7" fmla="*/ 19026 w 32393"/>
                <a:gd name="connsiteY7" fmla="*/ 18213 h 44269"/>
                <a:gd name="connsiteX8" fmla="*/ 32393 w 32393"/>
                <a:gd name="connsiteY8" fmla="*/ 18213 h 44269"/>
                <a:gd name="connsiteX9" fmla="*/ 32393 w 32393"/>
                <a:gd name="connsiteY9" fmla="*/ 25924 h 44269"/>
                <a:gd name="connsiteX10" fmla="*/ 19026 w 32393"/>
                <a:gd name="connsiteY10" fmla="*/ 25924 h 44269"/>
                <a:gd name="connsiteX11" fmla="*/ 19026 w 32393"/>
                <a:gd name="connsiteY11" fmla="*/ 44270 h 44269"/>
                <a:gd name="connsiteX12" fmla="*/ 13367 w 32393"/>
                <a:gd name="connsiteY12" fmla="*/ 44270 h 44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393" h="44269">
                  <a:moveTo>
                    <a:pt x="13367" y="44270"/>
                  </a:moveTo>
                  <a:lnTo>
                    <a:pt x="13367" y="25924"/>
                  </a:lnTo>
                  <a:lnTo>
                    <a:pt x="0" y="25924"/>
                  </a:lnTo>
                  <a:lnTo>
                    <a:pt x="0" y="18213"/>
                  </a:lnTo>
                  <a:lnTo>
                    <a:pt x="13367" y="18213"/>
                  </a:lnTo>
                  <a:lnTo>
                    <a:pt x="13367" y="0"/>
                  </a:lnTo>
                  <a:lnTo>
                    <a:pt x="19026" y="0"/>
                  </a:lnTo>
                  <a:lnTo>
                    <a:pt x="19026" y="18213"/>
                  </a:lnTo>
                  <a:lnTo>
                    <a:pt x="32393" y="18213"/>
                  </a:lnTo>
                  <a:lnTo>
                    <a:pt x="32393" y="25924"/>
                  </a:lnTo>
                  <a:lnTo>
                    <a:pt x="19026" y="25924"/>
                  </a:lnTo>
                  <a:lnTo>
                    <a:pt x="19026" y="44270"/>
                  </a:lnTo>
                  <a:lnTo>
                    <a:pt x="13367" y="44270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38" name="Freihandform: Form 1037">
              <a:extLst>
                <a:ext uri="{FF2B5EF4-FFF2-40B4-BE49-F238E27FC236}">
                  <a16:creationId xmlns:a16="http://schemas.microsoft.com/office/drawing/2014/main" id="{228102FE-691D-CDDA-7371-640E5D119E03}"/>
                </a:ext>
              </a:extLst>
            </p:cNvPr>
            <p:cNvSpPr/>
            <p:nvPr/>
          </p:nvSpPr>
          <p:spPr>
            <a:xfrm>
              <a:off x="10440443" y="2422333"/>
              <a:ext cx="32491" cy="44269"/>
            </a:xfrm>
            <a:custGeom>
              <a:avLst/>
              <a:gdLst>
                <a:gd name="connsiteX0" fmla="*/ 13465 w 32491"/>
                <a:gd name="connsiteY0" fmla="*/ 44270 h 44269"/>
                <a:gd name="connsiteX1" fmla="*/ 13465 w 32491"/>
                <a:gd name="connsiteY1" fmla="*/ 25924 h 44269"/>
                <a:gd name="connsiteX2" fmla="*/ 0 w 32491"/>
                <a:gd name="connsiteY2" fmla="*/ 25924 h 44269"/>
                <a:gd name="connsiteX3" fmla="*/ 0 w 32491"/>
                <a:gd name="connsiteY3" fmla="*/ 18213 h 44269"/>
                <a:gd name="connsiteX4" fmla="*/ 13465 w 32491"/>
                <a:gd name="connsiteY4" fmla="*/ 18213 h 44269"/>
                <a:gd name="connsiteX5" fmla="*/ 13465 w 32491"/>
                <a:gd name="connsiteY5" fmla="*/ 0 h 44269"/>
                <a:gd name="connsiteX6" fmla="*/ 19124 w 32491"/>
                <a:gd name="connsiteY6" fmla="*/ 0 h 44269"/>
                <a:gd name="connsiteX7" fmla="*/ 19124 w 32491"/>
                <a:gd name="connsiteY7" fmla="*/ 18213 h 44269"/>
                <a:gd name="connsiteX8" fmla="*/ 32491 w 32491"/>
                <a:gd name="connsiteY8" fmla="*/ 18213 h 44269"/>
                <a:gd name="connsiteX9" fmla="*/ 32491 w 32491"/>
                <a:gd name="connsiteY9" fmla="*/ 25924 h 44269"/>
                <a:gd name="connsiteX10" fmla="*/ 19124 w 32491"/>
                <a:gd name="connsiteY10" fmla="*/ 25924 h 44269"/>
                <a:gd name="connsiteX11" fmla="*/ 19124 w 32491"/>
                <a:gd name="connsiteY11" fmla="*/ 44270 h 44269"/>
                <a:gd name="connsiteX12" fmla="*/ 13465 w 32491"/>
                <a:gd name="connsiteY12" fmla="*/ 44270 h 44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91" h="44269">
                  <a:moveTo>
                    <a:pt x="13465" y="44270"/>
                  </a:moveTo>
                  <a:lnTo>
                    <a:pt x="13465" y="25924"/>
                  </a:lnTo>
                  <a:lnTo>
                    <a:pt x="0" y="25924"/>
                  </a:lnTo>
                  <a:lnTo>
                    <a:pt x="0" y="18213"/>
                  </a:lnTo>
                  <a:lnTo>
                    <a:pt x="13465" y="18213"/>
                  </a:lnTo>
                  <a:lnTo>
                    <a:pt x="13465" y="0"/>
                  </a:lnTo>
                  <a:lnTo>
                    <a:pt x="19124" y="0"/>
                  </a:lnTo>
                  <a:lnTo>
                    <a:pt x="19124" y="18213"/>
                  </a:lnTo>
                  <a:lnTo>
                    <a:pt x="32491" y="18213"/>
                  </a:lnTo>
                  <a:lnTo>
                    <a:pt x="32491" y="25924"/>
                  </a:lnTo>
                  <a:lnTo>
                    <a:pt x="19124" y="25924"/>
                  </a:lnTo>
                  <a:lnTo>
                    <a:pt x="19124" y="44270"/>
                  </a:lnTo>
                  <a:lnTo>
                    <a:pt x="13465" y="44270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39" name="Freihandform: Form 1038">
              <a:extLst>
                <a:ext uri="{FF2B5EF4-FFF2-40B4-BE49-F238E27FC236}">
                  <a16:creationId xmlns:a16="http://schemas.microsoft.com/office/drawing/2014/main" id="{3D50512A-01C4-C438-A734-18F0B7F34C51}"/>
                </a:ext>
              </a:extLst>
            </p:cNvPr>
            <p:cNvSpPr/>
            <p:nvPr/>
          </p:nvSpPr>
          <p:spPr>
            <a:xfrm>
              <a:off x="10460152" y="2422333"/>
              <a:ext cx="32393" cy="44269"/>
            </a:xfrm>
            <a:custGeom>
              <a:avLst/>
              <a:gdLst>
                <a:gd name="connsiteX0" fmla="*/ 13367 w 32393"/>
                <a:gd name="connsiteY0" fmla="*/ 44270 h 44269"/>
                <a:gd name="connsiteX1" fmla="*/ 13367 w 32393"/>
                <a:gd name="connsiteY1" fmla="*/ 25924 h 44269"/>
                <a:gd name="connsiteX2" fmla="*/ 0 w 32393"/>
                <a:gd name="connsiteY2" fmla="*/ 25924 h 44269"/>
                <a:gd name="connsiteX3" fmla="*/ 0 w 32393"/>
                <a:gd name="connsiteY3" fmla="*/ 18213 h 44269"/>
                <a:gd name="connsiteX4" fmla="*/ 13367 w 32393"/>
                <a:gd name="connsiteY4" fmla="*/ 18213 h 44269"/>
                <a:gd name="connsiteX5" fmla="*/ 13367 w 32393"/>
                <a:gd name="connsiteY5" fmla="*/ 0 h 44269"/>
                <a:gd name="connsiteX6" fmla="*/ 19026 w 32393"/>
                <a:gd name="connsiteY6" fmla="*/ 0 h 44269"/>
                <a:gd name="connsiteX7" fmla="*/ 19026 w 32393"/>
                <a:gd name="connsiteY7" fmla="*/ 18213 h 44269"/>
                <a:gd name="connsiteX8" fmla="*/ 32394 w 32393"/>
                <a:gd name="connsiteY8" fmla="*/ 18213 h 44269"/>
                <a:gd name="connsiteX9" fmla="*/ 32394 w 32393"/>
                <a:gd name="connsiteY9" fmla="*/ 25924 h 44269"/>
                <a:gd name="connsiteX10" fmla="*/ 19026 w 32393"/>
                <a:gd name="connsiteY10" fmla="*/ 25924 h 44269"/>
                <a:gd name="connsiteX11" fmla="*/ 19026 w 32393"/>
                <a:gd name="connsiteY11" fmla="*/ 44270 h 44269"/>
                <a:gd name="connsiteX12" fmla="*/ 13367 w 32393"/>
                <a:gd name="connsiteY12" fmla="*/ 44270 h 44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393" h="44269">
                  <a:moveTo>
                    <a:pt x="13367" y="44270"/>
                  </a:moveTo>
                  <a:lnTo>
                    <a:pt x="13367" y="25924"/>
                  </a:lnTo>
                  <a:lnTo>
                    <a:pt x="0" y="25924"/>
                  </a:lnTo>
                  <a:lnTo>
                    <a:pt x="0" y="18213"/>
                  </a:lnTo>
                  <a:lnTo>
                    <a:pt x="13367" y="18213"/>
                  </a:lnTo>
                  <a:lnTo>
                    <a:pt x="13367" y="0"/>
                  </a:lnTo>
                  <a:lnTo>
                    <a:pt x="19026" y="0"/>
                  </a:lnTo>
                  <a:lnTo>
                    <a:pt x="19026" y="18213"/>
                  </a:lnTo>
                  <a:lnTo>
                    <a:pt x="32394" y="18213"/>
                  </a:lnTo>
                  <a:lnTo>
                    <a:pt x="32394" y="25924"/>
                  </a:lnTo>
                  <a:lnTo>
                    <a:pt x="19026" y="25924"/>
                  </a:lnTo>
                  <a:lnTo>
                    <a:pt x="19026" y="44270"/>
                  </a:lnTo>
                  <a:lnTo>
                    <a:pt x="13367" y="44270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40" name="Freihandform: Form 1039">
              <a:extLst>
                <a:ext uri="{FF2B5EF4-FFF2-40B4-BE49-F238E27FC236}">
                  <a16:creationId xmlns:a16="http://schemas.microsoft.com/office/drawing/2014/main" id="{342B60D6-B973-A298-2D85-A42765A1BFC2}"/>
                </a:ext>
              </a:extLst>
            </p:cNvPr>
            <p:cNvSpPr/>
            <p:nvPr/>
          </p:nvSpPr>
          <p:spPr>
            <a:xfrm>
              <a:off x="10489521" y="2422333"/>
              <a:ext cx="32491" cy="44269"/>
            </a:xfrm>
            <a:custGeom>
              <a:avLst/>
              <a:gdLst>
                <a:gd name="connsiteX0" fmla="*/ 13465 w 32491"/>
                <a:gd name="connsiteY0" fmla="*/ 44270 h 44269"/>
                <a:gd name="connsiteX1" fmla="*/ 13465 w 32491"/>
                <a:gd name="connsiteY1" fmla="*/ 25924 h 44269"/>
                <a:gd name="connsiteX2" fmla="*/ 0 w 32491"/>
                <a:gd name="connsiteY2" fmla="*/ 25924 h 44269"/>
                <a:gd name="connsiteX3" fmla="*/ 0 w 32491"/>
                <a:gd name="connsiteY3" fmla="*/ 18213 h 44269"/>
                <a:gd name="connsiteX4" fmla="*/ 13465 w 32491"/>
                <a:gd name="connsiteY4" fmla="*/ 18213 h 44269"/>
                <a:gd name="connsiteX5" fmla="*/ 13465 w 32491"/>
                <a:gd name="connsiteY5" fmla="*/ 0 h 44269"/>
                <a:gd name="connsiteX6" fmla="*/ 19124 w 32491"/>
                <a:gd name="connsiteY6" fmla="*/ 0 h 44269"/>
                <a:gd name="connsiteX7" fmla="*/ 19124 w 32491"/>
                <a:gd name="connsiteY7" fmla="*/ 18213 h 44269"/>
                <a:gd name="connsiteX8" fmla="*/ 32491 w 32491"/>
                <a:gd name="connsiteY8" fmla="*/ 18213 h 44269"/>
                <a:gd name="connsiteX9" fmla="*/ 32491 w 32491"/>
                <a:gd name="connsiteY9" fmla="*/ 25924 h 44269"/>
                <a:gd name="connsiteX10" fmla="*/ 19124 w 32491"/>
                <a:gd name="connsiteY10" fmla="*/ 25924 h 44269"/>
                <a:gd name="connsiteX11" fmla="*/ 19124 w 32491"/>
                <a:gd name="connsiteY11" fmla="*/ 44270 h 44269"/>
                <a:gd name="connsiteX12" fmla="*/ 13465 w 32491"/>
                <a:gd name="connsiteY12" fmla="*/ 44270 h 44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91" h="44269">
                  <a:moveTo>
                    <a:pt x="13465" y="44270"/>
                  </a:moveTo>
                  <a:lnTo>
                    <a:pt x="13465" y="25924"/>
                  </a:lnTo>
                  <a:lnTo>
                    <a:pt x="0" y="25924"/>
                  </a:lnTo>
                  <a:lnTo>
                    <a:pt x="0" y="18213"/>
                  </a:lnTo>
                  <a:lnTo>
                    <a:pt x="13465" y="18213"/>
                  </a:lnTo>
                  <a:lnTo>
                    <a:pt x="13465" y="0"/>
                  </a:lnTo>
                  <a:lnTo>
                    <a:pt x="19124" y="0"/>
                  </a:lnTo>
                  <a:lnTo>
                    <a:pt x="19124" y="18213"/>
                  </a:lnTo>
                  <a:lnTo>
                    <a:pt x="32491" y="18213"/>
                  </a:lnTo>
                  <a:lnTo>
                    <a:pt x="32491" y="25924"/>
                  </a:lnTo>
                  <a:lnTo>
                    <a:pt x="19124" y="25924"/>
                  </a:lnTo>
                  <a:lnTo>
                    <a:pt x="19124" y="44270"/>
                  </a:lnTo>
                  <a:lnTo>
                    <a:pt x="13465" y="44270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41" name="Freihandform: Form 1040">
              <a:extLst>
                <a:ext uri="{FF2B5EF4-FFF2-40B4-BE49-F238E27FC236}">
                  <a16:creationId xmlns:a16="http://schemas.microsoft.com/office/drawing/2014/main" id="{AD1BD794-6D7C-7BA4-EB17-D96A8A11236F}"/>
                </a:ext>
              </a:extLst>
            </p:cNvPr>
            <p:cNvSpPr/>
            <p:nvPr/>
          </p:nvSpPr>
          <p:spPr>
            <a:xfrm>
              <a:off x="10509133" y="2422333"/>
              <a:ext cx="32491" cy="44269"/>
            </a:xfrm>
            <a:custGeom>
              <a:avLst/>
              <a:gdLst>
                <a:gd name="connsiteX0" fmla="*/ 13367 w 32491"/>
                <a:gd name="connsiteY0" fmla="*/ 44270 h 44269"/>
                <a:gd name="connsiteX1" fmla="*/ 13367 w 32491"/>
                <a:gd name="connsiteY1" fmla="*/ 25924 h 44269"/>
                <a:gd name="connsiteX2" fmla="*/ 0 w 32491"/>
                <a:gd name="connsiteY2" fmla="*/ 25924 h 44269"/>
                <a:gd name="connsiteX3" fmla="*/ 0 w 32491"/>
                <a:gd name="connsiteY3" fmla="*/ 18213 h 44269"/>
                <a:gd name="connsiteX4" fmla="*/ 13367 w 32491"/>
                <a:gd name="connsiteY4" fmla="*/ 18213 h 44269"/>
                <a:gd name="connsiteX5" fmla="*/ 13367 w 32491"/>
                <a:gd name="connsiteY5" fmla="*/ 0 h 44269"/>
                <a:gd name="connsiteX6" fmla="*/ 19124 w 32491"/>
                <a:gd name="connsiteY6" fmla="*/ 0 h 44269"/>
                <a:gd name="connsiteX7" fmla="*/ 19124 w 32491"/>
                <a:gd name="connsiteY7" fmla="*/ 18213 h 44269"/>
                <a:gd name="connsiteX8" fmla="*/ 32491 w 32491"/>
                <a:gd name="connsiteY8" fmla="*/ 18213 h 44269"/>
                <a:gd name="connsiteX9" fmla="*/ 32491 w 32491"/>
                <a:gd name="connsiteY9" fmla="*/ 25924 h 44269"/>
                <a:gd name="connsiteX10" fmla="*/ 19124 w 32491"/>
                <a:gd name="connsiteY10" fmla="*/ 25924 h 44269"/>
                <a:gd name="connsiteX11" fmla="*/ 19124 w 32491"/>
                <a:gd name="connsiteY11" fmla="*/ 44270 h 44269"/>
                <a:gd name="connsiteX12" fmla="*/ 13367 w 32491"/>
                <a:gd name="connsiteY12" fmla="*/ 44270 h 44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91" h="44269">
                  <a:moveTo>
                    <a:pt x="13367" y="44270"/>
                  </a:moveTo>
                  <a:lnTo>
                    <a:pt x="13367" y="25924"/>
                  </a:lnTo>
                  <a:lnTo>
                    <a:pt x="0" y="25924"/>
                  </a:lnTo>
                  <a:lnTo>
                    <a:pt x="0" y="18213"/>
                  </a:lnTo>
                  <a:lnTo>
                    <a:pt x="13367" y="18213"/>
                  </a:lnTo>
                  <a:lnTo>
                    <a:pt x="13367" y="0"/>
                  </a:lnTo>
                  <a:lnTo>
                    <a:pt x="19124" y="0"/>
                  </a:lnTo>
                  <a:lnTo>
                    <a:pt x="19124" y="18213"/>
                  </a:lnTo>
                  <a:lnTo>
                    <a:pt x="32491" y="18213"/>
                  </a:lnTo>
                  <a:lnTo>
                    <a:pt x="32491" y="25924"/>
                  </a:lnTo>
                  <a:lnTo>
                    <a:pt x="19124" y="25924"/>
                  </a:lnTo>
                  <a:lnTo>
                    <a:pt x="19124" y="44270"/>
                  </a:lnTo>
                  <a:lnTo>
                    <a:pt x="13367" y="44270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42" name="Freihandform: Form 1041">
              <a:extLst>
                <a:ext uri="{FF2B5EF4-FFF2-40B4-BE49-F238E27FC236}">
                  <a16:creationId xmlns:a16="http://schemas.microsoft.com/office/drawing/2014/main" id="{707B76B8-D480-C04F-9E0E-C074AE4962AA}"/>
                </a:ext>
              </a:extLst>
            </p:cNvPr>
            <p:cNvSpPr/>
            <p:nvPr/>
          </p:nvSpPr>
          <p:spPr>
            <a:xfrm>
              <a:off x="10533721" y="2452777"/>
              <a:ext cx="32393" cy="44269"/>
            </a:xfrm>
            <a:custGeom>
              <a:avLst/>
              <a:gdLst>
                <a:gd name="connsiteX0" fmla="*/ 13367 w 32393"/>
                <a:gd name="connsiteY0" fmla="*/ 44270 h 44269"/>
                <a:gd name="connsiteX1" fmla="*/ 13367 w 32393"/>
                <a:gd name="connsiteY1" fmla="*/ 25924 h 44269"/>
                <a:gd name="connsiteX2" fmla="*/ 0 w 32393"/>
                <a:gd name="connsiteY2" fmla="*/ 25924 h 44269"/>
                <a:gd name="connsiteX3" fmla="*/ 0 w 32393"/>
                <a:gd name="connsiteY3" fmla="*/ 18213 h 44269"/>
                <a:gd name="connsiteX4" fmla="*/ 13367 w 32393"/>
                <a:gd name="connsiteY4" fmla="*/ 18213 h 44269"/>
                <a:gd name="connsiteX5" fmla="*/ 13367 w 32393"/>
                <a:gd name="connsiteY5" fmla="*/ 0 h 44269"/>
                <a:gd name="connsiteX6" fmla="*/ 19026 w 32393"/>
                <a:gd name="connsiteY6" fmla="*/ 0 h 44269"/>
                <a:gd name="connsiteX7" fmla="*/ 19026 w 32393"/>
                <a:gd name="connsiteY7" fmla="*/ 18213 h 44269"/>
                <a:gd name="connsiteX8" fmla="*/ 32394 w 32393"/>
                <a:gd name="connsiteY8" fmla="*/ 18213 h 44269"/>
                <a:gd name="connsiteX9" fmla="*/ 32394 w 32393"/>
                <a:gd name="connsiteY9" fmla="*/ 25924 h 44269"/>
                <a:gd name="connsiteX10" fmla="*/ 19026 w 32393"/>
                <a:gd name="connsiteY10" fmla="*/ 25924 h 44269"/>
                <a:gd name="connsiteX11" fmla="*/ 19026 w 32393"/>
                <a:gd name="connsiteY11" fmla="*/ 44270 h 44269"/>
                <a:gd name="connsiteX12" fmla="*/ 13367 w 32393"/>
                <a:gd name="connsiteY12" fmla="*/ 44270 h 44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393" h="44269">
                  <a:moveTo>
                    <a:pt x="13367" y="44270"/>
                  </a:moveTo>
                  <a:lnTo>
                    <a:pt x="13367" y="25924"/>
                  </a:lnTo>
                  <a:lnTo>
                    <a:pt x="0" y="25924"/>
                  </a:lnTo>
                  <a:lnTo>
                    <a:pt x="0" y="18213"/>
                  </a:lnTo>
                  <a:lnTo>
                    <a:pt x="13367" y="18213"/>
                  </a:lnTo>
                  <a:lnTo>
                    <a:pt x="13367" y="0"/>
                  </a:lnTo>
                  <a:lnTo>
                    <a:pt x="19026" y="0"/>
                  </a:lnTo>
                  <a:lnTo>
                    <a:pt x="19026" y="18213"/>
                  </a:lnTo>
                  <a:lnTo>
                    <a:pt x="32394" y="18213"/>
                  </a:lnTo>
                  <a:lnTo>
                    <a:pt x="32394" y="25924"/>
                  </a:lnTo>
                  <a:lnTo>
                    <a:pt x="19026" y="25924"/>
                  </a:lnTo>
                  <a:lnTo>
                    <a:pt x="19026" y="44270"/>
                  </a:lnTo>
                  <a:lnTo>
                    <a:pt x="13367" y="44270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43" name="Freihandform: Form 1042">
              <a:extLst>
                <a:ext uri="{FF2B5EF4-FFF2-40B4-BE49-F238E27FC236}">
                  <a16:creationId xmlns:a16="http://schemas.microsoft.com/office/drawing/2014/main" id="{8AE8CA5F-3C75-AFD4-07A3-72B50A4F266C}"/>
                </a:ext>
              </a:extLst>
            </p:cNvPr>
            <p:cNvSpPr/>
            <p:nvPr/>
          </p:nvSpPr>
          <p:spPr>
            <a:xfrm>
              <a:off x="10538599" y="2452777"/>
              <a:ext cx="32491" cy="44269"/>
            </a:xfrm>
            <a:custGeom>
              <a:avLst/>
              <a:gdLst>
                <a:gd name="connsiteX0" fmla="*/ 13367 w 32491"/>
                <a:gd name="connsiteY0" fmla="*/ 44270 h 44269"/>
                <a:gd name="connsiteX1" fmla="*/ 13367 w 32491"/>
                <a:gd name="connsiteY1" fmla="*/ 25924 h 44269"/>
                <a:gd name="connsiteX2" fmla="*/ 0 w 32491"/>
                <a:gd name="connsiteY2" fmla="*/ 25924 h 44269"/>
                <a:gd name="connsiteX3" fmla="*/ 0 w 32491"/>
                <a:gd name="connsiteY3" fmla="*/ 18213 h 44269"/>
                <a:gd name="connsiteX4" fmla="*/ 13367 w 32491"/>
                <a:gd name="connsiteY4" fmla="*/ 18213 h 44269"/>
                <a:gd name="connsiteX5" fmla="*/ 13367 w 32491"/>
                <a:gd name="connsiteY5" fmla="*/ 0 h 44269"/>
                <a:gd name="connsiteX6" fmla="*/ 19124 w 32491"/>
                <a:gd name="connsiteY6" fmla="*/ 0 h 44269"/>
                <a:gd name="connsiteX7" fmla="*/ 19124 w 32491"/>
                <a:gd name="connsiteY7" fmla="*/ 18213 h 44269"/>
                <a:gd name="connsiteX8" fmla="*/ 32491 w 32491"/>
                <a:gd name="connsiteY8" fmla="*/ 18213 h 44269"/>
                <a:gd name="connsiteX9" fmla="*/ 32491 w 32491"/>
                <a:gd name="connsiteY9" fmla="*/ 25924 h 44269"/>
                <a:gd name="connsiteX10" fmla="*/ 19124 w 32491"/>
                <a:gd name="connsiteY10" fmla="*/ 25924 h 44269"/>
                <a:gd name="connsiteX11" fmla="*/ 19124 w 32491"/>
                <a:gd name="connsiteY11" fmla="*/ 44270 h 44269"/>
                <a:gd name="connsiteX12" fmla="*/ 13367 w 32491"/>
                <a:gd name="connsiteY12" fmla="*/ 44270 h 44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91" h="44269">
                  <a:moveTo>
                    <a:pt x="13367" y="44270"/>
                  </a:moveTo>
                  <a:lnTo>
                    <a:pt x="13367" y="25924"/>
                  </a:lnTo>
                  <a:lnTo>
                    <a:pt x="0" y="25924"/>
                  </a:lnTo>
                  <a:lnTo>
                    <a:pt x="0" y="18213"/>
                  </a:lnTo>
                  <a:lnTo>
                    <a:pt x="13367" y="18213"/>
                  </a:lnTo>
                  <a:lnTo>
                    <a:pt x="13367" y="0"/>
                  </a:lnTo>
                  <a:lnTo>
                    <a:pt x="19124" y="0"/>
                  </a:lnTo>
                  <a:lnTo>
                    <a:pt x="19124" y="18213"/>
                  </a:lnTo>
                  <a:lnTo>
                    <a:pt x="32491" y="18213"/>
                  </a:lnTo>
                  <a:lnTo>
                    <a:pt x="32491" y="25924"/>
                  </a:lnTo>
                  <a:lnTo>
                    <a:pt x="19124" y="25924"/>
                  </a:lnTo>
                  <a:lnTo>
                    <a:pt x="19124" y="44270"/>
                  </a:lnTo>
                  <a:lnTo>
                    <a:pt x="13367" y="44270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44" name="Freihandform: Form 1043">
              <a:extLst>
                <a:ext uri="{FF2B5EF4-FFF2-40B4-BE49-F238E27FC236}">
                  <a16:creationId xmlns:a16="http://schemas.microsoft.com/office/drawing/2014/main" id="{F3276663-0E85-9A6C-79EA-4FB078E56FEB}"/>
                </a:ext>
              </a:extLst>
            </p:cNvPr>
            <p:cNvSpPr/>
            <p:nvPr/>
          </p:nvSpPr>
          <p:spPr>
            <a:xfrm>
              <a:off x="10550796" y="2452777"/>
              <a:ext cx="32491" cy="44269"/>
            </a:xfrm>
            <a:custGeom>
              <a:avLst/>
              <a:gdLst>
                <a:gd name="connsiteX0" fmla="*/ 13367 w 32491"/>
                <a:gd name="connsiteY0" fmla="*/ 44270 h 44269"/>
                <a:gd name="connsiteX1" fmla="*/ 13367 w 32491"/>
                <a:gd name="connsiteY1" fmla="*/ 25924 h 44269"/>
                <a:gd name="connsiteX2" fmla="*/ 0 w 32491"/>
                <a:gd name="connsiteY2" fmla="*/ 25924 h 44269"/>
                <a:gd name="connsiteX3" fmla="*/ 0 w 32491"/>
                <a:gd name="connsiteY3" fmla="*/ 18213 h 44269"/>
                <a:gd name="connsiteX4" fmla="*/ 13367 w 32491"/>
                <a:gd name="connsiteY4" fmla="*/ 18213 h 44269"/>
                <a:gd name="connsiteX5" fmla="*/ 13367 w 32491"/>
                <a:gd name="connsiteY5" fmla="*/ 0 h 44269"/>
                <a:gd name="connsiteX6" fmla="*/ 19124 w 32491"/>
                <a:gd name="connsiteY6" fmla="*/ 0 h 44269"/>
                <a:gd name="connsiteX7" fmla="*/ 19124 w 32491"/>
                <a:gd name="connsiteY7" fmla="*/ 18213 h 44269"/>
                <a:gd name="connsiteX8" fmla="*/ 32491 w 32491"/>
                <a:gd name="connsiteY8" fmla="*/ 18213 h 44269"/>
                <a:gd name="connsiteX9" fmla="*/ 32491 w 32491"/>
                <a:gd name="connsiteY9" fmla="*/ 25924 h 44269"/>
                <a:gd name="connsiteX10" fmla="*/ 19124 w 32491"/>
                <a:gd name="connsiteY10" fmla="*/ 25924 h 44269"/>
                <a:gd name="connsiteX11" fmla="*/ 19124 w 32491"/>
                <a:gd name="connsiteY11" fmla="*/ 44270 h 44269"/>
                <a:gd name="connsiteX12" fmla="*/ 13367 w 32491"/>
                <a:gd name="connsiteY12" fmla="*/ 44270 h 44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91" h="44269">
                  <a:moveTo>
                    <a:pt x="13367" y="44270"/>
                  </a:moveTo>
                  <a:lnTo>
                    <a:pt x="13367" y="25924"/>
                  </a:lnTo>
                  <a:lnTo>
                    <a:pt x="0" y="25924"/>
                  </a:lnTo>
                  <a:lnTo>
                    <a:pt x="0" y="18213"/>
                  </a:lnTo>
                  <a:lnTo>
                    <a:pt x="13367" y="18213"/>
                  </a:lnTo>
                  <a:lnTo>
                    <a:pt x="13367" y="0"/>
                  </a:lnTo>
                  <a:lnTo>
                    <a:pt x="19124" y="0"/>
                  </a:lnTo>
                  <a:lnTo>
                    <a:pt x="19124" y="18213"/>
                  </a:lnTo>
                  <a:lnTo>
                    <a:pt x="32491" y="18213"/>
                  </a:lnTo>
                  <a:lnTo>
                    <a:pt x="32491" y="25924"/>
                  </a:lnTo>
                  <a:lnTo>
                    <a:pt x="19124" y="25924"/>
                  </a:lnTo>
                  <a:lnTo>
                    <a:pt x="19124" y="44270"/>
                  </a:lnTo>
                  <a:lnTo>
                    <a:pt x="13367" y="44270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45" name="Freihandform: Form 1044">
              <a:extLst>
                <a:ext uri="{FF2B5EF4-FFF2-40B4-BE49-F238E27FC236}">
                  <a16:creationId xmlns:a16="http://schemas.microsoft.com/office/drawing/2014/main" id="{DE0986C9-9D1A-A9EA-33C9-5783414CA773}"/>
                </a:ext>
              </a:extLst>
            </p:cNvPr>
            <p:cNvSpPr/>
            <p:nvPr/>
          </p:nvSpPr>
          <p:spPr>
            <a:xfrm>
              <a:off x="10572847" y="2452777"/>
              <a:ext cx="32491" cy="44269"/>
            </a:xfrm>
            <a:custGeom>
              <a:avLst/>
              <a:gdLst>
                <a:gd name="connsiteX0" fmla="*/ 13465 w 32491"/>
                <a:gd name="connsiteY0" fmla="*/ 44270 h 44269"/>
                <a:gd name="connsiteX1" fmla="*/ 13465 w 32491"/>
                <a:gd name="connsiteY1" fmla="*/ 25924 h 44269"/>
                <a:gd name="connsiteX2" fmla="*/ 0 w 32491"/>
                <a:gd name="connsiteY2" fmla="*/ 25924 h 44269"/>
                <a:gd name="connsiteX3" fmla="*/ 0 w 32491"/>
                <a:gd name="connsiteY3" fmla="*/ 18213 h 44269"/>
                <a:gd name="connsiteX4" fmla="*/ 13465 w 32491"/>
                <a:gd name="connsiteY4" fmla="*/ 18213 h 44269"/>
                <a:gd name="connsiteX5" fmla="*/ 13465 w 32491"/>
                <a:gd name="connsiteY5" fmla="*/ 0 h 44269"/>
                <a:gd name="connsiteX6" fmla="*/ 19124 w 32491"/>
                <a:gd name="connsiteY6" fmla="*/ 0 h 44269"/>
                <a:gd name="connsiteX7" fmla="*/ 19124 w 32491"/>
                <a:gd name="connsiteY7" fmla="*/ 18213 h 44269"/>
                <a:gd name="connsiteX8" fmla="*/ 32491 w 32491"/>
                <a:gd name="connsiteY8" fmla="*/ 18213 h 44269"/>
                <a:gd name="connsiteX9" fmla="*/ 32491 w 32491"/>
                <a:gd name="connsiteY9" fmla="*/ 25924 h 44269"/>
                <a:gd name="connsiteX10" fmla="*/ 19124 w 32491"/>
                <a:gd name="connsiteY10" fmla="*/ 25924 h 44269"/>
                <a:gd name="connsiteX11" fmla="*/ 19124 w 32491"/>
                <a:gd name="connsiteY11" fmla="*/ 44270 h 44269"/>
                <a:gd name="connsiteX12" fmla="*/ 13465 w 32491"/>
                <a:gd name="connsiteY12" fmla="*/ 44270 h 44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91" h="44269">
                  <a:moveTo>
                    <a:pt x="13465" y="44270"/>
                  </a:moveTo>
                  <a:lnTo>
                    <a:pt x="13465" y="25924"/>
                  </a:lnTo>
                  <a:lnTo>
                    <a:pt x="0" y="25924"/>
                  </a:lnTo>
                  <a:lnTo>
                    <a:pt x="0" y="18213"/>
                  </a:lnTo>
                  <a:lnTo>
                    <a:pt x="13465" y="18213"/>
                  </a:lnTo>
                  <a:lnTo>
                    <a:pt x="13465" y="0"/>
                  </a:lnTo>
                  <a:lnTo>
                    <a:pt x="19124" y="0"/>
                  </a:lnTo>
                  <a:lnTo>
                    <a:pt x="19124" y="18213"/>
                  </a:lnTo>
                  <a:lnTo>
                    <a:pt x="32491" y="18213"/>
                  </a:lnTo>
                  <a:lnTo>
                    <a:pt x="32491" y="25924"/>
                  </a:lnTo>
                  <a:lnTo>
                    <a:pt x="19124" y="25924"/>
                  </a:lnTo>
                  <a:lnTo>
                    <a:pt x="19124" y="44270"/>
                  </a:lnTo>
                  <a:lnTo>
                    <a:pt x="13465" y="44270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46" name="Freihandform: Form 1045">
              <a:extLst>
                <a:ext uri="{FF2B5EF4-FFF2-40B4-BE49-F238E27FC236}">
                  <a16:creationId xmlns:a16="http://schemas.microsoft.com/office/drawing/2014/main" id="{9535D2C7-A0B5-6C23-565D-0596BA51BF27}"/>
                </a:ext>
              </a:extLst>
            </p:cNvPr>
            <p:cNvSpPr/>
            <p:nvPr/>
          </p:nvSpPr>
          <p:spPr>
            <a:xfrm>
              <a:off x="10587580" y="2452777"/>
              <a:ext cx="32491" cy="44269"/>
            </a:xfrm>
            <a:custGeom>
              <a:avLst/>
              <a:gdLst>
                <a:gd name="connsiteX0" fmla="*/ 13367 w 32491"/>
                <a:gd name="connsiteY0" fmla="*/ 44270 h 44269"/>
                <a:gd name="connsiteX1" fmla="*/ 13367 w 32491"/>
                <a:gd name="connsiteY1" fmla="*/ 25924 h 44269"/>
                <a:gd name="connsiteX2" fmla="*/ 0 w 32491"/>
                <a:gd name="connsiteY2" fmla="*/ 25924 h 44269"/>
                <a:gd name="connsiteX3" fmla="*/ 0 w 32491"/>
                <a:gd name="connsiteY3" fmla="*/ 18213 h 44269"/>
                <a:gd name="connsiteX4" fmla="*/ 13367 w 32491"/>
                <a:gd name="connsiteY4" fmla="*/ 18213 h 44269"/>
                <a:gd name="connsiteX5" fmla="*/ 13367 w 32491"/>
                <a:gd name="connsiteY5" fmla="*/ 0 h 44269"/>
                <a:gd name="connsiteX6" fmla="*/ 19124 w 32491"/>
                <a:gd name="connsiteY6" fmla="*/ 0 h 44269"/>
                <a:gd name="connsiteX7" fmla="*/ 19124 w 32491"/>
                <a:gd name="connsiteY7" fmla="*/ 18213 h 44269"/>
                <a:gd name="connsiteX8" fmla="*/ 32491 w 32491"/>
                <a:gd name="connsiteY8" fmla="*/ 18213 h 44269"/>
                <a:gd name="connsiteX9" fmla="*/ 32491 w 32491"/>
                <a:gd name="connsiteY9" fmla="*/ 25924 h 44269"/>
                <a:gd name="connsiteX10" fmla="*/ 19124 w 32491"/>
                <a:gd name="connsiteY10" fmla="*/ 25924 h 44269"/>
                <a:gd name="connsiteX11" fmla="*/ 19124 w 32491"/>
                <a:gd name="connsiteY11" fmla="*/ 44270 h 44269"/>
                <a:gd name="connsiteX12" fmla="*/ 13367 w 32491"/>
                <a:gd name="connsiteY12" fmla="*/ 44270 h 44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91" h="44269">
                  <a:moveTo>
                    <a:pt x="13367" y="44270"/>
                  </a:moveTo>
                  <a:lnTo>
                    <a:pt x="13367" y="25924"/>
                  </a:lnTo>
                  <a:lnTo>
                    <a:pt x="0" y="25924"/>
                  </a:lnTo>
                  <a:lnTo>
                    <a:pt x="0" y="18213"/>
                  </a:lnTo>
                  <a:lnTo>
                    <a:pt x="13367" y="18213"/>
                  </a:lnTo>
                  <a:lnTo>
                    <a:pt x="13367" y="0"/>
                  </a:lnTo>
                  <a:lnTo>
                    <a:pt x="19124" y="0"/>
                  </a:lnTo>
                  <a:lnTo>
                    <a:pt x="19124" y="18213"/>
                  </a:lnTo>
                  <a:lnTo>
                    <a:pt x="32491" y="18213"/>
                  </a:lnTo>
                  <a:lnTo>
                    <a:pt x="32491" y="25924"/>
                  </a:lnTo>
                  <a:lnTo>
                    <a:pt x="19124" y="25924"/>
                  </a:lnTo>
                  <a:lnTo>
                    <a:pt x="19124" y="44270"/>
                  </a:lnTo>
                  <a:lnTo>
                    <a:pt x="13367" y="44270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47" name="Freihandform: Form 1046">
              <a:extLst>
                <a:ext uri="{FF2B5EF4-FFF2-40B4-BE49-F238E27FC236}">
                  <a16:creationId xmlns:a16="http://schemas.microsoft.com/office/drawing/2014/main" id="{11B754BF-F5ED-50E4-65DC-F26B1FD578D7}"/>
                </a:ext>
              </a:extLst>
            </p:cNvPr>
            <p:cNvSpPr/>
            <p:nvPr/>
          </p:nvSpPr>
          <p:spPr>
            <a:xfrm>
              <a:off x="10604753" y="2452777"/>
              <a:ext cx="32491" cy="44269"/>
            </a:xfrm>
            <a:custGeom>
              <a:avLst/>
              <a:gdLst>
                <a:gd name="connsiteX0" fmla="*/ 13367 w 32491"/>
                <a:gd name="connsiteY0" fmla="*/ 44270 h 44269"/>
                <a:gd name="connsiteX1" fmla="*/ 13367 w 32491"/>
                <a:gd name="connsiteY1" fmla="*/ 25924 h 44269"/>
                <a:gd name="connsiteX2" fmla="*/ 0 w 32491"/>
                <a:gd name="connsiteY2" fmla="*/ 25924 h 44269"/>
                <a:gd name="connsiteX3" fmla="*/ 0 w 32491"/>
                <a:gd name="connsiteY3" fmla="*/ 18213 h 44269"/>
                <a:gd name="connsiteX4" fmla="*/ 13367 w 32491"/>
                <a:gd name="connsiteY4" fmla="*/ 18213 h 44269"/>
                <a:gd name="connsiteX5" fmla="*/ 13367 w 32491"/>
                <a:gd name="connsiteY5" fmla="*/ 0 h 44269"/>
                <a:gd name="connsiteX6" fmla="*/ 19124 w 32491"/>
                <a:gd name="connsiteY6" fmla="*/ 0 h 44269"/>
                <a:gd name="connsiteX7" fmla="*/ 19124 w 32491"/>
                <a:gd name="connsiteY7" fmla="*/ 18213 h 44269"/>
                <a:gd name="connsiteX8" fmla="*/ 32491 w 32491"/>
                <a:gd name="connsiteY8" fmla="*/ 18213 h 44269"/>
                <a:gd name="connsiteX9" fmla="*/ 32491 w 32491"/>
                <a:gd name="connsiteY9" fmla="*/ 25924 h 44269"/>
                <a:gd name="connsiteX10" fmla="*/ 19124 w 32491"/>
                <a:gd name="connsiteY10" fmla="*/ 25924 h 44269"/>
                <a:gd name="connsiteX11" fmla="*/ 19124 w 32491"/>
                <a:gd name="connsiteY11" fmla="*/ 44270 h 44269"/>
                <a:gd name="connsiteX12" fmla="*/ 13367 w 32491"/>
                <a:gd name="connsiteY12" fmla="*/ 44270 h 44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91" h="44269">
                  <a:moveTo>
                    <a:pt x="13367" y="44270"/>
                  </a:moveTo>
                  <a:lnTo>
                    <a:pt x="13367" y="25924"/>
                  </a:lnTo>
                  <a:lnTo>
                    <a:pt x="0" y="25924"/>
                  </a:lnTo>
                  <a:lnTo>
                    <a:pt x="0" y="18213"/>
                  </a:lnTo>
                  <a:lnTo>
                    <a:pt x="13367" y="18213"/>
                  </a:lnTo>
                  <a:lnTo>
                    <a:pt x="13367" y="0"/>
                  </a:lnTo>
                  <a:lnTo>
                    <a:pt x="19124" y="0"/>
                  </a:lnTo>
                  <a:lnTo>
                    <a:pt x="19124" y="18213"/>
                  </a:lnTo>
                  <a:lnTo>
                    <a:pt x="32491" y="18213"/>
                  </a:lnTo>
                  <a:lnTo>
                    <a:pt x="32491" y="25924"/>
                  </a:lnTo>
                  <a:lnTo>
                    <a:pt x="19124" y="25924"/>
                  </a:lnTo>
                  <a:lnTo>
                    <a:pt x="19124" y="44270"/>
                  </a:lnTo>
                  <a:lnTo>
                    <a:pt x="13367" y="44270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48" name="Freihandform: Form 1047">
              <a:extLst>
                <a:ext uri="{FF2B5EF4-FFF2-40B4-BE49-F238E27FC236}">
                  <a16:creationId xmlns:a16="http://schemas.microsoft.com/office/drawing/2014/main" id="{C481B6FD-1051-3345-A063-FD410F35A8BB}"/>
                </a:ext>
              </a:extLst>
            </p:cNvPr>
            <p:cNvSpPr/>
            <p:nvPr/>
          </p:nvSpPr>
          <p:spPr>
            <a:xfrm>
              <a:off x="10607192" y="2452777"/>
              <a:ext cx="32491" cy="44269"/>
            </a:xfrm>
            <a:custGeom>
              <a:avLst/>
              <a:gdLst>
                <a:gd name="connsiteX0" fmla="*/ 13367 w 32491"/>
                <a:gd name="connsiteY0" fmla="*/ 44270 h 44269"/>
                <a:gd name="connsiteX1" fmla="*/ 13367 w 32491"/>
                <a:gd name="connsiteY1" fmla="*/ 25924 h 44269"/>
                <a:gd name="connsiteX2" fmla="*/ 0 w 32491"/>
                <a:gd name="connsiteY2" fmla="*/ 25924 h 44269"/>
                <a:gd name="connsiteX3" fmla="*/ 0 w 32491"/>
                <a:gd name="connsiteY3" fmla="*/ 18213 h 44269"/>
                <a:gd name="connsiteX4" fmla="*/ 13367 w 32491"/>
                <a:gd name="connsiteY4" fmla="*/ 18213 h 44269"/>
                <a:gd name="connsiteX5" fmla="*/ 13367 w 32491"/>
                <a:gd name="connsiteY5" fmla="*/ 0 h 44269"/>
                <a:gd name="connsiteX6" fmla="*/ 19124 w 32491"/>
                <a:gd name="connsiteY6" fmla="*/ 0 h 44269"/>
                <a:gd name="connsiteX7" fmla="*/ 19124 w 32491"/>
                <a:gd name="connsiteY7" fmla="*/ 18213 h 44269"/>
                <a:gd name="connsiteX8" fmla="*/ 32491 w 32491"/>
                <a:gd name="connsiteY8" fmla="*/ 18213 h 44269"/>
                <a:gd name="connsiteX9" fmla="*/ 32491 w 32491"/>
                <a:gd name="connsiteY9" fmla="*/ 25924 h 44269"/>
                <a:gd name="connsiteX10" fmla="*/ 19124 w 32491"/>
                <a:gd name="connsiteY10" fmla="*/ 25924 h 44269"/>
                <a:gd name="connsiteX11" fmla="*/ 19124 w 32491"/>
                <a:gd name="connsiteY11" fmla="*/ 44270 h 44269"/>
                <a:gd name="connsiteX12" fmla="*/ 13367 w 32491"/>
                <a:gd name="connsiteY12" fmla="*/ 44270 h 44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91" h="44269">
                  <a:moveTo>
                    <a:pt x="13367" y="44270"/>
                  </a:moveTo>
                  <a:lnTo>
                    <a:pt x="13367" y="25924"/>
                  </a:lnTo>
                  <a:lnTo>
                    <a:pt x="0" y="25924"/>
                  </a:lnTo>
                  <a:lnTo>
                    <a:pt x="0" y="18213"/>
                  </a:lnTo>
                  <a:lnTo>
                    <a:pt x="13367" y="18213"/>
                  </a:lnTo>
                  <a:lnTo>
                    <a:pt x="13367" y="0"/>
                  </a:lnTo>
                  <a:lnTo>
                    <a:pt x="19124" y="0"/>
                  </a:lnTo>
                  <a:lnTo>
                    <a:pt x="19124" y="18213"/>
                  </a:lnTo>
                  <a:lnTo>
                    <a:pt x="32491" y="18213"/>
                  </a:lnTo>
                  <a:lnTo>
                    <a:pt x="32491" y="25924"/>
                  </a:lnTo>
                  <a:lnTo>
                    <a:pt x="19124" y="25924"/>
                  </a:lnTo>
                  <a:lnTo>
                    <a:pt x="19124" y="44270"/>
                  </a:lnTo>
                  <a:lnTo>
                    <a:pt x="13367" y="44270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49" name="Freihandform: Form 1048">
              <a:extLst>
                <a:ext uri="{FF2B5EF4-FFF2-40B4-BE49-F238E27FC236}">
                  <a16:creationId xmlns:a16="http://schemas.microsoft.com/office/drawing/2014/main" id="{37EC25AF-B56C-2147-DF92-33746EB37267}"/>
                </a:ext>
              </a:extLst>
            </p:cNvPr>
            <p:cNvSpPr/>
            <p:nvPr/>
          </p:nvSpPr>
          <p:spPr>
            <a:xfrm>
              <a:off x="10612070" y="2452777"/>
              <a:ext cx="32491" cy="44269"/>
            </a:xfrm>
            <a:custGeom>
              <a:avLst/>
              <a:gdLst>
                <a:gd name="connsiteX0" fmla="*/ 13367 w 32491"/>
                <a:gd name="connsiteY0" fmla="*/ 44270 h 44269"/>
                <a:gd name="connsiteX1" fmla="*/ 13367 w 32491"/>
                <a:gd name="connsiteY1" fmla="*/ 25924 h 44269"/>
                <a:gd name="connsiteX2" fmla="*/ 0 w 32491"/>
                <a:gd name="connsiteY2" fmla="*/ 25924 h 44269"/>
                <a:gd name="connsiteX3" fmla="*/ 0 w 32491"/>
                <a:gd name="connsiteY3" fmla="*/ 18213 h 44269"/>
                <a:gd name="connsiteX4" fmla="*/ 13367 w 32491"/>
                <a:gd name="connsiteY4" fmla="*/ 18213 h 44269"/>
                <a:gd name="connsiteX5" fmla="*/ 13367 w 32491"/>
                <a:gd name="connsiteY5" fmla="*/ 0 h 44269"/>
                <a:gd name="connsiteX6" fmla="*/ 19124 w 32491"/>
                <a:gd name="connsiteY6" fmla="*/ 0 h 44269"/>
                <a:gd name="connsiteX7" fmla="*/ 19124 w 32491"/>
                <a:gd name="connsiteY7" fmla="*/ 18213 h 44269"/>
                <a:gd name="connsiteX8" fmla="*/ 32491 w 32491"/>
                <a:gd name="connsiteY8" fmla="*/ 18213 h 44269"/>
                <a:gd name="connsiteX9" fmla="*/ 32491 w 32491"/>
                <a:gd name="connsiteY9" fmla="*/ 25924 h 44269"/>
                <a:gd name="connsiteX10" fmla="*/ 19124 w 32491"/>
                <a:gd name="connsiteY10" fmla="*/ 25924 h 44269"/>
                <a:gd name="connsiteX11" fmla="*/ 19124 w 32491"/>
                <a:gd name="connsiteY11" fmla="*/ 44270 h 44269"/>
                <a:gd name="connsiteX12" fmla="*/ 13367 w 32491"/>
                <a:gd name="connsiteY12" fmla="*/ 44270 h 44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91" h="44269">
                  <a:moveTo>
                    <a:pt x="13367" y="44270"/>
                  </a:moveTo>
                  <a:lnTo>
                    <a:pt x="13367" y="25924"/>
                  </a:lnTo>
                  <a:lnTo>
                    <a:pt x="0" y="25924"/>
                  </a:lnTo>
                  <a:lnTo>
                    <a:pt x="0" y="18213"/>
                  </a:lnTo>
                  <a:lnTo>
                    <a:pt x="13367" y="18213"/>
                  </a:lnTo>
                  <a:lnTo>
                    <a:pt x="13367" y="0"/>
                  </a:lnTo>
                  <a:lnTo>
                    <a:pt x="19124" y="0"/>
                  </a:lnTo>
                  <a:lnTo>
                    <a:pt x="19124" y="18213"/>
                  </a:lnTo>
                  <a:lnTo>
                    <a:pt x="32491" y="18213"/>
                  </a:lnTo>
                  <a:lnTo>
                    <a:pt x="32491" y="25924"/>
                  </a:lnTo>
                  <a:lnTo>
                    <a:pt x="19124" y="25924"/>
                  </a:lnTo>
                  <a:lnTo>
                    <a:pt x="19124" y="44270"/>
                  </a:lnTo>
                  <a:lnTo>
                    <a:pt x="13367" y="44270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50" name="Freihandform: Form 1049">
              <a:extLst>
                <a:ext uri="{FF2B5EF4-FFF2-40B4-BE49-F238E27FC236}">
                  <a16:creationId xmlns:a16="http://schemas.microsoft.com/office/drawing/2014/main" id="{B88B63F9-5C57-E244-7DCB-95CE6635A4B5}"/>
                </a:ext>
              </a:extLst>
            </p:cNvPr>
            <p:cNvSpPr/>
            <p:nvPr/>
          </p:nvSpPr>
          <p:spPr>
            <a:xfrm>
              <a:off x="10697933" y="2452777"/>
              <a:ext cx="32491" cy="44269"/>
            </a:xfrm>
            <a:custGeom>
              <a:avLst/>
              <a:gdLst>
                <a:gd name="connsiteX0" fmla="*/ 13367 w 32491"/>
                <a:gd name="connsiteY0" fmla="*/ 44270 h 44269"/>
                <a:gd name="connsiteX1" fmla="*/ 13367 w 32491"/>
                <a:gd name="connsiteY1" fmla="*/ 25924 h 44269"/>
                <a:gd name="connsiteX2" fmla="*/ 0 w 32491"/>
                <a:gd name="connsiteY2" fmla="*/ 25924 h 44269"/>
                <a:gd name="connsiteX3" fmla="*/ 0 w 32491"/>
                <a:gd name="connsiteY3" fmla="*/ 18213 h 44269"/>
                <a:gd name="connsiteX4" fmla="*/ 13367 w 32491"/>
                <a:gd name="connsiteY4" fmla="*/ 18213 h 44269"/>
                <a:gd name="connsiteX5" fmla="*/ 13367 w 32491"/>
                <a:gd name="connsiteY5" fmla="*/ 0 h 44269"/>
                <a:gd name="connsiteX6" fmla="*/ 19026 w 32491"/>
                <a:gd name="connsiteY6" fmla="*/ 0 h 44269"/>
                <a:gd name="connsiteX7" fmla="*/ 19026 w 32491"/>
                <a:gd name="connsiteY7" fmla="*/ 18213 h 44269"/>
                <a:gd name="connsiteX8" fmla="*/ 32491 w 32491"/>
                <a:gd name="connsiteY8" fmla="*/ 18213 h 44269"/>
                <a:gd name="connsiteX9" fmla="*/ 32491 w 32491"/>
                <a:gd name="connsiteY9" fmla="*/ 25924 h 44269"/>
                <a:gd name="connsiteX10" fmla="*/ 19026 w 32491"/>
                <a:gd name="connsiteY10" fmla="*/ 25924 h 44269"/>
                <a:gd name="connsiteX11" fmla="*/ 19026 w 32491"/>
                <a:gd name="connsiteY11" fmla="*/ 44270 h 44269"/>
                <a:gd name="connsiteX12" fmla="*/ 13367 w 32491"/>
                <a:gd name="connsiteY12" fmla="*/ 44270 h 44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91" h="44269">
                  <a:moveTo>
                    <a:pt x="13367" y="44270"/>
                  </a:moveTo>
                  <a:lnTo>
                    <a:pt x="13367" y="25924"/>
                  </a:lnTo>
                  <a:lnTo>
                    <a:pt x="0" y="25924"/>
                  </a:lnTo>
                  <a:lnTo>
                    <a:pt x="0" y="18213"/>
                  </a:lnTo>
                  <a:lnTo>
                    <a:pt x="13367" y="18213"/>
                  </a:lnTo>
                  <a:lnTo>
                    <a:pt x="13367" y="0"/>
                  </a:lnTo>
                  <a:lnTo>
                    <a:pt x="19026" y="0"/>
                  </a:lnTo>
                  <a:lnTo>
                    <a:pt x="19026" y="18213"/>
                  </a:lnTo>
                  <a:lnTo>
                    <a:pt x="32491" y="18213"/>
                  </a:lnTo>
                  <a:lnTo>
                    <a:pt x="32491" y="25924"/>
                  </a:lnTo>
                  <a:lnTo>
                    <a:pt x="19026" y="25924"/>
                  </a:lnTo>
                  <a:lnTo>
                    <a:pt x="19026" y="44270"/>
                  </a:lnTo>
                  <a:lnTo>
                    <a:pt x="13367" y="44270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51" name="Freihandform: Form 1050">
              <a:extLst>
                <a:ext uri="{FF2B5EF4-FFF2-40B4-BE49-F238E27FC236}">
                  <a16:creationId xmlns:a16="http://schemas.microsoft.com/office/drawing/2014/main" id="{9A14A6D3-BEF3-7C20-186D-F96C9734A015}"/>
                </a:ext>
              </a:extLst>
            </p:cNvPr>
            <p:cNvSpPr/>
            <p:nvPr/>
          </p:nvSpPr>
          <p:spPr>
            <a:xfrm>
              <a:off x="10707690" y="2452777"/>
              <a:ext cx="32491" cy="44269"/>
            </a:xfrm>
            <a:custGeom>
              <a:avLst/>
              <a:gdLst>
                <a:gd name="connsiteX0" fmla="*/ 13465 w 32491"/>
                <a:gd name="connsiteY0" fmla="*/ 44270 h 44269"/>
                <a:gd name="connsiteX1" fmla="*/ 13465 w 32491"/>
                <a:gd name="connsiteY1" fmla="*/ 25924 h 44269"/>
                <a:gd name="connsiteX2" fmla="*/ 0 w 32491"/>
                <a:gd name="connsiteY2" fmla="*/ 25924 h 44269"/>
                <a:gd name="connsiteX3" fmla="*/ 0 w 32491"/>
                <a:gd name="connsiteY3" fmla="*/ 18213 h 44269"/>
                <a:gd name="connsiteX4" fmla="*/ 13465 w 32491"/>
                <a:gd name="connsiteY4" fmla="*/ 18213 h 44269"/>
                <a:gd name="connsiteX5" fmla="*/ 13465 w 32491"/>
                <a:gd name="connsiteY5" fmla="*/ 0 h 44269"/>
                <a:gd name="connsiteX6" fmla="*/ 19124 w 32491"/>
                <a:gd name="connsiteY6" fmla="*/ 0 h 44269"/>
                <a:gd name="connsiteX7" fmla="*/ 19124 w 32491"/>
                <a:gd name="connsiteY7" fmla="*/ 18213 h 44269"/>
                <a:gd name="connsiteX8" fmla="*/ 32491 w 32491"/>
                <a:gd name="connsiteY8" fmla="*/ 18213 h 44269"/>
                <a:gd name="connsiteX9" fmla="*/ 32491 w 32491"/>
                <a:gd name="connsiteY9" fmla="*/ 25924 h 44269"/>
                <a:gd name="connsiteX10" fmla="*/ 19124 w 32491"/>
                <a:gd name="connsiteY10" fmla="*/ 25924 h 44269"/>
                <a:gd name="connsiteX11" fmla="*/ 19124 w 32491"/>
                <a:gd name="connsiteY11" fmla="*/ 44270 h 44269"/>
                <a:gd name="connsiteX12" fmla="*/ 13465 w 32491"/>
                <a:gd name="connsiteY12" fmla="*/ 44270 h 44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91" h="44269">
                  <a:moveTo>
                    <a:pt x="13465" y="44270"/>
                  </a:moveTo>
                  <a:lnTo>
                    <a:pt x="13465" y="25924"/>
                  </a:lnTo>
                  <a:lnTo>
                    <a:pt x="0" y="25924"/>
                  </a:lnTo>
                  <a:lnTo>
                    <a:pt x="0" y="18213"/>
                  </a:lnTo>
                  <a:lnTo>
                    <a:pt x="13465" y="18213"/>
                  </a:lnTo>
                  <a:lnTo>
                    <a:pt x="13465" y="0"/>
                  </a:lnTo>
                  <a:lnTo>
                    <a:pt x="19124" y="0"/>
                  </a:lnTo>
                  <a:lnTo>
                    <a:pt x="19124" y="18213"/>
                  </a:lnTo>
                  <a:lnTo>
                    <a:pt x="32491" y="18213"/>
                  </a:lnTo>
                  <a:lnTo>
                    <a:pt x="32491" y="25924"/>
                  </a:lnTo>
                  <a:lnTo>
                    <a:pt x="19124" y="25924"/>
                  </a:lnTo>
                  <a:lnTo>
                    <a:pt x="19124" y="44270"/>
                  </a:lnTo>
                  <a:lnTo>
                    <a:pt x="13465" y="44270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52" name="Freihandform: Form 1051">
              <a:extLst>
                <a:ext uri="{FF2B5EF4-FFF2-40B4-BE49-F238E27FC236}">
                  <a16:creationId xmlns:a16="http://schemas.microsoft.com/office/drawing/2014/main" id="{AA908B4E-AE63-99E0-BFB0-348B1D14BD88}"/>
                </a:ext>
              </a:extLst>
            </p:cNvPr>
            <p:cNvSpPr/>
            <p:nvPr/>
          </p:nvSpPr>
          <p:spPr>
            <a:xfrm>
              <a:off x="10771404" y="2452777"/>
              <a:ext cx="32491" cy="44269"/>
            </a:xfrm>
            <a:custGeom>
              <a:avLst/>
              <a:gdLst>
                <a:gd name="connsiteX0" fmla="*/ 13465 w 32491"/>
                <a:gd name="connsiteY0" fmla="*/ 44270 h 44269"/>
                <a:gd name="connsiteX1" fmla="*/ 13465 w 32491"/>
                <a:gd name="connsiteY1" fmla="*/ 25924 h 44269"/>
                <a:gd name="connsiteX2" fmla="*/ 0 w 32491"/>
                <a:gd name="connsiteY2" fmla="*/ 25924 h 44269"/>
                <a:gd name="connsiteX3" fmla="*/ 0 w 32491"/>
                <a:gd name="connsiteY3" fmla="*/ 18213 h 44269"/>
                <a:gd name="connsiteX4" fmla="*/ 13465 w 32491"/>
                <a:gd name="connsiteY4" fmla="*/ 18213 h 44269"/>
                <a:gd name="connsiteX5" fmla="*/ 13465 w 32491"/>
                <a:gd name="connsiteY5" fmla="*/ 0 h 44269"/>
                <a:gd name="connsiteX6" fmla="*/ 19124 w 32491"/>
                <a:gd name="connsiteY6" fmla="*/ 0 h 44269"/>
                <a:gd name="connsiteX7" fmla="*/ 19124 w 32491"/>
                <a:gd name="connsiteY7" fmla="*/ 18213 h 44269"/>
                <a:gd name="connsiteX8" fmla="*/ 32491 w 32491"/>
                <a:gd name="connsiteY8" fmla="*/ 18213 h 44269"/>
                <a:gd name="connsiteX9" fmla="*/ 32491 w 32491"/>
                <a:gd name="connsiteY9" fmla="*/ 25924 h 44269"/>
                <a:gd name="connsiteX10" fmla="*/ 19124 w 32491"/>
                <a:gd name="connsiteY10" fmla="*/ 25924 h 44269"/>
                <a:gd name="connsiteX11" fmla="*/ 19124 w 32491"/>
                <a:gd name="connsiteY11" fmla="*/ 44270 h 44269"/>
                <a:gd name="connsiteX12" fmla="*/ 13465 w 32491"/>
                <a:gd name="connsiteY12" fmla="*/ 44270 h 44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91" h="44269">
                  <a:moveTo>
                    <a:pt x="13465" y="44270"/>
                  </a:moveTo>
                  <a:lnTo>
                    <a:pt x="13465" y="25924"/>
                  </a:lnTo>
                  <a:lnTo>
                    <a:pt x="0" y="25924"/>
                  </a:lnTo>
                  <a:lnTo>
                    <a:pt x="0" y="18213"/>
                  </a:lnTo>
                  <a:lnTo>
                    <a:pt x="13465" y="18213"/>
                  </a:lnTo>
                  <a:lnTo>
                    <a:pt x="13465" y="0"/>
                  </a:lnTo>
                  <a:lnTo>
                    <a:pt x="19124" y="0"/>
                  </a:lnTo>
                  <a:lnTo>
                    <a:pt x="19124" y="18213"/>
                  </a:lnTo>
                  <a:lnTo>
                    <a:pt x="32491" y="18213"/>
                  </a:lnTo>
                  <a:lnTo>
                    <a:pt x="32491" y="25924"/>
                  </a:lnTo>
                  <a:lnTo>
                    <a:pt x="19124" y="25924"/>
                  </a:lnTo>
                  <a:lnTo>
                    <a:pt x="19124" y="44270"/>
                  </a:lnTo>
                  <a:lnTo>
                    <a:pt x="13465" y="44270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53" name="Freihandform: Form 1052">
              <a:extLst>
                <a:ext uri="{FF2B5EF4-FFF2-40B4-BE49-F238E27FC236}">
                  <a16:creationId xmlns:a16="http://schemas.microsoft.com/office/drawing/2014/main" id="{DA42E623-405C-E701-098A-9333C4B6A2E6}"/>
                </a:ext>
              </a:extLst>
            </p:cNvPr>
            <p:cNvSpPr/>
            <p:nvPr/>
          </p:nvSpPr>
          <p:spPr>
            <a:xfrm>
              <a:off x="10830239" y="2452777"/>
              <a:ext cx="32491" cy="44269"/>
            </a:xfrm>
            <a:custGeom>
              <a:avLst/>
              <a:gdLst>
                <a:gd name="connsiteX0" fmla="*/ 13465 w 32491"/>
                <a:gd name="connsiteY0" fmla="*/ 44270 h 44269"/>
                <a:gd name="connsiteX1" fmla="*/ 13465 w 32491"/>
                <a:gd name="connsiteY1" fmla="*/ 25924 h 44269"/>
                <a:gd name="connsiteX2" fmla="*/ 0 w 32491"/>
                <a:gd name="connsiteY2" fmla="*/ 25924 h 44269"/>
                <a:gd name="connsiteX3" fmla="*/ 0 w 32491"/>
                <a:gd name="connsiteY3" fmla="*/ 18213 h 44269"/>
                <a:gd name="connsiteX4" fmla="*/ 13465 w 32491"/>
                <a:gd name="connsiteY4" fmla="*/ 18213 h 44269"/>
                <a:gd name="connsiteX5" fmla="*/ 13465 w 32491"/>
                <a:gd name="connsiteY5" fmla="*/ 0 h 44269"/>
                <a:gd name="connsiteX6" fmla="*/ 19124 w 32491"/>
                <a:gd name="connsiteY6" fmla="*/ 0 h 44269"/>
                <a:gd name="connsiteX7" fmla="*/ 19124 w 32491"/>
                <a:gd name="connsiteY7" fmla="*/ 18213 h 44269"/>
                <a:gd name="connsiteX8" fmla="*/ 32491 w 32491"/>
                <a:gd name="connsiteY8" fmla="*/ 18213 h 44269"/>
                <a:gd name="connsiteX9" fmla="*/ 32491 w 32491"/>
                <a:gd name="connsiteY9" fmla="*/ 25924 h 44269"/>
                <a:gd name="connsiteX10" fmla="*/ 19124 w 32491"/>
                <a:gd name="connsiteY10" fmla="*/ 25924 h 44269"/>
                <a:gd name="connsiteX11" fmla="*/ 19124 w 32491"/>
                <a:gd name="connsiteY11" fmla="*/ 44270 h 44269"/>
                <a:gd name="connsiteX12" fmla="*/ 13465 w 32491"/>
                <a:gd name="connsiteY12" fmla="*/ 44270 h 44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91" h="44269">
                  <a:moveTo>
                    <a:pt x="13465" y="44270"/>
                  </a:moveTo>
                  <a:lnTo>
                    <a:pt x="13465" y="25924"/>
                  </a:lnTo>
                  <a:lnTo>
                    <a:pt x="0" y="25924"/>
                  </a:lnTo>
                  <a:lnTo>
                    <a:pt x="0" y="18213"/>
                  </a:lnTo>
                  <a:lnTo>
                    <a:pt x="13465" y="18213"/>
                  </a:lnTo>
                  <a:lnTo>
                    <a:pt x="13465" y="0"/>
                  </a:lnTo>
                  <a:lnTo>
                    <a:pt x="19124" y="0"/>
                  </a:lnTo>
                  <a:lnTo>
                    <a:pt x="19124" y="18213"/>
                  </a:lnTo>
                  <a:lnTo>
                    <a:pt x="32491" y="18213"/>
                  </a:lnTo>
                  <a:lnTo>
                    <a:pt x="32491" y="25924"/>
                  </a:lnTo>
                  <a:lnTo>
                    <a:pt x="19124" y="25924"/>
                  </a:lnTo>
                  <a:lnTo>
                    <a:pt x="19124" y="44270"/>
                  </a:lnTo>
                  <a:lnTo>
                    <a:pt x="13465" y="44270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54" name="Freihandform: Form 1053">
              <a:extLst>
                <a:ext uri="{FF2B5EF4-FFF2-40B4-BE49-F238E27FC236}">
                  <a16:creationId xmlns:a16="http://schemas.microsoft.com/office/drawing/2014/main" id="{9CCF8228-3252-8260-E53B-F0DD45DBE238}"/>
                </a:ext>
              </a:extLst>
            </p:cNvPr>
            <p:cNvSpPr/>
            <p:nvPr/>
          </p:nvSpPr>
          <p:spPr>
            <a:xfrm>
              <a:off x="10862145" y="2452777"/>
              <a:ext cx="32491" cy="44269"/>
            </a:xfrm>
            <a:custGeom>
              <a:avLst/>
              <a:gdLst>
                <a:gd name="connsiteX0" fmla="*/ 13367 w 32491"/>
                <a:gd name="connsiteY0" fmla="*/ 44270 h 44269"/>
                <a:gd name="connsiteX1" fmla="*/ 13367 w 32491"/>
                <a:gd name="connsiteY1" fmla="*/ 25924 h 44269"/>
                <a:gd name="connsiteX2" fmla="*/ 0 w 32491"/>
                <a:gd name="connsiteY2" fmla="*/ 25924 h 44269"/>
                <a:gd name="connsiteX3" fmla="*/ 0 w 32491"/>
                <a:gd name="connsiteY3" fmla="*/ 18213 h 44269"/>
                <a:gd name="connsiteX4" fmla="*/ 13367 w 32491"/>
                <a:gd name="connsiteY4" fmla="*/ 18213 h 44269"/>
                <a:gd name="connsiteX5" fmla="*/ 13367 w 32491"/>
                <a:gd name="connsiteY5" fmla="*/ 0 h 44269"/>
                <a:gd name="connsiteX6" fmla="*/ 19026 w 32491"/>
                <a:gd name="connsiteY6" fmla="*/ 0 h 44269"/>
                <a:gd name="connsiteX7" fmla="*/ 19026 w 32491"/>
                <a:gd name="connsiteY7" fmla="*/ 18213 h 44269"/>
                <a:gd name="connsiteX8" fmla="*/ 32491 w 32491"/>
                <a:gd name="connsiteY8" fmla="*/ 18213 h 44269"/>
                <a:gd name="connsiteX9" fmla="*/ 32491 w 32491"/>
                <a:gd name="connsiteY9" fmla="*/ 25924 h 44269"/>
                <a:gd name="connsiteX10" fmla="*/ 19026 w 32491"/>
                <a:gd name="connsiteY10" fmla="*/ 25924 h 44269"/>
                <a:gd name="connsiteX11" fmla="*/ 19026 w 32491"/>
                <a:gd name="connsiteY11" fmla="*/ 44270 h 44269"/>
                <a:gd name="connsiteX12" fmla="*/ 13367 w 32491"/>
                <a:gd name="connsiteY12" fmla="*/ 44270 h 44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91" h="44269">
                  <a:moveTo>
                    <a:pt x="13367" y="44270"/>
                  </a:moveTo>
                  <a:lnTo>
                    <a:pt x="13367" y="25924"/>
                  </a:lnTo>
                  <a:lnTo>
                    <a:pt x="0" y="25924"/>
                  </a:lnTo>
                  <a:lnTo>
                    <a:pt x="0" y="18213"/>
                  </a:lnTo>
                  <a:lnTo>
                    <a:pt x="13367" y="18213"/>
                  </a:lnTo>
                  <a:lnTo>
                    <a:pt x="13367" y="0"/>
                  </a:lnTo>
                  <a:lnTo>
                    <a:pt x="19026" y="0"/>
                  </a:lnTo>
                  <a:lnTo>
                    <a:pt x="19026" y="18213"/>
                  </a:lnTo>
                  <a:lnTo>
                    <a:pt x="32491" y="18213"/>
                  </a:lnTo>
                  <a:lnTo>
                    <a:pt x="32491" y="25924"/>
                  </a:lnTo>
                  <a:lnTo>
                    <a:pt x="19026" y="25924"/>
                  </a:lnTo>
                  <a:lnTo>
                    <a:pt x="19026" y="44270"/>
                  </a:lnTo>
                  <a:lnTo>
                    <a:pt x="13367" y="44270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55" name="Freihandform: Form 1054">
              <a:extLst>
                <a:ext uri="{FF2B5EF4-FFF2-40B4-BE49-F238E27FC236}">
                  <a16:creationId xmlns:a16="http://schemas.microsoft.com/office/drawing/2014/main" id="{13A77F7C-8C63-0F65-69B1-2160AF64D7BE}"/>
                </a:ext>
              </a:extLst>
            </p:cNvPr>
            <p:cNvSpPr/>
            <p:nvPr/>
          </p:nvSpPr>
          <p:spPr>
            <a:xfrm>
              <a:off x="10881757" y="2452777"/>
              <a:ext cx="32491" cy="44269"/>
            </a:xfrm>
            <a:custGeom>
              <a:avLst/>
              <a:gdLst>
                <a:gd name="connsiteX0" fmla="*/ 13367 w 32491"/>
                <a:gd name="connsiteY0" fmla="*/ 44270 h 44269"/>
                <a:gd name="connsiteX1" fmla="*/ 13367 w 32491"/>
                <a:gd name="connsiteY1" fmla="*/ 25924 h 44269"/>
                <a:gd name="connsiteX2" fmla="*/ 0 w 32491"/>
                <a:gd name="connsiteY2" fmla="*/ 25924 h 44269"/>
                <a:gd name="connsiteX3" fmla="*/ 0 w 32491"/>
                <a:gd name="connsiteY3" fmla="*/ 18213 h 44269"/>
                <a:gd name="connsiteX4" fmla="*/ 13367 w 32491"/>
                <a:gd name="connsiteY4" fmla="*/ 18213 h 44269"/>
                <a:gd name="connsiteX5" fmla="*/ 13367 w 32491"/>
                <a:gd name="connsiteY5" fmla="*/ 0 h 44269"/>
                <a:gd name="connsiteX6" fmla="*/ 19026 w 32491"/>
                <a:gd name="connsiteY6" fmla="*/ 0 h 44269"/>
                <a:gd name="connsiteX7" fmla="*/ 19026 w 32491"/>
                <a:gd name="connsiteY7" fmla="*/ 18213 h 44269"/>
                <a:gd name="connsiteX8" fmla="*/ 32491 w 32491"/>
                <a:gd name="connsiteY8" fmla="*/ 18213 h 44269"/>
                <a:gd name="connsiteX9" fmla="*/ 32491 w 32491"/>
                <a:gd name="connsiteY9" fmla="*/ 25924 h 44269"/>
                <a:gd name="connsiteX10" fmla="*/ 19026 w 32491"/>
                <a:gd name="connsiteY10" fmla="*/ 25924 h 44269"/>
                <a:gd name="connsiteX11" fmla="*/ 19026 w 32491"/>
                <a:gd name="connsiteY11" fmla="*/ 44270 h 44269"/>
                <a:gd name="connsiteX12" fmla="*/ 13367 w 32491"/>
                <a:gd name="connsiteY12" fmla="*/ 44270 h 44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91" h="44269">
                  <a:moveTo>
                    <a:pt x="13367" y="44270"/>
                  </a:moveTo>
                  <a:lnTo>
                    <a:pt x="13367" y="25924"/>
                  </a:lnTo>
                  <a:lnTo>
                    <a:pt x="0" y="25924"/>
                  </a:lnTo>
                  <a:lnTo>
                    <a:pt x="0" y="18213"/>
                  </a:lnTo>
                  <a:lnTo>
                    <a:pt x="13367" y="18213"/>
                  </a:lnTo>
                  <a:lnTo>
                    <a:pt x="13367" y="0"/>
                  </a:lnTo>
                  <a:lnTo>
                    <a:pt x="19026" y="0"/>
                  </a:lnTo>
                  <a:lnTo>
                    <a:pt x="19026" y="18213"/>
                  </a:lnTo>
                  <a:lnTo>
                    <a:pt x="32491" y="18213"/>
                  </a:lnTo>
                  <a:lnTo>
                    <a:pt x="32491" y="25924"/>
                  </a:lnTo>
                  <a:lnTo>
                    <a:pt x="19026" y="25924"/>
                  </a:lnTo>
                  <a:lnTo>
                    <a:pt x="19026" y="44270"/>
                  </a:lnTo>
                  <a:lnTo>
                    <a:pt x="13367" y="44270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56" name="Freihandform: Form 1055">
              <a:extLst>
                <a:ext uri="{FF2B5EF4-FFF2-40B4-BE49-F238E27FC236}">
                  <a16:creationId xmlns:a16="http://schemas.microsoft.com/office/drawing/2014/main" id="{E23D30E7-9288-885E-7173-2E6BA0685BEF}"/>
                </a:ext>
              </a:extLst>
            </p:cNvPr>
            <p:cNvSpPr/>
            <p:nvPr/>
          </p:nvSpPr>
          <p:spPr>
            <a:xfrm>
              <a:off x="10916004" y="2452777"/>
              <a:ext cx="32491" cy="44269"/>
            </a:xfrm>
            <a:custGeom>
              <a:avLst/>
              <a:gdLst>
                <a:gd name="connsiteX0" fmla="*/ 13465 w 32491"/>
                <a:gd name="connsiteY0" fmla="*/ 44270 h 44269"/>
                <a:gd name="connsiteX1" fmla="*/ 13465 w 32491"/>
                <a:gd name="connsiteY1" fmla="*/ 25924 h 44269"/>
                <a:gd name="connsiteX2" fmla="*/ 0 w 32491"/>
                <a:gd name="connsiteY2" fmla="*/ 25924 h 44269"/>
                <a:gd name="connsiteX3" fmla="*/ 0 w 32491"/>
                <a:gd name="connsiteY3" fmla="*/ 18213 h 44269"/>
                <a:gd name="connsiteX4" fmla="*/ 13465 w 32491"/>
                <a:gd name="connsiteY4" fmla="*/ 18213 h 44269"/>
                <a:gd name="connsiteX5" fmla="*/ 13465 w 32491"/>
                <a:gd name="connsiteY5" fmla="*/ 0 h 44269"/>
                <a:gd name="connsiteX6" fmla="*/ 19124 w 32491"/>
                <a:gd name="connsiteY6" fmla="*/ 0 h 44269"/>
                <a:gd name="connsiteX7" fmla="*/ 19124 w 32491"/>
                <a:gd name="connsiteY7" fmla="*/ 18213 h 44269"/>
                <a:gd name="connsiteX8" fmla="*/ 32491 w 32491"/>
                <a:gd name="connsiteY8" fmla="*/ 18213 h 44269"/>
                <a:gd name="connsiteX9" fmla="*/ 32491 w 32491"/>
                <a:gd name="connsiteY9" fmla="*/ 25924 h 44269"/>
                <a:gd name="connsiteX10" fmla="*/ 19124 w 32491"/>
                <a:gd name="connsiteY10" fmla="*/ 25924 h 44269"/>
                <a:gd name="connsiteX11" fmla="*/ 19124 w 32491"/>
                <a:gd name="connsiteY11" fmla="*/ 44270 h 44269"/>
                <a:gd name="connsiteX12" fmla="*/ 13465 w 32491"/>
                <a:gd name="connsiteY12" fmla="*/ 44270 h 44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91" h="44269">
                  <a:moveTo>
                    <a:pt x="13465" y="44270"/>
                  </a:moveTo>
                  <a:lnTo>
                    <a:pt x="13465" y="25924"/>
                  </a:lnTo>
                  <a:lnTo>
                    <a:pt x="0" y="25924"/>
                  </a:lnTo>
                  <a:lnTo>
                    <a:pt x="0" y="18213"/>
                  </a:lnTo>
                  <a:lnTo>
                    <a:pt x="13465" y="18213"/>
                  </a:lnTo>
                  <a:lnTo>
                    <a:pt x="13465" y="0"/>
                  </a:lnTo>
                  <a:lnTo>
                    <a:pt x="19124" y="0"/>
                  </a:lnTo>
                  <a:lnTo>
                    <a:pt x="19124" y="18213"/>
                  </a:lnTo>
                  <a:lnTo>
                    <a:pt x="32491" y="18213"/>
                  </a:lnTo>
                  <a:lnTo>
                    <a:pt x="32491" y="25924"/>
                  </a:lnTo>
                  <a:lnTo>
                    <a:pt x="19124" y="25924"/>
                  </a:lnTo>
                  <a:lnTo>
                    <a:pt x="19124" y="44270"/>
                  </a:lnTo>
                  <a:lnTo>
                    <a:pt x="13465" y="44270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57" name="Freihandform: Form 1056">
              <a:extLst>
                <a:ext uri="{FF2B5EF4-FFF2-40B4-BE49-F238E27FC236}">
                  <a16:creationId xmlns:a16="http://schemas.microsoft.com/office/drawing/2014/main" id="{27E1EA5C-F4B6-4898-E034-1CE944DF667A}"/>
                </a:ext>
              </a:extLst>
            </p:cNvPr>
            <p:cNvSpPr/>
            <p:nvPr/>
          </p:nvSpPr>
          <p:spPr>
            <a:xfrm>
              <a:off x="10938153" y="2452777"/>
              <a:ext cx="32393" cy="44269"/>
            </a:xfrm>
            <a:custGeom>
              <a:avLst/>
              <a:gdLst>
                <a:gd name="connsiteX0" fmla="*/ 13367 w 32393"/>
                <a:gd name="connsiteY0" fmla="*/ 44270 h 44269"/>
                <a:gd name="connsiteX1" fmla="*/ 13367 w 32393"/>
                <a:gd name="connsiteY1" fmla="*/ 25924 h 44269"/>
                <a:gd name="connsiteX2" fmla="*/ 0 w 32393"/>
                <a:gd name="connsiteY2" fmla="*/ 25924 h 44269"/>
                <a:gd name="connsiteX3" fmla="*/ 0 w 32393"/>
                <a:gd name="connsiteY3" fmla="*/ 18213 h 44269"/>
                <a:gd name="connsiteX4" fmla="*/ 13367 w 32393"/>
                <a:gd name="connsiteY4" fmla="*/ 18213 h 44269"/>
                <a:gd name="connsiteX5" fmla="*/ 13367 w 32393"/>
                <a:gd name="connsiteY5" fmla="*/ 0 h 44269"/>
                <a:gd name="connsiteX6" fmla="*/ 19026 w 32393"/>
                <a:gd name="connsiteY6" fmla="*/ 0 h 44269"/>
                <a:gd name="connsiteX7" fmla="*/ 19026 w 32393"/>
                <a:gd name="connsiteY7" fmla="*/ 18213 h 44269"/>
                <a:gd name="connsiteX8" fmla="*/ 32394 w 32393"/>
                <a:gd name="connsiteY8" fmla="*/ 18213 h 44269"/>
                <a:gd name="connsiteX9" fmla="*/ 32394 w 32393"/>
                <a:gd name="connsiteY9" fmla="*/ 25924 h 44269"/>
                <a:gd name="connsiteX10" fmla="*/ 19026 w 32393"/>
                <a:gd name="connsiteY10" fmla="*/ 25924 h 44269"/>
                <a:gd name="connsiteX11" fmla="*/ 19026 w 32393"/>
                <a:gd name="connsiteY11" fmla="*/ 44270 h 44269"/>
                <a:gd name="connsiteX12" fmla="*/ 13367 w 32393"/>
                <a:gd name="connsiteY12" fmla="*/ 44270 h 44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393" h="44269">
                  <a:moveTo>
                    <a:pt x="13367" y="44270"/>
                  </a:moveTo>
                  <a:lnTo>
                    <a:pt x="13367" y="25924"/>
                  </a:lnTo>
                  <a:lnTo>
                    <a:pt x="0" y="25924"/>
                  </a:lnTo>
                  <a:lnTo>
                    <a:pt x="0" y="18213"/>
                  </a:lnTo>
                  <a:lnTo>
                    <a:pt x="13367" y="18213"/>
                  </a:lnTo>
                  <a:lnTo>
                    <a:pt x="13367" y="0"/>
                  </a:lnTo>
                  <a:lnTo>
                    <a:pt x="19026" y="0"/>
                  </a:lnTo>
                  <a:lnTo>
                    <a:pt x="19026" y="18213"/>
                  </a:lnTo>
                  <a:lnTo>
                    <a:pt x="32394" y="18213"/>
                  </a:lnTo>
                  <a:lnTo>
                    <a:pt x="32394" y="25924"/>
                  </a:lnTo>
                  <a:lnTo>
                    <a:pt x="19026" y="25924"/>
                  </a:lnTo>
                  <a:lnTo>
                    <a:pt x="19026" y="44270"/>
                  </a:lnTo>
                  <a:lnTo>
                    <a:pt x="13367" y="44270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58" name="Freihandform: Form 1057">
              <a:extLst>
                <a:ext uri="{FF2B5EF4-FFF2-40B4-BE49-F238E27FC236}">
                  <a16:creationId xmlns:a16="http://schemas.microsoft.com/office/drawing/2014/main" id="{0C5ADD77-DD21-771E-AE8F-698A0C04C3BB}"/>
                </a:ext>
              </a:extLst>
            </p:cNvPr>
            <p:cNvSpPr/>
            <p:nvPr/>
          </p:nvSpPr>
          <p:spPr>
            <a:xfrm>
              <a:off x="10962643" y="2452777"/>
              <a:ext cx="32491" cy="44269"/>
            </a:xfrm>
            <a:custGeom>
              <a:avLst/>
              <a:gdLst>
                <a:gd name="connsiteX0" fmla="*/ 13367 w 32491"/>
                <a:gd name="connsiteY0" fmla="*/ 44270 h 44269"/>
                <a:gd name="connsiteX1" fmla="*/ 13367 w 32491"/>
                <a:gd name="connsiteY1" fmla="*/ 25924 h 44269"/>
                <a:gd name="connsiteX2" fmla="*/ 0 w 32491"/>
                <a:gd name="connsiteY2" fmla="*/ 25924 h 44269"/>
                <a:gd name="connsiteX3" fmla="*/ 0 w 32491"/>
                <a:gd name="connsiteY3" fmla="*/ 18213 h 44269"/>
                <a:gd name="connsiteX4" fmla="*/ 13367 w 32491"/>
                <a:gd name="connsiteY4" fmla="*/ 18213 h 44269"/>
                <a:gd name="connsiteX5" fmla="*/ 13367 w 32491"/>
                <a:gd name="connsiteY5" fmla="*/ 0 h 44269"/>
                <a:gd name="connsiteX6" fmla="*/ 19124 w 32491"/>
                <a:gd name="connsiteY6" fmla="*/ 0 h 44269"/>
                <a:gd name="connsiteX7" fmla="*/ 19124 w 32491"/>
                <a:gd name="connsiteY7" fmla="*/ 18213 h 44269"/>
                <a:gd name="connsiteX8" fmla="*/ 32491 w 32491"/>
                <a:gd name="connsiteY8" fmla="*/ 18213 h 44269"/>
                <a:gd name="connsiteX9" fmla="*/ 32491 w 32491"/>
                <a:gd name="connsiteY9" fmla="*/ 25924 h 44269"/>
                <a:gd name="connsiteX10" fmla="*/ 19124 w 32491"/>
                <a:gd name="connsiteY10" fmla="*/ 25924 h 44269"/>
                <a:gd name="connsiteX11" fmla="*/ 19124 w 32491"/>
                <a:gd name="connsiteY11" fmla="*/ 44270 h 44269"/>
                <a:gd name="connsiteX12" fmla="*/ 13367 w 32491"/>
                <a:gd name="connsiteY12" fmla="*/ 44270 h 44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91" h="44269">
                  <a:moveTo>
                    <a:pt x="13367" y="44270"/>
                  </a:moveTo>
                  <a:lnTo>
                    <a:pt x="13367" y="25924"/>
                  </a:lnTo>
                  <a:lnTo>
                    <a:pt x="0" y="25924"/>
                  </a:lnTo>
                  <a:lnTo>
                    <a:pt x="0" y="18213"/>
                  </a:lnTo>
                  <a:lnTo>
                    <a:pt x="13367" y="18213"/>
                  </a:lnTo>
                  <a:lnTo>
                    <a:pt x="13367" y="0"/>
                  </a:lnTo>
                  <a:lnTo>
                    <a:pt x="19124" y="0"/>
                  </a:lnTo>
                  <a:lnTo>
                    <a:pt x="19124" y="18213"/>
                  </a:lnTo>
                  <a:lnTo>
                    <a:pt x="32491" y="18213"/>
                  </a:lnTo>
                  <a:lnTo>
                    <a:pt x="32491" y="25924"/>
                  </a:lnTo>
                  <a:lnTo>
                    <a:pt x="19124" y="25924"/>
                  </a:lnTo>
                  <a:lnTo>
                    <a:pt x="19124" y="44270"/>
                  </a:lnTo>
                  <a:lnTo>
                    <a:pt x="13367" y="44270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59" name="Freihandform: Form 1058">
              <a:extLst>
                <a:ext uri="{FF2B5EF4-FFF2-40B4-BE49-F238E27FC236}">
                  <a16:creationId xmlns:a16="http://schemas.microsoft.com/office/drawing/2014/main" id="{00E9EE5A-E77B-7D08-15E6-6206105AA3F5}"/>
                </a:ext>
              </a:extLst>
            </p:cNvPr>
            <p:cNvSpPr/>
            <p:nvPr/>
          </p:nvSpPr>
          <p:spPr>
            <a:xfrm>
              <a:off x="10967522" y="2452777"/>
              <a:ext cx="32491" cy="44269"/>
            </a:xfrm>
            <a:custGeom>
              <a:avLst/>
              <a:gdLst>
                <a:gd name="connsiteX0" fmla="*/ 13465 w 32491"/>
                <a:gd name="connsiteY0" fmla="*/ 44270 h 44269"/>
                <a:gd name="connsiteX1" fmla="*/ 13465 w 32491"/>
                <a:gd name="connsiteY1" fmla="*/ 25924 h 44269"/>
                <a:gd name="connsiteX2" fmla="*/ 0 w 32491"/>
                <a:gd name="connsiteY2" fmla="*/ 25924 h 44269"/>
                <a:gd name="connsiteX3" fmla="*/ 0 w 32491"/>
                <a:gd name="connsiteY3" fmla="*/ 18213 h 44269"/>
                <a:gd name="connsiteX4" fmla="*/ 13465 w 32491"/>
                <a:gd name="connsiteY4" fmla="*/ 18213 h 44269"/>
                <a:gd name="connsiteX5" fmla="*/ 13465 w 32491"/>
                <a:gd name="connsiteY5" fmla="*/ 0 h 44269"/>
                <a:gd name="connsiteX6" fmla="*/ 19124 w 32491"/>
                <a:gd name="connsiteY6" fmla="*/ 0 h 44269"/>
                <a:gd name="connsiteX7" fmla="*/ 19124 w 32491"/>
                <a:gd name="connsiteY7" fmla="*/ 18213 h 44269"/>
                <a:gd name="connsiteX8" fmla="*/ 32491 w 32491"/>
                <a:gd name="connsiteY8" fmla="*/ 18213 h 44269"/>
                <a:gd name="connsiteX9" fmla="*/ 32491 w 32491"/>
                <a:gd name="connsiteY9" fmla="*/ 25924 h 44269"/>
                <a:gd name="connsiteX10" fmla="*/ 19124 w 32491"/>
                <a:gd name="connsiteY10" fmla="*/ 25924 h 44269"/>
                <a:gd name="connsiteX11" fmla="*/ 19124 w 32491"/>
                <a:gd name="connsiteY11" fmla="*/ 44270 h 44269"/>
                <a:gd name="connsiteX12" fmla="*/ 13465 w 32491"/>
                <a:gd name="connsiteY12" fmla="*/ 44270 h 44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91" h="44269">
                  <a:moveTo>
                    <a:pt x="13465" y="44270"/>
                  </a:moveTo>
                  <a:lnTo>
                    <a:pt x="13465" y="25924"/>
                  </a:lnTo>
                  <a:lnTo>
                    <a:pt x="0" y="25924"/>
                  </a:lnTo>
                  <a:lnTo>
                    <a:pt x="0" y="18213"/>
                  </a:lnTo>
                  <a:lnTo>
                    <a:pt x="13465" y="18213"/>
                  </a:lnTo>
                  <a:lnTo>
                    <a:pt x="13465" y="0"/>
                  </a:lnTo>
                  <a:lnTo>
                    <a:pt x="19124" y="0"/>
                  </a:lnTo>
                  <a:lnTo>
                    <a:pt x="19124" y="18213"/>
                  </a:lnTo>
                  <a:lnTo>
                    <a:pt x="32491" y="18213"/>
                  </a:lnTo>
                  <a:lnTo>
                    <a:pt x="32491" y="25924"/>
                  </a:lnTo>
                  <a:lnTo>
                    <a:pt x="19124" y="25924"/>
                  </a:lnTo>
                  <a:lnTo>
                    <a:pt x="19124" y="44270"/>
                  </a:lnTo>
                  <a:lnTo>
                    <a:pt x="13465" y="44270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60" name="Freihandform: Form 1059">
              <a:extLst>
                <a:ext uri="{FF2B5EF4-FFF2-40B4-BE49-F238E27FC236}">
                  <a16:creationId xmlns:a16="http://schemas.microsoft.com/office/drawing/2014/main" id="{4DF13477-5E98-041C-0A74-F1C5FF038939}"/>
                </a:ext>
              </a:extLst>
            </p:cNvPr>
            <p:cNvSpPr/>
            <p:nvPr/>
          </p:nvSpPr>
          <p:spPr>
            <a:xfrm>
              <a:off x="10977279" y="2452777"/>
              <a:ext cx="32491" cy="44269"/>
            </a:xfrm>
            <a:custGeom>
              <a:avLst/>
              <a:gdLst>
                <a:gd name="connsiteX0" fmla="*/ 13465 w 32491"/>
                <a:gd name="connsiteY0" fmla="*/ 44270 h 44269"/>
                <a:gd name="connsiteX1" fmla="*/ 13465 w 32491"/>
                <a:gd name="connsiteY1" fmla="*/ 25924 h 44269"/>
                <a:gd name="connsiteX2" fmla="*/ 0 w 32491"/>
                <a:gd name="connsiteY2" fmla="*/ 25924 h 44269"/>
                <a:gd name="connsiteX3" fmla="*/ 0 w 32491"/>
                <a:gd name="connsiteY3" fmla="*/ 18213 h 44269"/>
                <a:gd name="connsiteX4" fmla="*/ 13465 w 32491"/>
                <a:gd name="connsiteY4" fmla="*/ 18213 h 44269"/>
                <a:gd name="connsiteX5" fmla="*/ 13465 w 32491"/>
                <a:gd name="connsiteY5" fmla="*/ 0 h 44269"/>
                <a:gd name="connsiteX6" fmla="*/ 19124 w 32491"/>
                <a:gd name="connsiteY6" fmla="*/ 0 h 44269"/>
                <a:gd name="connsiteX7" fmla="*/ 19124 w 32491"/>
                <a:gd name="connsiteY7" fmla="*/ 18213 h 44269"/>
                <a:gd name="connsiteX8" fmla="*/ 32491 w 32491"/>
                <a:gd name="connsiteY8" fmla="*/ 18213 h 44269"/>
                <a:gd name="connsiteX9" fmla="*/ 32491 w 32491"/>
                <a:gd name="connsiteY9" fmla="*/ 25924 h 44269"/>
                <a:gd name="connsiteX10" fmla="*/ 19124 w 32491"/>
                <a:gd name="connsiteY10" fmla="*/ 25924 h 44269"/>
                <a:gd name="connsiteX11" fmla="*/ 19124 w 32491"/>
                <a:gd name="connsiteY11" fmla="*/ 44270 h 44269"/>
                <a:gd name="connsiteX12" fmla="*/ 13465 w 32491"/>
                <a:gd name="connsiteY12" fmla="*/ 44270 h 44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91" h="44269">
                  <a:moveTo>
                    <a:pt x="13465" y="44270"/>
                  </a:moveTo>
                  <a:lnTo>
                    <a:pt x="13465" y="25924"/>
                  </a:lnTo>
                  <a:lnTo>
                    <a:pt x="0" y="25924"/>
                  </a:lnTo>
                  <a:lnTo>
                    <a:pt x="0" y="18213"/>
                  </a:lnTo>
                  <a:lnTo>
                    <a:pt x="13465" y="18213"/>
                  </a:lnTo>
                  <a:lnTo>
                    <a:pt x="13465" y="0"/>
                  </a:lnTo>
                  <a:lnTo>
                    <a:pt x="19124" y="0"/>
                  </a:lnTo>
                  <a:lnTo>
                    <a:pt x="19124" y="18213"/>
                  </a:lnTo>
                  <a:lnTo>
                    <a:pt x="32491" y="18213"/>
                  </a:lnTo>
                  <a:lnTo>
                    <a:pt x="32491" y="25924"/>
                  </a:lnTo>
                  <a:lnTo>
                    <a:pt x="19124" y="25924"/>
                  </a:lnTo>
                  <a:lnTo>
                    <a:pt x="19124" y="44270"/>
                  </a:lnTo>
                  <a:lnTo>
                    <a:pt x="13465" y="44270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61" name="Freihandform: Form 1060">
              <a:extLst>
                <a:ext uri="{FF2B5EF4-FFF2-40B4-BE49-F238E27FC236}">
                  <a16:creationId xmlns:a16="http://schemas.microsoft.com/office/drawing/2014/main" id="{276F347A-D807-7132-7E63-37E6BEB2C58C}"/>
                </a:ext>
              </a:extLst>
            </p:cNvPr>
            <p:cNvSpPr/>
            <p:nvPr/>
          </p:nvSpPr>
          <p:spPr>
            <a:xfrm>
              <a:off x="11016600" y="2452777"/>
              <a:ext cx="32491" cy="44269"/>
            </a:xfrm>
            <a:custGeom>
              <a:avLst/>
              <a:gdLst>
                <a:gd name="connsiteX0" fmla="*/ 13367 w 32491"/>
                <a:gd name="connsiteY0" fmla="*/ 44270 h 44269"/>
                <a:gd name="connsiteX1" fmla="*/ 13367 w 32491"/>
                <a:gd name="connsiteY1" fmla="*/ 25924 h 44269"/>
                <a:gd name="connsiteX2" fmla="*/ 0 w 32491"/>
                <a:gd name="connsiteY2" fmla="*/ 25924 h 44269"/>
                <a:gd name="connsiteX3" fmla="*/ 0 w 32491"/>
                <a:gd name="connsiteY3" fmla="*/ 18213 h 44269"/>
                <a:gd name="connsiteX4" fmla="*/ 13367 w 32491"/>
                <a:gd name="connsiteY4" fmla="*/ 18213 h 44269"/>
                <a:gd name="connsiteX5" fmla="*/ 13367 w 32491"/>
                <a:gd name="connsiteY5" fmla="*/ 0 h 44269"/>
                <a:gd name="connsiteX6" fmla="*/ 19026 w 32491"/>
                <a:gd name="connsiteY6" fmla="*/ 0 h 44269"/>
                <a:gd name="connsiteX7" fmla="*/ 19026 w 32491"/>
                <a:gd name="connsiteY7" fmla="*/ 18213 h 44269"/>
                <a:gd name="connsiteX8" fmla="*/ 32491 w 32491"/>
                <a:gd name="connsiteY8" fmla="*/ 18213 h 44269"/>
                <a:gd name="connsiteX9" fmla="*/ 32491 w 32491"/>
                <a:gd name="connsiteY9" fmla="*/ 25924 h 44269"/>
                <a:gd name="connsiteX10" fmla="*/ 19026 w 32491"/>
                <a:gd name="connsiteY10" fmla="*/ 25924 h 44269"/>
                <a:gd name="connsiteX11" fmla="*/ 19026 w 32491"/>
                <a:gd name="connsiteY11" fmla="*/ 44270 h 44269"/>
                <a:gd name="connsiteX12" fmla="*/ 13367 w 32491"/>
                <a:gd name="connsiteY12" fmla="*/ 44270 h 44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91" h="44269">
                  <a:moveTo>
                    <a:pt x="13367" y="44270"/>
                  </a:moveTo>
                  <a:lnTo>
                    <a:pt x="13367" y="25924"/>
                  </a:lnTo>
                  <a:lnTo>
                    <a:pt x="0" y="25924"/>
                  </a:lnTo>
                  <a:lnTo>
                    <a:pt x="0" y="18213"/>
                  </a:lnTo>
                  <a:lnTo>
                    <a:pt x="13367" y="18213"/>
                  </a:lnTo>
                  <a:lnTo>
                    <a:pt x="13367" y="0"/>
                  </a:lnTo>
                  <a:lnTo>
                    <a:pt x="19026" y="0"/>
                  </a:lnTo>
                  <a:lnTo>
                    <a:pt x="19026" y="18213"/>
                  </a:lnTo>
                  <a:lnTo>
                    <a:pt x="32491" y="18213"/>
                  </a:lnTo>
                  <a:lnTo>
                    <a:pt x="32491" y="25924"/>
                  </a:lnTo>
                  <a:lnTo>
                    <a:pt x="19026" y="25924"/>
                  </a:lnTo>
                  <a:lnTo>
                    <a:pt x="19026" y="44270"/>
                  </a:lnTo>
                  <a:lnTo>
                    <a:pt x="13367" y="44270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62" name="Freihandform: Form 1061">
              <a:extLst>
                <a:ext uri="{FF2B5EF4-FFF2-40B4-BE49-F238E27FC236}">
                  <a16:creationId xmlns:a16="http://schemas.microsoft.com/office/drawing/2014/main" id="{78816680-5DEE-B2C5-550A-F7D75858FAE3}"/>
                </a:ext>
              </a:extLst>
            </p:cNvPr>
            <p:cNvSpPr/>
            <p:nvPr/>
          </p:nvSpPr>
          <p:spPr>
            <a:xfrm>
              <a:off x="11031333" y="2452777"/>
              <a:ext cx="32491" cy="44269"/>
            </a:xfrm>
            <a:custGeom>
              <a:avLst/>
              <a:gdLst>
                <a:gd name="connsiteX0" fmla="*/ 13367 w 32491"/>
                <a:gd name="connsiteY0" fmla="*/ 44270 h 44269"/>
                <a:gd name="connsiteX1" fmla="*/ 13367 w 32491"/>
                <a:gd name="connsiteY1" fmla="*/ 25924 h 44269"/>
                <a:gd name="connsiteX2" fmla="*/ 0 w 32491"/>
                <a:gd name="connsiteY2" fmla="*/ 25924 h 44269"/>
                <a:gd name="connsiteX3" fmla="*/ 0 w 32491"/>
                <a:gd name="connsiteY3" fmla="*/ 18213 h 44269"/>
                <a:gd name="connsiteX4" fmla="*/ 13367 w 32491"/>
                <a:gd name="connsiteY4" fmla="*/ 18213 h 44269"/>
                <a:gd name="connsiteX5" fmla="*/ 13367 w 32491"/>
                <a:gd name="connsiteY5" fmla="*/ 0 h 44269"/>
                <a:gd name="connsiteX6" fmla="*/ 19026 w 32491"/>
                <a:gd name="connsiteY6" fmla="*/ 0 h 44269"/>
                <a:gd name="connsiteX7" fmla="*/ 19026 w 32491"/>
                <a:gd name="connsiteY7" fmla="*/ 18213 h 44269"/>
                <a:gd name="connsiteX8" fmla="*/ 32491 w 32491"/>
                <a:gd name="connsiteY8" fmla="*/ 18213 h 44269"/>
                <a:gd name="connsiteX9" fmla="*/ 32491 w 32491"/>
                <a:gd name="connsiteY9" fmla="*/ 25924 h 44269"/>
                <a:gd name="connsiteX10" fmla="*/ 19026 w 32491"/>
                <a:gd name="connsiteY10" fmla="*/ 25924 h 44269"/>
                <a:gd name="connsiteX11" fmla="*/ 19026 w 32491"/>
                <a:gd name="connsiteY11" fmla="*/ 44270 h 44269"/>
                <a:gd name="connsiteX12" fmla="*/ 13367 w 32491"/>
                <a:gd name="connsiteY12" fmla="*/ 44270 h 44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91" h="44269">
                  <a:moveTo>
                    <a:pt x="13367" y="44270"/>
                  </a:moveTo>
                  <a:lnTo>
                    <a:pt x="13367" y="25924"/>
                  </a:lnTo>
                  <a:lnTo>
                    <a:pt x="0" y="25924"/>
                  </a:lnTo>
                  <a:lnTo>
                    <a:pt x="0" y="18213"/>
                  </a:lnTo>
                  <a:lnTo>
                    <a:pt x="13367" y="18213"/>
                  </a:lnTo>
                  <a:lnTo>
                    <a:pt x="13367" y="0"/>
                  </a:lnTo>
                  <a:lnTo>
                    <a:pt x="19026" y="0"/>
                  </a:lnTo>
                  <a:lnTo>
                    <a:pt x="19026" y="18213"/>
                  </a:lnTo>
                  <a:lnTo>
                    <a:pt x="32491" y="18213"/>
                  </a:lnTo>
                  <a:lnTo>
                    <a:pt x="32491" y="25924"/>
                  </a:lnTo>
                  <a:lnTo>
                    <a:pt x="19026" y="25924"/>
                  </a:lnTo>
                  <a:lnTo>
                    <a:pt x="19026" y="44270"/>
                  </a:lnTo>
                  <a:lnTo>
                    <a:pt x="13367" y="44270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63" name="Freihandform: Form 1062">
              <a:extLst>
                <a:ext uri="{FF2B5EF4-FFF2-40B4-BE49-F238E27FC236}">
                  <a16:creationId xmlns:a16="http://schemas.microsoft.com/office/drawing/2014/main" id="{5638ED29-D1AA-2E22-53EA-F5299CB25C45}"/>
                </a:ext>
              </a:extLst>
            </p:cNvPr>
            <p:cNvSpPr/>
            <p:nvPr/>
          </p:nvSpPr>
          <p:spPr>
            <a:xfrm>
              <a:off x="11041090" y="2452777"/>
              <a:ext cx="32491" cy="44269"/>
            </a:xfrm>
            <a:custGeom>
              <a:avLst/>
              <a:gdLst>
                <a:gd name="connsiteX0" fmla="*/ 13367 w 32491"/>
                <a:gd name="connsiteY0" fmla="*/ 44270 h 44269"/>
                <a:gd name="connsiteX1" fmla="*/ 13367 w 32491"/>
                <a:gd name="connsiteY1" fmla="*/ 25924 h 44269"/>
                <a:gd name="connsiteX2" fmla="*/ 0 w 32491"/>
                <a:gd name="connsiteY2" fmla="*/ 25924 h 44269"/>
                <a:gd name="connsiteX3" fmla="*/ 0 w 32491"/>
                <a:gd name="connsiteY3" fmla="*/ 18213 h 44269"/>
                <a:gd name="connsiteX4" fmla="*/ 13367 w 32491"/>
                <a:gd name="connsiteY4" fmla="*/ 18213 h 44269"/>
                <a:gd name="connsiteX5" fmla="*/ 13367 w 32491"/>
                <a:gd name="connsiteY5" fmla="*/ 0 h 44269"/>
                <a:gd name="connsiteX6" fmla="*/ 19026 w 32491"/>
                <a:gd name="connsiteY6" fmla="*/ 0 h 44269"/>
                <a:gd name="connsiteX7" fmla="*/ 19026 w 32491"/>
                <a:gd name="connsiteY7" fmla="*/ 18213 h 44269"/>
                <a:gd name="connsiteX8" fmla="*/ 32491 w 32491"/>
                <a:gd name="connsiteY8" fmla="*/ 18213 h 44269"/>
                <a:gd name="connsiteX9" fmla="*/ 32491 w 32491"/>
                <a:gd name="connsiteY9" fmla="*/ 25924 h 44269"/>
                <a:gd name="connsiteX10" fmla="*/ 19026 w 32491"/>
                <a:gd name="connsiteY10" fmla="*/ 25924 h 44269"/>
                <a:gd name="connsiteX11" fmla="*/ 19026 w 32491"/>
                <a:gd name="connsiteY11" fmla="*/ 44270 h 44269"/>
                <a:gd name="connsiteX12" fmla="*/ 13367 w 32491"/>
                <a:gd name="connsiteY12" fmla="*/ 44270 h 44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91" h="44269">
                  <a:moveTo>
                    <a:pt x="13367" y="44270"/>
                  </a:moveTo>
                  <a:lnTo>
                    <a:pt x="13367" y="25924"/>
                  </a:lnTo>
                  <a:lnTo>
                    <a:pt x="0" y="25924"/>
                  </a:lnTo>
                  <a:lnTo>
                    <a:pt x="0" y="18213"/>
                  </a:lnTo>
                  <a:lnTo>
                    <a:pt x="13367" y="18213"/>
                  </a:lnTo>
                  <a:lnTo>
                    <a:pt x="13367" y="0"/>
                  </a:lnTo>
                  <a:lnTo>
                    <a:pt x="19026" y="0"/>
                  </a:lnTo>
                  <a:lnTo>
                    <a:pt x="19026" y="18213"/>
                  </a:lnTo>
                  <a:lnTo>
                    <a:pt x="32491" y="18213"/>
                  </a:lnTo>
                  <a:lnTo>
                    <a:pt x="32491" y="25924"/>
                  </a:lnTo>
                  <a:lnTo>
                    <a:pt x="19026" y="25924"/>
                  </a:lnTo>
                  <a:lnTo>
                    <a:pt x="19026" y="44270"/>
                  </a:lnTo>
                  <a:lnTo>
                    <a:pt x="13367" y="44270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64" name="Freihandform: Form 1063">
              <a:extLst>
                <a:ext uri="{FF2B5EF4-FFF2-40B4-BE49-F238E27FC236}">
                  <a16:creationId xmlns:a16="http://schemas.microsoft.com/office/drawing/2014/main" id="{AE6FAB60-E23D-2C7E-E354-F8E9658AF7D5}"/>
                </a:ext>
              </a:extLst>
            </p:cNvPr>
            <p:cNvSpPr/>
            <p:nvPr/>
          </p:nvSpPr>
          <p:spPr>
            <a:xfrm>
              <a:off x="11090169" y="2452777"/>
              <a:ext cx="32393" cy="44269"/>
            </a:xfrm>
            <a:custGeom>
              <a:avLst/>
              <a:gdLst>
                <a:gd name="connsiteX0" fmla="*/ 13367 w 32393"/>
                <a:gd name="connsiteY0" fmla="*/ 44270 h 44269"/>
                <a:gd name="connsiteX1" fmla="*/ 13367 w 32393"/>
                <a:gd name="connsiteY1" fmla="*/ 25924 h 44269"/>
                <a:gd name="connsiteX2" fmla="*/ 0 w 32393"/>
                <a:gd name="connsiteY2" fmla="*/ 25924 h 44269"/>
                <a:gd name="connsiteX3" fmla="*/ 0 w 32393"/>
                <a:gd name="connsiteY3" fmla="*/ 18213 h 44269"/>
                <a:gd name="connsiteX4" fmla="*/ 13367 w 32393"/>
                <a:gd name="connsiteY4" fmla="*/ 18213 h 44269"/>
                <a:gd name="connsiteX5" fmla="*/ 13367 w 32393"/>
                <a:gd name="connsiteY5" fmla="*/ 0 h 44269"/>
                <a:gd name="connsiteX6" fmla="*/ 19026 w 32393"/>
                <a:gd name="connsiteY6" fmla="*/ 0 h 44269"/>
                <a:gd name="connsiteX7" fmla="*/ 19026 w 32393"/>
                <a:gd name="connsiteY7" fmla="*/ 18213 h 44269"/>
                <a:gd name="connsiteX8" fmla="*/ 32394 w 32393"/>
                <a:gd name="connsiteY8" fmla="*/ 18213 h 44269"/>
                <a:gd name="connsiteX9" fmla="*/ 32394 w 32393"/>
                <a:gd name="connsiteY9" fmla="*/ 25924 h 44269"/>
                <a:gd name="connsiteX10" fmla="*/ 19026 w 32393"/>
                <a:gd name="connsiteY10" fmla="*/ 25924 h 44269"/>
                <a:gd name="connsiteX11" fmla="*/ 19026 w 32393"/>
                <a:gd name="connsiteY11" fmla="*/ 44270 h 44269"/>
                <a:gd name="connsiteX12" fmla="*/ 13367 w 32393"/>
                <a:gd name="connsiteY12" fmla="*/ 44270 h 44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393" h="44269">
                  <a:moveTo>
                    <a:pt x="13367" y="44270"/>
                  </a:moveTo>
                  <a:lnTo>
                    <a:pt x="13367" y="25924"/>
                  </a:lnTo>
                  <a:lnTo>
                    <a:pt x="0" y="25924"/>
                  </a:lnTo>
                  <a:lnTo>
                    <a:pt x="0" y="18213"/>
                  </a:lnTo>
                  <a:lnTo>
                    <a:pt x="13367" y="18213"/>
                  </a:lnTo>
                  <a:lnTo>
                    <a:pt x="13367" y="0"/>
                  </a:lnTo>
                  <a:lnTo>
                    <a:pt x="19026" y="0"/>
                  </a:lnTo>
                  <a:lnTo>
                    <a:pt x="19026" y="18213"/>
                  </a:lnTo>
                  <a:lnTo>
                    <a:pt x="32394" y="18213"/>
                  </a:lnTo>
                  <a:lnTo>
                    <a:pt x="32394" y="25924"/>
                  </a:lnTo>
                  <a:lnTo>
                    <a:pt x="19026" y="25924"/>
                  </a:lnTo>
                  <a:lnTo>
                    <a:pt x="19026" y="44270"/>
                  </a:lnTo>
                  <a:lnTo>
                    <a:pt x="13367" y="44270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65" name="Freihandform: Form 1064">
              <a:extLst>
                <a:ext uri="{FF2B5EF4-FFF2-40B4-BE49-F238E27FC236}">
                  <a16:creationId xmlns:a16="http://schemas.microsoft.com/office/drawing/2014/main" id="{131FC724-E747-0AAD-5498-90CE16414026}"/>
                </a:ext>
              </a:extLst>
            </p:cNvPr>
            <p:cNvSpPr/>
            <p:nvPr/>
          </p:nvSpPr>
          <p:spPr>
            <a:xfrm>
              <a:off x="11119537" y="2452777"/>
              <a:ext cx="32491" cy="44269"/>
            </a:xfrm>
            <a:custGeom>
              <a:avLst/>
              <a:gdLst>
                <a:gd name="connsiteX0" fmla="*/ 13367 w 32491"/>
                <a:gd name="connsiteY0" fmla="*/ 44270 h 44269"/>
                <a:gd name="connsiteX1" fmla="*/ 13367 w 32491"/>
                <a:gd name="connsiteY1" fmla="*/ 25924 h 44269"/>
                <a:gd name="connsiteX2" fmla="*/ 0 w 32491"/>
                <a:gd name="connsiteY2" fmla="*/ 25924 h 44269"/>
                <a:gd name="connsiteX3" fmla="*/ 0 w 32491"/>
                <a:gd name="connsiteY3" fmla="*/ 18213 h 44269"/>
                <a:gd name="connsiteX4" fmla="*/ 13367 w 32491"/>
                <a:gd name="connsiteY4" fmla="*/ 18213 h 44269"/>
                <a:gd name="connsiteX5" fmla="*/ 13367 w 32491"/>
                <a:gd name="connsiteY5" fmla="*/ 0 h 44269"/>
                <a:gd name="connsiteX6" fmla="*/ 19124 w 32491"/>
                <a:gd name="connsiteY6" fmla="*/ 0 h 44269"/>
                <a:gd name="connsiteX7" fmla="*/ 19124 w 32491"/>
                <a:gd name="connsiteY7" fmla="*/ 18213 h 44269"/>
                <a:gd name="connsiteX8" fmla="*/ 32491 w 32491"/>
                <a:gd name="connsiteY8" fmla="*/ 18213 h 44269"/>
                <a:gd name="connsiteX9" fmla="*/ 32491 w 32491"/>
                <a:gd name="connsiteY9" fmla="*/ 25924 h 44269"/>
                <a:gd name="connsiteX10" fmla="*/ 19124 w 32491"/>
                <a:gd name="connsiteY10" fmla="*/ 25924 h 44269"/>
                <a:gd name="connsiteX11" fmla="*/ 19124 w 32491"/>
                <a:gd name="connsiteY11" fmla="*/ 44270 h 44269"/>
                <a:gd name="connsiteX12" fmla="*/ 13367 w 32491"/>
                <a:gd name="connsiteY12" fmla="*/ 44270 h 44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91" h="44269">
                  <a:moveTo>
                    <a:pt x="13367" y="44270"/>
                  </a:moveTo>
                  <a:lnTo>
                    <a:pt x="13367" y="25924"/>
                  </a:lnTo>
                  <a:lnTo>
                    <a:pt x="0" y="25924"/>
                  </a:lnTo>
                  <a:lnTo>
                    <a:pt x="0" y="18213"/>
                  </a:lnTo>
                  <a:lnTo>
                    <a:pt x="13367" y="18213"/>
                  </a:lnTo>
                  <a:lnTo>
                    <a:pt x="13367" y="0"/>
                  </a:lnTo>
                  <a:lnTo>
                    <a:pt x="19124" y="0"/>
                  </a:lnTo>
                  <a:lnTo>
                    <a:pt x="19124" y="18213"/>
                  </a:lnTo>
                  <a:lnTo>
                    <a:pt x="32491" y="18213"/>
                  </a:lnTo>
                  <a:lnTo>
                    <a:pt x="32491" y="25924"/>
                  </a:lnTo>
                  <a:lnTo>
                    <a:pt x="19124" y="25924"/>
                  </a:lnTo>
                  <a:lnTo>
                    <a:pt x="19124" y="44270"/>
                  </a:lnTo>
                  <a:lnTo>
                    <a:pt x="13367" y="44270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66" name="Freihandform: Form 1065">
              <a:extLst>
                <a:ext uri="{FF2B5EF4-FFF2-40B4-BE49-F238E27FC236}">
                  <a16:creationId xmlns:a16="http://schemas.microsoft.com/office/drawing/2014/main" id="{70A6024C-93E5-3A97-4F27-E052B25C7BB2}"/>
                </a:ext>
              </a:extLst>
            </p:cNvPr>
            <p:cNvSpPr/>
            <p:nvPr/>
          </p:nvSpPr>
          <p:spPr>
            <a:xfrm>
              <a:off x="11149004" y="2452777"/>
              <a:ext cx="32393" cy="44269"/>
            </a:xfrm>
            <a:custGeom>
              <a:avLst/>
              <a:gdLst>
                <a:gd name="connsiteX0" fmla="*/ 13367 w 32393"/>
                <a:gd name="connsiteY0" fmla="*/ 44270 h 44269"/>
                <a:gd name="connsiteX1" fmla="*/ 13367 w 32393"/>
                <a:gd name="connsiteY1" fmla="*/ 25924 h 44269"/>
                <a:gd name="connsiteX2" fmla="*/ 0 w 32393"/>
                <a:gd name="connsiteY2" fmla="*/ 25924 h 44269"/>
                <a:gd name="connsiteX3" fmla="*/ 0 w 32393"/>
                <a:gd name="connsiteY3" fmla="*/ 18213 h 44269"/>
                <a:gd name="connsiteX4" fmla="*/ 13367 w 32393"/>
                <a:gd name="connsiteY4" fmla="*/ 18213 h 44269"/>
                <a:gd name="connsiteX5" fmla="*/ 13367 w 32393"/>
                <a:gd name="connsiteY5" fmla="*/ 0 h 44269"/>
                <a:gd name="connsiteX6" fmla="*/ 19026 w 32393"/>
                <a:gd name="connsiteY6" fmla="*/ 0 h 44269"/>
                <a:gd name="connsiteX7" fmla="*/ 19026 w 32393"/>
                <a:gd name="connsiteY7" fmla="*/ 18213 h 44269"/>
                <a:gd name="connsiteX8" fmla="*/ 32394 w 32393"/>
                <a:gd name="connsiteY8" fmla="*/ 18213 h 44269"/>
                <a:gd name="connsiteX9" fmla="*/ 32394 w 32393"/>
                <a:gd name="connsiteY9" fmla="*/ 25924 h 44269"/>
                <a:gd name="connsiteX10" fmla="*/ 19026 w 32393"/>
                <a:gd name="connsiteY10" fmla="*/ 25924 h 44269"/>
                <a:gd name="connsiteX11" fmla="*/ 19026 w 32393"/>
                <a:gd name="connsiteY11" fmla="*/ 44270 h 44269"/>
                <a:gd name="connsiteX12" fmla="*/ 13367 w 32393"/>
                <a:gd name="connsiteY12" fmla="*/ 44270 h 44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393" h="44269">
                  <a:moveTo>
                    <a:pt x="13367" y="44270"/>
                  </a:moveTo>
                  <a:lnTo>
                    <a:pt x="13367" y="25924"/>
                  </a:lnTo>
                  <a:lnTo>
                    <a:pt x="0" y="25924"/>
                  </a:lnTo>
                  <a:lnTo>
                    <a:pt x="0" y="18213"/>
                  </a:lnTo>
                  <a:lnTo>
                    <a:pt x="13367" y="18213"/>
                  </a:lnTo>
                  <a:lnTo>
                    <a:pt x="13367" y="0"/>
                  </a:lnTo>
                  <a:lnTo>
                    <a:pt x="19026" y="0"/>
                  </a:lnTo>
                  <a:lnTo>
                    <a:pt x="19026" y="18213"/>
                  </a:lnTo>
                  <a:lnTo>
                    <a:pt x="32394" y="18213"/>
                  </a:lnTo>
                  <a:lnTo>
                    <a:pt x="32394" y="25924"/>
                  </a:lnTo>
                  <a:lnTo>
                    <a:pt x="19026" y="25924"/>
                  </a:lnTo>
                  <a:lnTo>
                    <a:pt x="19026" y="44270"/>
                  </a:lnTo>
                  <a:lnTo>
                    <a:pt x="13367" y="44270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67" name="Freihandform: Form 1066">
              <a:extLst>
                <a:ext uri="{FF2B5EF4-FFF2-40B4-BE49-F238E27FC236}">
                  <a16:creationId xmlns:a16="http://schemas.microsoft.com/office/drawing/2014/main" id="{2D57CBC9-73F5-3FC6-4F90-52C5D46BC7A5}"/>
                </a:ext>
              </a:extLst>
            </p:cNvPr>
            <p:cNvSpPr/>
            <p:nvPr/>
          </p:nvSpPr>
          <p:spPr>
            <a:xfrm>
              <a:off x="11168518" y="2452777"/>
              <a:ext cx="28880" cy="44269"/>
            </a:xfrm>
            <a:custGeom>
              <a:avLst/>
              <a:gdLst>
                <a:gd name="connsiteX0" fmla="*/ 13367 w 28880"/>
                <a:gd name="connsiteY0" fmla="*/ 44270 h 44269"/>
                <a:gd name="connsiteX1" fmla="*/ 13367 w 28880"/>
                <a:gd name="connsiteY1" fmla="*/ 25924 h 44269"/>
                <a:gd name="connsiteX2" fmla="*/ 0 w 28880"/>
                <a:gd name="connsiteY2" fmla="*/ 25924 h 44269"/>
                <a:gd name="connsiteX3" fmla="*/ 0 w 28880"/>
                <a:gd name="connsiteY3" fmla="*/ 18213 h 44269"/>
                <a:gd name="connsiteX4" fmla="*/ 13367 w 28880"/>
                <a:gd name="connsiteY4" fmla="*/ 18213 h 44269"/>
                <a:gd name="connsiteX5" fmla="*/ 13367 w 28880"/>
                <a:gd name="connsiteY5" fmla="*/ 0 h 44269"/>
                <a:gd name="connsiteX6" fmla="*/ 19124 w 28880"/>
                <a:gd name="connsiteY6" fmla="*/ 0 h 44269"/>
                <a:gd name="connsiteX7" fmla="*/ 19124 w 28880"/>
                <a:gd name="connsiteY7" fmla="*/ 18213 h 44269"/>
                <a:gd name="connsiteX8" fmla="*/ 28881 w 28880"/>
                <a:gd name="connsiteY8" fmla="*/ 18213 h 44269"/>
                <a:gd name="connsiteX9" fmla="*/ 28881 w 28880"/>
                <a:gd name="connsiteY9" fmla="*/ 25924 h 44269"/>
                <a:gd name="connsiteX10" fmla="*/ 19124 w 28880"/>
                <a:gd name="connsiteY10" fmla="*/ 25924 h 44269"/>
                <a:gd name="connsiteX11" fmla="*/ 19124 w 28880"/>
                <a:gd name="connsiteY11" fmla="*/ 44270 h 44269"/>
                <a:gd name="connsiteX12" fmla="*/ 13367 w 28880"/>
                <a:gd name="connsiteY12" fmla="*/ 44270 h 44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8880" h="44269">
                  <a:moveTo>
                    <a:pt x="13367" y="44270"/>
                  </a:moveTo>
                  <a:lnTo>
                    <a:pt x="13367" y="25924"/>
                  </a:lnTo>
                  <a:lnTo>
                    <a:pt x="0" y="25924"/>
                  </a:lnTo>
                  <a:lnTo>
                    <a:pt x="0" y="18213"/>
                  </a:lnTo>
                  <a:lnTo>
                    <a:pt x="13367" y="18213"/>
                  </a:lnTo>
                  <a:lnTo>
                    <a:pt x="13367" y="0"/>
                  </a:lnTo>
                  <a:lnTo>
                    <a:pt x="19124" y="0"/>
                  </a:lnTo>
                  <a:lnTo>
                    <a:pt x="19124" y="18213"/>
                  </a:lnTo>
                  <a:lnTo>
                    <a:pt x="28881" y="18213"/>
                  </a:lnTo>
                  <a:lnTo>
                    <a:pt x="28881" y="25924"/>
                  </a:lnTo>
                  <a:lnTo>
                    <a:pt x="19124" y="25924"/>
                  </a:lnTo>
                  <a:lnTo>
                    <a:pt x="19124" y="44270"/>
                  </a:lnTo>
                  <a:lnTo>
                    <a:pt x="13367" y="44270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68" name="Freihandform: Form 1067">
              <a:extLst>
                <a:ext uri="{FF2B5EF4-FFF2-40B4-BE49-F238E27FC236}">
                  <a16:creationId xmlns:a16="http://schemas.microsoft.com/office/drawing/2014/main" id="{5AC90730-FE42-7266-160B-C2F89F410CA3}"/>
                </a:ext>
              </a:extLst>
            </p:cNvPr>
            <p:cNvSpPr/>
            <p:nvPr/>
          </p:nvSpPr>
          <p:spPr>
            <a:xfrm>
              <a:off x="11178373" y="2452777"/>
              <a:ext cx="19026" cy="44269"/>
            </a:xfrm>
            <a:custGeom>
              <a:avLst/>
              <a:gdLst>
                <a:gd name="connsiteX0" fmla="*/ 19026 w 19026"/>
                <a:gd name="connsiteY0" fmla="*/ 25924 h 44269"/>
                <a:gd name="connsiteX1" fmla="*/ 19026 w 19026"/>
                <a:gd name="connsiteY1" fmla="*/ 44270 h 44269"/>
                <a:gd name="connsiteX2" fmla="*/ 13367 w 19026"/>
                <a:gd name="connsiteY2" fmla="*/ 44270 h 44269"/>
                <a:gd name="connsiteX3" fmla="*/ 13367 w 19026"/>
                <a:gd name="connsiteY3" fmla="*/ 25924 h 44269"/>
                <a:gd name="connsiteX4" fmla="*/ 0 w 19026"/>
                <a:gd name="connsiteY4" fmla="*/ 25924 h 44269"/>
                <a:gd name="connsiteX5" fmla="*/ 0 w 19026"/>
                <a:gd name="connsiteY5" fmla="*/ 18213 h 44269"/>
                <a:gd name="connsiteX6" fmla="*/ 13367 w 19026"/>
                <a:gd name="connsiteY6" fmla="*/ 18213 h 44269"/>
                <a:gd name="connsiteX7" fmla="*/ 13367 w 19026"/>
                <a:gd name="connsiteY7" fmla="*/ 0 h 44269"/>
                <a:gd name="connsiteX8" fmla="*/ 19026 w 19026"/>
                <a:gd name="connsiteY8" fmla="*/ 0 h 44269"/>
                <a:gd name="connsiteX9" fmla="*/ 19026 w 19026"/>
                <a:gd name="connsiteY9" fmla="*/ 18213 h 44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026" h="44269">
                  <a:moveTo>
                    <a:pt x="19026" y="25924"/>
                  </a:moveTo>
                  <a:lnTo>
                    <a:pt x="19026" y="44270"/>
                  </a:lnTo>
                  <a:lnTo>
                    <a:pt x="13367" y="44270"/>
                  </a:lnTo>
                  <a:lnTo>
                    <a:pt x="13367" y="25924"/>
                  </a:lnTo>
                  <a:lnTo>
                    <a:pt x="0" y="25924"/>
                  </a:lnTo>
                  <a:lnTo>
                    <a:pt x="0" y="18213"/>
                  </a:lnTo>
                  <a:lnTo>
                    <a:pt x="13367" y="18213"/>
                  </a:lnTo>
                  <a:lnTo>
                    <a:pt x="13367" y="0"/>
                  </a:lnTo>
                  <a:lnTo>
                    <a:pt x="19026" y="0"/>
                  </a:lnTo>
                  <a:lnTo>
                    <a:pt x="19026" y="18213"/>
                  </a:lnTo>
                </a:path>
              </a:pathLst>
            </a:custGeom>
            <a:grpFill/>
            <a:ln w="97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1069" name="Textfeld 1068">
            <a:extLst>
              <a:ext uri="{FF2B5EF4-FFF2-40B4-BE49-F238E27FC236}">
                <a16:creationId xmlns:a16="http://schemas.microsoft.com/office/drawing/2014/main" id="{2AEBD1B6-8000-666E-08F8-FCCA19E20BFB}"/>
              </a:ext>
            </a:extLst>
          </p:cNvPr>
          <p:cNvSpPr txBox="1"/>
          <p:nvPr/>
        </p:nvSpPr>
        <p:spPr>
          <a:xfrm>
            <a:off x="7565580" y="2191270"/>
            <a:ext cx="431314" cy="276999"/>
          </a:xfrm>
          <a:prstGeom prst="rect">
            <a:avLst/>
          </a:prstGeom>
          <a:noFill/>
        </p:spPr>
        <p:txBody>
          <a:bodyPr wrap="square" lIns="36000" rIns="36000">
            <a:spAutoFit/>
          </a:bodyPr>
          <a:lstStyle/>
          <a:p>
            <a:pPr algn="ctr"/>
            <a:r>
              <a:rPr lang="de-DE" sz="1200" b="1" dirty="0">
                <a:solidFill>
                  <a:srgbClr val="FF585D"/>
                </a:solidFill>
                <a:latin typeface="Arial" panose="020B0604020202020204"/>
              </a:rPr>
              <a:t>60 </a:t>
            </a: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FF585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</a:t>
            </a:r>
            <a:endParaRPr lang="de-DE" b="1" dirty="0"/>
          </a:p>
        </p:txBody>
      </p:sp>
      <p:sp>
        <p:nvSpPr>
          <p:cNvPr id="1070" name="Textfeld 1069">
            <a:extLst>
              <a:ext uri="{FF2B5EF4-FFF2-40B4-BE49-F238E27FC236}">
                <a16:creationId xmlns:a16="http://schemas.microsoft.com/office/drawing/2014/main" id="{E3FA221F-3492-6B67-1CEA-C46D0E5E4635}"/>
              </a:ext>
            </a:extLst>
          </p:cNvPr>
          <p:cNvSpPr txBox="1"/>
          <p:nvPr/>
        </p:nvSpPr>
        <p:spPr>
          <a:xfrm>
            <a:off x="8449685" y="2451400"/>
            <a:ext cx="431314" cy="276999"/>
          </a:xfrm>
          <a:prstGeom prst="rect">
            <a:avLst/>
          </a:prstGeom>
          <a:noFill/>
        </p:spPr>
        <p:txBody>
          <a:bodyPr wrap="square" lIns="36000" rIns="36000">
            <a:spAutoFit/>
          </a:bodyPr>
          <a:lstStyle/>
          <a:p>
            <a:pPr algn="ctr"/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FF585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lang="de-DE" sz="1200" b="1" dirty="0">
                <a:solidFill>
                  <a:srgbClr val="FF585D"/>
                </a:solidFill>
                <a:latin typeface="Arial" panose="020B0604020202020204"/>
              </a:rPr>
              <a:t>0 </a:t>
            </a: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FF585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</a:t>
            </a:r>
            <a:endParaRPr lang="de-DE" b="1" dirty="0"/>
          </a:p>
        </p:txBody>
      </p:sp>
      <p:sp>
        <p:nvSpPr>
          <p:cNvPr id="1071" name="Textfeld 1070">
            <a:extLst>
              <a:ext uri="{FF2B5EF4-FFF2-40B4-BE49-F238E27FC236}">
                <a16:creationId xmlns:a16="http://schemas.microsoft.com/office/drawing/2014/main" id="{AAB030EF-F508-A79B-B9D7-A1E965066BCE}"/>
              </a:ext>
            </a:extLst>
          </p:cNvPr>
          <p:cNvSpPr txBox="1"/>
          <p:nvPr/>
        </p:nvSpPr>
        <p:spPr>
          <a:xfrm>
            <a:off x="9357812" y="2496715"/>
            <a:ext cx="431314" cy="276999"/>
          </a:xfrm>
          <a:prstGeom prst="rect">
            <a:avLst/>
          </a:prstGeom>
          <a:noFill/>
        </p:spPr>
        <p:txBody>
          <a:bodyPr wrap="square" lIns="36000" rIns="36000">
            <a:spAutoFit/>
          </a:bodyPr>
          <a:lstStyle/>
          <a:p>
            <a:pPr algn="ctr"/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FF585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</a:t>
            </a:r>
            <a:r>
              <a:rPr lang="de-DE" sz="1200" b="1" dirty="0">
                <a:solidFill>
                  <a:srgbClr val="FF585D"/>
                </a:solidFill>
                <a:latin typeface="Arial" panose="020B0604020202020204"/>
              </a:rPr>
              <a:t>8 </a:t>
            </a: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FF585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</a:t>
            </a:r>
            <a:endParaRPr lang="de-DE" b="1" dirty="0"/>
          </a:p>
        </p:txBody>
      </p:sp>
      <p:sp>
        <p:nvSpPr>
          <p:cNvPr id="1072" name="Textfeld 1071">
            <a:extLst>
              <a:ext uri="{FF2B5EF4-FFF2-40B4-BE49-F238E27FC236}">
                <a16:creationId xmlns:a16="http://schemas.microsoft.com/office/drawing/2014/main" id="{C143DF97-5D46-D3C2-1C12-61472CC601FE}"/>
              </a:ext>
            </a:extLst>
          </p:cNvPr>
          <p:cNvSpPr txBox="1"/>
          <p:nvPr/>
        </p:nvSpPr>
        <p:spPr>
          <a:xfrm>
            <a:off x="10242262" y="2563920"/>
            <a:ext cx="431314" cy="276999"/>
          </a:xfrm>
          <a:prstGeom prst="rect">
            <a:avLst/>
          </a:prstGeom>
          <a:noFill/>
        </p:spPr>
        <p:txBody>
          <a:bodyPr wrap="square" lIns="36000" rIns="36000">
            <a:spAutoFit/>
          </a:bodyPr>
          <a:lstStyle/>
          <a:p>
            <a:pPr algn="ctr"/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FF585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</a:t>
            </a:r>
            <a:r>
              <a:rPr lang="de-DE" sz="1200" b="1" dirty="0">
                <a:solidFill>
                  <a:srgbClr val="FF585D"/>
                </a:solidFill>
                <a:latin typeface="Arial" panose="020B0604020202020204"/>
              </a:rPr>
              <a:t>6 </a:t>
            </a: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FF585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</a:t>
            </a:r>
            <a:endParaRPr lang="de-DE" b="1" dirty="0"/>
          </a:p>
        </p:txBody>
      </p:sp>
      <p:sp>
        <p:nvSpPr>
          <p:cNvPr id="1073" name="Textfeld 1072">
            <a:extLst>
              <a:ext uri="{FF2B5EF4-FFF2-40B4-BE49-F238E27FC236}">
                <a16:creationId xmlns:a16="http://schemas.microsoft.com/office/drawing/2014/main" id="{2A286251-1B72-7AAF-1105-339B4D503FD4}"/>
              </a:ext>
            </a:extLst>
          </p:cNvPr>
          <p:cNvSpPr txBox="1"/>
          <p:nvPr/>
        </p:nvSpPr>
        <p:spPr>
          <a:xfrm>
            <a:off x="9711396" y="2059574"/>
            <a:ext cx="431314" cy="276999"/>
          </a:xfrm>
          <a:prstGeom prst="rect">
            <a:avLst/>
          </a:prstGeom>
          <a:noFill/>
        </p:spPr>
        <p:txBody>
          <a:bodyPr wrap="square" lIns="36000" rIns="36000">
            <a:spAutoFit/>
          </a:bodyPr>
          <a:lstStyle/>
          <a:p>
            <a:pPr algn="ctr"/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7 %</a:t>
            </a:r>
            <a:endParaRPr lang="de-DE" b="1" dirty="0">
              <a:solidFill>
                <a:schemeClr val="accent6"/>
              </a:solidFill>
            </a:endParaRPr>
          </a:p>
        </p:txBody>
      </p:sp>
      <p:sp>
        <p:nvSpPr>
          <p:cNvPr id="1074" name="Textfeld 1073">
            <a:extLst>
              <a:ext uri="{FF2B5EF4-FFF2-40B4-BE49-F238E27FC236}">
                <a16:creationId xmlns:a16="http://schemas.microsoft.com/office/drawing/2014/main" id="{8A3FC579-5CAB-E5D1-261C-A33DE34DB653}"/>
              </a:ext>
            </a:extLst>
          </p:cNvPr>
          <p:cNvSpPr txBox="1"/>
          <p:nvPr/>
        </p:nvSpPr>
        <p:spPr>
          <a:xfrm>
            <a:off x="10609663" y="2115666"/>
            <a:ext cx="431314" cy="276999"/>
          </a:xfrm>
          <a:prstGeom prst="rect">
            <a:avLst/>
          </a:prstGeom>
          <a:noFill/>
        </p:spPr>
        <p:txBody>
          <a:bodyPr wrap="square" lIns="36000" rIns="36000">
            <a:spAutoFit/>
          </a:bodyPr>
          <a:lstStyle/>
          <a:p>
            <a:pPr algn="ctr"/>
            <a:r>
              <a:rPr lang="de-DE" sz="1200" b="1" dirty="0">
                <a:solidFill>
                  <a:schemeClr val="accent6"/>
                </a:solidFill>
                <a:latin typeface="Arial" panose="020B0604020202020204"/>
              </a:rPr>
              <a:t>53 </a:t>
            </a: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</a:t>
            </a:r>
            <a:endParaRPr lang="de-DE" b="1" dirty="0">
              <a:solidFill>
                <a:schemeClr val="accent6"/>
              </a:solidFill>
            </a:endParaRPr>
          </a:p>
        </p:txBody>
      </p:sp>
      <p:sp>
        <p:nvSpPr>
          <p:cNvPr id="1075" name="Textfeld 1074">
            <a:extLst>
              <a:ext uri="{FF2B5EF4-FFF2-40B4-BE49-F238E27FC236}">
                <a16:creationId xmlns:a16="http://schemas.microsoft.com/office/drawing/2014/main" id="{B68F709D-E7F4-4B97-FA74-ED93FBCAE820}"/>
              </a:ext>
            </a:extLst>
          </p:cNvPr>
          <p:cNvSpPr txBox="1"/>
          <p:nvPr/>
        </p:nvSpPr>
        <p:spPr>
          <a:xfrm>
            <a:off x="6687873" y="3083400"/>
            <a:ext cx="1653550" cy="461665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r>
              <a:rPr lang="de-DE" sz="800" b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reignisse/</a:t>
            </a:r>
            <a:r>
              <a:rPr lang="de-DE" sz="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</a:t>
            </a:r>
            <a:r>
              <a:rPr lang="de-DE" sz="800" b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tient*innen</a:t>
            </a:r>
            <a:br>
              <a:rPr lang="de-DE" sz="800" b="0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de-DE" sz="800" b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FS, </a:t>
            </a:r>
            <a:r>
              <a:rPr lang="de-DE" sz="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onate</a:t>
            </a:r>
            <a:r>
              <a:rPr lang="de-DE" sz="800" b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, </a:t>
            </a:r>
            <a:r>
              <a:rPr lang="de-DE" sz="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</a:t>
            </a:r>
            <a:r>
              <a:rPr lang="de-DE" sz="800" b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dian (95%-KI)</a:t>
            </a:r>
          </a:p>
          <a:p>
            <a:r>
              <a:rPr lang="de-DE" sz="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HR (95%-KI) vs. TT</a:t>
            </a:r>
          </a:p>
        </p:txBody>
      </p:sp>
      <p:sp>
        <p:nvSpPr>
          <p:cNvPr id="1076" name="Textfeld 1075">
            <a:extLst>
              <a:ext uri="{FF2B5EF4-FFF2-40B4-BE49-F238E27FC236}">
                <a16:creationId xmlns:a16="http://schemas.microsoft.com/office/drawing/2014/main" id="{E2B0AD40-4980-E832-5DAF-65F9FC5A0303}"/>
              </a:ext>
            </a:extLst>
          </p:cNvPr>
          <p:cNvSpPr txBox="1"/>
          <p:nvPr/>
        </p:nvSpPr>
        <p:spPr>
          <a:xfrm>
            <a:off x="8753684" y="2960290"/>
            <a:ext cx="1075203" cy="584775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pPr algn="ctr"/>
            <a:r>
              <a:rPr lang="de-DE" sz="800" b="1" dirty="0">
                <a:solidFill>
                  <a:schemeClr val="accent2"/>
                </a:solidFill>
              </a:rPr>
              <a:t>PD1</a:t>
            </a:r>
          </a:p>
          <a:p>
            <a:pPr algn="ctr"/>
            <a:r>
              <a:rPr lang="de-DE" sz="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65/122</a:t>
            </a:r>
          </a:p>
          <a:p>
            <a:pPr algn="ctr"/>
            <a:r>
              <a:rPr lang="de-DE" sz="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22,2 (14,3–NR)</a:t>
            </a:r>
          </a:p>
          <a:p>
            <a:pPr algn="ctr"/>
            <a:r>
              <a:rPr lang="de-DE" sz="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1,57 (1,09–2,26)</a:t>
            </a:r>
          </a:p>
        </p:txBody>
      </p:sp>
      <p:sp>
        <p:nvSpPr>
          <p:cNvPr id="1077" name="Textfeld 1076">
            <a:extLst>
              <a:ext uri="{FF2B5EF4-FFF2-40B4-BE49-F238E27FC236}">
                <a16:creationId xmlns:a16="http://schemas.microsoft.com/office/drawing/2014/main" id="{200752A3-3856-60EA-90C8-16C002812364}"/>
              </a:ext>
            </a:extLst>
          </p:cNvPr>
          <p:cNvSpPr txBox="1"/>
          <p:nvPr/>
        </p:nvSpPr>
        <p:spPr>
          <a:xfrm>
            <a:off x="9735647" y="2960290"/>
            <a:ext cx="910791" cy="584775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pPr algn="ctr"/>
            <a:r>
              <a:rPr lang="de-DE" sz="800" b="1" dirty="0">
                <a:solidFill>
                  <a:schemeClr val="accent6"/>
                </a:solidFill>
              </a:rPr>
              <a:t>TT</a:t>
            </a:r>
          </a:p>
          <a:p>
            <a:pPr algn="ctr"/>
            <a:r>
              <a:rPr lang="de-DE" sz="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49/110</a:t>
            </a:r>
          </a:p>
          <a:p>
            <a:pPr algn="ctr"/>
            <a:r>
              <a:rPr lang="de-DE" sz="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NR (34,8–NR)</a:t>
            </a:r>
          </a:p>
          <a:p>
            <a:pPr algn="ctr"/>
            <a:r>
              <a:rPr lang="de-DE" sz="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-</a:t>
            </a:r>
          </a:p>
        </p:txBody>
      </p:sp>
      <p:sp>
        <p:nvSpPr>
          <p:cNvPr id="1078" name="Textfeld 1077">
            <a:extLst>
              <a:ext uri="{FF2B5EF4-FFF2-40B4-BE49-F238E27FC236}">
                <a16:creationId xmlns:a16="http://schemas.microsoft.com/office/drawing/2014/main" id="{96C4FAFA-C9C1-A9A7-D9B2-5F422EAA3AEE}"/>
              </a:ext>
            </a:extLst>
          </p:cNvPr>
          <p:cNvSpPr txBox="1"/>
          <p:nvPr/>
        </p:nvSpPr>
        <p:spPr>
          <a:xfrm>
            <a:off x="7943447" y="1361858"/>
            <a:ext cx="431314" cy="276999"/>
          </a:xfrm>
          <a:prstGeom prst="rect">
            <a:avLst/>
          </a:prstGeom>
          <a:noFill/>
        </p:spPr>
        <p:txBody>
          <a:bodyPr wrap="square" lIns="36000" rIns="36000">
            <a:spAutoFit/>
          </a:bodyPr>
          <a:lstStyle/>
          <a:p>
            <a:pPr algn="ctr"/>
            <a:r>
              <a:rPr lang="de-DE" sz="1200" b="1" dirty="0">
                <a:solidFill>
                  <a:schemeClr val="accent6"/>
                </a:solidFill>
                <a:latin typeface="Arial" panose="020B0604020202020204"/>
              </a:rPr>
              <a:t>91 </a:t>
            </a: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</a:t>
            </a:r>
            <a:endParaRPr lang="de-DE" b="1" dirty="0">
              <a:solidFill>
                <a:schemeClr val="accent6"/>
              </a:solidFill>
            </a:endParaRPr>
          </a:p>
        </p:txBody>
      </p:sp>
      <p:sp>
        <p:nvSpPr>
          <p:cNvPr id="1079" name="Textfeld 1078">
            <a:extLst>
              <a:ext uri="{FF2B5EF4-FFF2-40B4-BE49-F238E27FC236}">
                <a16:creationId xmlns:a16="http://schemas.microsoft.com/office/drawing/2014/main" id="{5B8ECBF1-34E6-B580-6955-99086AA562F6}"/>
              </a:ext>
            </a:extLst>
          </p:cNvPr>
          <p:cNvSpPr txBox="1"/>
          <p:nvPr/>
        </p:nvSpPr>
        <p:spPr>
          <a:xfrm>
            <a:off x="8802327" y="1807149"/>
            <a:ext cx="431314" cy="276999"/>
          </a:xfrm>
          <a:prstGeom prst="rect">
            <a:avLst/>
          </a:prstGeom>
          <a:noFill/>
        </p:spPr>
        <p:txBody>
          <a:bodyPr wrap="square" lIns="36000" rIns="36000">
            <a:spAutoFit/>
          </a:bodyPr>
          <a:lstStyle/>
          <a:p>
            <a:pPr algn="ctr"/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69 %</a:t>
            </a:r>
            <a:endParaRPr lang="de-DE" b="1" dirty="0">
              <a:solidFill>
                <a:schemeClr val="accent6"/>
              </a:solidFill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6C25328A-C8E5-B95A-C6AE-EA7B9286CBCC}"/>
              </a:ext>
            </a:extLst>
          </p:cNvPr>
          <p:cNvSpPr txBox="1"/>
          <p:nvPr/>
        </p:nvSpPr>
        <p:spPr>
          <a:xfrm>
            <a:off x="8648699" y="6334695"/>
            <a:ext cx="2835133" cy="2144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  <a:buNone/>
            </a:pPr>
            <a:r>
              <a:rPr lang="en-US" sz="800" kern="1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Lodde GC et al. </a:t>
            </a:r>
            <a:r>
              <a:rPr lang="en-US" sz="800" i="1" kern="1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J Clin Oncol</a:t>
            </a:r>
            <a:r>
              <a:rPr lang="en-US" sz="800" kern="1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. 2025;43(25):2793-2805</a:t>
            </a:r>
            <a:endParaRPr lang="de-DE" sz="800" kern="100" dirty="0">
              <a:effectLst/>
              <a:latin typeface="Arial" panose="020B060402020202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194303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A0DF36-0877-2DE6-5C11-9569B8563C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9148762" cy="818686"/>
          </a:xfrm>
        </p:spPr>
        <p:txBody>
          <a:bodyPr/>
          <a:lstStyle/>
          <a:p>
            <a:r>
              <a:rPr lang="de-DE" sz="2000"/>
              <a:t>Ergebnisse der 4-Jahres-Analyse der </a:t>
            </a:r>
            <a:r>
              <a:rPr lang="de-DE" sz="2000" err="1"/>
              <a:t>DeCOG</a:t>
            </a:r>
            <a:r>
              <a:rPr lang="de-DE" sz="2000"/>
              <a:t>-Studie </a:t>
            </a:r>
            <a:br>
              <a:rPr lang="de-DE" sz="2000"/>
            </a:br>
            <a:r>
              <a:rPr lang="de-DE" sz="2800">
                <a:solidFill>
                  <a:schemeClr val="tx2"/>
                </a:solidFill>
              </a:rPr>
              <a:t>RFS mit Fokus auf Patient*innen mit </a:t>
            </a:r>
            <a:r>
              <a:rPr lang="de-DE" sz="2800" i="1">
                <a:solidFill>
                  <a:schemeClr val="tx2"/>
                </a:solidFill>
              </a:rPr>
              <a:t>BRAF</a:t>
            </a:r>
            <a:r>
              <a:rPr lang="de-DE" sz="2800">
                <a:solidFill>
                  <a:schemeClr val="tx2"/>
                </a:solidFill>
              </a:rPr>
              <a:t>-Mutation</a:t>
            </a:r>
            <a:endParaRPr lang="en-US" sz="2800">
              <a:solidFill>
                <a:schemeClr val="tx2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200E8A-5EE8-AC2F-EC16-0AF1734C0E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4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40C9A26-D1B5-E2F5-666B-35A22110E5A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4838" y="6051550"/>
            <a:ext cx="6717126" cy="587375"/>
          </a:xfrm>
        </p:spPr>
        <p:txBody>
          <a:bodyPr/>
          <a:lstStyle/>
          <a:p>
            <a:r>
              <a:rPr lang="de-DE" b="1" dirty="0"/>
              <a:t>a </a:t>
            </a:r>
            <a:r>
              <a:rPr lang="de-DE" dirty="0"/>
              <a:t>Adjustiert unter Anwendung der inversen Wahrscheinlichkeit der Behandlungsgewichtung (IPTW).</a:t>
            </a:r>
          </a:p>
          <a:p>
            <a:r>
              <a:rPr lang="de-DE" b="1" dirty="0"/>
              <a:t>BRAF </a:t>
            </a:r>
            <a:r>
              <a:rPr lang="de-DE" dirty="0"/>
              <a:t>Serin/Threonin-Kinase B-</a:t>
            </a:r>
            <a:r>
              <a:rPr lang="de-DE" dirty="0" err="1"/>
              <a:t>Raf</a:t>
            </a:r>
            <a:r>
              <a:rPr lang="de-DE" dirty="0"/>
              <a:t>. </a:t>
            </a:r>
            <a:r>
              <a:rPr lang="de-DE" b="1" dirty="0" err="1"/>
              <a:t>DeCOG</a:t>
            </a:r>
            <a:r>
              <a:rPr lang="de-DE" dirty="0"/>
              <a:t> </a:t>
            </a:r>
            <a:r>
              <a:rPr lang="de-DE" i="1" dirty="0" err="1"/>
              <a:t>Dermatologic</a:t>
            </a:r>
            <a:r>
              <a:rPr lang="de-DE" i="1" dirty="0"/>
              <a:t> </a:t>
            </a:r>
            <a:r>
              <a:rPr lang="de-DE" i="1" dirty="0" err="1"/>
              <a:t>Cooperative</a:t>
            </a:r>
            <a:r>
              <a:rPr lang="de-DE" i="1" dirty="0"/>
              <a:t> </a:t>
            </a:r>
            <a:r>
              <a:rPr lang="de-DE" i="1" dirty="0" err="1"/>
              <a:t>Oncology</a:t>
            </a:r>
            <a:r>
              <a:rPr lang="de-DE" i="1" dirty="0"/>
              <a:t> Group.</a:t>
            </a:r>
            <a:r>
              <a:rPr lang="de-DE" b="1" i="1" dirty="0"/>
              <a:t> </a:t>
            </a:r>
            <a:r>
              <a:rPr lang="de-DE" b="1" dirty="0"/>
              <a:t>HR</a:t>
            </a:r>
            <a:r>
              <a:rPr lang="de-DE" b="1" i="1" dirty="0"/>
              <a:t> </a:t>
            </a:r>
            <a:r>
              <a:rPr lang="de-DE" i="1" dirty="0"/>
              <a:t>Hazard Ratio. </a:t>
            </a:r>
            <a:r>
              <a:rPr lang="de-DE" b="1" dirty="0"/>
              <a:t>KI</a:t>
            </a:r>
            <a:r>
              <a:rPr lang="de-DE" dirty="0"/>
              <a:t> Konfidenzintervall. </a:t>
            </a:r>
            <a:r>
              <a:rPr lang="de-DE" b="1" dirty="0"/>
              <a:t>NR</a:t>
            </a:r>
            <a:r>
              <a:rPr lang="de-DE" dirty="0"/>
              <a:t> Nicht erreicht. </a:t>
            </a:r>
            <a:r>
              <a:rPr lang="de-DE" b="1" dirty="0"/>
              <a:t>PD1</a:t>
            </a:r>
            <a:r>
              <a:rPr lang="de-DE" dirty="0"/>
              <a:t> </a:t>
            </a:r>
            <a:r>
              <a:rPr lang="en-US" i="1" dirty="0"/>
              <a:t>Programmed Cell Death Protein 1</a:t>
            </a:r>
            <a:r>
              <a:rPr lang="de-DE" dirty="0"/>
              <a:t>. </a:t>
            </a:r>
            <a:r>
              <a:rPr lang="de-DE" b="1" dirty="0" err="1"/>
              <a:t>Ref</a:t>
            </a:r>
            <a:r>
              <a:rPr lang="de-DE" b="1" dirty="0"/>
              <a:t>.</a:t>
            </a:r>
            <a:r>
              <a:rPr lang="de-DE" dirty="0"/>
              <a:t> Referenz. </a:t>
            </a:r>
            <a:r>
              <a:rPr lang="de-DE" b="1" dirty="0"/>
              <a:t>RFS </a:t>
            </a:r>
            <a:r>
              <a:rPr lang="de-DE" dirty="0"/>
              <a:t>Rezidivfreies Überleben. </a:t>
            </a:r>
            <a:r>
              <a:rPr lang="de-DE" b="1" dirty="0"/>
              <a:t>TT</a:t>
            </a:r>
            <a:r>
              <a:rPr lang="de-DE" dirty="0"/>
              <a:t> Zielgerichtete Therapie.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58FB47D7-1767-08AC-5207-D0EAAD753BAA}"/>
              </a:ext>
            </a:extLst>
          </p:cNvPr>
          <p:cNvSpPr txBox="1"/>
          <p:nvPr/>
        </p:nvSpPr>
        <p:spPr>
          <a:xfrm>
            <a:off x="7620202" y="1861740"/>
            <a:ext cx="386837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60375" lvl="1" indent="-285750">
              <a:buClr>
                <a:schemeClr val="accent2"/>
              </a:buClr>
              <a:buFont typeface="Arial" panose="020B0604020202020204" pitchFamily="34" charset="0"/>
              <a:buChar char="•"/>
              <a:defRPr/>
            </a:pPr>
            <a:r>
              <a:rPr lang="de-DE" sz="1600" b="1" dirty="0">
                <a:solidFill>
                  <a:schemeClr val="tx2"/>
                </a:solidFill>
                <a:latin typeface="Arial" panose="020B0604020202020204"/>
              </a:rPr>
              <a:t>4-Jahres-RFS-R</a:t>
            </a: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te</a:t>
            </a: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</a:t>
            </a:r>
            <a:r>
              <a:rPr kumimoji="0" lang="de-DE" sz="160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djustiert nach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lter, Geschlecht und Tumorstadium:</a:t>
            </a:r>
            <a:endParaRPr kumimoji="0" lang="de-DE" sz="1600" b="0" i="0" u="none" strike="sng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3BB5AFF2-46B5-3A27-DADE-5C8AF06D3CD3}"/>
              </a:ext>
            </a:extLst>
          </p:cNvPr>
          <p:cNvSpPr txBox="1"/>
          <p:nvPr/>
        </p:nvSpPr>
        <p:spPr>
          <a:xfrm>
            <a:off x="1524202" y="1246254"/>
            <a:ext cx="6096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600" b="1" dirty="0">
                <a:solidFill>
                  <a:schemeClr val="accent6"/>
                </a:solidFill>
              </a:rPr>
              <a:t>RFS, </a:t>
            </a:r>
            <a:r>
              <a:rPr lang="de-DE" sz="1600" b="1" dirty="0" err="1">
                <a:solidFill>
                  <a:schemeClr val="accent6"/>
                </a:solidFill>
              </a:rPr>
              <a:t>adjustiert</a:t>
            </a:r>
            <a:r>
              <a:rPr lang="de-DE" sz="1600" b="1" baseline="30000" dirty="0" err="1">
                <a:solidFill>
                  <a:schemeClr val="accent6"/>
                </a:solidFill>
              </a:rPr>
              <a:t>a</a:t>
            </a:r>
            <a:r>
              <a:rPr lang="de-DE" sz="1600" b="1" dirty="0">
                <a:solidFill>
                  <a:schemeClr val="accent6"/>
                </a:solidFill>
              </a:rPr>
              <a:t> nach Alter, Geschlecht und Tumorstadium</a:t>
            </a:r>
          </a:p>
        </p:txBody>
      </p:sp>
      <p:pic>
        <p:nvPicPr>
          <p:cNvPr id="13" name="Grafik 12" descr="Ein Bild, das Kreis, Grafiken, Screenshot, Design enthält.&#10;&#10;KI-generierte Inhalte können fehlerhaft sein.">
            <a:extLst>
              <a:ext uri="{FF2B5EF4-FFF2-40B4-BE49-F238E27FC236}">
                <a16:creationId xmlns:a16="http://schemas.microsoft.com/office/drawing/2014/main" id="{A0545D58-11AE-B0A6-060E-3BDEA8F6E32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9558" y="2819559"/>
            <a:ext cx="1122717" cy="1122717"/>
          </a:xfrm>
          <a:prstGeom prst="rect">
            <a:avLst/>
          </a:prstGeom>
        </p:spPr>
      </p:pic>
      <p:pic>
        <p:nvPicPr>
          <p:cNvPr id="14" name="Grafik 13" descr="Ein Bild, das Kreis, Grafiken, Screenshot, Design enthält.&#10;&#10;KI-generierte Inhalte können fehlerhaft sein.">
            <a:extLst>
              <a:ext uri="{FF2B5EF4-FFF2-40B4-BE49-F238E27FC236}">
                <a16:creationId xmlns:a16="http://schemas.microsoft.com/office/drawing/2014/main" id="{7DAB817B-41DD-F732-32C5-C07F69731AD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13076" y="2853137"/>
            <a:ext cx="1122717" cy="1122717"/>
          </a:xfrm>
          <a:prstGeom prst="rect">
            <a:avLst/>
          </a:prstGeom>
        </p:spPr>
      </p:pic>
      <p:sp>
        <p:nvSpPr>
          <p:cNvPr id="15" name="Textfeld 14">
            <a:extLst>
              <a:ext uri="{FF2B5EF4-FFF2-40B4-BE49-F238E27FC236}">
                <a16:creationId xmlns:a16="http://schemas.microsoft.com/office/drawing/2014/main" id="{A2463359-3A00-0BF8-A5FD-44BCBA932631}"/>
              </a:ext>
            </a:extLst>
          </p:cNvPr>
          <p:cNvSpPr txBox="1"/>
          <p:nvPr/>
        </p:nvSpPr>
        <p:spPr>
          <a:xfrm>
            <a:off x="8534161" y="3659058"/>
            <a:ext cx="71045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solidFill>
                  <a:schemeClr val="accent2"/>
                </a:solidFill>
              </a:rPr>
              <a:t>45 %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25A5CCEB-A235-6E62-8145-88DCD7A1B7FF}"/>
              </a:ext>
            </a:extLst>
          </p:cNvPr>
          <p:cNvSpPr txBox="1"/>
          <p:nvPr/>
        </p:nvSpPr>
        <p:spPr>
          <a:xfrm>
            <a:off x="10119208" y="3692635"/>
            <a:ext cx="71045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solidFill>
                  <a:schemeClr val="accent6"/>
                </a:solidFill>
              </a:rPr>
              <a:t>55 %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55CA619F-4BCE-4B99-E718-210A448921EC}"/>
              </a:ext>
            </a:extLst>
          </p:cNvPr>
          <p:cNvSpPr txBox="1"/>
          <p:nvPr/>
        </p:nvSpPr>
        <p:spPr>
          <a:xfrm>
            <a:off x="8534161" y="2770839"/>
            <a:ext cx="6335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solidFill>
                  <a:schemeClr val="accent2"/>
                </a:solidFill>
              </a:rPr>
              <a:t>PD1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E9B04C1D-004F-88E7-4D83-7DD8DA14CD58}"/>
              </a:ext>
            </a:extLst>
          </p:cNvPr>
          <p:cNvSpPr txBox="1"/>
          <p:nvPr/>
        </p:nvSpPr>
        <p:spPr>
          <a:xfrm>
            <a:off x="10241037" y="2770642"/>
            <a:ext cx="4667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solidFill>
                  <a:schemeClr val="accent6"/>
                </a:solidFill>
              </a:rPr>
              <a:t>TT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FB94BABF-811B-047E-8349-52830353F39B}"/>
              </a:ext>
            </a:extLst>
          </p:cNvPr>
          <p:cNvSpPr txBox="1"/>
          <p:nvPr/>
        </p:nvSpPr>
        <p:spPr>
          <a:xfrm>
            <a:off x="686545" y="5075809"/>
            <a:ext cx="8588584" cy="1021556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marL="742950" lvl="1" indent="-285750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2"/>
                </a:solidFill>
              </a:rPr>
              <a:t>Auch bei Adjustierung nach Alter, Geschlecht und Tumorstadium bestätigte sich ein höheres Rezidivrisiko unter PD1-Inhibition im Vergleich zur zielgerichteten Therapie in der BRAF-positiven Kohorte </a:t>
            </a:r>
            <a:endParaRPr lang="en-GB" dirty="0">
              <a:solidFill>
                <a:schemeClr val="tx2"/>
              </a:solidFill>
            </a:endParaRPr>
          </a:p>
        </p:txBody>
      </p:sp>
      <p:pic>
        <p:nvPicPr>
          <p:cNvPr id="22" name="Grafik 21" descr="Ein Bild, das Kreis, Grafiken, Farbigkeit, orange enthält.&#10;&#10;KI-generierte Inhalte können fehlerhaft sein.">
            <a:extLst>
              <a:ext uri="{FF2B5EF4-FFF2-40B4-BE49-F238E27FC236}">
                <a16:creationId xmlns:a16="http://schemas.microsoft.com/office/drawing/2014/main" id="{7B8F6004-327A-F64A-3B81-155094CB718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100" y="4866587"/>
            <a:ext cx="720000" cy="720000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8C649372-83DC-D8B4-49DF-433C8E27C491}"/>
              </a:ext>
            </a:extLst>
          </p:cNvPr>
          <p:cNvSpPr txBox="1"/>
          <p:nvPr/>
        </p:nvSpPr>
        <p:spPr>
          <a:xfrm>
            <a:off x="1310654" y="4386805"/>
            <a:ext cx="2715645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Anzahl unter Risiko, gewichtet</a:t>
            </a:r>
          </a:p>
        </p:txBody>
      </p:sp>
      <p:graphicFrame>
        <p:nvGraphicFramePr>
          <p:cNvPr id="19" name="Tabelle 18">
            <a:extLst>
              <a:ext uri="{FF2B5EF4-FFF2-40B4-BE49-F238E27FC236}">
                <a16:creationId xmlns:a16="http://schemas.microsoft.com/office/drawing/2014/main" id="{36EAADA0-C8F2-D48B-DF03-24A94B672E8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18867277"/>
              </p:ext>
            </p:extLst>
          </p:nvPr>
        </p:nvGraphicFramePr>
        <p:xfrm>
          <a:off x="1317833" y="4645450"/>
          <a:ext cx="6004130" cy="304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5830">
                  <a:extLst>
                    <a:ext uri="{9D8B030D-6E8A-4147-A177-3AD203B41FA5}">
                      <a16:colId xmlns:a16="http://schemas.microsoft.com/office/drawing/2014/main" val="1378299196"/>
                    </a:ext>
                  </a:extLst>
                </a:gridCol>
                <a:gridCol w="545830">
                  <a:extLst>
                    <a:ext uri="{9D8B030D-6E8A-4147-A177-3AD203B41FA5}">
                      <a16:colId xmlns:a16="http://schemas.microsoft.com/office/drawing/2014/main" val="2720059670"/>
                    </a:ext>
                  </a:extLst>
                </a:gridCol>
                <a:gridCol w="545830">
                  <a:extLst>
                    <a:ext uri="{9D8B030D-6E8A-4147-A177-3AD203B41FA5}">
                      <a16:colId xmlns:a16="http://schemas.microsoft.com/office/drawing/2014/main" val="3558843235"/>
                    </a:ext>
                  </a:extLst>
                </a:gridCol>
                <a:gridCol w="545830">
                  <a:extLst>
                    <a:ext uri="{9D8B030D-6E8A-4147-A177-3AD203B41FA5}">
                      <a16:colId xmlns:a16="http://schemas.microsoft.com/office/drawing/2014/main" val="642524864"/>
                    </a:ext>
                  </a:extLst>
                </a:gridCol>
                <a:gridCol w="545830">
                  <a:extLst>
                    <a:ext uri="{9D8B030D-6E8A-4147-A177-3AD203B41FA5}">
                      <a16:colId xmlns:a16="http://schemas.microsoft.com/office/drawing/2014/main" val="400611306"/>
                    </a:ext>
                  </a:extLst>
                </a:gridCol>
                <a:gridCol w="545830">
                  <a:extLst>
                    <a:ext uri="{9D8B030D-6E8A-4147-A177-3AD203B41FA5}">
                      <a16:colId xmlns:a16="http://schemas.microsoft.com/office/drawing/2014/main" val="3315586355"/>
                    </a:ext>
                  </a:extLst>
                </a:gridCol>
                <a:gridCol w="545830">
                  <a:extLst>
                    <a:ext uri="{9D8B030D-6E8A-4147-A177-3AD203B41FA5}">
                      <a16:colId xmlns:a16="http://schemas.microsoft.com/office/drawing/2014/main" val="1430594064"/>
                    </a:ext>
                  </a:extLst>
                </a:gridCol>
                <a:gridCol w="545830">
                  <a:extLst>
                    <a:ext uri="{9D8B030D-6E8A-4147-A177-3AD203B41FA5}">
                      <a16:colId xmlns:a16="http://schemas.microsoft.com/office/drawing/2014/main" val="3098826525"/>
                    </a:ext>
                  </a:extLst>
                </a:gridCol>
                <a:gridCol w="545830">
                  <a:extLst>
                    <a:ext uri="{9D8B030D-6E8A-4147-A177-3AD203B41FA5}">
                      <a16:colId xmlns:a16="http://schemas.microsoft.com/office/drawing/2014/main" val="3997508032"/>
                    </a:ext>
                  </a:extLst>
                </a:gridCol>
                <a:gridCol w="545830">
                  <a:extLst>
                    <a:ext uri="{9D8B030D-6E8A-4147-A177-3AD203B41FA5}">
                      <a16:colId xmlns:a16="http://schemas.microsoft.com/office/drawing/2014/main" val="2238665104"/>
                    </a:ext>
                  </a:extLst>
                </a:gridCol>
                <a:gridCol w="545830">
                  <a:extLst>
                    <a:ext uri="{9D8B030D-6E8A-4147-A177-3AD203B41FA5}">
                      <a16:colId xmlns:a16="http://schemas.microsoft.com/office/drawing/2014/main" val="197371410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de-DE" sz="1000" b="1" dirty="0">
                          <a:solidFill>
                            <a:schemeClr val="accent2"/>
                          </a:solidFill>
                        </a:rPr>
                        <a:t>PD1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2"/>
                          </a:solidFill>
                        </a:rPr>
                        <a:t>122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2"/>
                          </a:solidFill>
                        </a:rPr>
                        <a:t>94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2"/>
                          </a:solidFill>
                        </a:rPr>
                        <a:t>70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2"/>
                          </a:solidFill>
                        </a:rPr>
                        <a:t>62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2"/>
                          </a:solidFill>
                        </a:rPr>
                        <a:t>56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2"/>
                          </a:solidFill>
                        </a:rPr>
                        <a:t>54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2"/>
                          </a:solidFill>
                        </a:rPr>
                        <a:t>49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2"/>
                          </a:solidFill>
                        </a:rPr>
                        <a:t>42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2"/>
                          </a:solidFill>
                        </a:rPr>
                        <a:t>28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2"/>
                          </a:solidFill>
                        </a:rPr>
                        <a:t>20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35971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de-DE" sz="1000" b="1" dirty="0">
                          <a:solidFill>
                            <a:schemeClr val="accent6"/>
                          </a:solidFill>
                        </a:rPr>
                        <a:t>TT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6"/>
                          </a:solidFill>
                        </a:rPr>
                        <a:t>110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6"/>
                          </a:solidFill>
                        </a:rPr>
                        <a:t>107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6"/>
                          </a:solidFill>
                        </a:rPr>
                        <a:t>99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6"/>
                          </a:solidFill>
                        </a:rPr>
                        <a:t>81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6"/>
                          </a:solidFill>
                        </a:rPr>
                        <a:t>74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6"/>
                          </a:solidFill>
                        </a:rPr>
                        <a:t>66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6"/>
                          </a:solidFill>
                        </a:rPr>
                        <a:t>56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6"/>
                          </a:solidFill>
                        </a:rPr>
                        <a:t>47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6"/>
                          </a:solidFill>
                        </a:rPr>
                        <a:t>31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6"/>
                          </a:solidFill>
                        </a:rPr>
                        <a:t>13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80541496"/>
                  </a:ext>
                </a:extLst>
              </a:tr>
            </a:tbl>
          </a:graphicData>
        </a:graphic>
      </p:graphicFrame>
      <p:graphicFrame>
        <p:nvGraphicFramePr>
          <p:cNvPr id="20" name="Diagramm 19">
            <a:extLst>
              <a:ext uri="{FF2B5EF4-FFF2-40B4-BE49-F238E27FC236}">
                <a16:creationId xmlns:a16="http://schemas.microsoft.com/office/drawing/2014/main" id="{CFD0650F-F7F5-924F-CBE8-E5873BD7E64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06651260"/>
              </p:ext>
            </p:extLst>
          </p:nvPr>
        </p:nvGraphicFramePr>
        <p:xfrm>
          <a:off x="986804" y="1641692"/>
          <a:ext cx="6467766" cy="28266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B0F953C9-AC56-BF67-504F-751D64C5DBBB}"/>
              </a:ext>
            </a:extLst>
          </p:cNvPr>
          <p:cNvCxnSpPr>
            <a:cxnSpLocks/>
          </p:cNvCxnSpPr>
          <p:nvPr/>
        </p:nvCxnSpPr>
        <p:spPr>
          <a:xfrm>
            <a:off x="6500186" y="2767013"/>
            <a:ext cx="0" cy="1207626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39571E4F-13E8-9BE1-D923-401B2C52135E}"/>
              </a:ext>
            </a:extLst>
          </p:cNvPr>
          <p:cNvCxnSpPr>
            <a:cxnSpLocks/>
          </p:cNvCxnSpPr>
          <p:nvPr/>
        </p:nvCxnSpPr>
        <p:spPr>
          <a:xfrm>
            <a:off x="3239461" y="1981200"/>
            <a:ext cx="0" cy="1993439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FD5774F6-29BE-6D0D-1835-169175CB86F8}"/>
              </a:ext>
            </a:extLst>
          </p:cNvPr>
          <p:cNvCxnSpPr>
            <a:cxnSpLocks/>
          </p:cNvCxnSpPr>
          <p:nvPr/>
        </p:nvCxnSpPr>
        <p:spPr>
          <a:xfrm>
            <a:off x="4317109" y="2400300"/>
            <a:ext cx="0" cy="1574339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6B427279-7718-8DD0-F787-C97AFC992D64}"/>
              </a:ext>
            </a:extLst>
          </p:cNvPr>
          <p:cNvCxnSpPr>
            <a:cxnSpLocks/>
          </p:cNvCxnSpPr>
          <p:nvPr/>
        </p:nvCxnSpPr>
        <p:spPr>
          <a:xfrm>
            <a:off x="5417245" y="2681288"/>
            <a:ext cx="0" cy="1293351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82511DED-D8CA-1572-C4D1-F4A3701D9914}"/>
              </a:ext>
            </a:extLst>
          </p:cNvPr>
          <p:cNvGrpSpPr/>
          <p:nvPr/>
        </p:nvGrpSpPr>
        <p:grpSpPr>
          <a:xfrm>
            <a:off x="2135889" y="1747839"/>
            <a:ext cx="5005723" cy="1421170"/>
            <a:chOff x="2135889" y="1747839"/>
            <a:chExt cx="5005723" cy="1421170"/>
          </a:xfrm>
        </p:grpSpPr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id="{C7ABDD87-5254-D628-9604-CDCB11E19A45}"/>
                </a:ext>
              </a:extLst>
            </p:cNvPr>
            <p:cNvSpPr/>
            <p:nvPr/>
          </p:nvSpPr>
          <p:spPr>
            <a:xfrm>
              <a:off x="2135889" y="1747839"/>
              <a:ext cx="5005087" cy="1024215"/>
            </a:xfrm>
            <a:custGeom>
              <a:avLst/>
              <a:gdLst>
                <a:gd name="connsiteX0" fmla="*/ 0 w 5005087"/>
                <a:gd name="connsiteY0" fmla="*/ 14507 h 1024215"/>
                <a:gd name="connsiteX1" fmla="*/ 238868 w 5005087"/>
                <a:gd name="connsiteY1" fmla="*/ 14507 h 1024215"/>
                <a:gd name="connsiteX2" fmla="*/ 238868 w 5005087"/>
                <a:gd name="connsiteY2" fmla="*/ 27745 h 1024215"/>
                <a:gd name="connsiteX3" fmla="*/ 240779 w 5005087"/>
                <a:gd name="connsiteY3" fmla="*/ 32823 h 1024215"/>
                <a:gd name="connsiteX4" fmla="*/ 245238 w 5005087"/>
                <a:gd name="connsiteY4" fmla="*/ 34999 h 1024215"/>
                <a:gd name="connsiteX5" fmla="*/ 433307 w 5005087"/>
                <a:gd name="connsiteY5" fmla="*/ 34999 h 1024215"/>
                <a:gd name="connsiteX6" fmla="*/ 433307 w 5005087"/>
                <a:gd name="connsiteY6" fmla="*/ 46242 h 1024215"/>
                <a:gd name="connsiteX7" fmla="*/ 435218 w 5005087"/>
                <a:gd name="connsiteY7" fmla="*/ 51320 h 1024215"/>
                <a:gd name="connsiteX8" fmla="*/ 439677 w 5005087"/>
                <a:gd name="connsiteY8" fmla="*/ 53496 h 1024215"/>
                <a:gd name="connsiteX9" fmla="*/ 684597 w 5005087"/>
                <a:gd name="connsiteY9" fmla="*/ 53496 h 1024215"/>
                <a:gd name="connsiteX10" fmla="*/ 684597 w 5005087"/>
                <a:gd name="connsiteY10" fmla="*/ 64195 h 1024215"/>
                <a:gd name="connsiteX11" fmla="*/ 686508 w 5005087"/>
                <a:gd name="connsiteY11" fmla="*/ 69272 h 1024215"/>
                <a:gd name="connsiteX12" fmla="*/ 690966 w 5005087"/>
                <a:gd name="connsiteY12" fmla="*/ 71448 h 1024215"/>
                <a:gd name="connsiteX13" fmla="*/ 762308 w 5005087"/>
                <a:gd name="connsiteY13" fmla="*/ 71448 h 1024215"/>
                <a:gd name="connsiteX14" fmla="*/ 762308 w 5005087"/>
                <a:gd name="connsiteY14" fmla="*/ 85412 h 1024215"/>
                <a:gd name="connsiteX15" fmla="*/ 764219 w 5005087"/>
                <a:gd name="connsiteY15" fmla="*/ 90489 h 1024215"/>
                <a:gd name="connsiteX16" fmla="*/ 768678 w 5005087"/>
                <a:gd name="connsiteY16" fmla="*/ 92665 h 1024215"/>
                <a:gd name="connsiteX17" fmla="*/ 854989 w 5005087"/>
                <a:gd name="connsiteY17" fmla="*/ 92665 h 1024215"/>
                <a:gd name="connsiteX18" fmla="*/ 854989 w 5005087"/>
                <a:gd name="connsiteY18" fmla="*/ 102639 h 1024215"/>
                <a:gd name="connsiteX19" fmla="*/ 856900 w 5005087"/>
                <a:gd name="connsiteY19" fmla="*/ 107717 h 1024215"/>
                <a:gd name="connsiteX20" fmla="*/ 861359 w 5005087"/>
                <a:gd name="connsiteY20" fmla="*/ 109893 h 1024215"/>
                <a:gd name="connsiteX21" fmla="*/ 914866 w 5005087"/>
                <a:gd name="connsiteY21" fmla="*/ 109893 h 1024215"/>
                <a:gd name="connsiteX22" fmla="*/ 914866 w 5005087"/>
                <a:gd name="connsiteY22" fmla="*/ 124400 h 1024215"/>
                <a:gd name="connsiteX23" fmla="*/ 916777 w 5005087"/>
                <a:gd name="connsiteY23" fmla="*/ 129478 h 1024215"/>
                <a:gd name="connsiteX24" fmla="*/ 921235 w 5005087"/>
                <a:gd name="connsiteY24" fmla="*/ 131654 h 1024215"/>
                <a:gd name="connsiteX25" fmla="*/ 980634 w 5005087"/>
                <a:gd name="connsiteY25" fmla="*/ 131654 h 1024215"/>
                <a:gd name="connsiteX26" fmla="*/ 980634 w 5005087"/>
                <a:gd name="connsiteY26" fmla="*/ 141265 h 1024215"/>
                <a:gd name="connsiteX27" fmla="*/ 982545 w 5005087"/>
                <a:gd name="connsiteY27" fmla="*/ 146342 h 1024215"/>
                <a:gd name="connsiteX28" fmla="*/ 987004 w 5005087"/>
                <a:gd name="connsiteY28" fmla="*/ 148519 h 1024215"/>
                <a:gd name="connsiteX29" fmla="*/ 1016464 w 5005087"/>
                <a:gd name="connsiteY29" fmla="*/ 148519 h 1024215"/>
                <a:gd name="connsiteX30" fmla="*/ 1016464 w 5005087"/>
                <a:gd name="connsiteY30" fmla="*/ 164658 h 1024215"/>
                <a:gd name="connsiteX31" fmla="*/ 1018375 w 5005087"/>
                <a:gd name="connsiteY31" fmla="*/ 169735 h 1024215"/>
                <a:gd name="connsiteX32" fmla="*/ 1022834 w 5005087"/>
                <a:gd name="connsiteY32" fmla="*/ 171912 h 1024215"/>
                <a:gd name="connsiteX33" fmla="*/ 1055320 w 5005087"/>
                <a:gd name="connsiteY33" fmla="*/ 171912 h 1024215"/>
                <a:gd name="connsiteX34" fmla="*/ 1055320 w 5005087"/>
                <a:gd name="connsiteY34" fmla="*/ 180435 h 1024215"/>
                <a:gd name="connsiteX35" fmla="*/ 1057231 w 5005087"/>
                <a:gd name="connsiteY35" fmla="*/ 185512 h 1024215"/>
                <a:gd name="connsiteX36" fmla="*/ 1061690 w 5005087"/>
                <a:gd name="connsiteY36" fmla="*/ 187688 h 1024215"/>
                <a:gd name="connsiteX37" fmla="*/ 1073315 w 5005087"/>
                <a:gd name="connsiteY37" fmla="*/ 187688 h 1024215"/>
                <a:gd name="connsiteX38" fmla="*/ 1073315 w 5005087"/>
                <a:gd name="connsiteY38" fmla="*/ 198569 h 1024215"/>
                <a:gd name="connsiteX39" fmla="*/ 1075226 w 5005087"/>
                <a:gd name="connsiteY39" fmla="*/ 203646 h 1024215"/>
                <a:gd name="connsiteX40" fmla="*/ 1079685 w 5005087"/>
                <a:gd name="connsiteY40" fmla="*/ 205822 h 1024215"/>
                <a:gd name="connsiteX41" fmla="*/ 1097202 w 5005087"/>
                <a:gd name="connsiteY41" fmla="*/ 205822 h 1024215"/>
                <a:gd name="connsiteX42" fmla="*/ 1097202 w 5005087"/>
                <a:gd name="connsiteY42" fmla="*/ 215977 h 1024215"/>
                <a:gd name="connsiteX43" fmla="*/ 1099113 w 5005087"/>
                <a:gd name="connsiteY43" fmla="*/ 221055 h 1024215"/>
                <a:gd name="connsiteX44" fmla="*/ 1103572 w 5005087"/>
                <a:gd name="connsiteY44" fmla="*/ 223231 h 1024215"/>
                <a:gd name="connsiteX45" fmla="*/ 1148001 w 5005087"/>
                <a:gd name="connsiteY45" fmla="*/ 223231 h 1024215"/>
                <a:gd name="connsiteX46" fmla="*/ 1148001 w 5005087"/>
                <a:gd name="connsiteY46" fmla="*/ 233205 h 1024215"/>
                <a:gd name="connsiteX47" fmla="*/ 1149912 w 5005087"/>
                <a:gd name="connsiteY47" fmla="*/ 238282 h 1024215"/>
                <a:gd name="connsiteX48" fmla="*/ 1154371 w 5005087"/>
                <a:gd name="connsiteY48" fmla="*/ 240459 h 1024215"/>
                <a:gd name="connsiteX49" fmla="*/ 1174914 w 5005087"/>
                <a:gd name="connsiteY49" fmla="*/ 240459 h 1024215"/>
                <a:gd name="connsiteX50" fmla="*/ 1174914 w 5005087"/>
                <a:gd name="connsiteY50" fmla="*/ 252064 h 1024215"/>
                <a:gd name="connsiteX51" fmla="*/ 1176825 w 5005087"/>
                <a:gd name="connsiteY51" fmla="*/ 257142 h 1024215"/>
                <a:gd name="connsiteX52" fmla="*/ 1181283 w 5005087"/>
                <a:gd name="connsiteY52" fmla="*/ 259318 h 1024215"/>
                <a:gd name="connsiteX53" fmla="*/ 1204852 w 5005087"/>
                <a:gd name="connsiteY53" fmla="*/ 259318 h 1024215"/>
                <a:gd name="connsiteX54" fmla="*/ 1204852 w 5005087"/>
                <a:gd name="connsiteY54" fmla="*/ 272737 h 1024215"/>
                <a:gd name="connsiteX55" fmla="*/ 1206763 w 5005087"/>
                <a:gd name="connsiteY55" fmla="*/ 277815 h 1024215"/>
                <a:gd name="connsiteX56" fmla="*/ 1211222 w 5005087"/>
                <a:gd name="connsiteY56" fmla="*/ 279991 h 1024215"/>
                <a:gd name="connsiteX57" fmla="*/ 1243708 w 5005087"/>
                <a:gd name="connsiteY57" fmla="*/ 279991 h 1024215"/>
                <a:gd name="connsiteX58" fmla="*/ 1243708 w 5005087"/>
                <a:gd name="connsiteY58" fmla="*/ 291959 h 1024215"/>
                <a:gd name="connsiteX59" fmla="*/ 1245619 w 5005087"/>
                <a:gd name="connsiteY59" fmla="*/ 297037 h 1024215"/>
                <a:gd name="connsiteX60" fmla="*/ 1250078 w 5005087"/>
                <a:gd name="connsiteY60" fmla="*/ 299213 h 1024215"/>
                <a:gd name="connsiteX61" fmla="*/ 1333522 w 5005087"/>
                <a:gd name="connsiteY61" fmla="*/ 299213 h 1024215"/>
                <a:gd name="connsiteX62" fmla="*/ 1333522 w 5005087"/>
                <a:gd name="connsiteY62" fmla="*/ 308643 h 1024215"/>
                <a:gd name="connsiteX63" fmla="*/ 1335433 w 5005087"/>
                <a:gd name="connsiteY63" fmla="*/ 313720 h 1024215"/>
                <a:gd name="connsiteX64" fmla="*/ 1339892 w 5005087"/>
                <a:gd name="connsiteY64" fmla="*/ 315897 h 1024215"/>
                <a:gd name="connsiteX65" fmla="*/ 1459167 w 5005087"/>
                <a:gd name="connsiteY65" fmla="*/ 315897 h 1024215"/>
                <a:gd name="connsiteX66" fmla="*/ 1459167 w 5005087"/>
                <a:gd name="connsiteY66" fmla="*/ 330041 h 1024215"/>
                <a:gd name="connsiteX67" fmla="*/ 1461078 w 5005087"/>
                <a:gd name="connsiteY67" fmla="*/ 335119 h 1024215"/>
                <a:gd name="connsiteX68" fmla="*/ 1465537 w 5005087"/>
                <a:gd name="connsiteY68" fmla="*/ 337295 h 1024215"/>
                <a:gd name="connsiteX69" fmla="*/ 1474136 w 5005087"/>
                <a:gd name="connsiteY69" fmla="*/ 337295 h 1024215"/>
                <a:gd name="connsiteX70" fmla="*/ 1474136 w 5005087"/>
                <a:gd name="connsiteY70" fmla="*/ 351258 h 1024215"/>
                <a:gd name="connsiteX71" fmla="*/ 1476047 w 5005087"/>
                <a:gd name="connsiteY71" fmla="*/ 356336 h 1024215"/>
                <a:gd name="connsiteX72" fmla="*/ 1480506 w 5005087"/>
                <a:gd name="connsiteY72" fmla="*/ 358512 h 1024215"/>
                <a:gd name="connsiteX73" fmla="*/ 1498023 w 5005087"/>
                <a:gd name="connsiteY73" fmla="*/ 358512 h 1024215"/>
                <a:gd name="connsiteX74" fmla="*/ 1498023 w 5005087"/>
                <a:gd name="connsiteY74" fmla="*/ 392423 h 1024215"/>
                <a:gd name="connsiteX75" fmla="*/ 1499934 w 5005087"/>
                <a:gd name="connsiteY75" fmla="*/ 397500 h 1024215"/>
                <a:gd name="connsiteX76" fmla="*/ 1504393 w 5005087"/>
                <a:gd name="connsiteY76" fmla="*/ 399676 h 1024215"/>
                <a:gd name="connsiteX77" fmla="*/ 1569843 w 5005087"/>
                <a:gd name="connsiteY77" fmla="*/ 399676 h 1024215"/>
                <a:gd name="connsiteX78" fmla="*/ 1569843 w 5005087"/>
                <a:gd name="connsiteY78" fmla="*/ 409469 h 1024215"/>
                <a:gd name="connsiteX79" fmla="*/ 1571754 w 5005087"/>
                <a:gd name="connsiteY79" fmla="*/ 414546 h 1024215"/>
                <a:gd name="connsiteX80" fmla="*/ 1576212 w 5005087"/>
                <a:gd name="connsiteY80" fmla="*/ 416722 h 1024215"/>
                <a:gd name="connsiteX81" fmla="*/ 1593729 w 5005087"/>
                <a:gd name="connsiteY81" fmla="*/ 416722 h 1024215"/>
                <a:gd name="connsiteX82" fmla="*/ 1593729 w 5005087"/>
                <a:gd name="connsiteY82" fmla="*/ 451721 h 1024215"/>
                <a:gd name="connsiteX83" fmla="*/ 1595640 w 5005087"/>
                <a:gd name="connsiteY83" fmla="*/ 456799 h 1024215"/>
                <a:gd name="connsiteX84" fmla="*/ 1600099 w 5005087"/>
                <a:gd name="connsiteY84" fmla="*/ 458975 h 1024215"/>
                <a:gd name="connsiteX85" fmla="*/ 1605991 w 5005087"/>
                <a:gd name="connsiteY85" fmla="*/ 458975 h 1024215"/>
                <a:gd name="connsiteX86" fmla="*/ 1605991 w 5005087"/>
                <a:gd name="connsiteY86" fmla="*/ 451721 h 1024215"/>
                <a:gd name="connsiteX87" fmla="*/ 1599621 w 5005087"/>
                <a:gd name="connsiteY87" fmla="*/ 451721 h 1024215"/>
                <a:gd name="connsiteX88" fmla="*/ 1599621 w 5005087"/>
                <a:gd name="connsiteY88" fmla="*/ 472394 h 1024215"/>
                <a:gd name="connsiteX89" fmla="*/ 1601532 w 5005087"/>
                <a:gd name="connsiteY89" fmla="*/ 477472 h 1024215"/>
                <a:gd name="connsiteX90" fmla="*/ 1605991 w 5005087"/>
                <a:gd name="connsiteY90" fmla="*/ 479648 h 1024215"/>
                <a:gd name="connsiteX91" fmla="*/ 1614591 w 5005087"/>
                <a:gd name="connsiteY91" fmla="*/ 479648 h 1024215"/>
                <a:gd name="connsiteX92" fmla="*/ 1614591 w 5005087"/>
                <a:gd name="connsiteY92" fmla="*/ 491435 h 1024215"/>
                <a:gd name="connsiteX93" fmla="*/ 1616502 w 5005087"/>
                <a:gd name="connsiteY93" fmla="*/ 496512 h 1024215"/>
                <a:gd name="connsiteX94" fmla="*/ 1620960 w 5005087"/>
                <a:gd name="connsiteY94" fmla="*/ 498689 h 1024215"/>
                <a:gd name="connsiteX95" fmla="*/ 1626534 w 5005087"/>
                <a:gd name="connsiteY95" fmla="*/ 498689 h 1024215"/>
                <a:gd name="connsiteX96" fmla="*/ 1626534 w 5005087"/>
                <a:gd name="connsiteY96" fmla="*/ 531874 h 1024215"/>
                <a:gd name="connsiteX97" fmla="*/ 1628445 w 5005087"/>
                <a:gd name="connsiteY97" fmla="*/ 536952 h 1024215"/>
                <a:gd name="connsiteX98" fmla="*/ 1632904 w 5005087"/>
                <a:gd name="connsiteY98" fmla="*/ 539128 h 1024215"/>
                <a:gd name="connsiteX99" fmla="*/ 1776066 w 5005087"/>
                <a:gd name="connsiteY99" fmla="*/ 539128 h 1024215"/>
                <a:gd name="connsiteX100" fmla="*/ 1776066 w 5005087"/>
                <a:gd name="connsiteY100" fmla="*/ 550371 h 1024215"/>
                <a:gd name="connsiteX101" fmla="*/ 1777977 w 5005087"/>
                <a:gd name="connsiteY101" fmla="*/ 555448 h 1024215"/>
                <a:gd name="connsiteX102" fmla="*/ 1782435 w 5005087"/>
                <a:gd name="connsiteY102" fmla="*/ 557624 h 1024215"/>
                <a:gd name="connsiteX103" fmla="*/ 1809029 w 5005087"/>
                <a:gd name="connsiteY103" fmla="*/ 557624 h 1024215"/>
                <a:gd name="connsiteX104" fmla="*/ 1809029 w 5005087"/>
                <a:gd name="connsiteY104" fmla="*/ 567417 h 1024215"/>
                <a:gd name="connsiteX105" fmla="*/ 1810940 w 5005087"/>
                <a:gd name="connsiteY105" fmla="*/ 572494 h 1024215"/>
                <a:gd name="connsiteX106" fmla="*/ 1815399 w 5005087"/>
                <a:gd name="connsiteY106" fmla="*/ 574671 h 1024215"/>
                <a:gd name="connsiteX107" fmla="*/ 1818425 w 5005087"/>
                <a:gd name="connsiteY107" fmla="*/ 574671 h 1024215"/>
                <a:gd name="connsiteX108" fmla="*/ 1818425 w 5005087"/>
                <a:gd name="connsiteY108" fmla="*/ 567417 h 1024215"/>
                <a:gd name="connsiteX109" fmla="*/ 1812055 w 5005087"/>
                <a:gd name="connsiteY109" fmla="*/ 567417 h 1024215"/>
                <a:gd name="connsiteX110" fmla="*/ 1812055 w 5005087"/>
                <a:gd name="connsiteY110" fmla="*/ 589178 h 1024215"/>
                <a:gd name="connsiteX111" fmla="*/ 1813966 w 5005087"/>
                <a:gd name="connsiteY111" fmla="*/ 594255 h 1024215"/>
                <a:gd name="connsiteX112" fmla="*/ 1818425 w 5005087"/>
                <a:gd name="connsiteY112" fmla="*/ 596431 h 1024215"/>
                <a:gd name="connsiteX113" fmla="*/ 1928623 w 5005087"/>
                <a:gd name="connsiteY113" fmla="*/ 596431 h 1024215"/>
                <a:gd name="connsiteX114" fmla="*/ 1928623 w 5005087"/>
                <a:gd name="connsiteY114" fmla="*/ 609851 h 1024215"/>
                <a:gd name="connsiteX115" fmla="*/ 1930534 w 5005087"/>
                <a:gd name="connsiteY115" fmla="*/ 614928 h 1024215"/>
                <a:gd name="connsiteX116" fmla="*/ 1934993 w 5005087"/>
                <a:gd name="connsiteY116" fmla="*/ 617104 h 1024215"/>
                <a:gd name="connsiteX117" fmla="*/ 2149974 w 5005087"/>
                <a:gd name="connsiteY117" fmla="*/ 617104 h 1024215"/>
                <a:gd name="connsiteX118" fmla="*/ 2149974 w 5005087"/>
                <a:gd name="connsiteY118" fmla="*/ 629980 h 1024215"/>
                <a:gd name="connsiteX119" fmla="*/ 2151885 w 5005087"/>
                <a:gd name="connsiteY119" fmla="*/ 635057 h 1024215"/>
                <a:gd name="connsiteX120" fmla="*/ 2156503 w 5005087"/>
                <a:gd name="connsiteY120" fmla="*/ 637233 h 1024215"/>
                <a:gd name="connsiteX121" fmla="*/ 2168128 w 5005087"/>
                <a:gd name="connsiteY121" fmla="*/ 637233 h 1024215"/>
                <a:gd name="connsiteX122" fmla="*/ 2168128 w 5005087"/>
                <a:gd name="connsiteY122" fmla="*/ 653373 h 1024215"/>
                <a:gd name="connsiteX123" fmla="*/ 2170039 w 5005087"/>
                <a:gd name="connsiteY123" fmla="*/ 658450 h 1024215"/>
                <a:gd name="connsiteX124" fmla="*/ 2174498 w 5005087"/>
                <a:gd name="connsiteY124" fmla="*/ 660626 h 1024215"/>
                <a:gd name="connsiteX125" fmla="*/ 2224979 w 5005087"/>
                <a:gd name="connsiteY125" fmla="*/ 660626 h 1024215"/>
                <a:gd name="connsiteX126" fmla="*/ 2224979 w 5005087"/>
                <a:gd name="connsiteY126" fmla="*/ 672051 h 1024215"/>
                <a:gd name="connsiteX127" fmla="*/ 2226890 w 5005087"/>
                <a:gd name="connsiteY127" fmla="*/ 677128 h 1024215"/>
                <a:gd name="connsiteX128" fmla="*/ 2231349 w 5005087"/>
                <a:gd name="connsiteY128" fmla="*/ 679304 h 1024215"/>
                <a:gd name="connsiteX129" fmla="*/ 2344572 w 5005087"/>
                <a:gd name="connsiteY129" fmla="*/ 679304 h 1024215"/>
                <a:gd name="connsiteX130" fmla="*/ 2344572 w 5005087"/>
                <a:gd name="connsiteY130" fmla="*/ 698345 h 1024215"/>
                <a:gd name="connsiteX131" fmla="*/ 2346483 w 5005087"/>
                <a:gd name="connsiteY131" fmla="*/ 703423 h 1024215"/>
                <a:gd name="connsiteX132" fmla="*/ 2350942 w 5005087"/>
                <a:gd name="connsiteY132" fmla="*/ 705599 h 1024215"/>
                <a:gd name="connsiteX133" fmla="*/ 2404449 w 5005087"/>
                <a:gd name="connsiteY133" fmla="*/ 705599 h 1024215"/>
                <a:gd name="connsiteX134" fmla="*/ 2404449 w 5005087"/>
                <a:gd name="connsiteY134" fmla="*/ 719018 h 1024215"/>
                <a:gd name="connsiteX135" fmla="*/ 2406360 w 5005087"/>
                <a:gd name="connsiteY135" fmla="*/ 724096 h 1024215"/>
                <a:gd name="connsiteX136" fmla="*/ 2410818 w 5005087"/>
                <a:gd name="connsiteY136" fmla="*/ 726272 h 1024215"/>
                <a:gd name="connsiteX137" fmla="*/ 2434387 w 5005087"/>
                <a:gd name="connsiteY137" fmla="*/ 726272 h 1024215"/>
                <a:gd name="connsiteX138" fmla="*/ 2434387 w 5005087"/>
                <a:gd name="connsiteY138" fmla="*/ 738422 h 1024215"/>
                <a:gd name="connsiteX139" fmla="*/ 2436298 w 5005087"/>
                <a:gd name="connsiteY139" fmla="*/ 743499 h 1024215"/>
                <a:gd name="connsiteX140" fmla="*/ 2440757 w 5005087"/>
                <a:gd name="connsiteY140" fmla="*/ 745675 h 1024215"/>
                <a:gd name="connsiteX141" fmla="*/ 2772465 w 5005087"/>
                <a:gd name="connsiteY141" fmla="*/ 745675 h 1024215"/>
                <a:gd name="connsiteX142" fmla="*/ 2772465 w 5005087"/>
                <a:gd name="connsiteY142" fmla="*/ 761996 h 1024215"/>
                <a:gd name="connsiteX143" fmla="*/ 2774376 w 5005087"/>
                <a:gd name="connsiteY143" fmla="*/ 767074 h 1024215"/>
                <a:gd name="connsiteX144" fmla="*/ 2778835 w 5005087"/>
                <a:gd name="connsiteY144" fmla="*/ 769250 h 1024215"/>
                <a:gd name="connsiteX145" fmla="*/ 2799377 w 5005087"/>
                <a:gd name="connsiteY145" fmla="*/ 769250 h 1024215"/>
                <a:gd name="connsiteX146" fmla="*/ 2799377 w 5005087"/>
                <a:gd name="connsiteY146" fmla="*/ 785570 h 1024215"/>
                <a:gd name="connsiteX147" fmla="*/ 2801289 w 5005087"/>
                <a:gd name="connsiteY147" fmla="*/ 790648 h 1024215"/>
                <a:gd name="connsiteX148" fmla="*/ 2805747 w 5005087"/>
                <a:gd name="connsiteY148" fmla="*/ 792824 h 1024215"/>
                <a:gd name="connsiteX149" fmla="*/ 2838233 w 5005087"/>
                <a:gd name="connsiteY149" fmla="*/ 792824 h 1024215"/>
                <a:gd name="connsiteX150" fmla="*/ 2838233 w 5005087"/>
                <a:gd name="connsiteY150" fmla="*/ 803161 h 1024215"/>
                <a:gd name="connsiteX151" fmla="*/ 2840144 w 5005087"/>
                <a:gd name="connsiteY151" fmla="*/ 808238 h 1024215"/>
                <a:gd name="connsiteX152" fmla="*/ 2844603 w 5005087"/>
                <a:gd name="connsiteY152" fmla="*/ 810414 h 1024215"/>
                <a:gd name="connsiteX153" fmla="*/ 2853202 w 5005087"/>
                <a:gd name="connsiteY153" fmla="*/ 810414 h 1024215"/>
                <a:gd name="connsiteX154" fmla="*/ 2853202 w 5005087"/>
                <a:gd name="connsiteY154" fmla="*/ 825103 h 1024215"/>
                <a:gd name="connsiteX155" fmla="*/ 2855113 w 5005087"/>
                <a:gd name="connsiteY155" fmla="*/ 830180 h 1024215"/>
                <a:gd name="connsiteX156" fmla="*/ 2859572 w 5005087"/>
                <a:gd name="connsiteY156" fmla="*/ 832357 h 1024215"/>
                <a:gd name="connsiteX157" fmla="*/ 3047641 w 5005087"/>
                <a:gd name="connsiteY157" fmla="*/ 832357 h 1024215"/>
                <a:gd name="connsiteX158" fmla="*/ 3047641 w 5005087"/>
                <a:gd name="connsiteY158" fmla="*/ 849403 h 1024215"/>
                <a:gd name="connsiteX159" fmla="*/ 3049552 w 5005087"/>
                <a:gd name="connsiteY159" fmla="*/ 854480 h 1024215"/>
                <a:gd name="connsiteX160" fmla="*/ 3054011 w 5005087"/>
                <a:gd name="connsiteY160" fmla="*/ 856656 h 1024215"/>
                <a:gd name="connsiteX161" fmla="*/ 3092389 w 5005087"/>
                <a:gd name="connsiteY161" fmla="*/ 856656 h 1024215"/>
                <a:gd name="connsiteX162" fmla="*/ 3092389 w 5005087"/>
                <a:gd name="connsiteY162" fmla="*/ 869713 h 1024215"/>
                <a:gd name="connsiteX163" fmla="*/ 3094300 w 5005087"/>
                <a:gd name="connsiteY163" fmla="*/ 874790 h 1024215"/>
                <a:gd name="connsiteX164" fmla="*/ 3098759 w 5005087"/>
                <a:gd name="connsiteY164" fmla="*/ 876966 h 1024215"/>
                <a:gd name="connsiteX165" fmla="*/ 3158158 w 5005087"/>
                <a:gd name="connsiteY165" fmla="*/ 876966 h 1024215"/>
                <a:gd name="connsiteX166" fmla="*/ 3158158 w 5005087"/>
                <a:gd name="connsiteY166" fmla="*/ 890386 h 1024215"/>
                <a:gd name="connsiteX167" fmla="*/ 3160069 w 5005087"/>
                <a:gd name="connsiteY167" fmla="*/ 895463 h 1024215"/>
                <a:gd name="connsiteX168" fmla="*/ 3164528 w 5005087"/>
                <a:gd name="connsiteY168" fmla="*/ 897639 h 1024215"/>
                <a:gd name="connsiteX169" fmla="*/ 3238895 w 5005087"/>
                <a:gd name="connsiteY169" fmla="*/ 897639 h 1024215"/>
                <a:gd name="connsiteX170" fmla="*/ 3238895 w 5005087"/>
                <a:gd name="connsiteY170" fmla="*/ 914504 h 1024215"/>
                <a:gd name="connsiteX171" fmla="*/ 3240806 w 5005087"/>
                <a:gd name="connsiteY171" fmla="*/ 919582 h 1024215"/>
                <a:gd name="connsiteX172" fmla="*/ 3245265 w 5005087"/>
                <a:gd name="connsiteY172" fmla="*/ 921758 h 1024215"/>
                <a:gd name="connsiteX173" fmla="*/ 3277751 w 5005087"/>
                <a:gd name="connsiteY173" fmla="*/ 921758 h 1024215"/>
                <a:gd name="connsiteX174" fmla="*/ 3277751 w 5005087"/>
                <a:gd name="connsiteY174" fmla="*/ 937534 h 1024215"/>
                <a:gd name="connsiteX175" fmla="*/ 3279662 w 5005087"/>
                <a:gd name="connsiteY175" fmla="*/ 942612 h 1024215"/>
                <a:gd name="connsiteX176" fmla="*/ 3284121 w 5005087"/>
                <a:gd name="connsiteY176" fmla="*/ 944788 h 1024215"/>
                <a:gd name="connsiteX177" fmla="*/ 3487159 w 5005087"/>
                <a:gd name="connsiteY177" fmla="*/ 944788 h 1024215"/>
                <a:gd name="connsiteX178" fmla="*/ 3487159 w 5005087"/>
                <a:gd name="connsiteY178" fmla="*/ 964736 h 1024215"/>
                <a:gd name="connsiteX179" fmla="*/ 3489070 w 5005087"/>
                <a:gd name="connsiteY179" fmla="*/ 969813 h 1024215"/>
                <a:gd name="connsiteX180" fmla="*/ 3493529 w 5005087"/>
                <a:gd name="connsiteY180" fmla="*/ 971989 h 1024215"/>
                <a:gd name="connsiteX181" fmla="*/ 4019676 w 5005087"/>
                <a:gd name="connsiteY181" fmla="*/ 971989 h 1024215"/>
                <a:gd name="connsiteX182" fmla="*/ 4019676 w 5005087"/>
                <a:gd name="connsiteY182" fmla="*/ 990486 h 1024215"/>
                <a:gd name="connsiteX183" fmla="*/ 4021587 w 5005087"/>
                <a:gd name="connsiteY183" fmla="*/ 995564 h 1024215"/>
                <a:gd name="connsiteX184" fmla="*/ 4026046 w 5005087"/>
                <a:gd name="connsiteY184" fmla="*/ 997740 h 1024215"/>
                <a:gd name="connsiteX185" fmla="*/ 4151213 w 5005087"/>
                <a:gd name="connsiteY185" fmla="*/ 997740 h 1024215"/>
                <a:gd name="connsiteX186" fmla="*/ 4151213 w 5005087"/>
                <a:gd name="connsiteY186" fmla="*/ 1016962 h 1024215"/>
                <a:gd name="connsiteX187" fmla="*/ 4153124 w 5005087"/>
                <a:gd name="connsiteY187" fmla="*/ 1022040 h 1024215"/>
                <a:gd name="connsiteX188" fmla="*/ 4157583 w 5005087"/>
                <a:gd name="connsiteY188" fmla="*/ 1024216 h 1024215"/>
                <a:gd name="connsiteX189" fmla="*/ 5005087 w 5005087"/>
                <a:gd name="connsiteY189" fmla="*/ 1024216 h 1024215"/>
                <a:gd name="connsiteX190" fmla="*/ 5005087 w 5005087"/>
                <a:gd name="connsiteY190" fmla="*/ 1009708 h 1024215"/>
                <a:gd name="connsiteX191" fmla="*/ 4163953 w 5005087"/>
                <a:gd name="connsiteY191" fmla="*/ 1009708 h 1024215"/>
                <a:gd name="connsiteX192" fmla="*/ 4163953 w 5005087"/>
                <a:gd name="connsiteY192" fmla="*/ 990486 h 1024215"/>
                <a:gd name="connsiteX193" fmla="*/ 4162041 w 5005087"/>
                <a:gd name="connsiteY193" fmla="*/ 985409 h 1024215"/>
                <a:gd name="connsiteX194" fmla="*/ 4157583 w 5005087"/>
                <a:gd name="connsiteY194" fmla="*/ 983232 h 1024215"/>
                <a:gd name="connsiteX195" fmla="*/ 4032416 w 5005087"/>
                <a:gd name="connsiteY195" fmla="*/ 983232 h 1024215"/>
                <a:gd name="connsiteX196" fmla="*/ 4032416 w 5005087"/>
                <a:gd name="connsiteY196" fmla="*/ 964736 h 1024215"/>
                <a:gd name="connsiteX197" fmla="*/ 4030505 w 5005087"/>
                <a:gd name="connsiteY197" fmla="*/ 959658 h 1024215"/>
                <a:gd name="connsiteX198" fmla="*/ 4026046 w 5005087"/>
                <a:gd name="connsiteY198" fmla="*/ 957482 h 1024215"/>
                <a:gd name="connsiteX199" fmla="*/ 3499899 w 5005087"/>
                <a:gd name="connsiteY199" fmla="*/ 957482 h 1024215"/>
                <a:gd name="connsiteX200" fmla="*/ 3499899 w 5005087"/>
                <a:gd name="connsiteY200" fmla="*/ 937534 h 1024215"/>
                <a:gd name="connsiteX201" fmla="*/ 3497988 w 5005087"/>
                <a:gd name="connsiteY201" fmla="*/ 932457 h 1024215"/>
                <a:gd name="connsiteX202" fmla="*/ 3493529 w 5005087"/>
                <a:gd name="connsiteY202" fmla="*/ 930281 h 1024215"/>
                <a:gd name="connsiteX203" fmla="*/ 3290491 w 5005087"/>
                <a:gd name="connsiteY203" fmla="*/ 930281 h 1024215"/>
                <a:gd name="connsiteX204" fmla="*/ 3290491 w 5005087"/>
                <a:gd name="connsiteY204" fmla="*/ 914504 h 1024215"/>
                <a:gd name="connsiteX205" fmla="*/ 3288580 w 5005087"/>
                <a:gd name="connsiteY205" fmla="*/ 909427 h 1024215"/>
                <a:gd name="connsiteX206" fmla="*/ 3284121 w 5005087"/>
                <a:gd name="connsiteY206" fmla="*/ 907250 h 1024215"/>
                <a:gd name="connsiteX207" fmla="*/ 3251635 w 5005087"/>
                <a:gd name="connsiteY207" fmla="*/ 907250 h 1024215"/>
                <a:gd name="connsiteX208" fmla="*/ 3251635 w 5005087"/>
                <a:gd name="connsiteY208" fmla="*/ 890386 h 1024215"/>
                <a:gd name="connsiteX209" fmla="*/ 3249724 w 5005087"/>
                <a:gd name="connsiteY209" fmla="*/ 885308 h 1024215"/>
                <a:gd name="connsiteX210" fmla="*/ 3245265 w 5005087"/>
                <a:gd name="connsiteY210" fmla="*/ 883132 h 1024215"/>
                <a:gd name="connsiteX211" fmla="*/ 3170897 w 5005087"/>
                <a:gd name="connsiteY211" fmla="*/ 883132 h 1024215"/>
                <a:gd name="connsiteX212" fmla="*/ 3170897 w 5005087"/>
                <a:gd name="connsiteY212" fmla="*/ 869713 h 1024215"/>
                <a:gd name="connsiteX213" fmla="*/ 3168986 w 5005087"/>
                <a:gd name="connsiteY213" fmla="*/ 864635 h 1024215"/>
                <a:gd name="connsiteX214" fmla="*/ 3164528 w 5005087"/>
                <a:gd name="connsiteY214" fmla="*/ 862459 h 1024215"/>
                <a:gd name="connsiteX215" fmla="*/ 3105129 w 5005087"/>
                <a:gd name="connsiteY215" fmla="*/ 862459 h 1024215"/>
                <a:gd name="connsiteX216" fmla="*/ 3105129 w 5005087"/>
                <a:gd name="connsiteY216" fmla="*/ 849403 h 1024215"/>
                <a:gd name="connsiteX217" fmla="*/ 3103218 w 5005087"/>
                <a:gd name="connsiteY217" fmla="*/ 844325 h 1024215"/>
                <a:gd name="connsiteX218" fmla="*/ 3098759 w 5005087"/>
                <a:gd name="connsiteY218" fmla="*/ 842149 h 1024215"/>
                <a:gd name="connsiteX219" fmla="*/ 3060222 w 5005087"/>
                <a:gd name="connsiteY219" fmla="*/ 842149 h 1024215"/>
                <a:gd name="connsiteX220" fmla="*/ 3060222 w 5005087"/>
                <a:gd name="connsiteY220" fmla="*/ 825103 h 1024215"/>
                <a:gd name="connsiteX221" fmla="*/ 3058311 w 5005087"/>
                <a:gd name="connsiteY221" fmla="*/ 820025 h 1024215"/>
                <a:gd name="connsiteX222" fmla="*/ 3053852 w 5005087"/>
                <a:gd name="connsiteY222" fmla="*/ 817849 h 1024215"/>
                <a:gd name="connsiteX223" fmla="*/ 2865783 w 5005087"/>
                <a:gd name="connsiteY223" fmla="*/ 817849 h 1024215"/>
                <a:gd name="connsiteX224" fmla="*/ 2865783 w 5005087"/>
                <a:gd name="connsiteY224" fmla="*/ 803161 h 1024215"/>
                <a:gd name="connsiteX225" fmla="*/ 2863872 w 5005087"/>
                <a:gd name="connsiteY225" fmla="*/ 798083 h 1024215"/>
                <a:gd name="connsiteX226" fmla="*/ 2859413 w 5005087"/>
                <a:gd name="connsiteY226" fmla="*/ 795907 h 1024215"/>
                <a:gd name="connsiteX227" fmla="*/ 2850814 w 5005087"/>
                <a:gd name="connsiteY227" fmla="*/ 795907 h 1024215"/>
                <a:gd name="connsiteX228" fmla="*/ 2850814 w 5005087"/>
                <a:gd name="connsiteY228" fmla="*/ 785570 h 1024215"/>
                <a:gd name="connsiteX229" fmla="*/ 2848903 w 5005087"/>
                <a:gd name="connsiteY229" fmla="*/ 780493 h 1024215"/>
                <a:gd name="connsiteX230" fmla="*/ 2844444 w 5005087"/>
                <a:gd name="connsiteY230" fmla="*/ 778317 h 1024215"/>
                <a:gd name="connsiteX231" fmla="*/ 2811958 w 5005087"/>
                <a:gd name="connsiteY231" fmla="*/ 778317 h 1024215"/>
                <a:gd name="connsiteX232" fmla="*/ 2811958 w 5005087"/>
                <a:gd name="connsiteY232" fmla="*/ 761996 h 1024215"/>
                <a:gd name="connsiteX233" fmla="*/ 2810047 w 5005087"/>
                <a:gd name="connsiteY233" fmla="*/ 756919 h 1024215"/>
                <a:gd name="connsiteX234" fmla="*/ 2805588 w 5005087"/>
                <a:gd name="connsiteY234" fmla="*/ 754742 h 1024215"/>
                <a:gd name="connsiteX235" fmla="*/ 2785045 w 5005087"/>
                <a:gd name="connsiteY235" fmla="*/ 754742 h 1024215"/>
                <a:gd name="connsiteX236" fmla="*/ 2785045 w 5005087"/>
                <a:gd name="connsiteY236" fmla="*/ 738422 h 1024215"/>
                <a:gd name="connsiteX237" fmla="*/ 2783135 w 5005087"/>
                <a:gd name="connsiteY237" fmla="*/ 733344 h 1024215"/>
                <a:gd name="connsiteX238" fmla="*/ 2778676 w 5005087"/>
                <a:gd name="connsiteY238" fmla="*/ 731168 h 1024215"/>
                <a:gd name="connsiteX239" fmla="*/ 2446967 w 5005087"/>
                <a:gd name="connsiteY239" fmla="*/ 731168 h 1024215"/>
                <a:gd name="connsiteX240" fmla="*/ 2446967 w 5005087"/>
                <a:gd name="connsiteY240" fmla="*/ 719018 h 1024215"/>
                <a:gd name="connsiteX241" fmla="*/ 2445056 w 5005087"/>
                <a:gd name="connsiteY241" fmla="*/ 713941 h 1024215"/>
                <a:gd name="connsiteX242" fmla="*/ 2440597 w 5005087"/>
                <a:gd name="connsiteY242" fmla="*/ 711765 h 1024215"/>
                <a:gd name="connsiteX243" fmla="*/ 2417029 w 5005087"/>
                <a:gd name="connsiteY243" fmla="*/ 711765 h 1024215"/>
                <a:gd name="connsiteX244" fmla="*/ 2417029 w 5005087"/>
                <a:gd name="connsiteY244" fmla="*/ 698345 h 1024215"/>
                <a:gd name="connsiteX245" fmla="*/ 2415118 w 5005087"/>
                <a:gd name="connsiteY245" fmla="*/ 693268 h 1024215"/>
                <a:gd name="connsiteX246" fmla="*/ 2410659 w 5005087"/>
                <a:gd name="connsiteY246" fmla="*/ 691092 h 1024215"/>
                <a:gd name="connsiteX247" fmla="*/ 2357153 w 5005087"/>
                <a:gd name="connsiteY247" fmla="*/ 691092 h 1024215"/>
                <a:gd name="connsiteX248" fmla="*/ 2357153 w 5005087"/>
                <a:gd name="connsiteY248" fmla="*/ 672051 h 1024215"/>
                <a:gd name="connsiteX249" fmla="*/ 2355242 w 5005087"/>
                <a:gd name="connsiteY249" fmla="*/ 666973 h 1024215"/>
                <a:gd name="connsiteX250" fmla="*/ 2350783 w 5005087"/>
                <a:gd name="connsiteY250" fmla="*/ 664797 h 1024215"/>
                <a:gd name="connsiteX251" fmla="*/ 2237559 w 5005087"/>
                <a:gd name="connsiteY251" fmla="*/ 664797 h 1024215"/>
                <a:gd name="connsiteX252" fmla="*/ 2237559 w 5005087"/>
                <a:gd name="connsiteY252" fmla="*/ 653373 h 1024215"/>
                <a:gd name="connsiteX253" fmla="*/ 2235648 w 5005087"/>
                <a:gd name="connsiteY253" fmla="*/ 648295 h 1024215"/>
                <a:gd name="connsiteX254" fmla="*/ 2231189 w 5005087"/>
                <a:gd name="connsiteY254" fmla="*/ 646119 h 1024215"/>
                <a:gd name="connsiteX255" fmla="*/ 2180709 w 5005087"/>
                <a:gd name="connsiteY255" fmla="*/ 646119 h 1024215"/>
                <a:gd name="connsiteX256" fmla="*/ 2180709 w 5005087"/>
                <a:gd name="connsiteY256" fmla="*/ 629980 h 1024215"/>
                <a:gd name="connsiteX257" fmla="*/ 2178798 w 5005087"/>
                <a:gd name="connsiteY257" fmla="*/ 624902 h 1024215"/>
                <a:gd name="connsiteX258" fmla="*/ 2174339 w 5005087"/>
                <a:gd name="connsiteY258" fmla="*/ 622726 h 1024215"/>
                <a:gd name="connsiteX259" fmla="*/ 2162714 w 5005087"/>
                <a:gd name="connsiteY259" fmla="*/ 622726 h 1024215"/>
                <a:gd name="connsiteX260" fmla="*/ 2162714 w 5005087"/>
                <a:gd name="connsiteY260" fmla="*/ 609851 h 1024215"/>
                <a:gd name="connsiteX261" fmla="*/ 2160803 w 5005087"/>
                <a:gd name="connsiteY261" fmla="*/ 604773 h 1024215"/>
                <a:gd name="connsiteX262" fmla="*/ 2156344 w 5005087"/>
                <a:gd name="connsiteY262" fmla="*/ 602597 h 1024215"/>
                <a:gd name="connsiteX263" fmla="*/ 1941363 w 5005087"/>
                <a:gd name="connsiteY263" fmla="*/ 602597 h 1024215"/>
                <a:gd name="connsiteX264" fmla="*/ 1941363 w 5005087"/>
                <a:gd name="connsiteY264" fmla="*/ 589178 h 1024215"/>
                <a:gd name="connsiteX265" fmla="*/ 1939452 w 5005087"/>
                <a:gd name="connsiteY265" fmla="*/ 584100 h 1024215"/>
                <a:gd name="connsiteX266" fmla="*/ 1934993 w 5005087"/>
                <a:gd name="connsiteY266" fmla="*/ 581924 h 1024215"/>
                <a:gd name="connsiteX267" fmla="*/ 1824795 w 5005087"/>
                <a:gd name="connsiteY267" fmla="*/ 581924 h 1024215"/>
                <a:gd name="connsiteX268" fmla="*/ 1824795 w 5005087"/>
                <a:gd name="connsiteY268" fmla="*/ 567417 h 1024215"/>
                <a:gd name="connsiteX269" fmla="*/ 1822884 w 5005087"/>
                <a:gd name="connsiteY269" fmla="*/ 562339 h 1024215"/>
                <a:gd name="connsiteX270" fmla="*/ 1818425 w 5005087"/>
                <a:gd name="connsiteY270" fmla="*/ 560163 h 1024215"/>
                <a:gd name="connsiteX271" fmla="*/ 1815399 w 5005087"/>
                <a:gd name="connsiteY271" fmla="*/ 560163 h 1024215"/>
                <a:gd name="connsiteX272" fmla="*/ 1815399 w 5005087"/>
                <a:gd name="connsiteY272" fmla="*/ 567417 h 1024215"/>
                <a:gd name="connsiteX273" fmla="*/ 1821769 w 5005087"/>
                <a:gd name="connsiteY273" fmla="*/ 567417 h 1024215"/>
                <a:gd name="connsiteX274" fmla="*/ 1821769 w 5005087"/>
                <a:gd name="connsiteY274" fmla="*/ 550371 h 1024215"/>
                <a:gd name="connsiteX275" fmla="*/ 1819858 w 5005087"/>
                <a:gd name="connsiteY275" fmla="*/ 545293 h 1024215"/>
                <a:gd name="connsiteX276" fmla="*/ 1815399 w 5005087"/>
                <a:gd name="connsiteY276" fmla="*/ 543117 h 1024215"/>
                <a:gd name="connsiteX277" fmla="*/ 1788805 w 5005087"/>
                <a:gd name="connsiteY277" fmla="*/ 543117 h 1024215"/>
                <a:gd name="connsiteX278" fmla="*/ 1788805 w 5005087"/>
                <a:gd name="connsiteY278" fmla="*/ 532055 h 1024215"/>
                <a:gd name="connsiteX279" fmla="*/ 1786894 w 5005087"/>
                <a:gd name="connsiteY279" fmla="*/ 526978 h 1024215"/>
                <a:gd name="connsiteX280" fmla="*/ 1782435 w 5005087"/>
                <a:gd name="connsiteY280" fmla="*/ 524802 h 1024215"/>
                <a:gd name="connsiteX281" fmla="*/ 1639274 w 5005087"/>
                <a:gd name="connsiteY281" fmla="*/ 524802 h 1024215"/>
                <a:gd name="connsiteX282" fmla="*/ 1639274 w 5005087"/>
                <a:gd name="connsiteY282" fmla="*/ 491616 h 1024215"/>
                <a:gd name="connsiteX283" fmla="*/ 1637363 w 5005087"/>
                <a:gd name="connsiteY283" fmla="*/ 486539 h 1024215"/>
                <a:gd name="connsiteX284" fmla="*/ 1632904 w 5005087"/>
                <a:gd name="connsiteY284" fmla="*/ 484363 h 1024215"/>
                <a:gd name="connsiteX285" fmla="*/ 1627330 w 5005087"/>
                <a:gd name="connsiteY285" fmla="*/ 484363 h 1024215"/>
                <a:gd name="connsiteX286" fmla="*/ 1627330 w 5005087"/>
                <a:gd name="connsiteY286" fmla="*/ 472575 h 1024215"/>
                <a:gd name="connsiteX287" fmla="*/ 1625419 w 5005087"/>
                <a:gd name="connsiteY287" fmla="*/ 467498 h 1024215"/>
                <a:gd name="connsiteX288" fmla="*/ 1620960 w 5005087"/>
                <a:gd name="connsiteY288" fmla="*/ 465322 h 1024215"/>
                <a:gd name="connsiteX289" fmla="*/ 1612361 w 5005087"/>
                <a:gd name="connsiteY289" fmla="*/ 465322 h 1024215"/>
                <a:gd name="connsiteX290" fmla="*/ 1612361 w 5005087"/>
                <a:gd name="connsiteY290" fmla="*/ 451902 h 1024215"/>
                <a:gd name="connsiteX291" fmla="*/ 1610450 w 5005087"/>
                <a:gd name="connsiteY291" fmla="*/ 446825 h 1024215"/>
                <a:gd name="connsiteX292" fmla="*/ 1605991 w 5005087"/>
                <a:gd name="connsiteY292" fmla="*/ 444649 h 1024215"/>
                <a:gd name="connsiteX293" fmla="*/ 1600099 w 5005087"/>
                <a:gd name="connsiteY293" fmla="*/ 444649 h 1024215"/>
                <a:gd name="connsiteX294" fmla="*/ 1600099 w 5005087"/>
                <a:gd name="connsiteY294" fmla="*/ 451902 h 1024215"/>
                <a:gd name="connsiteX295" fmla="*/ 1606469 w 5005087"/>
                <a:gd name="connsiteY295" fmla="*/ 451902 h 1024215"/>
                <a:gd name="connsiteX296" fmla="*/ 1606469 w 5005087"/>
                <a:gd name="connsiteY296" fmla="*/ 409469 h 1024215"/>
                <a:gd name="connsiteX297" fmla="*/ 1604558 w 5005087"/>
                <a:gd name="connsiteY297" fmla="*/ 404391 h 1024215"/>
                <a:gd name="connsiteX298" fmla="*/ 1600099 w 5005087"/>
                <a:gd name="connsiteY298" fmla="*/ 402215 h 1024215"/>
                <a:gd name="connsiteX299" fmla="*/ 1582582 w 5005087"/>
                <a:gd name="connsiteY299" fmla="*/ 402215 h 1024215"/>
                <a:gd name="connsiteX300" fmla="*/ 1582582 w 5005087"/>
                <a:gd name="connsiteY300" fmla="*/ 392423 h 1024215"/>
                <a:gd name="connsiteX301" fmla="*/ 1580671 w 5005087"/>
                <a:gd name="connsiteY301" fmla="*/ 387345 h 1024215"/>
                <a:gd name="connsiteX302" fmla="*/ 1576212 w 5005087"/>
                <a:gd name="connsiteY302" fmla="*/ 385169 h 1024215"/>
                <a:gd name="connsiteX303" fmla="*/ 1510763 w 5005087"/>
                <a:gd name="connsiteY303" fmla="*/ 385169 h 1024215"/>
                <a:gd name="connsiteX304" fmla="*/ 1510763 w 5005087"/>
                <a:gd name="connsiteY304" fmla="*/ 351258 h 1024215"/>
                <a:gd name="connsiteX305" fmla="*/ 1508852 w 5005087"/>
                <a:gd name="connsiteY305" fmla="*/ 346181 h 1024215"/>
                <a:gd name="connsiteX306" fmla="*/ 1504393 w 5005087"/>
                <a:gd name="connsiteY306" fmla="*/ 344004 h 1024215"/>
                <a:gd name="connsiteX307" fmla="*/ 1486876 w 5005087"/>
                <a:gd name="connsiteY307" fmla="*/ 344004 h 1024215"/>
                <a:gd name="connsiteX308" fmla="*/ 1486876 w 5005087"/>
                <a:gd name="connsiteY308" fmla="*/ 330041 h 1024215"/>
                <a:gd name="connsiteX309" fmla="*/ 1484965 w 5005087"/>
                <a:gd name="connsiteY309" fmla="*/ 324964 h 1024215"/>
                <a:gd name="connsiteX310" fmla="*/ 1480506 w 5005087"/>
                <a:gd name="connsiteY310" fmla="*/ 322787 h 1024215"/>
                <a:gd name="connsiteX311" fmla="*/ 1471907 w 5005087"/>
                <a:gd name="connsiteY311" fmla="*/ 322787 h 1024215"/>
                <a:gd name="connsiteX312" fmla="*/ 1471907 w 5005087"/>
                <a:gd name="connsiteY312" fmla="*/ 308643 h 1024215"/>
                <a:gd name="connsiteX313" fmla="*/ 1469996 w 5005087"/>
                <a:gd name="connsiteY313" fmla="*/ 303565 h 1024215"/>
                <a:gd name="connsiteX314" fmla="*/ 1465537 w 5005087"/>
                <a:gd name="connsiteY314" fmla="*/ 301389 h 1024215"/>
                <a:gd name="connsiteX315" fmla="*/ 1346262 w 5005087"/>
                <a:gd name="connsiteY315" fmla="*/ 301389 h 1024215"/>
                <a:gd name="connsiteX316" fmla="*/ 1346262 w 5005087"/>
                <a:gd name="connsiteY316" fmla="*/ 291959 h 1024215"/>
                <a:gd name="connsiteX317" fmla="*/ 1344351 w 5005087"/>
                <a:gd name="connsiteY317" fmla="*/ 286882 h 1024215"/>
                <a:gd name="connsiteX318" fmla="*/ 1339892 w 5005087"/>
                <a:gd name="connsiteY318" fmla="*/ 284706 h 1024215"/>
                <a:gd name="connsiteX319" fmla="*/ 1256447 w 5005087"/>
                <a:gd name="connsiteY319" fmla="*/ 284706 h 1024215"/>
                <a:gd name="connsiteX320" fmla="*/ 1256447 w 5005087"/>
                <a:gd name="connsiteY320" fmla="*/ 272737 h 1024215"/>
                <a:gd name="connsiteX321" fmla="*/ 1254536 w 5005087"/>
                <a:gd name="connsiteY321" fmla="*/ 267660 h 1024215"/>
                <a:gd name="connsiteX322" fmla="*/ 1250078 w 5005087"/>
                <a:gd name="connsiteY322" fmla="*/ 265484 h 1024215"/>
                <a:gd name="connsiteX323" fmla="*/ 1217591 w 5005087"/>
                <a:gd name="connsiteY323" fmla="*/ 265484 h 1024215"/>
                <a:gd name="connsiteX324" fmla="*/ 1217591 w 5005087"/>
                <a:gd name="connsiteY324" fmla="*/ 252064 h 1024215"/>
                <a:gd name="connsiteX325" fmla="*/ 1215680 w 5005087"/>
                <a:gd name="connsiteY325" fmla="*/ 246987 h 1024215"/>
                <a:gd name="connsiteX326" fmla="*/ 1211222 w 5005087"/>
                <a:gd name="connsiteY326" fmla="*/ 244811 h 1024215"/>
                <a:gd name="connsiteX327" fmla="*/ 1187653 w 5005087"/>
                <a:gd name="connsiteY327" fmla="*/ 244811 h 1024215"/>
                <a:gd name="connsiteX328" fmla="*/ 1187653 w 5005087"/>
                <a:gd name="connsiteY328" fmla="*/ 233205 h 1024215"/>
                <a:gd name="connsiteX329" fmla="*/ 1185742 w 5005087"/>
                <a:gd name="connsiteY329" fmla="*/ 228127 h 1024215"/>
                <a:gd name="connsiteX330" fmla="*/ 1181283 w 5005087"/>
                <a:gd name="connsiteY330" fmla="*/ 225951 h 1024215"/>
                <a:gd name="connsiteX331" fmla="*/ 1160741 w 5005087"/>
                <a:gd name="connsiteY331" fmla="*/ 225951 h 1024215"/>
                <a:gd name="connsiteX332" fmla="*/ 1160741 w 5005087"/>
                <a:gd name="connsiteY332" fmla="*/ 215977 h 1024215"/>
                <a:gd name="connsiteX333" fmla="*/ 1158830 w 5005087"/>
                <a:gd name="connsiteY333" fmla="*/ 210900 h 1024215"/>
                <a:gd name="connsiteX334" fmla="*/ 1154371 w 5005087"/>
                <a:gd name="connsiteY334" fmla="*/ 208724 h 1024215"/>
                <a:gd name="connsiteX335" fmla="*/ 1109782 w 5005087"/>
                <a:gd name="connsiteY335" fmla="*/ 208724 h 1024215"/>
                <a:gd name="connsiteX336" fmla="*/ 1109782 w 5005087"/>
                <a:gd name="connsiteY336" fmla="*/ 198569 h 1024215"/>
                <a:gd name="connsiteX337" fmla="*/ 1107871 w 5005087"/>
                <a:gd name="connsiteY337" fmla="*/ 193491 h 1024215"/>
                <a:gd name="connsiteX338" fmla="*/ 1103412 w 5005087"/>
                <a:gd name="connsiteY338" fmla="*/ 191315 h 1024215"/>
                <a:gd name="connsiteX339" fmla="*/ 1085895 w 5005087"/>
                <a:gd name="connsiteY339" fmla="*/ 191315 h 1024215"/>
                <a:gd name="connsiteX340" fmla="*/ 1085895 w 5005087"/>
                <a:gd name="connsiteY340" fmla="*/ 180435 h 1024215"/>
                <a:gd name="connsiteX341" fmla="*/ 1083984 w 5005087"/>
                <a:gd name="connsiteY341" fmla="*/ 175357 h 1024215"/>
                <a:gd name="connsiteX342" fmla="*/ 1079526 w 5005087"/>
                <a:gd name="connsiteY342" fmla="*/ 173181 h 1024215"/>
                <a:gd name="connsiteX343" fmla="*/ 1067901 w 5005087"/>
                <a:gd name="connsiteY343" fmla="*/ 173181 h 1024215"/>
                <a:gd name="connsiteX344" fmla="*/ 1067901 w 5005087"/>
                <a:gd name="connsiteY344" fmla="*/ 164658 h 1024215"/>
                <a:gd name="connsiteX345" fmla="*/ 1065990 w 5005087"/>
                <a:gd name="connsiteY345" fmla="*/ 159580 h 1024215"/>
                <a:gd name="connsiteX346" fmla="*/ 1061531 w 5005087"/>
                <a:gd name="connsiteY346" fmla="*/ 157404 h 1024215"/>
                <a:gd name="connsiteX347" fmla="*/ 1029045 w 5005087"/>
                <a:gd name="connsiteY347" fmla="*/ 157404 h 1024215"/>
                <a:gd name="connsiteX348" fmla="*/ 1029045 w 5005087"/>
                <a:gd name="connsiteY348" fmla="*/ 141265 h 1024215"/>
                <a:gd name="connsiteX349" fmla="*/ 1027134 w 5005087"/>
                <a:gd name="connsiteY349" fmla="*/ 136187 h 1024215"/>
                <a:gd name="connsiteX350" fmla="*/ 1022675 w 5005087"/>
                <a:gd name="connsiteY350" fmla="*/ 134011 h 1024215"/>
                <a:gd name="connsiteX351" fmla="*/ 993214 w 5005087"/>
                <a:gd name="connsiteY351" fmla="*/ 134011 h 1024215"/>
                <a:gd name="connsiteX352" fmla="*/ 993214 w 5005087"/>
                <a:gd name="connsiteY352" fmla="*/ 124400 h 1024215"/>
                <a:gd name="connsiteX353" fmla="*/ 991304 w 5005087"/>
                <a:gd name="connsiteY353" fmla="*/ 119323 h 1024215"/>
                <a:gd name="connsiteX354" fmla="*/ 986845 w 5005087"/>
                <a:gd name="connsiteY354" fmla="*/ 117146 h 1024215"/>
                <a:gd name="connsiteX355" fmla="*/ 927446 w 5005087"/>
                <a:gd name="connsiteY355" fmla="*/ 117146 h 1024215"/>
                <a:gd name="connsiteX356" fmla="*/ 927446 w 5005087"/>
                <a:gd name="connsiteY356" fmla="*/ 102639 h 1024215"/>
                <a:gd name="connsiteX357" fmla="*/ 925535 w 5005087"/>
                <a:gd name="connsiteY357" fmla="*/ 97562 h 1024215"/>
                <a:gd name="connsiteX358" fmla="*/ 921076 w 5005087"/>
                <a:gd name="connsiteY358" fmla="*/ 95386 h 1024215"/>
                <a:gd name="connsiteX359" fmla="*/ 867570 w 5005087"/>
                <a:gd name="connsiteY359" fmla="*/ 95386 h 1024215"/>
                <a:gd name="connsiteX360" fmla="*/ 867570 w 5005087"/>
                <a:gd name="connsiteY360" fmla="*/ 85412 h 1024215"/>
                <a:gd name="connsiteX361" fmla="*/ 865659 w 5005087"/>
                <a:gd name="connsiteY361" fmla="*/ 80334 h 1024215"/>
                <a:gd name="connsiteX362" fmla="*/ 861200 w 5005087"/>
                <a:gd name="connsiteY362" fmla="*/ 78158 h 1024215"/>
                <a:gd name="connsiteX363" fmla="*/ 774889 w 5005087"/>
                <a:gd name="connsiteY363" fmla="*/ 78158 h 1024215"/>
                <a:gd name="connsiteX364" fmla="*/ 774889 w 5005087"/>
                <a:gd name="connsiteY364" fmla="*/ 64195 h 1024215"/>
                <a:gd name="connsiteX365" fmla="*/ 772978 w 5005087"/>
                <a:gd name="connsiteY365" fmla="*/ 59117 h 1024215"/>
                <a:gd name="connsiteX366" fmla="*/ 768519 w 5005087"/>
                <a:gd name="connsiteY366" fmla="*/ 56941 h 1024215"/>
                <a:gd name="connsiteX367" fmla="*/ 697177 w 5005087"/>
                <a:gd name="connsiteY367" fmla="*/ 56941 h 1024215"/>
                <a:gd name="connsiteX368" fmla="*/ 697177 w 5005087"/>
                <a:gd name="connsiteY368" fmla="*/ 46061 h 1024215"/>
                <a:gd name="connsiteX369" fmla="*/ 695266 w 5005087"/>
                <a:gd name="connsiteY369" fmla="*/ 40983 h 1024215"/>
                <a:gd name="connsiteX370" fmla="*/ 690807 w 5005087"/>
                <a:gd name="connsiteY370" fmla="*/ 38807 h 1024215"/>
                <a:gd name="connsiteX371" fmla="*/ 445888 w 5005087"/>
                <a:gd name="connsiteY371" fmla="*/ 38807 h 1024215"/>
                <a:gd name="connsiteX372" fmla="*/ 445888 w 5005087"/>
                <a:gd name="connsiteY372" fmla="*/ 27564 h 1024215"/>
                <a:gd name="connsiteX373" fmla="*/ 443977 w 5005087"/>
                <a:gd name="connsiteY373" fmla="*/ 22486 h 1024215"/>
                <a:gd name="connsiteX374" fmla="*/ 439518 w 5005087"/>
                <a:gd name="connsiteY374" fmla="*/ 20310 h 1024215"/>
                <a:gd name="connsiteX375" fmla="*/ 251449 w 5005087"/>
                <a:gd name="connsiteY375" fmla="*/ 20310 h 1024215"/>
                <a:gd name="connsiteX376" fmla="*/ 251449 w 5005087"/>
                <a:gd name="connsiteY376" fmla="*/ 7254 h 1024215"/>
                <a:gd name="connsiteX377" fmla="*/ 249538 w 5005087"/>
                <a:gd name="connsiteY377" fmla="*/ 2176 h 1024215"/>
                <a:gd name="connsiteX378" fmla="*/ 245079 w 5005087"/>
                <a:gd name="connsiteY378" fmla="*/ 0 h 1024215"/>
                <a:gd name="connsiteX379" fmla="*/ 0 w 5005087"/>
                <a:gd name="connsiteY379" fmla="*/ 0 h 1024215"/>
                <a:gd name="connsiteX380" fmla="*/ 0 w 5005087"/>
                <a:gd name="connsiteY380" fmla="*/ 14507 h 1024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</a:cxnLst>
              <a:rect l="l" t="t" r="r" b="b"/>
              <a:pathLst>
                <a:path w="5005087" h="1024215">
                  <a:moveTo>
                    <a:pt x="0" y="14507"/>
                  </a:moveTo>
                  <a:lnTo>
                    <a:pt x="238868" y="14507"/>
                  </a:lnTo>
                  <a:lnTo>
                    <a:pt x="238868" y="27745"/>
                  </a:lnTo>
                  <a:cubicBezTo>
                    <a:pt x="238868" y="29740"/>
                    <a:pt x="239505" y="31553"/>
                    <a:pt x="240779" y="32823"/>
                  </a:cubicBezTo>
                  <a:cubicBezTo>
                    <a:pt x="241894" y="34092"/>
                    <a:pt x="243646" y="34999"/>
                    <a:pt x="245238" y="34999"/>
                  </a:cubicBezTo>
                  <a:lnTo>
                    <a:pt x="433307" y="34999"/>
                  </a:lnTo>
                  <a:lnTo>
                    <a:pt x="433307" y="46242"/>
                  </a:lnTo>
                  <a:cubicBezTo>
                    <a:pt x="433307" y="48237"/>
                    <a:pt x="433944" y="50050"/>
                    <a:pt x="435218" y="51320"/>
                  </a:cubicBezTo>
                  <a:cubicBezTo>
                    <a:pt x="436333" y="52770"/>
                    <a:pt x="438085" y="53496"/>
                    <a:pt x="439677" y="53496"/>
                  </a:cubicBezTo>
                  <a:lnTo>
                    <a:pt x="684597" y="53496"/>
                  </a:lnTo>
                  <a:lnTo>
                    <a:pt x="684597" y="64195"/>
                  </a:lnTo>
                  <a:cubicBezTo>
                    <a:pt x="684597" y="66190"/>
                    <a:pt x="685234" y="68003"/>
                    <a:pt x="686508" y="69272"/>
                  </a:cubicBezTo>
                  <a:cubicBezTo>
                    <a:pt x="687622" y="70723"/>
                    <a:pt x="689374" y="71448"/>
                    <a:pt x="690966" y="71448"/>
                  </a:cubicBezTo>
                  <a:lnTo>
                    <a:pt x="762308" y="71448"/>
                  </a:lnTo>
                  <a:lnTo>
                    <a:pt x="762308" y="85412"/>
                  </a:lnTo>
                  <a:cubicBezTo>
                    <a:pt x="762308" y="87407"/>
                    <a:pt x="762945" y="89220"/>
                    <a:pt x="764219" y="90489"/>
                  </a:cubicBezTo>
                  <a:cubicBezTo>
                    <a:pt x="765334" y="91940"/>
                    <a:pt x="767086" y="92665"/>
                    <a:pt x="768678" y="92665"/>
                  </a:cubicBezTo>
                  <a:lnTo>
                    <a:pt x="854989" y="92665"/>
                  </a:lnTo>
                  <a:lnTo>
                    <a:pt x="854989" y="102639"/>
                  </a:lnTo>
                  <a:cubicBezTo>
                    <a:pt x="854989" y="104634"/>
                    <a:pt x="855626" y="106447"/>
                    <a:pt x="856900" y="107717"/>
                  </a:cubicBezTo>
                  <a:cubicBezTo>
                    <a:pt x="858015" y="108986"/>
                    <a:pt x="859767" y="109893"/>
                    <a:pt x="861359" y="109893"/>
                  </a:cubicBezTo>
                  <a:lnTo>
                    <a:pt x="914866" y="109893"/>
                  </a:lnTo>
                  <a:lnTo>
                    <a:pt x="914866" y="124400"/>
                  </a:lnTo>
                  <a:cubicBezTo>
                    <a:pt x="914866" y="126214"/>
                    <a:pt x="915503" y="128208"/>
                    <a:pt x="916777" y="129478"/>
                  </a:cubicBezTo>
                  <a:cubicBezTo>
                    <a:pt x="917891" y="130747"/>
                    <a:pt x="919643" y="131654"/>
                    <a:pt x="921235" y="131654"/>
                  </a:cubicBezTo>
                  <a:lnTo>
                    <a:pt x="980634" y="131654"/>
                  </a:lnTo>
                  <a:lnTo>
                    <a:pt x="980634" y="141265"/>
                  </a:lnTo>
                  <a:cubicBezTo>
                    <a:pt x="980634" y="143260"/>
                    <a:pt x="981271" y="145073"/>
                    <a:pt x="982545" y="146342"/>
                  </a:cubicBezTo>
                  <a:cubicBezTo>
                    <a:pt x="983660" y="147612"/>
                    <a:pt x="985411" y="148519"/>
                    <a:pt x="987004" y="148519"/>
                  </a:cubicBezTo>
                  <a:lnTo>
                    <a:pt x="1016464" y="148519"/>
                  </a:lnTo>
                  <a:lnTo>
                    <a:pt x="1016464" y="164658"/>
                  </a:lnTo>
                  <a:cubicBezTo>
                    <a:pt x="1016464" y="166471"/>
                    <a:pt x="1017101" y="168466"/>
                    <a:pt x="1018375" y="169735"/>
                  </a:cubicBezTo>
                  <a:cubicBezTo>
                    <a:pt x="1019649" y="171005"/>
                    <a:pt x="1021242" y="171912"/>
                    <a:pt x="1022834" y="171912"/>
                  </a:cubicBezTo>
                  <a:lnTo>
                    <a:pt x="1055320" y="171912"/>
                  </a:lnTo>
                  <a:lnTo>
                    <a:pt x="1055320" y="180435"/>
                  </a:lnTo>
                  <a:cubicBezTo>
                    <a:pt x="1055320" y="182429"/>
                    <a:pt x="1055957" y="184243"/>
                    <a:pt x="1057231" y="185512"/>
                  </a:cubicBezTo>
                  <a:cubicBezTo>
                    <a:pt x="1058505" y="186963"/>
                    <a:pt x="1060098" y="187688"/>
                    <a:pt x="1061690" y="187688"/>
                  </a:cubicBezTo>
                  <a:lnTo>
                    <a:pt x="1073315" y="187688"/>
                  </a:lnTo>
                  <a:lnTo>
                    <a:pt x="1073315" y="198569"/>
                  </a:lnTo>
                  <a:cubicBezTo>
                    <a:pt x="1073315" y="200563"/>
                    <a:pt x="1073952" y="202377"/>
                    <a:pt x="1075226" y="203646"/>
                  </a:cubicBezTo>
                  <a:cubicBezTo>
                    <a:pt x="1076341" y="205097"/>
                    <a:pt x="1078092" y="205822"/>
                    <a:pt x="1079685" y="205822"/>
                  </a:cubicBezTo>
                  <a:lnTo>
                    <a:pt x="1097202" y="205822"/>
                  </a:lnTo>
                  <a:lnTo>
                    <a:pt x="1097202" y="215977"/>
                  </a:lnTo>
                  <a:cubicBezTo>
                    <a:pt x="1097202" y="217972"/>
                    <a:pt x="1097839" y="219786"/>
                    <a:pt x="1099113" y="221055"/>
                  </a:cubicBezTo>
                  <a:cubicBezTo>
                    <a:pt x="1100227" y="222324"/>
                    <a:pt x="1101979" y="223231"/>
                    <a:pt x="1103572" y="223231"/>
                  </a:cubicBezTo>
                  <a:lnTo>
                    <a:pt x="1148001" y="223231"/>
                  </a:lnTo>
                  <a:lnTo>
                    <a:pt x="1148001" y="233205"/>
                  </a:lnTo>
                  <a:cubicBezTo>
                    <a:pt x="1148001" y="235200"/>
                    <a:pt x="1148638" y="237013"/>
                    <a:pt x="1149912" y="238282"/>
                  </a:cubicBezTo>
                  <a:cubicBezTo>
                    <a:pt x="1151027" y="239733"/>
                    <a:pt x="1152779" y="240459"/>
                    <a:pt x="1154371" y="240459"/>
                  </a:cubicBezTo>
                  <a:lnTo>
                    <a:pt x="1174914" y="240459"/>
                  </a:lnTo>
                  <a:lnTo>
                    <a:pt x="1174914" y="252064"/>
                  </a:lnTo>
                  <a:cubicBezTo>
                    <a:pt x="1174914" y="254059"/>
                    <a:pt x="1175551" y="255873"/>
                    <a:pt x="1176825" y="257142"/>
                  </a:cubicBezTo>
                  <a:cubicBezTo>
                    <a:pt x="1178099" y="258593"/>
                    <a:pt x="1179691" y="259318"/>
                    <a:pt x="1181283" y="259318"/>
                  </a:cubicBezTo>
                  <a:lnTo>
                    <a:pt x="1204852" y="259318"/>
                  </a:lnTo>
                  <a:lnTo>
                    <a:pt x="1204852" y="272737"/>
                  </a:lnTo>
                  <a:cubicBezTo>
                    <a:pt x="1204852" y="274551"/>
                    <a:pt x="1205489" y="276545"/>
                    <a:pt x="1206763" y="277815"/>
                  </a:cubicBezTo>
                  <a:cubicBezTo>
                    <a:pt x="1207877" y="279084"/>
                    <a:pt x="1209629" y="279991"/>
                    <a:pt x="1211222" y="279991"/>
                  </a:cubicBezTo>
                  <a:lnTo>
                    <a:pt x="1243708" y="279991"/>
                  </a:lnTo>
                  <a:lnTo>
                    <a:pt x="1243708" y="291959"/>
                  </a:lnTo>
                  <a:cubicBezTo>
                    <a:pt x="1243708" y="293773"/>
                    <a:pt x="1244345" y="295768"/>
                    <a:pt x="1245619" y="297037"/>
                  </a:cubicBezTo>
                  <a:cubicBezTo>
                    <a:pt x="1246733" y="298306"/>
                    <a:pt x="1248485" y="299213"/>
                    <a:pt x="1250078" y="299213"/>
                  </a:cubicBezTo>
                  <a:lnTo>
                    <a:pt x="1333522" y="299213"/>
                  </a:lnTo>
                  <a:lnTo>
                    <a:pt x="1333522" y="308643"/>
                  </a:lnTo>
                  <a:cubicBezTo>
                    <a:pt x="1333522" y="310638"/>
                    <a:pt x="1334159" y="312451"/>
                    <a:pt x="1335433" y="313720"/>
                  </a:cubicBezTo>
                  <a:cubicBezTo>
                    <a:pt x="1336548" y="314990"/>
                    <a:pt x="1338300" y="315897"/>
                    <a:pt x="1339892" y="315897"/>
                  </a:cubicBezTo>
                  <a:lnTo>
                    <a:pt x="1459167" y="315897"/>
                  </a:lnTo>
                  <a:lnTo>
                    <a:pt x="1459167" y="330041"/>
                  </a:lnTo>
                  <a:cubicBezTo>
                    <a:pt x="1459167" y="332036"/>
                    <a:pt x="1459804" y="333849"/>
                    <a:pt x="1461078" y="335119"/>
                  </a:cubicBezTo>
                  <a:cubicBezTo>
                    <a:pt x="1462352" y="336569"/>
                    <a:pt x="1463944" y="337295"/>
                    <a:pt x="1465537" y="337295"/>
                  </a:cubicBezTo>
                  <a:lnTo>
                    <a:pt x="1474136" y="337295"/>
                  </a:lnTo>
                  <a:lnTo>
                    <a:pt x="1474136" y="351258"/>
                  </a:lnTo>
                  <a:cubicBezTo>
                    <a:pt x="1474136" y="353253"/>
                    <a:pt x="1474773" y="355066"/>
                    <a:pt x="1476047" y="356336"/>
                  </a:cubicBezTo>
                  <a:cubicBezTo>
                    <a:pt x="1477162" y="357786"/>
                    <a:pt x="1478913" y="358512"/>
                    <a:pt x="1480506" y="358512"/>
                  </a:cubicBezTo>
                  <a:lnTo>
                    <a:pt x="1498023" y="358512"/>
                  </a:lnTo>
                  <a:lnTo>
                    <a:pt x="1498023" y="392423"/>
                  </a:lnTo>
                  <a:cubicBezTo>
                    <a:pt x="1498023" y="394236"/>
                    <a:pt x="1498660" y="396231"/>
                    <a:pt x="1499934" y="397500"/>
                  </a:cubicBezTo>
                  <a:cubicBezTo>
                    <a:pt x="1501208" y="398769"/>
                    <a:pt x="1502800" y="399676"/>
                    <a:pt x="1504393" y="399676"/>
                  </a:cubicBezTo>
                  <a:lnTo>
                    <a:pt x="1569843" y="399676"/>
                  </a:lnTo>
                  <a:lnTo>
                    <a:pt x="1569843" y="409469"/>
                  </a:lnTo>
                  <a:cubicBezTo>
                    <a:pt x="1569843" y="411463"/>
                    <a:pt x="1570480" y="413277"/>
                    <a:pt x="1571754" y="414546"/>
                  </a:cubicBezTo>
                  <a:cubicBezTo>
                    <a:pt x="1572868" y="415997"/>
                    <a:pt x="1574620" y="416722"/>
                    <a:pt x="1576212" y="416722"/>
                  </a:cubicBezTo>
                  <a:lnTo>
                    <a:pt x="1593729" y="416722"/>
                  </a:lnTo>
                  <a:lnTo>
                    <a:pt x="1593729" y="451721"/>
                  </a:lnTo>
                  <a:cubicBezTo>
                    <a:pt x="1593729" y="453535"/>
                    <a:pt x="1594366" y="455529"/>
                    <a:pt x="1595640" y="456799"/>
                  </a:cubicBezTo>
                  <a:cubicBezTo>
                    <a:pt x="1596755" y="458249"/>
                    <a:pt x="1598507" y="458975"/>
                    <a:pt x="1600099" y="458975"/>
                  </a:cubicBezTo>
                  <a:lnTo>
                    <a:pt x="1605991" y="458975"/>
                  </a:lnTo>
                  <a:lnTo>
                    <a:pt x="1605991" y="451721"/>
                  </a:lnTo>
                  <a:lnTo>
                    <a:pt x="1599621" y="451721"/>
                  </a:lnTo>
                  <a:lnTo>
                    <a:pt x="1599621" y="472394"/>
                  </a:lnTo>
                  <a:cubicBezTo>
                    <a:pt x="1599621" y="474207"/>
                    <a:pt x="1600258" y="476202"/>
                    <a:pt x="1601532" y="477472"/>
                  </a:cubicBezTo>
                  <a:cubicBezTo>
                    <a:pt x="1602806" y="478741"/>
                    <a:pt x="1604399" y="479648"/>
                    <a:pt x="1605991" y="479648"/>
                  </a:cubicBezTo>
                  <a:lnTo>
                    <a:pt x="1614591" y="479648"/>
                  </a:lnTo>
                  <a:lnTo>
                    <a:pt x="1614591" y="491435"/>
                  </a:lnTo>
                  <a:cubicBezTo>
                    <a:pt x="1614591" y="493430"/>
                    <a:pt x="1615228" y="495243"/>
                    <a:pt x="1616502" y="496512"/>
                  </a:cubicBezTo>
                  <a:cubicBezTo>
                    <a:pt x="1617775" y="497782"/>
                    <a:pt x="1619368" y="498689"/>
                    <a:pt x="1620960" y="498689"/>
                  </a:cubicBezTo>
                  <a:lnTo>
                    <a:pt x="1626534" y="498689"/>
                  </a:lnTo>
                  <a:lnTo>
                    <a:pt x="1626534" y="531874"/>
                  </a:lnTo>
                  <a:cubicBezTo>
                    <a:pt x="1626534" y="533687"/>
                    <a:pt x="1627171" y="535682"/>
                    <a:pt x="1628445" y="536952"/>
                  </a:cubicBezTo>
                  <a:cubicBezTo>
                    <a:pt x="1629719" y="538221"/>
                    <a:pt x="1631311" y="539128"/>
                    <a:pt x="1632904" y="539128"/>
                  </a:cubicBezTo>
                  <a:lnTo>
                    <a:pt x="1776066" y="539128"/>
                  </a:lnTo>
                  <a:lnTo>
                    <a:pt x="1776066" y="550371"/>
                  </a:lnTo>
                  <a:cubicBezTo>
                    <a:pt x="1776066" y="552366"/>
                    <a:pt x="1776703" y="554179"/>
                    <a:pt x="1777977" y="555448"/>
                  </a:cubicBezTo>
                  <a:cubicBezTo>
                    <a:pt x="1779091" y="556899"/>
                    <a:pt x="1780843" y="557624"/>
                    <a:pt x="1782435" y="557624"/>
                  </a:cubicBezTo>
                  <a:lnTo>
                    <a:pt x="1809029" y="557624"/>
                  </a:lnTo>
                  <a:lnTo>
                    <a:pt x="1809029" y="567417"/>
                  </a:lnTo>
                  <a:cubicBezTo>
                    <a:pt x="1809029" y="569230"/>
                    <a:pt x="1809666" y="571225"/>
                    <a:pt x="1810940" y="572494"/>
                  </a:cubicBezTo>
                  <a:cubicBezTo>
                    <a:pt x="1812214" y="573764"/>
                    <a:pt x="1813807" y="574671"/>
                    <a:pt x="1815399" y="574671"/>
                  </a:cubicBezTo>
                  <a:lnTo>
                    <a:pt x="1818425" y="574671"/>
                  </a:lnTo>
                  <a:lnTo>
                    <a:pt x="1818425" y="567417"/>
                  </a:lnTo>
                  <a:lnTo>
                    <a:pt x="1812055" y="567417"/>
                  </a:lnTo>
                  <a:lnTo>
                    <a:pt x="1812055" y="589178"/>
                  </a:lnTo>
                  <a:cubicBezTo>
                    <a:pt x="1812055" y="591173"/>
                    <a:pt x="1812692" y="592986"/>
                    <a:pt x="1813966" y="594255"/>
                  </a:cubicBezTo>
                  <a:cubicBezTo>
                    <a:pt x="1815081" y="595706"/>
                    <a:pt x="1816832" y="596431"/>
                    <a:pt x="1818425" y="596431"/>
                  </a:cubicBezTo>
                  <a:lnTo>
                    <a:pt x="1928623" y="596431"/>
                  </a:lnTo>
                  <a:lnTo>
                    <a:pt x="1928623" y="609851"/>
                  </a:lnTo>
                  <a:cubicBezTo>
                    <a:pt x="1928623" y="611664"/>
                    <a:pt x="1929260" y="613659"/>
                    <a:pt x="1930534" y="614928"/>
                  </a:cubicBezTo>
                  <a:cubicBezTo>
                    <a:pt x="1931808" y="616198"/>
                    <a:pt x="1933400" y="617104"/>
                    <a:pt x="1934993" y="617104"/>
                  </a:cubicBezTo>
                  <a:lnTo>
                    <a:pt x="2149974" y="617104"/>
                  </a:lnTo>
                  <a:lnTo>
                    <a:pt x="2149974" y="629980"/>
                  </a:lnTo>
                  <a:cubicBezTo>
                    <a:pt x="2149974" y="631974"/>
                    <a:pt x="2150611" y="633788"/>
                    <a:pt x="2151885" y="635057"/>
                  </a:cubicBezTo>
                  <a:cubicBezTo>
                    <a:pt x="2153159" y="636508"/>
                    <a:pt x="2154752" y="637233"/>
                    <a:pt x="2156503" y="637233"/>
                  </a:cubicBezTo>
                  <a:lnTo>
                    <a:pt x="2168128" y="637233"/>
                  </a:lnTo>
                  <a:lnTo>
                    <a:pt x="2168128" y="653373"/>
                  </a:lnTo>
                  <a:cubicBezTo>
                    <a:pt x="2168128" y="655367"/>
                    <a:pt x="2168765" y="657181"/>
                    <a:pt x="2170039" y="658450"/>
                  </a:cubicBezTo>
                  <a:cubicBezTo>
                    <a:pt x="2171154" y="659901"/>
                    <a:pt x="2172905" y="660626"/>
                    <a:pt x="2174498" y="660626"/>
                  </a:cubicBezTo>
                  <a:lnTo>
                    <a:pt x="2224979" y="660626"/>
                  </a:lnTo>
                  <a:lnTo>
                    <a:pt x="2224979" y="672051"/>
                  </a:lnTo>
                  <a:cubicBezTo>
                    <a:pt x="2224979" y="674046"/>
                    <a:pt x="2225616" y="675859"/>
                    <a:pt x="2226890" y="677128"/>
                  </a:cubicBezTo>
                  <a:cubicBezTo>
                    <a:pt x="2228005" y="678579"/>
                    <a:pt x="2229756" y="679304"/>
                    <a:pt x="2231349" y="679304"/>
                  </a:cubicBezTo>
                  <a:lnTo>
                    <a:pt x="2344572" y="679304"/>
                  </a:lnTo>
                  <a:lnTo>
                    <a:pt x="2344572" y="698345"/>
                  </a:lnTo>
                  <a:cubicBezTo>
                    <a:pt x="2344572" y="700340"/>
                    <a:pt x="2345209" y="702153"/>
                    <a:pt x="2346483" y="703423"/>
                  </a:cubicBezTo>
                  <a:cubicBezTo>
                    <a:pt x="2347598" y="704874"/>
                    <a:pt x="2349350" y="705599"/>
                    <a:pt x="2350942" y="705599"/>
                  </a:cubicBezTo>
                  <a:lnTo>
                    <a:pt x="2404449" y="705599"/>
                  </a:lnTo>
                  <a:lnTo>
                    <a:pt x="2404449" y="719018"/>
                  </a:lnTo>
                  <a:cubicBezTo>
                    <a:pt x="2404449" y="721013"/>
                    <a:pt x="2405086" y="722826"/>
                    <a:pt x="2406360" y="724096"/>
                  </a:cubicBezTo>
                  <a:cubicBezTo>
                    <a:pt x="2407634" y="725546"/>
                    <a:pt x="2409226" y="726272"/>
                    <a:pt x="2410818" y="726272"/>
                  </a:cubicBezTo>
                  <a:lnTo>
                    <a:pt x="2434387" y="726272"/>
                  </a:lnTo>
                  <a:lnTo>
                    <a:pt x="2434387" y="738422"/>
                  </a:lnTo>
                  <a:cubicBezTo>
                    <a:pt x="2434387" y="740417"/>
                    <a:pt x="2435024" y="742230"/>
                    <a:pt x="2436298" y="743499"/>
                  </a:cubicBezTo>
                  <a:cubicBezTo>
                    <a:pt x="2437572" y="744950"/>
                    <a:pt x="2439164" y="745675"/>
                    <a:pt x="2440757" y="745675"/>
                  </a:cubicBezTo>
                  <a:lnTo>
                    <a:pt x="2772465" y="745675"/>
                  </a:lnTo>
                  <a:lnTo>
                    <a:pt x="2772465" y="761996"/>
                  </a:lnTo>
                  <a:cubicBezTo>
                    <a:pt x="2772465" y="763991"/>
                    <a:pt x="2773102" y="765804"/>
                    <a:pt x="2774376" y="767074"/>
                  </a:cubicBezTo>
                  <a:cubicBezTo>
                    <a:pt x="2775491" y="768524"/>
                    <a:pt x="2777242" y="769250"/>
                    <a:pt x="2778835" y="769250"/>
                  </a:cubicBezTo>
                  <a:lnTo>
                    <a:pt x="2799377" y="769250"/>
                  </a:lnTo>
                  <a:lnTo>
                    <a:pt x="2799377" y="785570"/>
                  </a:lnTo>
                  <a:cubicBezTo>
                    <a:pt x="2799377" y="787565"/>
                    <a:pt x="2800015" y="789379"/>
                    <a:pt x="2801289" y="790648"/>
                  </a:cubicBezTo>
                  <a:cubicBezTo>
                    <a:pt x="2802562" y="792099"/>
                    <a:pt x="2804155" y="792824"/>
                    <a:pt x="2805747" y="792824"/>
                  </a:cubicBezTo>
                  <a:lnTo>
                    <a:pt x="2838233" y="792824"/>
                  </a:lnTo>
                  <a:lnTo>
                    <a:pt x="2838233" y="803161"/>
                  </a:lnTo>
                  <a:cubicBezTo>
                    <a:pt x="2838233" y="805155"/>
                    <a:pt x="2838870" y="806969"/>
                    <a:pt x="2840144" y="808238"/>
                  </a:cubicBezTo>
                  <a:cubicBezTo>
                    <a:pt x="2841418" y="809508"/>
                    <a:pt x="2843011" y="810414"/>
                    <a:pt x="2844603" y="810414"/>
                  </a:cubicBezTo>
                  <a:lnTo>
                    <a:pt x="2853202" y="810414"/>
                  </a:lnTo>
                  <a:lnTo>
                    <a:pt x="2853202" y="825103"/>
                  </a:lnTo>
                  <a:cubicBezTo>
                    <a:pt x="2853202" y="827098"/>
                    <a:pt x="2853840" y="828911"/>
                    <a:pt x="2855113" y="830180"/>
                  </a:cubicBezTo>
                  <a:cubicBezTo>
                    <a:pt x="2856228" y="831450"/>
                    <a:pt x="2857980" y="832357"/>
                    <a:pt x="2859572" y="832357"/>
                  </a:cubicBezTo>
                  <a:lnTo>
                    <a:pt x="3047641" y="832357"/>
                  </a:lnTo>
                  <a:lnTo>
                    <a:pt x="3047641" y="849403"/>
                  </a:lnTo>
                  <a:cubicBezTo>
                    <a:pt x="3047641" y="851397"/>
                    <a:pt x="3048278" y="853211"/>
                    <a:pt x="3049552" y="854480"/>
                  </a:cubicBezTo>
                  <a:cubicBezTo>
                    <a:pt x="3050667" y="855931"/>
                    <a:pt x="3052419" y="856656"/>
                    <a:pt x="3054011" y="856656"/>
                  </a:cubicBezTo>
                  <a:lnTo>
                    <a:pt x="3092389" y="856656"/>
                  </a:lnTo>
                  <a:lnTo>
                    <a:pt x="3092389" y="869713"/>
                  </a:lnTo>
                  <a:cubicBezTo>
                    <a:pt x="3092389" y="871708"/>
                    <a:pt x="3093026" y="873521"/>
                    <a:pt x="3094300" y="874790"/>
                  </a:cubicBezTo>
                  <a:cubicBezTo>
                    <a:pt x="3095574" y="876060"/>
                    <a:pt x="3097167" y="876966"/>
                    <a:pt x="3098759" y="876966"/>
                  </a:cubicBezTo>
                  <a:lnTo>
                    <a:pt x="3158158" y="876966"/>
                  </a:lnTo>
                  <a:lnTo>
                    <a:pt x="3158158" y="890386"/>
                  </a:lnTo>
                  <a:cubicBezTo>
                    <a:pt x="3158158" y="892199"/>
                    <a:pt x="3158795" y="894194"/>
                    <a:pt x="3160069" y="895463"/>
                  </a:cubicBezTo>
                  <a:cubicBezTo>
                    <a:pt x="3161343" y="896914"/>
                    <a:pt x="3162935" y="897639"/>
                    <a:pt x="3164528" y="897639"/>
                  </a:cubicBezTo>
                  <a:lnTo>
                    <a:pt x="3238895" y="897639"/>
                  </a:lnTo>
                  <a:lnTo>
                    <a:pt x="3238895" y="914504"/>
                  </a:lnTo>
                  <a:cubicBezTo>
                    <a:pt x="3238895" y="916318"/>
                    <a:pt x="3239532" y="918312"/>
                    <a:pt x="3240806" y="919582"/>
                  </a:cubicBezTo>
                  <a:cubicBezTo>
                    <a:pt x="3241921" y="921032"/>
                    <a:pt x="3243673" y="921758"/>
                    <a:pt x="3245265" y="921758"/>
                  </a:cubicBezTo>
                  <a:lnTo>
                    <a:pt x="3277751" y="921758"/>
                  </a:lnTo>
                  <a:lnTo>
                    <a:pt x="3277751" y="937534"/>
                  </a:lnTo>
                  <a:cubicBezTo>
                    <a:pt x="3277751" y="939529"/>
                    <a:pt x="3278388" y="941343"/>
                    <a:pt x="3279662" y="942612"/>
                  </a:cubicBezTo>
                  <a:cubicBezTo>
                    <a:pt x="3280936" y="943881"/>
                    <a:pt x="3282529" y="944788"/>
                    <a:pt x="3284121" y="944788"/>
                  </a:cubicBezTo>
                  <a:lnTo>
                    <a:pt x="3487159" y="944788"/>
                  </a:lnTo>
                  <a:lnTo>
                    <a:pt x="3487159" y="964736"/>
                  </a:lnTo>
                  <a:cubicBezTo>
                    <a:pt x="3487159" y="966730"/>
                    <a:pt x="3487796" y="968544"/>
                    <a:pt x="3489070" y="969813"/>
                  </a:cubicBezTo>
                  <a:cubicBezTo>
                    <a:pt x="3490344" y="971083"/>
                    <a:pt x="3491936" y="971989"/>
                    <a:pt x="3493529" y="971989"/>
                  </a:cubicBezTo>
                  <a:lnTo>
                    <a:pt x="4019676" y="971989"/>
                  </a:lnTo>
                  <a:lnTo>
                    <a:pt x="4019676" y="990486"/>
                  </a:lnTo>
                  <a:cubicBezTo>
                    <a:pt x="4019676" y="992481"/>
                    <a:pt x="4020313" y="994294"/>
                    <a:pt x="4021587" y="995564"/>
                  </a:cubicBezTo>
                  <a:cubicBezTo>
                    <a:pt x="4022702" y="996833"/>
                    <a:pt x="4024453" y="997740"/>
                    <a:pt x="4026046" y="997740"/>
                  </a:cubicBezTo>
                  <a:lnTo>
                    <a:pt x="4151213" y="997740"/>
                  </a:lnTo>
                  <a:lnTo>
                    <a:pt x="4151213" y="1016962"/>
                  </a:lnTo>
                  <a:cubicBezTo>
                    <a:pt x="4151213" y="1018775"/>
                    <a:pt x="4151850" y="1020770"/>
                    <a:pt x="4153124" y="1022040"/>
                  </a:cubicBezTo>
                  <a:cubicBezTo>
                    <a:pt x="4154398" y="1023309"/>
                    <a:pt x="4155990" y="1024216"/>
                    <a:pt x="4157583" y="1024216"/>
                  </a:cubicBezTo>
                  <a:lnTo>
                    <a:pt x="5005087" y="1024216"/>
                  </a:lnTo>
                  <a:lnTo>
                    <a:pt x="5005087" y="1009708"/>
                  </a:lnTo>
                  <a:lnTo>
                    <a:pt x="4163953" y="1009708"/>
                  </a:lnTo>
                  <a:lnTo>
                    <a:pt x="4163953" y="990486"/>
                  </a:lnTo>
                  <a:cubicBezTo>
                    <a:pt x="4163953" y="988673"/>
                    <a:pt x="4163316" y="986678"/>
                    <a:pt x="4162041" y="985409"/>
                  </a:cubicBezTo>
                  <a:cubicBezTo>
                    <a:pt x="4160768" y="984139"/>
                    <a:pt x="4159175" y="983232"/>
                    <a:pt x="4157583" y="983232"/>
                  </a:cubicBezTo>
                  <a:lnTo>
                    <a:pt x="4032416" y="983232"/>
                  </a:lnTo>
                  <a:lnTo>
                    <a:pt x="4032416" y="964736"/>
                  </a:lnTo>
                  <a:cubicBezTo>
                    <a:pt x="4032416" y="962741"/>
                    <a:pt x="4031779" y="960928"/>
                    <a:pt x="4030505" y="959658"/>
                  </a:cubicBezTo>
                  <a:cubicBezTo>
                    <a:pt x="4029231" y="958389"/>
                    <a:pt x="4027638" y="957482"/>
                    <a:pt x="4026046" y="957482"/>
                  </a:cubicBezTo>
                  <a:lnTo>
                    <a:pt x="3499899" y="957482"/>
                  </a:lnTo>
                  <a:lnTo>
                    <a:pt x="3499899" y="937534"/>
                  </a:lnTo>
                  <a:cubicBezTo>
                    <a:pt x="3499899" y="935721"/>
                    <a:pt x="3499262" y="933726"/>
                    <a:pt x="3497988" y="932457"/>
                  </a:cubicBezTo>
                  <a:cubicBezTo>
                    <a:pt x="3496873" y="931187"/>
                    <a:pt x="3495121" y="930281"/>
                    <a:pt x="3493529" y="930281"/>
                  </a:cubicBezTo>
                  <a:lnTo>
                    <a:pt x="3290491" y="930281"/>
                  </a:lnTo>
                  <a:lnTo>
                    <a:pt x="3290491" y="914504"/>
                  </a:lnTo>
                  <a:cubicBezTo>
                    <a:pt x="3290491" y="912509"/>
                    <a:pt x="3289854" y="910696"/>
                    <a:pt x="3288580" y="909427"/>
                  </a:cubicBezTo>
                  <a:cubicBezTo>
                    <a:pt x="3287465" y="907976"/>
                    <a:pt x="3285713" y="907250"/>
                    <a:pt x="3284121" y="907250"/>
                  </a:cubicBezTo>
                  <a:lnTo>
                    <a:pt x="3251635" y="907250"/>
                  </a:lnTo>
                  <a:lnTo>
                    <a:pt x="3251635" y="890386"/>
                  </a:lnTo>
                  <a:cubicBezTo>
                    <a:pt x="3251635" y="888572"/>
                    <a:pt x="3250998" y="886578"/>
                    <a:pt x="3249724" y="885308"/>
                  </a:cubicBezTo>
                  <a:cubicBezTo>
                    <a:pt x="3248609" y="884039"/>
                    <a:pt x="3246857" y="883132"/>
                    <a:pt x="3245265" y="883132"/>
                  </a:cubicBezTo>
                  <a:lnTo>
                    <a:pt x="3170897" y="883132"/>
                  </a:lnTo>
                  <a:lnTo>
                    <a:pt x="3170897" y="869713"/>
                  </a:lnTo>
                  <a:cubicBezTo>
                    <a:pt x="3170897" y="867718"/>
                    <a:pt x="3170260" y="865905"/>
                    <a:pt x="3168986" y="864635"/>
                  </a:cubicBezTo>
                  <a:cubicBezTo>
                    <a:pt x="3167872" y="863366"/>
                    <a:pt x="3166120" y="862459"/>
                    <a:pt x="3164528" y="862459"/>
                  </a:cubicBezTo>
                  <a:lnTo>
                    <a:pt x="3105129" y="862459"/>
                  </a:lnTo>
                  <a:lnTo>
                    <a:pt x="3105129" y="849403"/>
                  </a:lnTo>
                  <a:cubicBezTo>
                    <a:pt x="3105129" y="847589"/>
                    <a:pt x="3104492" y="845594"/>
                    <a:pt x="3103218" y="844325"/>
                  </a:cubicBezTo>
                  <a:cubicBezTo>
                    <a:pt x="3102103" y="843056"/>
                    <a:pt x="3100352" y="842149"/>
                    <a:pt x="3098759" y="842149"/>
                  </a:cubicBezTo>
                  <a:lnTo>
                    <a:pt x="3060222" y="842149"/>
                  </a:lnTo>
                  <a:lnTo>
                    <a:pt x="3060222" y="825103"/>
                  </a:lnTo>
                  <a:cubicBezTo>
                    <a:pt x="3060222" y="823108"/>
                    <a:pt x="3059585" y="821295"/>
                    <a:pt x="3058311" y="820025"/>
                  </a:cubicBezTo>
                  <a:cubicBezTo>
                    <a:pt x="3057196" y="818756"/>
                    <a:pt x="3055444" y="817849"/>
                    <a:pt x="3053852" y="817849"/>
                  </a:cubicBezTo>
                  <a:lnTo>
                    <a:pt x="2865783" y="817849"/>
                  </a:lnTo>
                  <a:lnTo>
                    <a:pt x="2865783" y="803161"/>
                  </a:lnTo>
                  <a:cubicBezTo>
                    <a:pt x="2865783" y="801347"/>
                    <a:pt x="2865146" y="799352"/>
                    <a:pt x="2863872" y="798083"/>
                  </a:cubicBezTo>
                  <a:cubicBezTo>
                    <a:pt x="2862757" y="796814"/>
                    <a:pt x="2861006" y="795907"/>
                    <a:pt x="2859413" y="795907"/>
                  </a:cubicBezTo>
                  <a:lnTo>
                    <a:pt x="2850814" y="795907"/>
                  </a:lnTo>
                  <a:lnTo>
                    <a:pt x="2850814" y="785570"/>
                  </a:lnTo>
                  <a:cubicBezTo>
                    <a:pt x="2850814" y="783757"/>
                    <a:pt x="2850177" y="781762"/>
                    <a:pt x="2848903" y="780493"/>
                  </a:cubicBezTo>
                  <a:cubicBezTo>
                    <a:pt x="2847629" y="779042"/>
                    <a:pt x="2846036" y="778317"/>
                    <a:pt x="2844444" y="778317"/>
                  </a:cubicBezTo>
                  <a:lnTo>
                    <a:pt x="2811958" y="778317"/>
                  </a:lnTo>
                  <a:lnTo>
                    <a:pt x="2811958" y="761996"/>
                  </a:lnTo>
                  <a:cubicBezTo>
                    <a:pt x="2811958" y="760001"/>
                    <a:pt x="2811321" y="758188"/>
                    <a:pt x="2810047" y="756919"/>
                  </a:cubicBezTo>
                  <a:cubicBezTo>
                    <a:pt x="2808932" y="755468"/>
                    <a:pt x="2807181" y="754742"/>
                    <a:pt x="2805588" y="754742"/>
                  </a:cubicBezTo>
                  <a:lnTo>
                    <a:pt x="2785045" y="754742"/>
                  </a:lnTo>
                  <a:lnTo>
                    <a:pt x="2785045" y="738422"/>
                  </a:lnTo>
                  <a:cubicBezTo>
                    <a:pt x="2785045" y="736608"/>
                    <a:pt x="2784409" y="734614"/>
                    <a:pt x="2783135" y="733344"/>
                  </a:cubicBezTo>
                  <a:cubicBezTo>
                    <a:pt x="2781861" y="732075"/>
                    <a:pt x="2780268" y="731168"/>
                    <a:pt x="2778676" y="731168"/>
                  </a:cubicBezTo>
                  <a:lnTo>
                    <a:pt x="2446967" y="731168"/>
                  </a:lnTo>
                  <a:lnTo>
                    <a:pt x="2446967" y="719018"/>
                  </a:lnTo>
                  <a:cubicBezTo>
                    <a:pt x="2446967" y="717205"/>
                    <a:pt x="2446330" y="715210"/>
                    <a:pt x="2445056" y="713941"/>
                  </a:cubicBezTo>
                  <a:cubicBezTo>
                    <a:pt x="2443941" y="712490"/>
                    <a:pt x="2442190" y="711765"/>
                    <a:pt x="2440597" y="711765"/>
                  </a:cubicBezTo>
                  <a:lnTo>
                    <a:pt x="2417029" y="711765"/>
                  </a:lnTo>
                  <a:lnTo>
                    <a:pt x="2417029" y="698345"/>
                  </a:lnTo>
                  <a:cubicBezTo>
                    <a:pt x="2417029" y="696351"/>
                    <a:pt x="2416392" y="694537"/>
                    <a:pt x="2415118" y="693268"/>
                  </a:cubicBezTo>
                  <a:cubicBezTo>
                    <a:pt x="2414003" y="691998"/>
                    <a:pt x="2412252" y="691092"/>
                    <a:pt x="2410659" y="691092"/>
                  </a:cubicBezTo>
                  <a:lnTo>
                    <a:pt x="2357153" y="691092"/>
                  </a:lnTo>
                  <a:lnTo>
                    <a:pt x="2357153" y="672051"/>
                  </a:lnTo>
                  <a:cubicBezTo>
                    <a:pt x="2357153" y="670056"/>
                    <a:pt x="2356516" y="668243"/>
                    <a:pt x="2355242" y="666973"/>
                  </a:cubicBezTo>
                  <a:cubicBezTo>
                    <a:pt x="2354127" y="665523"/>
                    <a:pt x="2352375" y="664797"/>
                    <a:pt x="2350783" y="664797"/>
                  </a:cubicBezTo>
                  <a:lnTo>
                    <a:pt x="2237559" y="664797"/>
                  </a:lnTo>
                  <a:lnTo>
                    <a:pt x="2237559" y="653373"/>
                  </a:lnTo>
                  <a:cubicBezTo>
                    <a:pt x="2237559" y="651559"/>
                    <a:pt x="2236922" y="649564"/>
                    <a:pt x="2235648" y="648295"/>
                  </a:cubicBezTo>
                  <a:cubicBezTo>
                    <a:pt x="2234534" y="646844"/>
                    <a:pt x="2232782" y="646119"/>
                    <a:pt x="2231189" y="646119"/>
                  </a:cubicBezTo>
                  <a:lnTo>
                    <a:pt x="2180709" y="646119"/>
                  </a:lnTo>
                  <a:lnTo>
                    <a:pt x="2180709" y="629980"/>
                  </a:lnTo>
                  <a:cubicBezTo>
                    <a:pt x="2180709" y="627985"/>
                    <a:pt x="2180071" y="626171"/>
                    <a:pt x="2178798" y="624902"/>
                  </a:cubicBezTo>
                  <a:cubicBezTo>
                    <a:pt x="2177683" y="623451"/>
                    <a:pt x="2175931" y="622726"/>
                    <a:pt x="2174339" y="622726"/>
                  </a:cubicBezTo>
                  <a:lnTo>
                    <a:pt x="2162714" y="622726"/>
                  </a:lnTo>
                  <a:lnTo>
                    <a:pt x="2162714" y="609851"/>
                  </a:lnTo>
                  <a:cubicBezTo>
                    <a:pt x="2162714" y="607856"/>
                    <a:pt x="2162077" y="606043"/>
                    <a:pt x="2160803" y="604773"/>
                  </a:cubicBezTo>
                  <a:cubicBezTo>
                    <a:pt x="2159529" y="603504"/>
                    <a:pt x="2157936" y="602597"/>
                    <a:pt x="2156344" y="602597"/>
                  </a:cubicBezTo>
                  <a:lnTo>
                    <a:pt x="1941363" y="602597"/>
                  </a:lnTo>
                  <a:lnTo>
                    <a:pt x="1941363" y="589178"/>
                  </a:lnTo>
                  <a:cubicBezTo>
                    <a:pt x="1941363" y="587364"/>
                    <a:pt x="1940726" y="585370"/>
                    <a:pt x="1939452" y="584100"/>
                  </a:cubicBezTo>
                  <a:cubicBezTo>
                    <a:pt x="1938337" y="582650"/>
                    <a:pt x="1936585" y="581924"/>
                    <a:pt x="1934993" y="581924"/>
                  </a:cubicBezTo>
                  <a:lnTo>
                    <a:pt x="1824795" y="581924"/>
                  </a:lnTo>
                  <a:lnTo>
                    <a:pt x="1824795" y="567417"/>
                  </a:lnTo>
                  <a:cubicBezTo>
                    <a:pt x="1824795" y="565422"/>
                    <a:pt x="1824158" y="563609"/>
                    <a:pt x="1822884" y="562339"/>
                  </a:cubicBezTo>
                  <a:cubicBezTo>
                    <a:pt x="1821610" y="561070"/>
                    <a:pt x="1820017" y="560163"/>
                    <a:pt x="1818425" y="560163"/>
                  </a:cubicBezTo>
                  <a:lnTo>
                    <a:pt x="1815399" y="560163"/>
                  </a:lnTo>
                  <a:lnTo>
                    <a:pt x="1815399" y="567417"/>
                  </a:lnTo>
                  <a:lnTo>
                    <a:pt x="1821769" y="567417"/>
                  </a:lnTo>
                  <a:lnTo>
                    <a:pt x="1821769" y="550371"/>
                  </a:lnTo>
                  <a:cubicBezTo>
                    <a:pt x="1821769" y="548376"/>
                    <a:pt x="1821132" y="546563"/>
                    <a:pt x="1819858" y="545293"/>
                  </a:cubicBezTo>
                  <a:cubicBezTo>
                    <a:pt x="1818584" y="544024"/>
                    <a:pt x="1816992" y="543117"/>
                    <a:pt x="1815399" y="543117"/>
                  </a:cubicBezTo>
                  <a:lnTo>
                    <a:pt x="1788805" y="543117"/>
                  </a:lnTo>
                  <a:lnTo>
                    <a:pt x="1788805" y="532055"/>
                  </a:lnTo>
                  <a:cubicBezTo>
                    <a:pt x="1788805" y="530061"/>
                    <a:pt x="1788168" y="528247"/>
                    <a:pt x="1786894" y="526978"/>
                  </a:cubicBezTo>
                  <a:cubicBezTo>
                    <a:pt x="1785780" y="525708"/>
                    <a:pt x="1784028" y="524802"/>
                    <a:pt x="1782435" y="524802"/>
                  </a:cubicBezTo>
                  <a:lnTo>
                    <a:pt x="1639274" y="524802"/>
                  </a:lnTo>
                  <a:lnTo>
                    <a:pt x="1639274" y="491616"/>
                  </a:lnTo>
                  <a:cubicBezTo>
                    <a:pt x="1639274" y="489803"/>
                    <a:pt x="1638637" y="487808"/>
                    <a:pt x="1637363" y="486539"/>
                  </a:cubicBezTo>
                  <a:cubicBezTo>
                    <a:pt x="1636248" y="485269"/>
                    <a:pt x="1634496" y="484363"/>
                    <a:pt x="1632904" y="484363"/>
                  </a:cubicBezTo>
                  <a:lnTo>
                    <a:pt x="1627330" y="484363"/>
                  </a:lnTo>
                  <a:lnTo>
                    <a:pt x="1627330" y="472575"/>
                  </a:lnTo>
                  <a:cubicBezTo>
                    <a:pt x="1627330" y="470581"/>
                    <a:pt x="1626693" y="468767"/>
                    <a:pt x="1625419" y="467498"/>
                  </a:cubicBezTo>
                  <a:cubicBezTo>
                    <a:pt x="1624145" y="466228"/>
                    <a:pt x="1622553" y="465322"/>
                    <a:pt x="1620960" y="465322"/>
                  </a:cubicBezTo>
                  <a:lnTo>
                    <a:pt x="1612361" y="465322"/>
                  </a:lnTo>
                  <a:lnTo>
                    <a:pt x="1612361" y="451902"/>
                  </a:lnTo>
                  <a:cubicBezTo>
                    <a:pt x="1612361" y="449908"/>
                    <a:pt x="1611724" y="448094"/>
                    <a:pt x="1610450" y="446825"/>
                  </a:cubicBezTo>
                  <a:cubicBezTo>
                    <a:pt x="1609335" y="445556"/>
                    <a:pt x="1607584" y="444649"/>
                    <a:pt x="1605991" y="444649"/>
                  </a:cubicBezTo>
                  <a:lnTo>
                    <a:pt x="1600099" y="444649"/>
                  </a:lnTo>
                  <a:lnTo>
                    <a:pt x="1600099" y="451902"/>
                  </a:lnTo>
                  <a:lnTo>
                    <a:pt x="1606469" y="451902"/>
                  </a:lnTo>
                  <a:lnTo>
                    <a:pt x="1606469" y="409469"/>
                  </a:lnTo>
                  <a:cubicBezTo>
                    <a:pt x="1606469" y="407655"/>
                    <a:pt x="1605832" y="405660"/>
                    <a:pt x="1604558" y="404391"/>
                  </a:cubicBezTo>
                  <a:cubicBezTo>
                    <a:pt x="1603443" y="402940"/>
                    <a:pt x="1601692" y="402215"/>
                    <a:pt x="1600099" y="402215"/>
                  </a:cubicBezTo>
                  <a:lnTo>
                    <a:pt x="1582582" y="402215"/>
                  </a:lnTo>
                  <a:lnTo>
                    <a:pt x="1582582" y="392423"/>
                  </a:lnTo>
                  <a:cubicBezTo>
                    <a:pt x="1582582" y="390428"/>
                    <a:pt x="1581945" y="388614"/>
                    <a:pt x="1580671" y="387345"/>
                  </a:cubicBezTo>
                  <a:cubicBezTo>
                    <a:pt x="1579557" y="386076"/>
                    <a:pt x="1577805" y="385169"/>
                    <a:pt x="1576212" y="385169"/>
                  </a:cubicBezTo>
                  <a:lnTo>
                    <a:pt x="1510763" y="385169"/>
                  </a:lnTo>
                  <a:lnTo>
                    <a:pt x="1510763" y="351258"/>
                  </a:lnTo>
                  <a:cubicBezTo>
                    <a:pt x="1510763" y="349445"/>
                    <a:pt x="1510126" y="347450"/>
                    <a:pt x="1508852" y="346181"/>
                  </a:cubicBezTo>
                  <a:cubicBezTo>
                    <a:pt x="1507737" y="344911"/>
                    <a:pt x="1505985" y="344004"/>
                    <a:pt x="1504393" y="344004"/>
                  </a:cubicBezTo>
                  <a:lnTo>
                    <a:pt x="1486876" y="344004"/>
                  </a:lnTo>
                  <a:lnTo>
                    <a:pt x="1486876" y="330041"/>
                  </a:lnTo>
                  <a:cubicBezTo>
                    <a:pt x="1486876" y="328046"/>
                    <a:pt x="1486239" y="326233"/>
                    <a:pt x="1484965" y="324964"/>
                  </a:cubicBezTo>
                  <a:cubicBezTo>
                    <a:pt x="1483850" y="323513"/>
                    <a:pt x="1482098" y="322787"/>
                    <a:pt x="1480506" y="322787"/>
                  </a:cubicBezTo>
                  <a:lnTo>
                    <a:pt x="1471907" y="322787"/>
                  </a:lnTo>
                  <a:lnTo>
                    <a:pt x="1471907" y="308643"/>
                  </a:lnTo>
                  <a:cubicBezTo>
                    <a:pt x="1471907" y="306829"/>
                    <a:pt x="1471270" y="304835"/>
                    <a:pt x="1469996" y="303565"/>
                  </a:cubicBezTo>
                  <a:cubicBezTo>
                    <a:pt x="1468881" y="302296"/>
                    <a:pt x="1467129" y="301389"/>
                    <a:pt x="1465537" y="301389"/>
                  </a:cubicBezTo>
                  <a:lnTo>
                    <a:pt x="1346262" y="301389"/>
                  </a:lnTo>
                  <a:lnTo>
                    <a:pt x="1346262" y="291959"/>
                  </a:lnTo>
                  <a:cubicBezTo>
                    <a:pt x="1346262" y="289965"/>
                    <a:pt x="1345625" y="288151"/>
                    <a:pt x="1344351" y="286882"/>
                  </a:cubicBezTo>
                  <a:cubicBezTo>
                    <a:pt x="1343236" y="285613"/>
                    <a:pt x="1341484" y="284706"/>
                    <a:pt x="1339892" y="284706"/>
                  </a:cubicBezTo>
                  <a:lnTo>
                    <a:pt x="1256447" y="284706"/>
                  </a:lnTo>
                  <a:lnTo>
                    <a:pt x="1256447" y="272737"/>
                  </a:lnTo>
                  <a:cubicBezTo>
                    <a:pt x="1256447" y="270924"/>
                    <a:pt x="1255810" y="268929"/>
                    <a:pt x="1254536" y="267660"/>
                  </a:cubicBezTo>
                  <a:cubicBezTo>
                    <a:pt x="1253422" y="266390"/>
                    <a:pt x="1251670" y="265484"/>
                    <a:pt x="1250078" y="265484"/>
                  </a:cubicBezTo>
                  <a:lnTo>
                    <a:pt x="1217591" y="265484"/>
                  </a:lnTo>
                  <a:lnTo>
                    <a:pt x="1217591" y="252064"/>
                  </a:lnTo>
                  <a:cubicBezTo>
                    <a:pt x="1217591" y="250251"/>
                    <a:pt x="1216954" y="248256"/>
                    <a:pt x="1215680" y="246987"/>
                  </a:cubicBezTo>
                  <a:cubicBezTo>
                    <a:pt x="1214566" y="245717"/>
                    <a:pt x="1212814" y="244811"/>
                    <a:pt x="1211222" y="244811"/>
                  </a:cubicBezTo>
                  <a:lnTo>
                    <a:pt x="1187653" y="244811"/>
                  </a:lnTo>
                  <a:lnTo>
                    <a:pt x="1187653" y="233205"/>
                  </a:lnTo>
                  <a:cubicBezTo>
                    <a:pt x="1187653" y="231210"/>
                    <a:pt x="1187016" y="229397"/>
                    <a:pt x="1185742" y="228127"/>
                  </a:cubicBezTo>
                  <a:cubicBezTo>
                    <a:pt x="1184628" y="226858"/>
                    <a:pt x="1182876" y="225951"/>
                    <a:pt x="1181283" y="225951"/>
                  </a:cubicBezTo>
                  <a:lnTo>
                    <a:pt x="1160741" y="225951"/>
                  </a:lnTo>
                  <a:lnTo>
                    <a:pt x="1160741" y="215977"/>
                  </a:lnTo>
                  <a:cubicBezTo>
                    <a:pt x="1160741" y="214164"/>
                    <a:pt x="1160104" y="212169"/>
                    <a:pt x="1158830" y="210900"/>
                  </a:cubicBezTo>
                  <a:cubicBezTo>
                    <a:pt x="1157556" y="209631"/>
                    <a:pt x="1155963" y="208724"/>
                    <a:pt x="1154371" y="208724"/>
                  </a:cubicBezTo>
                  <a:lnTo>
                    <a:pt x="1109782" y="208724"/>
                  </a:lnTo>
                  <a:lnTo>
                    <a:pt x="1109782" y="198569"/>
                  </a:lnTo>
                  <a:cubicBezTo>
                    <a:pt x="1109782" y="196574"/>
                    <a:pt x="1109145" y="194761"/>
                    <a:pt x="1107871" y="193491"/>
                  </a:cubicBezTo>
                  <a:cubicBezTo>
                    <a:pt x="1106757" y="192040"/>
                    <a:pt x="1105005" y="191315"/>
                    <a:pt x="1103412" y="191315"/>
                  </a:cubicBezTo>
                  <a:lnTo>
                    <a:pt x="1085895" y="191315"/>
                  </a:lnTo>
                  <a:lnTo>
                    <a:pt x="1085895" y="180435"/>
                  </a:lnTo>
                  <a:cubicBezTo>
                    <a:pt x="1085895" y="178621"/>
                    <a:pt x="1085258" y="176626"/>
                    <a:pt x="1083984" y="175357"/>
                  </a:cubicBezTo>
                  <a:cubicBezTo>
                    <a:pt x="1082870" y="174088"/>
                    <a:pt x="1081118" y="173181"/>
                    <a:pt x="1079526" y="173181"/>
                  </a:cubicBezTo>
                  <a:lnTo>
                    <a:pt x="1067901" y="173181"/>
                  </a:lnTo>
                  <a:lnTo>
                    <a:pt x="1067901" y="164658"/>
                  </a:lnTo>
                  <a:cubicBezTo>
                    <a:pt x="1067901" y="162844"/>
                    <a:pt x="1067264" y="160850"/>
                    <a:pt x="1065990" y="159580"/>
                  </a:cubicBezTo>
                  <a:cubicBezTo>
                    <a:pt x="1064875" y="158130"/>
                    <a:pt x="1063123" y="157404"/>
                    <a:pt x="1061531" y="157404"/>
                  </a:cubicBezTo>
                  <a:lnTo>
                    <a:pt x="1029045" y="157404"/>
                  </a:lnTo>
                  <a:lnTo>
                    <a:pt x="1029045" y="141265"/>
                  </a:lnTo>
                  <a:cubicBezTo>
                    <a:pt x="1029045" y="139451"/>
                    <a:pt x="1028408" y="137457"/>
                    <a:pt x="1027134" y="136187"/>
                  </a:cubicBezTo>
                  <a:cubicBezTo>
                    <a:pt x="1026019" y="134737"/>
                    <a:pt x="1024267" y="134011"/>
                    <a:pt x="1022675" y="134011"/>
                  </a:cubicBezTo>
                  <a:lnTo>
                    <a:pt x="993214" y="134011"/>
                  </a:lnTo>
                  <a:lnTo>
                    <a:pt x="993214" y="124400"/>
                  </a:lnTo>
                  <a:cubicBezTo>
                    <a:pt x="993214" y="122405"/>
                    <a:pt x="992578" y="120592"/>
                    <a:pt x="991304" y="119323"/>
                  </a:cubicBezTo>
                  <a:cubicBezTo>
                    <a:pt x="990189" y="118053"/>
                    <a:pt x="988437" y="117146"/>
                    <a:pt x="986845" y="117146"/>
                  </a:cubicBezTo>
                  <a:lnTo>
                    <a:pt x="927446" y="117146"/>
                  </a:lnTo>
                  <a:lnTo>
                    <a:pt x="927446" y="102639"/>
                  </a:lnTo>
                  <a:cubicBezTo>
                    <a:pt x="927446" y="100826"/>
                    <a:pt x="926809" y="98831"/>
                    <a:pt x="925535" y="97562"/>
                  </a:cubicBezTo>
                  <a:cubicBezTo>
                    <a:pt x="924420" y="96292"/>
                    <a:pt x="922669" y="95386"/>
                    <a:pt x="921076" y="95386"/>
                  </a:cubicBezTo>
                  <a:lnTo>
                    <a:pt x="867570" y="95386"/>
                  </a:lnTo>
                  <a:lnTo>
                    <a:pt x="867570" y="85412"/>
                  </a:lnTo>
                  <a:cubicBezTo>
                    <a:pt x="867570" y="83417"/>
                    <a:pt x="866933" y="81604"/>
                    <a:pt x="865659" y="80334"/>
                  </a:cubicBezTo>
                  <a:cubicBezTo>
                    <a:pt x="864544" y="78883"/>
                    <a:pt x="862792" y="78158"/>
                    <a:pt x="861200" y="78158"/>
                  </a:cubicBezTo>
                  <a:lnTo>
                    <a:pt x="774889" y="78158"/>
                  </a:lnTo>
                  <a:lnTo>
                    <a:pt x="774889" y="64195"/>
                  </a:lnTo>
                  <a:cubicBezTo>
                    <a:pt x="774889" y="62381"/>
                    <a:pt x="774252" y="60387"/>
                    <a:pt x="772978" y="59117"/>
                  </a:cubicBezTo>
                  <a:cubicBezTo>
                    <a:pt x="771704" y="57848"/>
                    <a:pt x="770111" y="56941"/>
                    <a:pt x="768519" y="56941"/>
                  </a:cubicBezTo>
                  <a:lnTo>
                    <a:pt x="697177" y="56941"/>
                  </a:lnTo>
                  <a:lnTo>
                    <a:pt x="697177" y="46061"/>
                  </a:lnTo>
                  <a:cubicBezTo>
                    <a:pt x="697177" y="44066"/>
                    <a:pt x="696540" y="42253"/>
                    <a:pt x="695266" y="40983"/>
                  </a:cubicBezTo>
                  <a:cubicBezTo>
                    <a:pt x="694151" y="39714"/>
                    <a:pt x="692400" y="38807"/>
                    <a:pt x="690807" y="38807"/>
                  </a:cubicBezTo>
                  <a:lnTo>
                    <a:pt x="445888" y="38807"/>
                  </a:lnTo>
                  <a:lnTo>
                    <a:pt x="445888" y="27564"/>
                  </a:lnTo>
                  <a:cubicBezTo>
                    <a:pt x="445888" y="25569"/>
                    <a:pt x="445251" y="23756"/>
                    <a:pt x="443977" y="22486"/>
                  </a:cubicBezTo>
                  <a:cubicBezTo>
                    <a:pt x="442862" y="21217"/>
                    <a:pt x="441110" y="20310"/>
                    <a:pt x="439518" y="20310"/>
                  </a:cubicBezTo>
                  <a:lnTo>
                    <a:pt x="251449" y="20310"/>
                  </a:lnTo>
                  <a:lnTo>
                    <a:pt x="251449" y="7254"/>
                  </a:lnTo>
                  <a:cubicBezTo>
                    <a:pt x="251449" y="5259"/>
                    <a:pt x="250812" y="3445"/>
                    <a:pt x="249538" y="2176"/>
                  </a:cubicBezTo>
                  <a:cubicBezTo>
                    <a:pt x="248423" y="725"/>
                    <a:pt x="246671" y="0"/>
                    <a:pt x="245079" y="0"/>
                  </a:cubicBezTo>
                  <a:lnTo>
                    <a:pt x="0" y="0"/>
                  </a:lnTo>
                  <a:lnTo>
                    <a:pt x="0" y="14507"/>
                  </a:lnTo>
                </a:path>
              </a:pathLst>
            </a:custGeom>
            <a:solidFill>
              <a:schemeClr val="accent6"/>
            </a:solidFill>
            <a:ln w="158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id="{E3BB439E-3D8A-77CD-EDA6-87D1C63CBA46}"/>
                </a:ext>
              </a:extLst>
            </p:cNvPr>
            <p:cNvSpPr/>
            <p:nvPr/>
          </p:nvSpPr>
          <p:spPr>
            <a:xfrm>
              <a:off x="2177770" y="1762346"/>
              <a:ext cx="4963683" cy="1230400"/>
            </a:xfrm>
            <a:custGeom>
              <a:avLst/>
              <a:gdLst>
                <a:gd name="connsiteX0" fmla="*/ 4963684 w 4963683"/>
                <a:gd name="connsiteY0" fmla="*/ 1230401 h 1230400"/>
                <a:gd name="connsiteX1" fmla="*/ 3685420 w 4963683"/>
                <a:gd name="connsiteY1" fmla="*/ 1230401 h 1230400"/>
                <a:gd name="connsiteX2" fmla="*/ 3680961 w 4963683"/>
                <a:gd name="connsiteY2" fmla="*/ 1228225 h 1230400"/>
                <a:gd name="connsiteX3" fmla="*/ 3679050 w 4963683"/>
                <a:gd name="connsiteY3" fmla="*/ 1223147 h 1230400"/>
                <a:gd name="connsiteX4" fmla="*/ 3679050 w 4963683"/>
                <a:gd name="connsiteY4" fmla="*/ 1210634 h 1230400"/>
                <a:gd name="connsiteX5" fmla="*/ 3577770 w 4963683"/>
                <a:gd name="connsiteY5" fmla="*/ 1210634 h 1230400"/>
                <a:gd name="connsiteX6" fmla="*/ 3573311 w 4963683"/>
                <a:gd name="connsiteY6" fmla="*/ 1208458 h 1230400"/>
                <a:gd name="connsiteX7" fmla="*/ 3571400 w 4963683"/>
                <a:gd name="connsiteY7" fmla="*/ 1203381 h 1230400"/>
                <a:gd name="connsiteX8" fmla="*/ 3571400 w 4963683"/>
                <a:gd name="connsiteY8" fmla="*/ 1189055 h 1230400"/>
                <a:gd name="connsiteX9" fmla="*/ 2704308 w 4963683"/>
                <a:gd name="connsiteY9" fmla="*/ 1189055 h 1230400"/>
                <a:gd name="connsiteX10" fmla="*/ 2699849 w 4963683"/>
                <a:gd name="connsiteY10" fmla="*/ 1186879 h 1230400"/>
                <a:gd name="connsiteX11" fmla="*/ 2697938 w 4963683"/>
                <a:gd name="connsiteY11" fmla="*/ 1181801 h 1230400"/>
                <a:gd name="connsiteX12" fmla="*/ 2697938 w 4963683"/>
                <a:gd name="connsiteY12" fmla="*/ 1170195 h 1230400"/>
                <a:gd name="connsiteX13" fmla="*/ 2189786 w 4963683"/>
                <a:gd name="connsiteY13" fmla="*/ 1170195 h 1230400"/>
                <a:gd name="connsiteX14" fmla="*/ 2185327 w 4963683"/>
                <a:gd name="connsiteY14" fmla="*/ 1168019 h 1230400"/>
                <a:gd name="connsiteX15" fmla="*/ 2183416 w 4963683"/>
                <a:gd name="connsiteY15" fmla="*/ 1162942 h 1230400"/>
                <a:gd name="connsiteX16" fmla="*/ 2183416 w 4963683"/>
                <a:gd name="connsiteY16" fmla="*/ 1150429 h 1230400"/>
                <a:gd name="connsiteX17" fmla="*/ 1983403 w 4963683"/>
                <a:gd name="connsiteY17" fmla="*/ 1150429 h 1230400"/>
                <a:gd name="connsiteX18" fmla="*/ 1978944 w 4963683"/>
                <a:gd name="connsiteY18" fmla="*/ 1148253 h 1230400"/>
                <a:gd name="connsiteX19" fmla="*/ 1977033 w 4963683"/>
                <a:gd name="connsiteY19" fmla="*/ 1143176 h 1230400"/>
                <a:gd name="connsiteX20" fmla="*/ 1977033 w 4963683"/>
                <a:gd name="connsiteY20" fmla="*/ 1130844 h 1230400"/>
                <a:gd name="connsiteX21" fmla="*/ 1836897 w 4963683"/>
                <a:gd name="connsiteY21" fmla="*/ 1130844 h 1230400"/>
                <a:gd name="connsiteX22" fmla="*/ 1832438 w 4963683"/>
                <a:gd name="connsiteY22" fmla="*/ 1128668 h 1230400"/>
                <a:gd name="connsiteX23" fmla="*/ 1830528 w 4963683"/>
                <a:gd name="connsiteY23" fmla="*/ 1123591 h 1230400"/>
                <a:gd name="connsiteX24" fmla="*/ 1830528 w 4963683"/>
                <a:gd name="connsiteY24" fmla="*/ 1107633 h 1230400"/>
                <a:gd name="connsiteX25" fmla="*/ 1651376 w 4963683"/>
                <a:gd name="connsiteY25" fmla="*/ 1107633 h 1230400"/>
                <a:gd name="connsiteX26" fmla="*/ 1646917 w 4963683"/>
                <a:gd name="connsiteY26" fmla="*/ 1105456 h 1230400"/>
                <a:gd name="connsiteX27" fmla="*/ 1645007 w 4963683"/>
                <a:gd name="connsiteY27" fmla="*/ 1100379 h 1230400"/>
                <a:gd name="connsiteX28" fmla="*/ 1645007 w 4963683"/>
                <a:gd name="connsiteY28" fmla="*/ 1088048 h 1230400"/>
                <a:gd name="connsiteX29" fmla="*/ 1633541 w 4963683"/>
                <a:gd name="connsiteY29" fmla="*/ 1088048 h 1230400"/>
                <a:gd name="connsiteX30" fmla="*/ 1629082 w 4963683"/>
                <a:gd name="connsiteY30" fmla="*/ 1085872 h 1230400"/>
                <a:gd name="connsiteX31" fmla="*/ 1627171 w 4963683"/>
                <a:gd name="connsiteY31" fmla="*/ 1080794 h 1230400"/>
                <a:gd name="connsiteX32" fmla="*/ 1627171 w 4963683"/>
                <a:gd name="connsiteY32" fmla="*/ 1066468 h 1230400"/>
                <a:gd name="connsiteX33" fmla="*/ 1609654 w 4963683"/>
                <a:gd name="connsiteY33" fmla="*/ 1066468 h 1230400"/>
                <a:gd name="connsiteX34" fmla="*/ 1605195 w 4963683"/>
                <a:gd name="connsiteY34" fmla="*/ 1064292 h 1230400"/>
                <a:gd name="connsiteX35" fmla="*/ 1603284 w 4963683"/>
                <a:gd name="connsiteY35" fmla="*/ 1059214 h 1230400"/>
                <a:gd name="connsiteX36" fmla="*/ 1603284 w 4963683"/>
                <a:gd name="connsiteY36" fmla="*/ 1049785 h 1230400"/>
                <a:gd name="connsiteX37" fmla="*/ 1594685 w 4963683"/>
                <a:gd name="connsiteY37" fmla="*/ 1049785 h 1230400"/>
                <a:gd name="connsiteX38" fmla="*/ 1590226 w 4963683"/>
                <a:gd name="connsiteY38" fmla="*/ 1047609 h 1230400"/>
                <a:gd name="connsiteX39" fmla="*/ 1588315 w 4963683"/>
                <a:gd name="connsiteY39" fmla="*/ 1042531 h 1230400"/>
                <a:gd name="connsiteX40" fmla="*/ 1588315 w 4963683"/>
                <a:gd name="connsiteY40" fmla="*/ 1031469 h 1230400"/>
                <a:gd name="connsiteX41" fmla="*/ 1475092 w 4963683"/>
                <a:gd name="connsiteY41" fmla="*/ 1031469 h 1230400"/>
                <a:gd name="connsiteX42" fmla="*/ 1470633 w 4963683"/>
                <a:gd name="connsiteY42" fmla="*/ 1029293 h 1230400"/>
                <a:gd name="connsiteX43" fmla="*/ 1468722 w 4963683"/>
                <a:gd name="connsiteY43" fmla="*/ 1024216 h 1230400"/>
                <a:gd name="connsiteX44" fmla="*/ 1468722 w 4963683"/>
                <a:gd name="connsiteY44" fmla="*/ 1015693 h 1230400"/>
                <a:gd name="connsiteX45" fmla="*/ 1397380 w 4963683"/>
                <a:gd name="connsiteY45" fmla="*/ 1015693 h 1230400"/>
                <a:gd name="connsiteX46" fmla="*/ 1392921 w 4963683"/>
                <a:gd name="connsiteY46" fmla="*/ 1013516 h 1230400"/>
                <a:gd name="connsiteX47" fmla="*/ 1391010 w 4963683"/>
                <a:gd name="connsiteY47" fmla="*/ 1008439 h 1230400"/>
                <a:gd name="connsiteX48" fmla="*/ 1391010 w 4963683"/>
                <a:gd name="connsiteY48" fmla="*/ 992481 h 1230400"/>
                <a:gd name="connsiteX49" fmla="*/ 1328586 w 4963683"/>
                <a:gd name="connsiteY49" fmla="*/ 992481 h 1230400"/>
                <a:gd name="connsiteX50" fmla="*/ 1324127 w 4963683"/>
                <a:gd name="connsiteY50" fmla="*/ 990305 h 1230400"/>
                <a:gd name="connsiteX51" fmla="*/ 1322216 w 4963683"/>
                <a:gd name="connsiteY51" fmla="*/ 985227 h 1230400"/>
                <a:gd name="connsiteX52" fmla="*/ 1322216 w 4963683"/>
                <a:gd name="connsiteY52" fmla="*/ 974347 h 1230400"/>
                <a:gd name="connsiteX53" fmla="*/ 1256766 w 4963683"/>
                <a:gd name="connsiteY53" fmla="*/ 974347 h 1230400"/>
                <a:gd name="connsiteX54" fmla="*/ 1252307 w 4963683"/>
                <a:gd name="connsiteY54" fmla="*/ 972171 h 1230400"/>
                <a:gd name="connsiteX55" fmla="*/ 1250396 w 4963683"/>
                <a:gd name="connsiteY55" fmla="*/ 967093 h 1230400"/>
                <a:gd name="connsiteX56" fmla="*/ 1250396 w 4963683"/>
                <a:gd name="connsiteY56" fmla="*/ 953493 h 1230400"/>
                <a:gd name="connsiteX57" fmla="*/ 1140039 w 4963683"/>
                <a:gd name="connsiteY57" fmla="*/ 953493 h 1230400"/>
                <a:gd name="connsiteX58" fmla="*/ 1135580 w 4963683"/>
                <a:gd name="connsiteY58" fmla="*/ 951316 h 1230400"/>
                <a:gd name="connsiteX59" fmla="*/ 1133669 w 4963683"/>
                <a:gd name="connsiteY59" fmla="*/ 946239 h 1230400"/>
                <a:gd name="connsiteX60" fmla="*/ 1133669 w 4963683"/>
                <a:gd name="connsiteY60" fmla="*/ 935721 h 1230400"/>
                <a:gd name="connsiteX61" fmla="*/ 1095132 w 4963683"/>
                <a:gd name="connsiteY61" fmla="*/ 935721 h 1230400"/>
                <a:gd name="connsiteX62" fmla="*/ 1090673 w 4963683"/>
                <a:gd name="connsiteY62" fmla="*/ 933545 h 1230400"/>
                <a:gd name="connsiteX63" fmla="*/ 1088762 w 4963683"/>
                <a:gd name="connsiteY63" fmla="*/ 928467 h 1230400"/>
                <a:gd name="connsiteX64" fmla="*/ 1088762 w 4963683"/>
                <a:gd name="connsiteY64" fmla="*/ 916136 h 1230400"/>
                <a:gd name="connsiteX65" fmla="*/ 1005317 w 4963683"/>
                <a:gd name="connsiteY65" fmla="*/ 916136 h 1230400"/>
                <a:gd name="connsiteX66" fmla="*/ 1000858 w 4963683"/>
                <a:gd name="connsiteY66" fmla="*/ 913960 h 1230400"/>
                <a:gd name="connsiteX67" fmla="*/ 998947 w 4963683"/>
                <a:gd name="connsiteY67" fmla="*/ 908883 h 1230400"/>
                <a:gd name="connsiteX68" fmla="*/ 998947 w 4963683"/>
                <a:gd name="connsiteY68" fmla="*/ 897821 h 1230400"/>
                <a:gd name="connsiteX69" fmla="*/ 984297 w 4963683"/>
                <a:gd name="connsiteY69" fmla="*/ 897821 h 1230400"/>
                <a:gd name="connsiteX70" fmla="*/ 979838 w 4963683"/>
                <a:gd name="connsiteY70" fmla="*/ 895645 h 1230400"/>
                <a:gd name="connsiteX71" fmla="*/ 977927 w 4963683"/>
                <a:gd name="connsiteY71" fmla="*/ 890567 h 1230400"/>
                <a:gd name="connsiteX72" fmla="*/ 977927 w 4963683"/>
                <a:gd name="connsiteY72" fmla="*/ 876966 h 1230400"/>
                <a:gd name="connsiteX73" fmla="*/ 945441 w 4963683"/>
                <a:gd name="connsiteY73" fmla="*/ 876966 h 1230400"/>
                <a:gd name="connsiteX74" fmla="*/ 940982 w 4963683"/>
                <a:gd name="connsiteY74" fmla="*/ 874790 h 1230400"/>
                <a:gd name="connsiteX75" fmla="*/ 939071 w 4963683"/>
                <a:gd name="connsiteY75" fmla="*/ 869713 h 1230400"/>
                <a:gd name="connsiteX76" fmla="*/ 939071 w 4963683"/>
                <a:gd name="connsiteY76" fmla="*/ 857926 h 1230400"/>
                <a:gd name="connsiteX77" fmla="*/ 937956 w 4963683"/>
                <a:gd name="connsiteY77" fmla="*/ 856838 h 1230400"/>
                <a:gd name="connsiteX78" fmla="*/ 936045 w 4963683"/>
                <a:gd name="connsiteY78" fmla="*/ 851760 h 1230400"/>
                <a:gd name="connsiteX79" fmla="*/ 936045 w 4963683"/>
                <a:gd name="connsiteY79" fmla="*/ 839792 h 1230400"/>
                <a:gd name="connsiteX80" fmla="*/ 885565 w 4963683"/>
                <a:gd name="connsiteY80" fmla="*/ 839792 h 1230400"/>
                <a:gd name="connsiteX81" fmla="*/ 881106 w 4963683"/>
                <a:gd name="connsiteY81" fmla="*/ 837615 h 1230400"/>
                <a:gd name="connsiteX82" fmla="*/ 879195 w 4963683"/>
                <a:gd name="connsiteY82" fmla="*/ 832538 h 1230400"/>
                <a:gd name="connsiteX83" fmla="*/ 879195 w 4963683"/>
                <a:gd name="connsiteY83" fmla="*/ 823652 h 1230400"/>
                <a:gd name="connsiteX84" fmla="*/ 864544 w 4963683"/>
                <a:gd name="connsiteY84" fmla="*/ 823652 h 1230400"/>
                <a:gd name="connsiteX85" fmla="*/ 860085 w 4963683"/>
                <a:gd name="connsiteY85" fmla="*/ 821476 h 1230400"/>
                <a:gd name="connsiteX86" fmla="*/ 858174 w 4963683"/>
                <a:gd name="connsiteY86" fmla="*/ 816398 h 1230400"/>
                <a:gd name="connsiteX87" fmla="*/ 858174 w 4963683"/>
                <a:gd name="connsiteY87" fmla="*/ 804611 h 1230400"/>
                <a:gd name="connsiteX88" fmla="*/ 852601 w 4963683"/>
                <a:gd name="connsiteY88" fmla="*/ 804611 h 1230400"/>
                <a:gd name="connsiteX89" fmla="*/ 848142 w 4963683"/>
                <a:gd name="connsiteY89" fmla="*/ 802435 h 1230400"/>
                <a:gd name="connsiteX90" fmla="*/ 846231 w 4963683"/>
                <a:gd name="connsiteY90" fmla="*/ 797358 h 1230400"/>
                <a:gd name="connsiteX91" fmla="*/ 846231 w 4963683"/>
                <a:gd name="connsiteY91" fmla="*/ 785208 h 1230400"/>
                <a:gd name="connsiteX92" fmla="*/ 774889 w 4963683"/>
                <a:gd name="connsiteY92" fmla="*/ 785208 h 1230400"/>
                <a:gd name="connsiteX93" fmla="*/ 770430 w 4963683"/>
                <a:gd name="connsiteY93" fmla="*/ 783032 h 1230400"/>
                <a:gd name="connsiteX94" fmla="*/ 768519 w 4963683"/>
                <a:gd name="connsiteY94" fmla="*/ 777954 h 1230400"/>
                <a:gd name="connsiteX95" fmla="*/ 768519 w 4963683"/>
                <a:gd name="connsiteY95" fmla="*/ 728448 h 1230400"/>
                <a:gd name="connsiteX96" fmla="*/ 767404 w 4963683"/>
                <a:gd name="connsiteY96" fmla="*/ 727360 h 1230400"/>
                <a:gd name="connsiteX97" fmla="*/ 765493 w 4963683"/>
                <a:gd name="connsiteY97" fmla="*/ 722282 h 1230400"/>
                <a:gd name="connsiteX98" fmla="*/ 765493 w 4963683"/>
                <a:gd name="connsiteY98" fmla="*/ 709226 h 1230400"/>
                <a:gd name="connsiteX99" fmla="*/ 709120 w 4963683"/>
                <a:gd name="connsiteY99" fmla="*/ 709226 h 1230400"/>
                <a:gd name="connsiteX100" fmla="*/ 704662 w 4963683"/>
                <a:gd name="connsiteY100" fmla="*/ 707050 h 1230400"/>
                <a:gd name="connsiteX101" fmla="*/ 702751 w 4963683"/>
                <a:gd name="connsiteY101" fmla="*/ 701972 h 1230400"/>
                <a:gd name="connsiteX102" fmla="*/ 702751 w 4963683"/>
                <a:gd name="connsiteY102" fmla="*/ 691817 h 1230400"/>
                <a:gd name="connsiteX103" fmla="*/ 685234 w 4963683"/>
                <a:gd name="connsiteY103" fmla="*/ 691817 h 1230400"/>
                <a:gd name="connsiteX104" fmla="*/ 680775 w 4963683"/>
                <a:gd name="connsiteY104" fmla="*/ 689641 h 1230400"/>
                <a:gd name="connsiteX105" fmla="*/ 678864 w 4963683"/>
                <a:gd name="connsiteY105" fmla="*/ 684563 h 1230400"/>
                <a:gd name="connsiteX106" fmla="*/ 678864 w 4963683"/>
                <a:gd name="connsiteY106" fmla="*/ 673320 h 1230400"/>
                <a:gd name="connsiteX107" fmla="*/ 658321 w 4963683"/>
                <a:gd name="connsiteY107" fmla="*/ 673320 h 1230400"/>
                <a:gd name="connsiteX108" fmla="*/ 653862 w 4963683"/>
                <a:gd name="connsiteY108" fmla="*/ 671144 h 1230400"/>
                <a:gd name="connsiteX109" fmla="*/ 651951 w 4963683"/>
                <a:gd name="connsiteY109" fmla="*/ 666067 h 1230400"/>
                <a:gd name="connsiteX110" fmla="*/ 651951 w 4963683"/>
                <a:gd name="connsiteY110" fmla="*/ 657544 h 1230400"/>
                <a:gd name="connsiteX111" fmla="*/ 646378 w 4963683"/>
                <a:gd name="connsiteY111" fmla="*/ 657544 h 1230400"/>
                <a:gd name="connsiteX112" fmla="*/ 641919 w 4963683"/>
                <a:gd name="connsiteY112" fmla="*/ 655367 h 1230400"/>
                <a:gd name="connsiteX113" fmla="*/ 640008 w 4963683"/>
                <a:gd name="connsiteY113" fmla="*/ 650290 h 1230400"/>
                <a:gd name="connsiteX114" fmla="*/ 640008 w 4963683"/>
                <a:gd name="connsiteY114" fmla="*/ 636871 h 1230400"/>
                <a:gd name="connsiteX115" fmla="*/ 638893 w 4963683"/>
                <a:gd name="connsiteY115" fmla="*/ 635783 h 1230400"/>
                <a:gd name="connsiteX116" fmla="*/ 636982 w 4963683"/>
                <a:gd name="connsiteY116" fmla="*/ 630705 h 1230400"/>
                <a:gd name="connsiteX117" fmla="*/ 636982 w 4963683"/>
                <a:gd name="connsiteY117" fmla="*/ 617648 h 1230400"/>
                <a:gd name="connsiteX118" fmla="*/ 635867 w 4963683"/>
                <a:gd name="connsiteY118" fmla="*/ 616560 h 1230400"/>
                <a:gd name="connsiteX119" fmla="*/ 633957 w 4963683"/>
                <a:gd name="connsiteY119" fmla="*/ 611483 h 1230400"/>
                <a:gd name="connsiteX120" fmla="*/ 633957 w 4963683"/>
                <a:gd name="connsiteY120" fmla="*/ 600965 h 1230400"/>
                <a:gd name="connsiteX121" fmla="*/ 604496 w 4963683"/>
                <a:gd name="connsiteY121" fmla="*/ 600965 h 1230400"/>
                <a:gd name="connsiteX122" fmla="*/ 600037 w 4963683"/>
                <a:gd name="connsiteY122" fmla="*/ 598789 h 1230400"/>
                <a:gd name="connsiteX123" fmla="*/ 598126 w 4963683"/>
                <a:gd name="connsiteY123" fmla="*/ 593711 h 1230400"/>
                <a:gd name="connsiteX124" fmla="*/ 598126 w 4963683"/>
                <a:gd name="connsiteY124" fmla="*/ 583194 h 1230400"/>
                <a:gd name="connsiteX125" fmla="*/ 592553 w 4963683"/>
                <a:gd name="connsiteY125" fmla="*/ 583194 h 1230400"/>
                <a:gd name="connsiteX126" fmla="*/ 588094 w 4963683"/>
                <a:gd name="connsiteY126" fmla="*/ 581018 h 1230400"/>
                <a:gd name="connsiteX127" fmla="*/ 586183 w 4963683"/>
                <a:gd name="connsiteY127" fmla="*/ 575940 h 1230400"/>
                <a:gd name="connsiteX128" fmla="*/ 586183 w 4963683"/>
                <a:gd name="connsiteY128" fmla="*/ 567054 h 1230400"/>
                <a:gd name="connsiteX129" fmla="*/ 583635 w 4963683"/>
                <a:gd name="connsiteY129" fmla="*/ 567054 h 1230400"/>
                <a:gd name="connsiteX130" fmla="*/ 579176 w 4963683"/>
                <a:gd name="connsiteY130" fmla="*/ 564878 h 1230400"/>
                <a:gd name="connsiteX131" fmla="*/ 577265 w 4963683"/>
                <a:gd name="connsiteY131" fmla="*/ 559801 h 1230400"/>
                <a:gd name="connsiteX132" fmla="*/ 577265 w 4963683"/>
                <a:gd name="connsiteY132" fmla="*/ 549283 h 1230400"/>
                <a:gd name="connsiteX133" fmla="*/ 550671 w 4963683"/>
                <a:gd name="connsiteY133" fmla="*/ 549283 h 1230400"/>
                <a:gd name="connsiteX134" fmla="*/ 546212 w 4963683"/>
                <a:gd name="connsiteY134" fmla="*/ 547107 h 1230400"/>
                <a:gd name="connsiteX135" fmla="*/ 544301 w 4963683"/>
                <a:gd name="connsiteY135" fmla="*/ 542029 h 1230400"/>
                <a:gd name="connsiteX136" fmla="*/ 544301 w 4963683"/>
                <a:gd name="connsiteY136" fmla="*/ 531149 h 1230400"/>
                <a:gd name="connsiteX137" fmla="*/ 543187 w 4963683"/>
                <a:gd name="connsiteY137" fmla="*/ 530061 h 1230400"/>
                <a:gd name="connsiteX138" fmla="*/ 541276 w 4963683"/>
                <a:gd name="connsiteY138" fmla="*/ 524983 h 1230400"/>
                <a:gd name="connsiteX139" fmla="*/ 541276 w 4963683"/>
                <a:gd name="connsiteY139" fmla="*/ 515916 h 1230400"/>
                <a:gd name="connsiteX140" fmla="*/ 508790 w 4963683"/>
                <a:gd name="connsiteY140" fmla="*/ 515916 h 1230400"/>
                <a:gd name="connsiteX141" fmla="*/ 504331 w 4963683"/>
                <a:gd name="connsiteY141" fmla="*/ 513740 h 1230400"/>
                <a:gd name="connsiteX142" fmla="*/ 502420 w 4963683"/>
                <a:gd name="connsiteY142" fmla="*/ 508662 h 1230400"/>
                <a:gd name="connsiteX143" fmla="*/ 502420 w 4963683"/>
                <a:gd name="connsiteY143" fmla="*/ 498145 h 1230400"/>
                <a:gd name="connsiteX144" fmla="*/ 498279 w 4963683"/>
                <a:gd name="connsiteY144" fmla="*/ 495968 h 1230400"/>
                <a:gd name="connsiteX145" fmla="*/ 496368 w 4963683"/>
                <a:gd name="connsiteY145" fmla="*/ 490891 h 1230400"/>
                <a:gd name="connsiteX146" fmla="*/ 496368 w 4963683"/>
                <a:gd name="connsiteY146" fmla="*/ 472938 h 1230400"/>
                <a:gd name="connsiteX147" fmla="*/ 495254 w 4963683"/>
                <a:gd name="connsiteY147" fmla="*/ 471850 h 1230400"/>
                <a:gd name="connsiteX148" fmla="*/ 493343 w 4963683"/>
                <a:gd name="connsiteY148" fmla="*/ 466772 h 1230400"/>
                <a:gd name="connsiteX149" fmla="*/ 493343 w 4963683"/>
                <a:gd name="connsiteY149" fmla="*/ 454441 h 1230400"/>
                <a:gd name="connsiteX150" fmla="*/ 481718 w 4963683"/>
                <a:gd name="connsiteY150" fmla="*/ 454441 h 1230400"/>
                <a:gd name="connsiteX151" fmla="*/ 477259 w 4963683"/>
                <a:gd name="connsiteY151" fmla="*/ 452265 h 1230400"/>
                <a:gd name="connsiteX152" fmla="*/ 475348 w 4963683"/>
                <a:gd name="connsiteY152" fmla="*/ 447188 h 1230400"/>
                <a:gd name="connsiteX153" fmla="*/ 475348 w 4963683"/>
                <a:gd name="connsiteY153" fmla="*/ 431592 h 1230400"/>
                <a:gd name="connsiteX154" fmla="*/ 474233 w 4963683"/>
                <a:gd name="connsiteY154" fmla="*/ 430504 h 1230400"/>
                <a:gd name="connsiteX155" fmla="*/ 472322 w 4963683"/>
                <a:gd name="connsiteY155" fmla="*/ 425427 h 1230400"/>
                <a:gd name="connsiteX156" fmla="*/ 472322 w 4963683"/>
                <a:gd name="connsiteY156" fmla="*/ 411282 h 1230400"/>
                <a:gd name="connsiteX157" fmla="*/ 468182 w 4963683"/>
                <a:gd name="connsiteY157" fmla="*/ 409106 h 1230400"/>
                <a:gd name="connsiteX158" fmla="*/ 466271 w 4963683"/>
                <a:gd name="connsiteY158" fmla="*/ 404028 h 1230400"/>
                <a:gd name="connsiteX159" fmla="*/ 466271 w 4963683"/>
                <a:gd name="connsiteY159" fmla="*/ 392241 h 1230400"/>
                <a:gd name="connsiteX160" fmla="*/ 415790 w 4963683"/>
                <a:gd name="connsiteY160" fmla="*/ 392241 h 1230400"/>
                <a:gd name="connsiteX161" fmla="*/ 411331 w 4963683"/>
                <a:gd name="connsiteY161" fmla="*/ 390065 h 1230400"/>
                <a:gd name="connsiteX162" fmla="*/ 409420 w 4963683"/>
                <a:gd name="connsiteY162" fmla="*/ 384988 h 1230400"/>
                <a:gd name="connsiteX163" fmla="*/ 409420 w 4963683"/>
                <a:gd name="connsiteY163" fmla="*/ 370662 h 1230400"/>
                <a:gd name="connsiteX164" fmla="*/ 408306 w 4963683"/>
                <a:gd name="connsiteY164" fmla="*/ 369574 h 1230400"/>
                <a:gd name="connsiteX165" fmla="*/ 406395 w 4963683"/>
                <a:gd name="connsiteY165" fmla="*/ 364496 h 1230400"/>
                <a:gd name="connsiteX166" fmla="*/ 406395 w 4963683"/>
                <a:gd name="connsiteY166" fmla="*/ 349989 h 1230400"/>
                <a:gd name="connsiteX167" fmla="*/ 402254 w 4963683"/>
                <a:gd name="connsiteY167" fmla="*/ 347813 h 1230400"/>
                <a:gd name="connsiteX168" fmla="*/ 400343 w 4963683"/>
                <a:gd name="connsiteY168" fmla="*/ 342735 h 1230400"/>
                <a:gd name="connsiteX169" fmla="*/ 400343 w 4963683"/>
                <a:gd name="connsiteY169" fmla="*/ 330585 h 1230400"/>
                <a:gd name="connsiteX170" fmla="*/ 376775 w 4963683"/>
                <a:gd name="connsiteY170" fmla="*/ 330585 h 1230400"/>
                <a:gd name="connsiteX171" fmla="*/ 372316 w 4963683"/>
                <a:gd name="connsiteY171" fmla="*/ 328409 h 1230400"/>
                <a:gd name="connsiteX172" fmla="*/ 370405 w 4963683"/>
                <a:gd name="connsiteY172" fmla="*/ 323332 h 1230400"/>
                <a:gd name="connsiteX173" fmla="*/ 370405 w 4963683"/>
                <a:gd name="connsiteY173" fmla="*/ 306829 h 1230400"/>
                <a:gd name="connsiteX174" fmla="*/ 364832 w 4963683"/>
                <a:gd name="connsiteY174" fmla="*/ 306829 h 1230400"/>
                <a:gd name="connsiteX175" fmla="*/ 360373 w 4963683"/>
                <a:gd name="connsiteY175" fmla="*/ 304653 h 1230400"/>
                <a:gd name="connsiteX176" fmla="*/ 358462 w 4963683"/>
                <a:gd name="connsiteY176" fmla="*/ 299576 h 1230400"/>
                <a:gd name="connsiteX177" fmla="*/ 358462 w 4963683"/>
                <a:gd name="connsiteY177" fmla="*/ 287970 h 1230400"/>
                <a:gd name="connsiteX178" fmla="*/ 322950 w 4963683"/>
                <a:gd name="connsiteY178" fmla="*/ 287970 h 1230400"/>
                <a:gd name="connsiteX179" fmla="*/ 318491 w 4963683"/>
                <a:gd name="connsiteY179" fmla="*/ 285794 h 1230400"/>
                <a:gd name="connsiteX180" fmla="*/ 316580 w 4963683"/>
                <a:gd name="connsiteY180" fmla="*/ 280716 h 1230400"/>
                <a:gd name="connsiteX181" fmla="*/ 316580 w 4963683"/>
                <a:gd name="connsiteY181" fmla="*/ 270380 h 1230400"/>
                <a:gd name="connsiteX182" fmla="*/ 312440 w 4963683"/>
                <a:gd name="connsiteY182" fmla="*/ 268204 h 1230400"/>
                <a:gd name="connsiteX183" fmla="*/ 310529 w 4963683"/>
                <a:gd name="connsiteY183" fmla="*/ 263126 h 1230400"/>
                <a:gd name="connsiteX184" fmla="*/ 310529 w 4963683"/>
                <a:gd name="connsiteY184" fmla="*/ 250795 h 1230400"/>
                <a:gd name="connsiteX185" fmla="*/ 284094 w 4963683"/>
                <a:gd name="connsiteY185" fmla="*/ 250795 h 1230400"/>
                <a:gd name="connsiteX186" fmla="*/ 279635 w 4963683"/>
                <a:gd name="connsiteY186" fmla="*/ 248619 h 1230400"/>
                <a:gd name="connsiteX187" fmla="*/ 277724 w 4963683"/>
                <a:gd name="connsiteY187" fmla="*/ 243541 h 1230400"/>
                <a:gd name="connsiteX188" fmla="*/ 277724 w 4963683"/>
                <a:gd name="connsiteY188" fmla="*/ 231754 h 1230400"/>
                <a:gd name="connsiteX189" fmla="*/ 272151 w 4963683"/>
                <a:gd name="connsiteY189" fmla="*/ 231754 h 1230400"/>
                <a:gd name="connsiteX190" fmla="*/ 267692 w 4963683"/>
                <a:gd name="connsiteY190" fmla="*/ 229578 h 1230400"/>
                <a:gd name="connsiteX191" fmla="*/ 265781 w 4963683"/>
                <a:gd name="connsiteY191" fmla="*/ 224501 h 1230400"/>
                <a:gd name="connsiteX192" fmla="*/ 265781 w 4963683"/>
                <a:gd name="connsiteY192" fmla="*/ 213076 h 1230400"/>
                <a:gd name="connsiteX193" fmla="*/ 248264 w 4963683"/>
                <a:gd name="connsiteY193" fmla="*/ 213076 h 1230400"/>
                <a:gd name="connsiteX194" fmla="*/ 243805 w 4963683"/>
                <a:gd name="connsiteY194" fmla="*/ 210900 h 1230400"/>
                <a:gd name="connsiteX195" fmla="*/ 241894 w 4963683"/>
                <a:gd name="connsiteY195" fmla="*/ 205822 h 1230400"/>
                <a:gd name="connsiteX196" fmla="*/ 241894 w 4963683"/>
                <a:gd name="connsiteY196" fmla="*/ 195305 h 1230400"/>
                <a:gd name="connsiteX197" fmla="*/ 218326 w 4963683"/>
                <a:gd name="connsiteY197" fmla="*/ 195305 h 1230400"/>
                <a:gd name="connsiteX198" fmla="*/ 213867 w 4963683"/>
                <a:gd name="connsiteY198" fmla="*/ 193128 h 1230400"/>
                <a:gd name="connsiteX199" fmla="*/ 211956 w 4963683"/>
                <a:gd name="connsiteY199" fmla="*/ 188051 h 1230400"/>
                <a:gd name="connsiteX200" fmla="*/ 211956 w 4963683"/>
                <a:gd name="connsiteY200" fmla="*/ 176445 h 1230400"/>
                <a:gd name="connsiteX201" fmla="*/ 191413 w 4963683"/>
                <a:gd name="connsiteY201" fmla="*/ 176445 h 1230400"/>
                <a:gd name="connsiteX202" fmla="*/ 186954 w 4963683"/>
                <a:gd name="connsiteY202" fmla="*/ 174269 h 1230400"/>
                <a:gd name="connsiteX203" fmla="*/ 185043 w 4963683"/>
                <a:gd name="connsiteY203" fmla="*/ 169191 h 1230400"/>
                <a:gd name="connsiteX204" fmla="*/ 185043 w 4963683"/>
                <a:gd name="connsiteY204" fmla="*/ 158130 h 1230400"/>
                <a:gd name="connsiteX205" fmla="*/ 176444 w 4963683"/>
                <a:gd name="connsiteY205" fmla="*/ 158130 h 1230400"/>
                <a:gd name="connsiteX206" fmla="*/ 171985 w 4963683"/>
                <a:gd name="connsiteY206" fmla="*/ 155954 h 1230400"/>
                <a:gd name="connsiteX207" fmla="*/ 170074 w 4963683"/>
                <a:gd name="connsiteY207" fmla="*/ 150876 h 1230400"/>
                <a:gd name="connsiteX208" fmla="*/ 170074 w 4963683"/>
                <a:gd name="connsiteY208" fmla="*/ 141990 h 1230400"/>
                <a:gd name="connsiteX209" fmla="*/ 152557 w 4963683"/>
                <a:gd name="connsiteY209" fmla="*/ 141990 h 1230400"/>
                <a:gd name="connsiteX210" fmla="*/ 148098 w 4963683"/>
                <a:gd name="connsiteY210" fmla="*/ 139814 h 1230400"/>
                <a:gd name="connsiteX211" fmla="*/ 146187 w 4963683"/>
                <a:gd name="connsiteY211" fmla="*/ 134737 h 1230400"/>
                <a:gd name="connsiteX212" fmla="*/ 146187 w 4963683"/>
                <a:gd name="connsiteY212" fmla="*/ 118597 h 1230400"/>
                <a:gd name="connsiteX213" fmla="*/ 128670 w 4963683"/>
                <a:gd name="connsiteY213" fmla="*/ 118597 h 1230400"/>
                <a:gd name="connsiteX214" fmla="*/ 124212 w 4963683"/>
                <a:gd name="connsiteY214" fmla="*/ 116421 h 1230400"/>
                <a:gd name="connsiteX215" fmla="*/ 122301 w 4963683"/>
                <a:gd name="connsiteY215" fmla="*/ 111344 h 1230400"/>
                <a:gd name="connsiteX216" fmla="*/ 122301 w 4963683"/>
                <a:gd name="connsiteY216" fmla="*/ 94116 h 1230400"/>
                <a:gd name="connsiteX217" fmla="*/ 65928 w 4963683"/>
                <a:gd name="connsiteY217" fmla="*/ 94116 h 1230400"/>
                <a:gd name="connsiteX218" fmla="*/ 61469 w 4963683"/>
                <a:gd name="connsiteY218" fmla="*/ 91940 h 1230400"/>
                <a:gd name="connsiteX219" fmla="*/ 59558 w 4963683"/>
                <a:gd name="connsiteY219" fmla="*/ 86862 h 1230400"/>
                <a:gd name="connsiteX220" fmla="*/ 59558 w 4963683"/>
                <a:gd name="connsiteY220" fmla="*/ 74531 h 1230400"/>
                <a:gd name="connsiteX221" fmla="*/ 58443 w 4963683"/>
                <a:gd name="connsiteY221" fmla="*/ 73443 h 1230400"/>
                <a:gd name="connsiteX222" fmla="*/ 56532 w 4963683"/>
                <a:gd name="connsiteY222" fmla="*/ 68366 h 1230400"/>
                <a:gd name="connsiteX223" fmla="*/ 56532 w 4963683"/>
                <a:gd name="connsiteY223" fmla="*/ 57304 h 1230400"/>
                <a:gd name="connsiteX224" fmla="*/ 35989 w 4963683"/>
                <a:gd name="connsiteY224" fmla="*/ 57304 h 1230400"/>
                <a:gd name="connsiteX225" fmla="*/ 34875 w 4963683"/>
                <a:gd name="connsiteY225" fmla="*/ 57304 h 1230400"/>
                <a:gd name="connsiteX226" fmla="*/ 31371 w 4963683"/>
                <a:gd name="connsiteY226" fmla="*/ 55309 h 1230400"/>
                <a:gd name="connsiteX227" fmla="*/ 29460 w 4963683"/>
                <a:gd name="connsiteY227" fmla="*/ 50232 h 1230400"/>
                <a:gd name="connsiteX228" fmla="*/ 29460 w 4963683"/>
                <a:gd name="connsiteY228" fmla="*/ 22668 h 1230400"/>
                <a:gd name="connsiteX229" fmla="*/ 0 w 4963683"/>
                <a:gd name="connsiteY229" fmla="*/ 22668 h 1230400"/>
                <a:gd name="connsiteX230" fmla="*/ 0 w 4963683"/>
                <a:gd name="connsiteY230" fmla="*/ 0 h 1230400"/>
                <a:gd name="connsiteX231" fmla="*/ 6370 w 4963683"/>
                <a:gd name="connsiteY231" fmla="*/ 0 h 1230400"/>
                <a:gd name="connsiteX232" fmla="*/ 6370 w 4963683"/>
                <a:gd name="connsiteY232" fmla="*/ 7254 h 1230400"/>
                <a:gd name="connsiteX233" fmla="*/ 35830 w 4963683"/>
                <a:gd name="connsiteY233" fmla="*/ 7254 h 1230400"/>
                <a:gd name="connsiteX234" fmla="*/ 40289 w 4963683"/>
                <a:gd name="connsiteY234" fmla="*/ 9430 h 1230400"/>
                <a:gd name="connsiteX235" fmla="*/ 42200 w 4963683"/>
                <a:gd name="connsiteY235" fmla="*/ 14507 h 1230400"/>
                <a:gd name="connsiteX236" fmla="*/ 42200 w 4963683"/>
                <a:gd name="connsiteY236" fmla="*/ 42071 h 1230400"/>
                <a:gd name="connsiteX237" fmla="*/ 62743 w 4963683"/>
                <a:gd name="connsiteY237" fmla="*/ 42071 h 1230400"/>
                <a:gd name="connsiteX238" fmla="*/ 67202 w 4963683"/>
                <a:gd name="connsiteY238" fmla="*/ 44247 h 1230400"/>
                <a:gd name="connsiteX239" fmla="*/ 69113 w 4963683"/>
                <a:gd name="connsiteY239" fmla="*/ 49325 h 1230400"/>
                <a:gd name="connsiteX240" fmla="*/ 69113 w 4963683"/>
                <a:gd name="connsiteY240" fmla="*/ 61656 h 1230400"/>
                <a:gd name="connsiteX241" fmla="*/ 70227 w 4963683"/>
                <a:gd name="connsiteY241" fmla="*/ 62744 h 1230400"/>
                <a:gd name="connsiteX242" fmla="*/ 72138 w 4963683"/>
                <a:gd name="connsiteY242" fmla="*/ 67822 h 1230400"/>
                <a:gd name="connsiteX243" fmla="*/ 72138 w 4963683"/>
                <a:gd name="connsiteY243" fmla="*/ 79065 h 1230400"/>
                <a:gd name="connsiteX244" fmla="*/ 128511 w 4963683"/>
                <a:gd name="connsiteY244" fmla="*/ 79065 h 1230400"/>
                <a:gd name="connsiteX245" fmla="*/ 132970 w 4963683"/>
                <a:gd name="connsiteY245" fmla="*/ 81241 h 1230400"/>
                <a:gd name="connsiteX246" fmla="*/ 134881 w 4963683"/>
                <a:gd name="connsiteY246" fmla="*/ 86318 h 1230400"/>
                <a:gd name="connsiteX247" fmla="*/ 134881 w 4963683"/>
                <a:gd name="connsiteY247" fmla="*/ 103546 h 1230400"/>
                <a:gd name="connsiteX248" fmla="*/ 152398 w 4963683"/>
                <a:gd name="connsiteY248" fmla="*/ 103546 h 1230400"/>
                <a:gd name="connsiteX249" fmla="*/ 156857 w 4963683"/>
                <a:gd name="connsiteY249" fmla="*/ 105722 h 1230400"/>
                <a:gd name="connsiteX250" fmla="*/ 158768 w 4963683"/>
                <a:gd name="connsiteY250" fmla="*/ 110800 h 1230400"/>
                <a:gd name="connsiteX251" fmla="*/ 158768 w 4963683"/>
                <a:gd name="connsiteY251" fmla="*/ 126939 h 1230400"/>
                <a:gd name="connsiteX252" fmla="*/ 176285 w 4963683"/>
                <a:gd name="connsiteY252" fmla="*/ 126939 h 1230400"/>
                <a:gd name="connsiteX253" fmla="*/ 180744 w 4963683"/>
                <a:gd name="connsiteY253" fmla="*/ 129115 h 1230400"/>
                <a:gd name="connsiteX254" fmla="*/ 182655 w 4963683"/>
                <a:gd name="connsiteY254" fmla="*/ 134193 h 1230400"/>
                <a:gd name="connsiteX255" fmla="*/ 182655 w 4963683"/>
                <a:gd name="connsiteY255" fmla="*/ 143078 h 1230400"/>
                <a:gd name="connsiteX256" fmla="*/ 191254 w 4963683"/>
                <a:gd name="connsiteY256" fmla="*/ 143078 h 1230400"/>
                <a:gd name="connsiteX257" fmla="*/ 195713 w 4963683"/>
                <a:gd name="connsiteY257" fmla="*/ 145254 h 1230400"/>
                <a:gd name="connsiteX258" fmla="*/ 197624 w 4963683"/>
                <a:gd name="connsiteY258" fmla="*/ 150332 h 1230400"/>
                <a:gd name="connsiteX259" fmla="*/ 197624 w 4963683"/>
                <a:gd name="connsiteY259" fmla="*/ 161394 h 1230400"/>
                <a:gd name="connsiteX260" fmla="*/ 218166 w 4963683"/>
                <a:gd name="connsiteY260" fmla="*/ 161394 h 1230400"/>
                <a:gd name="connsiteX261" fmla="*/ 222625 w 4963683"/>
                <a:gd name="connsiteY261" fmla="*/ 163570 h 1230400"/>
                <a:gd name="connsiteX262" fmla="*/ 224536 w 4963683"/>
                <a:gd name="connsiteY262" fmla="*/ 168647 h 1230400"/>
                <a:gd name="connsiteX263" fmla="*/ 224536 w 4963683"/>
                <a:gd name="connsiteY263" fmla="*/ 180253 h 1230400"/>
                <a:gd name="connsiteX264" fmla="*/ 248105 w 4963683"/>
                <a:gd name="connsiteY264" fmla="*/ 180253 h 1230400"/>
                <a:gd name="connsiteX265" fmla="*/ 252563 w 4963683"/>
                <a:gd name="connsiteY265" fmla="*/ 182429 h 1230400"/>
                <a:gd name="connsiteX266" fmla="*/ 254474 w 4963683"/>
                <a:gd name="connsiteY266" fmla="*/ 187507 h 1230400"/>
                <a:gd name="connsiteX267" fmla="*/ 254474 w 4963683"/>
                <a:gd name="connsiteY267" fmla="*/ 198025 h 1230400"/>
                <a:gd name="connsiteX268" fmla="*/ 271991 w 4963683"/>
                <a:gd name="connsiteY268" fmla="*/ 198025 h 1230400"/>
                <a:gd name="connsiteX269" fmla="*/ 276450 w 4963683"/>
                <a:gd name="connsiteY269" fmla="*/ 200201 h 1230400"/>
                <a:gd name="connsiteX270" fmla="*/ 278361 w 4963683"/>
                <a:gd name="connsiteY270" fmla="*/ 205278 h 1230400"/>
                <a:gd name="connsiteX271" fmla="*/ 278361 w 4963683"/>
                <a:gd name="connsiteY271" fmla="*/ 216703 h 1230400"/>
                <a:gd name="connsiteX272" fmla="*/ 283935 w 4963683"/>
                <a:gd name="connsiteY272" fmla="*/ 216703 h 1230400"/>
                <a:gd name="connsiteX273" fmla="*/ 288394 w 4963683"/>
                <a:gd name="connsiteY273" fmla="*/ 218879 h 1230400"/>
                <a:gd name="connsiteX274" fmla="*/ 290305 w 4963683"/>
                <a:gd name="connsiteY274" fmla="*/ 223956 h 1230400"/>
                <a:gd name="connsiteX275" fmla="*/ 290305 w 4963683"/>
                <a:gd name="connsiteY275" fmla="*/ 235744 h 1230400"/>
                <a:gd name="connsiteX276" fmla="*/ 316739 w 4963683"/>
                <a:gd name="connsiteY276" fmla="*/ 235744 h 1230400"/>
                <a:gd name="connsiteX277" fmla="*/ 321198 w 4963683"/>
                <a:gd name="connsiteY277" fmla="*/ 237920 h 1230400"/>
                <a:gd name="connsiteX278" fmla="*/ 323109 w 4963683"/>
                <a:gd name="connsiteY278" fmla="*/ 242997 h 1230400"/>
                <a:gd name="connsiteX279" fmla="*/ 323109 w 4963683"/>
                <a:gd name="connsiteY279" fmla="*/ 255329 h 1230400"/>
                <a:gd name="connsiteX280" fmla="*/ 327250 w 4963683"/>
                <a:gd name="connsiteY280" fmla="*/ 257505 h 1230400"/>
                <a:gd name="connsiteX281" fmla="*/ 329161 w 4963683"/>
                <a:gd name="connsiteY281" fmla="*/ 262582 h 1230400"/>
                <a:gd name="connsiteX282" fmla="*/ 329161 w 4963683"/>
                <a:gd name="connsiteY282" fmla="*/ 272919 h 1230400"/>
                <a:gd name="connsiteX283" fmla="*/ 364672 w 4963683"/>
                <a:gd name="connsiteY283" fmla="*/ 272919 h 1230400"/>
                <a:gd name="connsiteX284" fmla="*/ 369131 w 4963683"/>
                <a:gd name="connsiteY284" fmla="*/ 275095 h 1230400"/>
                <a:gd name="connsiteX285" fmla="*/ 371042 w 4963683"/>
                <a:gd name="connsiteY285" fmla="*/ 280172 h 1230400"/>
                <a:gd name="connsiteX286" fmla="*/ 371042 w 4963683"/>
                <a:gd name="connsiteY286" fmla="*/ 291959 h 1230400"/>
                <a:gd name="connsiteX287" fmla="*/ 376616 w 4963683"/>
                <a:gd name="connsiteY287" fmla="*/ 291959 h 1230400"/>
                <a:gd name="connsiteX288" fmla="*/ 381075 w 4963683"/>
                <a:gd name="connsiteY288" fmla="*/ 294136 h 1230400"/>
                <a:gd name="connsiteX289" fmla="*/ 382986 w 4963683"/>
                <a:gd name="connsiteY289" fmla="*/ 299213 h 1230400"/>
                <a:gd name="connsiteX290" fmla="*/ 382986 w 4963683"/>
                <a:gd name="connsiteY290" fmla="*/ 315715 h 1230400"/>
                <a:gd name="connsiteX291" fmla="*/ 406554 w 4963683"/>
                <a:gd name="connsiteY291" fmla="*/ 315715 h 1230400"/>
                <a:gd name="connsiteX292" fmla="*/ 411013 w 4963683"/>
                <a:gd name="connsiteY292" fmla="*/ 317891 h 1230400"/>
                <a:gd name="connsiteX293" fmla="*/ 412924 w 4963683"/>
                <a:gd name="connsiteY293" fmla="*/ 322969 h 1230400"/>
                <a:gd name="connsiteX294" fmla="*/ 412924 w 4963683"/>
                <a:gd name="connsiteY294" fmla="*/ 335119 h 1230400"/>
                <a:gd name="connsiteX295" fmla="*/ 417064 w 4963683"/>
                <a:gd name="connsiteY295" fmla="*/ 337295 h 1230400"/>
                <a:gd name="connsiteX296" fmla="*/ 418975 w 4963683"/>
                <a:gd name="connsiteY296" fmla="*/ 342372 h 1230400"/>
                <a:gd name="connsiteX297" fmla="*/ 418975 w 4963683"/>
                <a:gd name="connsiteY297" fmla="*/ 357968 h 1230400"/>
                <a:gd name="connsiteX298" fmla="*/ 420090 w 4963683"/>
                <a:gd name="connsiteY298" fmla="*/ 359056 h 1230400"/>
                <a:gd name="connsiteX299" fmla="*/ 422001 w 4963683"/>
                <a:gd name="connsiteY299" fmla="*/ 364133 h 1230400"/>
                <a:gd name="connsiteX300" fmla="*/ 422001 w 4963683"/>
                <a:gd name="connsiteY300" fmla="*/ 377190 h 1230400"/>
                <a:gd name="connsiteX301" fmla="*/ 472482 w 4963683"/>
                <a:gd name="connsiteY301" fmla="*/ 377190 h 1230400"/>
                <a:gd name="connsiteX302" fmla="*/ 476940 w 4963683"/>
                <a:gd name="connsiteY302" fmla="*/ 379366 h 1230400"/>
                <a:gd name="connsiteX303" fmla="*/ 478851 w 4963683"/>
                <a:gd name="connsiteY303" fmla="*/ 384444 h 1230400"/>
                <a:gd name="connsiteX304" fmla="*/ 478851 w 4963683"/>
                <a:gd name="connsiteY304" fmla="*/ 396231 h 1230400"/>
                <a:gd name="connsiteX305" fmla="*/ 482992 w 4963683"/>
                <a:gd name="connsiteY305" fmla="*/ 398407 h 1230400"/>
                <a:gd name="connsiteX306" fmla="*/ 484903 w 4963683"/>
                <a:gd name="connsiteY306" fmla="*/ 403484 h 1230400"/>
                <a:gd name="connsiteX307" fmla="*/ 484903 w 4963683"/>
                <a:gd name="connsiteY307" fmla="*/ 418717 h 1230400"/>
                <a:gd name="connsiteX308" fmla="*/ 486017 w 4963683"/>
                <a:gd name="connsiteY308" fmla="*/ 419805 h 1230400"/>
                <a:gd name="connsiteX309" fmla="*/ 487928 w 4963683"/>
                <a:gd name="connsiteY309" fmla="*/ 424883 h 1230400"/>
                <a:gd name="connsiteX310" fmla="*/ 487928 w 4963683"/>
                <a:gd name="connsiteY310" fmla="*/ 439390 h 1230400"/>
                <a:gd name="connsiteX311" fmla="*/ 499553 w 4963683"/>
                <a:gd name="connsiteY311" fmla="*/ 439390 h 1230400"/>
                <a:gd name="connsiteX312" fmla="*/ 504012 w 4963683"/>
                <a:gd name="connsiteY312" fmla="*/ 441566 h 1230400"/>
                <a:gd name="connsiteX313" fmla="*/ 505923 w 4963683"/>
                <a:gd name="connsiteY313" fmla="*/ 446644 h 1230400"/>
                <a:gd name="connsiteX314" fmla="*/ 505923 w 4963683"/>
                <a:gd name="connsiteY314" fmla="*/ 460063 h 1230400"/>
                <a:gd name="connsiteX315" fmla="*/ 507038 w 4963683"/>
                <a:gd name="connsiteY315" fmla="*/ 461151 h 1230400"/>
                <a:gd name="connsiteX316" fmla="*/ 508949 w 4963683"/>
                <a:gd name="connsiteY316" fmla="*/ 466228 h 1230400"/>
                <a:gd name="connsiteX317" fmla="*/ 508949 w 4963683"/>
                <a:gd name="connsiteY317" fmla="*/ 483093 h 1230400"/>
                <a:gd name="connsiteX318" fmla="*/ 513089 w 4963683"/>
                <a:gd name="connsiteY318" fmla="*/ 485269 h 1230400"/>
                <a:gd name="connsiteX319" fmla="*/ 515000 w 4963683"/>
                <a:gd name="connsiteY319" fmla="*/ 490347 h 1230400"/>
                <a:gd name="connsiteX320" fmla="*/ 515000 w 4963683"/>
                <a:gd name="connsiteY320" fmla="*/ 500865 h 1230400"/>
                <a:gd name="connsiteX321" fmla="*/ 547486 w 4963683"/>
                <a:gd name="connsiteY321" fmla="*/ 500865 h 1230400"/>
                <a:gd name="connsiteX322" fmla="*/ 551945 w 4963683"/>
                <a:gd name="connsiteY322" fmla="*/ 503041 h 1230400"/>
                <a:gd name="connsiteX323" fmla="*/ 553856 w 4963683"/>
                <a:gd name="connsiteY323" fmla="*/ 508118 h 1230400"/>
                <a:gd name="connsiteX324" fmla="*/ 553856 w 4963683"/>
                <a:gd name="connsiteY324" fmla="*/ 518273 h 1230400"/>
                <a:gd name="connsiteX325" fmla="*/ 554971 w 4963683"/>
                <a:gd name="connsiteY325" fmla="*/ 519361 h 1230400"/>
                <a:gd name="connsiteX326" fmla="*/ 556882 w 4963683"/>
                <a:gd name="connsiteY326" fmla="*/ 524439 h 1230400"/>
                <a:gd name="connsiteX327" fmla="*/ 556882 w 4963683"/>
                <a:gd name="connsiteY327" fmla="*/ 534231 h 1230400"/>
                <a:gd name="connsiteX328" fmla="*/ 583476 w 4963683"/>
                <a:gd name="connsiteY328" fmla="*/ 534231 h 1230400"/>
                <a:gd name="connsiteX329" fmla="*/ 587935 w 4963683"/>
                <a:gd name="connsiteY329" fmla="*/ 536408 h 1230400"/>
                <a:gd name="connsiteX330" fmla="*/ 589845 w 4963683"/>
                <a:gd name="connsiteY330" fmla="*/ 541485 h 1230400"/>
                <a:gd name="connsiteX331" fmla="*/ 589845 w 4963683"/>
                <a:gd name="connsiteY331" fmla="*/ 552003 h 1230400"/>
                <a:gd name="connsiteX332" fmla="*/ 592393 w 4963683"/>
                <a:gd name="connsiteY332" fmla="*/ 552003 h 1230400"/>
                <a:gd name="connsiteX333" fmla="*/ 596852 w 4963683"/>
                <a:gd name="connsiteY333" fmla="*/ 554179 h 1230400"/>
                <a:gd name="connsiteX334" fmla="*/ 598763 w 4963683"/>
                <a:gd name="connsiteY334" fmla="*/ 559257 h 1230400"/>
                <a:gd name="connsiteX335" fmla="*/ 598763 w 4963683"/>
                <a:gd name="connsiteY335" fmla="*/ 568142 h 1230400"/>
                <a:gd name="connsiteX336" fmla="*/ 604337 w 4963683"/>
                <a:gd name="connsiteY336" fmla="*/ 568142 h 1230400"/>
                <a:gd name="connsiteX337" fmla="*/ 608796 w 4963683"/>
                <a:gd name="connsiteY337" fmla="*/ 570318 h 1230400"/>
                <a:gd name="connsiteX338" fmla="*/ 610707 w 4963683"/>
                <a:gd name="connsiteY338" fmla="*/ 575396 h 1230400"/>
                <a:gd name="connsiteX339" fmla="*/ 610707 w 4963683"/>
                <a:gd name="connsiteY339" fmla="*/ 585914 h 1230400"/>
                <a:gd name="connsiteX340" fmla="*/ 640326 w 4963683"/>
                <a:gd name="connsiteY340" fmla="*/ 585914 h 1230400"/>
                <a:gd name="connsiteX341" fmla="*/ 644785 w 4963683"/>
                <a:gd name="connsiteY341" fmla="*/ 588090 h 1230400"/>
                <a:gd name="connsiteX342" fmla="*/ 646696 w 4963683"/>
                <a:gd name="connsiteY342" fmla="*/ 593167 h 1230400"/>
                <a:gd name="connsiteX343" fmla="*/ 646696 w 4963683"/>
                <a:gd name="connsiteY343" fmla="*/ 604773 h 1230400"/>
                <a:gd name="connsiteX344" fmla="*/ 647811 w 4963683"/>
                <a:gd name="connsiteY344" fmla="*/ 605861 h 1230400"/>
                <a:gd name="connsiteX345" fmla="*/ 649722 w 4963683"/>
                <a:gd name="connsiteY345" fmla="*/ 610939 h 1230400"/>
                <a:gd name="connsiteX346" fmla="*/ 649722 w 4963683"/>
                <a:gd name="connsiteY346" fmla="*/ 623995 h 1230400"/>
                <a:gd name="connsiteX347" fmla="*/ 650837 w 4963683"/>
                <a:gd name="connsiteY347" fmla="*/ 625083 h 1230400"/>
                <a:gd name="connsiteX348" fmla="*/ 652747 w 4963683"/>
                <a:gd name="connsiteY348" fmla="*/ 630161 h 1230400"/>
                <a:gd name="connsiteX349" fmla="*/ 652747 w 4963683"/>
                <a:gd name="connsiteY349" fmla="*/ 642492 h 1230400"/>
                <a:gd name="connsiteX350" fmla="*/ 658321 w 4963683"/>
                <a:gd name="connsiteY350" fmla="*/ 642492 h 1230400"/>
                <a:gd name="connsiteX351" fmla="*/ 662780 w 4963683"/>
                <a:gd name="connsiteY351" fmla="*/ 644668 h 1230400"/>
                <a:gd name="connsiteX352" fmla="*/ 664691 w 4963683"/>
                <a:gd name="connsiteY352" fmla="*/ 649746 h 1230400"/>
                <a:gd name="connsiteX353" fmla="*/ 664691 w 4963683"/>
                <a:gd name="connsiteY353" fmla="*/ 658269 h 1230400"/>
                <a:gd name="connsiteX354" fmla="*/ 685234 w 4963683"/>
                <a:gd name="connsiteY354" fmla="*/ 658269 h 1230400"/>
                <a:gd name="connsiteX355" fmla="*/ 689692 w 4963683"/>
                <a:gd name="connsiteY355" fmla="*/ 660445 h 1230400"/>
                <a:gd name="connsiteX356" fmla="*/ 691603 w 4963683"/>
                <a:gd name="connsiteY356" fmla="*/ 665523 h 1230400"/>
                <a:gd name="connsiteX357" fmla="*/ 691603 w 4963683"/>
                <a:gd name="connsiteY357" fmla="*/ 676766 h 1230400"/>
                <a:gd name="connsiteX358" fmla="*/ 709120 w 4963683"/>
                <a:gd name="connsiteY358" fmla="*/ 676766 h 1230400"/>
                <a:gd name="connsiteX359" fmla="*/ 713579 w 4963683"/>
                <a:gd name="connsiteY359" fmla="*/ 678942 h 1230400"/>
                <a:gd name="connsiteX360" fmla="*/ 715490 w 4963683"/>
                <a:gd name="connsiteY360" fmla="*/ 684019 h 1230400"/>
                <a:gd name="connsiteX361" fmla="*/ 715490 w 4963683"/>
                <a:gd name="connsiteY361" fmla="*/ 694174 h 1230400"/>
                <a:gd name="connsiteX362" fmla="*/ 771863 w 4963683"/>
                <a:gd name="connsiteY362" fmla="*/ 694174 h 1230400"/>
                <a:gd name="connsiteX363" fmla="*/ 776322 w 4963683"/>
                <a:gd name="connsiteY363" fmla="*/ 696351 h 1230400"/>
                <a:gd name="connsiteX364" fmla="*/ 778233 w 4963683"/>
                <a:gd name="connsiteY364" fmla="*/ 701428 h 1230400"/>
                <a:gd name="connsiteX365" fmla="*/ 778233 w 4963683"/>
                <a:gd name="connsiteY365" fmla="*/ 715573 h 1230400"/>
                <a:gd name="connsiteX366" fmla="*/ 779348 w 4963683"/>
                <a:gd name="connsiteY366" fmla="*/ 716661 h 1230400"/>
                <a:gd name="connsiteX367" fmla="*/ 781259 w 4963683"/>
                <a:gd name="connsiteY367" fmla="*/ 721738 h 1230400"/>
                <a:gd name="connsiteX368" fmla="*/ 781259 w 4963683"/>
                <a:gd name="connsiteY368" fmla="*/ 770156 h 1230400"/>
                <a:gd name="connsiteX369" fmla="*/ 852601 w 4963683"/>
                <a:gd name="connsiteY369" fmla="*/ 770156 h 1230400"/>
                <a:gd name="connsiteX370" fmla="*/ 857060 w 4963683"/>
                <a:gd name="connsiteY370" fmla="*/ 772333 h 1230400"/>
                <a:gd name="connsiteX371" fmla="*/ 858970 w 4963683"/>
                <a:gd name="connsiteY371" fmla="*/ 777410 h 1230400"/>
                <a:gd name="connsiteX372" fmla="*/ 858970 w 4963683"/>
                <a:gd name="connsiteY372" fmla="*/ 789560 h 1230400"/>
                <a:gd name="connsiteX373" fmla="*/ 864544 w 4963683"/>
                <a:gd name="connsiteY373" fmla="*/ 789560 h 1230400"/>
                <a:gd name="connsiteX374" fmla="*/ 869003 w 4963683"/>
                <a:gd name="connsiteY374" fmla="*/ 791736 h 1230400"/>
                <a:gd name="connsiteX375" fmla="*/ 870914 w 4963683"/>
                <a:gd name="connsiteY375" fmla="*/ 796814 h 1230400"/>
                <a:gd name="connsiteX376" fmla="*/ 870914 w 4963683"/>
                <a:gd name="connsiteY376" fmla="*/ 808601 h 1230400"/>
                <a:gd name="connsiteX377" fmla="*/ 885565 w 4963683"/>
                <a:gd name="connsiteY377" fmla="*/ 808601 h 1230400"/>
                <a:gd name="connsiteX378" fmla="*/ 890023 w 4963683"/>
                <a:gd name="connsiteY378" fmla="*/ 810777 h 1230400"/>
                <a:gd name="connsiteX379" fmla="*/ 891934 w 4963683"/>
                <a:gd name="connsiteY379" fmla="*/ 815854 h 1230400"/>
                <a:gd name="connsiteX380" fmla="*/ 891934 w 4963683"/>
                <a:gd name="connsiteY380" fmla="*/ 824740 h 1230400"/>
                <a:gd name="connsiteX381" fmla="*/ 942415 w 4963683"/>
                <a:gd name="connsiteY381" fmla="*/ 824740 h 1230400"/>
                <a:gd name="connsiteX382" fmla="*/ 946874 w 4963683"/>
                <a:gd name="connsiteY382" fmla="*/ 826916 h 1230400"/>
                <a:gd name="connsiteX383" fmla="*/ 948785 w 4963683"/>
                <a:gd name="connsiteY383" fmla="*/ 831994 h 1230400"/>
                <a:gd name="connsiteX384" fmla="*/ 948785 w 4963683"/>
                <a:gd name="connsiteY384" fmla="*/ 845232 h 1230400"/>
                <a:gd name="connsiteX385" fmla="*/ 949900 w 4963683"/>
                <a:gd name="connsiteY385" fmla="*/ 846320 h 1230400"/>
                <a:gd name="connsiteX386" fmla="*/ 951811 w 4963683"/>
                <a:gd name="connsiteY386" fmla="*/ 851397 h 1230400"/>
                <a:gd name="connsiteX387" fmla="*/ 951811 w 4963683"/>
                <a:gd name="connsiteY387" fmla="*/ 862096 h 1230400"/>
                <a:gd name="connsiteX388" fmla="*/ 984297 w 4963683"/>
                <a:gd name="connsiteY388" fmla="*/ 862096 h 1230400"/>
                <a:gd name="connsiteX389" fmla="*/ 988756 w 4963683"/>
                <a:gd name="connsiteY389" fmla="*/ 864273 h 1230400"/>
                <a:gd name="connsiteX390" fmla="*/ 990666 w 4963683"/>
                <a:gd name="connsiteY390" fmla="*/ 869350 h 1230400"/>
                <a:gd name="connsiteX391" fmla="*/ 990666 w 4963683"/>
                <a:gd name="connsiteY391" fmla="*/ 882951 h 1230400"/>
                <a:gd name="connsiteX392" fmla="*/ 1005158 w 4963683"/>
                <a:gd name="connsiteY392" fmla="*/ 882951 h 1230400"/>
                <a:gd name="connsiteX393" fmla="*/ 1009617 w 4963683"/>
                <a:gd name="connsiteY393" fmla="*/ 885127 h 1230400"/>
                <a:gd name="connsiteX394" fmla="*/ 1011528 w 4963683"/>
                <a:gd name="connsiteY394" fmla="*/ 890204 h 1230400"/>
                <a:gd name="connsiteX395" fmla="*/ 1011528 w 4963683"/>
                <a:gd name="connsiteY395" fmla="*/ 901266 h 1230400"/>
                <a:gd name="connsiteX396" fmla="*/ 1094972 w 4963683"/>
                <a:gd name="connsiteY396" fmla="*/ 901266 h 1230400"/>
                <a:gd name="connsiteX397" fmla="*/ 1099431 w 4963683"/>
                <a:gd name="connsiteY397" fmla="*/ 903442 h 1230400"/>
                <a:gd name="connsiteX398" fmla="*/ 1101342 w 4963683"/>
                <a:gd name="connsiteY398" fmla="*/ 908520 h 1230400"/>
                <a:gd name="connsiteX399" fmla="*/ 1101342 w 4963683"/>
                <a:gd name="connsiteY399" fmla="*/ 920851 h 1230400"/>
                <a:gd name="connsiteX400" fmla="*/ 1139880 w 4963683"/>
                <a:gd name="connsiteY400" fmla="*/ 920851 h 1230400"/>
                <a:gd name="connsiteX401" fmla="*/ 1144338 w 4963683"/>
                <a:gd name="connsiteY401" fmla="*/ 923027 h 1230400"/>
                <a:gd name="connsiteX402" fmla="*/ 1146249 w 4963683"/>
                <a:gd name="connsiteY402" fmla="*/ 928105 h 1230400"/>
                <a:gd name="connsiteX403" fmla="*/ 1146249 w 4963683"/>
                <a:gd name="connsiteY403" fmla="*/ 938623 h 1230400"/>
                <a:gd name="connsiteX404" fmla="*/ 1256607 w 4963683"/>
                <a:gd name="connsiteY404" fmla="*/ 938623 h 1230400"/>
                <a:gd name="connsiteX405" fmla="*/ 1261065 w 4963683"/>
                <a:gd name="connsiteY405" fmla="*/ 940799 h 1230400"/>
                <a:gd name="connsiteX406" fmla="*/ 1262976 w 4963683"/>
                <a:gd name="connsiteY406" fmla="*/ 945876 h 1230400"/>
                <a:gd name="connsiteX407" fmla="*/ 1262976 w 4963683"/>
                <a:gd name="connsiteY407" fmla="*/ 959477 h 1230400"/>
                <a:gd name="connsiteX408" fmla="*/ 1328426 w 4963683"/>
                <a:gd name="connsiteY408" fmla="*/ 959477 h 1230400"/>
                <a:gd name="connsiteX409" fmla="*/ 1332885 w 4963683"/>
                <a:gd name="connsiteY409" fmla="*/ 961653 h 1230400"/>
                <a:gd name="connsiteX410" fmla="*/ 1334796 w 4963683"/>
                <a:gd name="connsiteY410" fmla="*/ 966730 h 1230400"/>
                <a:gd name="connsiteX411" fmla="*/ 1334796 w 4963683"/>
                <a:gd name="connsiteY411" fmla="*/ 977611 h 1230400"/>
                <a:gd name="connsiteX412" fmla="*/ 1397220 w 4963683"/>
                <a:gd name="connsiteY412" fmla="*/ 977611 h 1230400"/>
                <a:gd name="connsiteX413" fmla="*/ 1401679 w 4963683"/>
                <a:gd name="connsiteY413" fmla="*/ 979787 h 1230400"/>
                <a:gd name="connsiteX414" fmla="*/ 1403590 w 4963683"/>
                <a:gd name="connsiteY414" fmla="*/ 984865 h 1230400"/>
                <a:gd name="connsiteX415" fmla="*/ 1403590 w 4963683"/>
                <a:gd name="connsiteY415" fmla="*/ 1000823 h 1230400"/>
                <a:gd name="connsiteX416" fmla="*/ 1474932 w 4963683"/>
                <a:gd name="connsiteY416" fmla="*/ 1000823 h 1230400"/>
                <a:gd name="connsiteX417" fmla="*/ 1479391 w 4963683"/>
                <a:gd name="connsiteY417" fmla="*/ 1002999 h 1230400"/>
                <a:gd name="connsiteX418" fmla="*/ 1481302 w 4963683"/>
                <a:gd name="connsiteY418" fmla="*/ 1008076 h 1230400"/>
                <a:gd name="connsiteX419" fmla="*/ 1481302 w 4963683"/>
                <a:gd name="connsiteY419" fmla="*/ 1016599 h 1230400"/>
                <a:gd name="connsiteX420" fmla="*/ 1594526 w 4963683"/>
                <a:gd name="connsiteY420" fmla="*/ 1016599 h 1230400"/>
                <a:gd name="connsiteX421" fmla="*/ 1598985 w 4963683"/>
                <a:gd name="connsiteY421" fmla="*/ 1018775 h 1230400"/>
                <a:gd name="connsiteX422" fmla="*/ 1600896 w 4963683"/>
                <a:gd name="connsiteY422" fmla="*/ 1023853 h 1230400"/>
                <a:gd name="connsiteX423" fmla="*/ 1600896 w 4963683"/>
                <a:gd name="connsiteY423" fmla="*/ 1034915 h 1230400"/>
                <a:gd name="connsiteX424" fmla="*/ 1609495 w 4963683"/>
                <a:gd name="connsiteY424" fmla="*/ 1034915 h 1230400"/>
                <a:gd name="connsiteX425" fmla="*/ 1613954 w 4963683"/>
                <a:gd name="connsiteY425" fmla="*/ 1037091 h 1230400"/>
                <a:gd name="connsiteX426" fmla="*/ 1615865 w 4963683"/>
                <a:gd name="connsiteY426" fmla="*/ 1042168 h 1230400"/>
                <a:gd name="connsiteX427" fmla="*/ 1615865 w 4963683"/>
                <a:gd name="connsiteY427" fmla="*/ 1051598 h 1230400"/>
                <a:gd name="connsiteX428" fmla="*/ 1633382 w 4963683"/>
                <a:gd name="connsiteY428" fmla="*/ 1051598 h 1230400"/>
                <a:gd name="connsiteX429" fmla="*/ 1637841 w 4963683"/>
                <a:gd name="connsiteY429" fmla="*/ 1053774 h 1230400"/>
                <a:gd name="connsiteX430" fmla="*/ 1639751 w 4963683"/>
                <a:gd name="connsiteY430" fmla="*/ 1058852 h 1230400"/>
                <a:gd name="connsiteX431" fmla="*/ 1639751 w 4963683"/>
                <a:gd name="connsiteY431" fmla="*/ 1073178 h 1230400"/>
                <a:gd name="connsiteX432" fmla="*/ 1651217 w 4963683"/>
                <a:gd name="connsiteY432" fmla="*/ 1073178 h 1230400"/>
                <a:gd name="connsiteX433" fmla="*/ 1655676 w 4963683"/>
                <a:gd name="connsiteY433" fmla="*/ 1075354 h 1230400"/>
                <a:gd name="connsiteX434" fmla="*/ 1657587 w 4963683"/>
                <a:gd name="connsiteY434" fmla="*/ 1080431 h 1230400"/>
                <a:gd name="connsiteX435" fmla="*/ 1657587 w 4963683"/>
                <a:gd name="connsiteY435" fmla="*/ 1092763 h 1230400"/>
                <a:gd name="connsiteX436" fmla="*/ 1836738 w 4963683"/>
                <a:gd name="connsiteY436" fmla="*/ 1092763 h 1230400"/>
                <a:gd name="connsiteX437" fmla="*/ 1841197 w 4963683"/>
                <a:gd name="connsiteY437" fmla="*/ 1094939 h 1230400"/>
                <a:gd name="connsiteX438" fmla="*/ 1843108 w 4963683"/>
                <a:gd name="connsiteY438" fmla="*/ 1100016 h 1230400"/>
                <a:gd name="connsiteX439" fmla="*/ 1843108 w 4963683"/>
                <a:gd name="connsiteY439" fmla="*/ 1115974 h 1230400"/>
                <a:gd name="connsiteX440" fmla="*/ 1983403 w 4963683"/>
                <a:gd name="connsiteY440" fmla="*/ 1115974 h 1230400"/>
                <a:gd name="connsiteX441" fmla="*/ 1987862 w 4963683"/>
                <a:gd name="connsiteY441" fmla="*/ 1118150 h 1230400"/>
                <a:gd name="connsiteX442" fmla="*/ 1989773 w 4963683"/>
                <a:gd name="connsiteY442" fmla="*/ 1123228 h 1230400"/>
                <a:gd name="connsiteX443" fmla="*/ 1989773 w 4963683"/>
                <a:gd name="connsiteY443" fmla="*/ 1135559 h 1230400"/>
                <a:gd name="connsiteX444" fmla="*/ 2189786 w 4963683"/>
                <a:gd name="connsiteY444" fmla="*/ 1135559 h 1230400"/>
                <a:gd name="connsiteX445" fmla="*/ 2194244 w 4963683"/>
                <a:gd name="connsiteY445" fmla="*/ 1137735 h 1230400"/>
                <a:gd name="connsiteX446" fmla="*/ 2196155 w 4963683"/>
                <a:gd name="connsiteY446" fmla="*/ 1142813 h 1230400"/>
                <a:gd name="connsiteX447" fmla="*/ 2196155 w 4963683"/>
                <a:gd name="connsiteY447" fmla="*/ 1155325 h 1230400"/>
                <a:gd name="connsiteX448" fmla="*/ 2704308 w 4963683"/>
                <a:gd name="connsiteY448" fmla="*/ 1155325 h 1230400"/>
                <a:gd name="connsiteX449" fmla="*/ 2708767 w 4963683"/>
                <a:gd name="connsiteY449" fmla="*/ 1157501 h 1230400"/>
                <a:gd name="connsiteX450" fmla="*/ 2710678 w 4963683"/>
                <a:gd name="connsiteY450" fmla="*/ 1162579 h 1230400"/>
                <a:gd name="connsiteX451" fmla="*/ 2710678 w 4963683"/>
                <a:gd name="connsiteY451" fmla="*/ 1174185 h 1230400"/>
                <a:gd name="connsiteX452" fmla="*/ 3577770 w 4963683"/>
                <a:gd name="connsiteY452" fmla="*/ 1174185 h 1230400"/>
                <a:gd name="connsiteX453" fmla="*/ 3582229 w 4963683"/>
                <a:gd name="connsiteY453" fmla="*/ 1176361 h 1230400"/>
                <a:gd name="connsiteX454" fmla="*/ 3584139 w 4963683"/>
                <a:gd name="connsiteY454" fmla="*/ 1181438 h 1230400"/>
                <a:gd name="connsiteX455" fmla="*/ 3584139 w 4963683"/>
                <a:gd name="connsiteY455" fmla="*/ 1195764 h 1230400"/>
                <a:gd name="connsiteX456" fmla="*/ 3685420 w 4963683"/>
                <a:gd name="connsiteY456" fmla="*/ 1195764 h 1230400"/>
                <a:gd name="connsiteX457" fmla="*/ 3689879 w 4963683"/>
                <a:gd name="connsiteY457" fmla="*/ 1197941 h 1230400"/>
                <a:gd name="connsiteX458" fmla="*/ 3691790 w 4963683"/>
                <a:gd name="connsiteY458" fmla="*/ 1203018 h 1230400"/>
                <a:gd name="connsiteX459" fmla="*/ 3691790 w 4963683"/>
                <a:gd name="connsiteY459" fmla="*/ 1215531 h 1230400"/>
                <a:gd name="connsiteX460" fmla="*/ 4963684 w 4963683"/>
                <a:gd name="connsiteY460" fmla="*/ 1215531 h 1230400"/>
                <a:gd name="connsiteX461" fmla="*/ 4963684 w 4963683"/>
                <a:gd name="connsiteY461" fmla="*/ 1230038 h 1230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</a:cxnLst>
              <a:rect l="l" t="t" r="r" b="b"/>
              <a:pathLst>
                <a:path w="4963683" h="1230400">
                  <a:moveTo>
                    <a:pt x="4963684" y="1230401"/>
                  </a:moveTo>
                  <a:lnTo>
                    <a:pt x="3685420" y="1230401"/>
                  </a:lnTo>
                  <a:cubicBezTo>
                    <a:pt x="3683668" y="1230401"/>
                    <a:pt x="3682076" y="1229675"/>
                    <a:pt x="3680961" y="1228225"/>
                  </a:cubicBezTo>
                  <a:cubicBezTo>
                    <a:pt x="3679846" y="1226955"/>
                    <a:pt x="3679050" y="1224960"/>
                    <a:pt x="3679050" y="1223147"/>
                  </a:cubicBezTo>
                  <a:lnTo>
                    <a:pt x="3679050" y="1210634"/>
                  </a:lnTo>
                  <a:lnTo>
                    <a:pt x="3577770" y="1210634"/>
                  </a:lnTo>
                  <a:cubicBezTo>
                    <a:pt x="3576018" y="1210634"/>
                    <a:pt x="3574425" y="1209909"/>
                    <a:pt x="3573311" y="1208458"/>
                  </a:cubicBezTo>
                  <a:cubicBezTo>
                    <a:pt x="3572037" y="1207189"/>
                    <a:pt x="3571400" y="1205194"/>
                    <a:pt x="3571400" y="1203381"/>
                  </a:cubicBezTo>
                  <a:lnTo>
                    <a:pt x="3571400" y="1189055"/>
                  </a:lnTo>
                  <a:lnTo>
                    <a:pt x="2704308" y="1189055"/>
                  </a:lnTo>
                  <a:cubicBezTo>
                    <a:pt x="2702716" y="1189055"/>
                    <a:pt x="2700964" y="1188330"/>
                    <a:pt x="2699849" y="1186879"/>
                  </a:cubicBezTo>
                  <a:cubicBezTo>
                    <a:pt x="2698734" y="1185428"/>
                    <a:pt x="2697938" y="1183615"/>
                    <a:pt x="2697938" y="1181801"/>
                  </a:cubicBezTo>
                  <a:lnTo>
                    <a:pt x="2697938" y="1170195"/>
                  </a:lnTo>
                  <a:lnTo>
                    <a:pt x="2189786" y="1170195"/>
                  </a:lnTo>
                  <a:cubicBezTo>
                    <a:pt x="2188034" y="1170195"/>
                    <a:pt x="2186441" y="1169470"/>
                    <a:pt x="2185327" y="1168019"/>
                  </a:cubicBezTo>
                  <a:cubicBezTo>
                    <a:pt x="2184212" y="1166568"/>
                    <a:pt x="2183416" y="1164755"/>
                    <a:pt x="2183416" y="1162942"/>
                  </a:cubicBezTo>
                  <a:lnTo>
                    <a:pt x="2183416" y="1150429"/>
                  </a:lnTo>
                  <a:lnTo>
                    <a:pt x="1983403" y="1150429"/>
                  </a:lnTo>
                  <a:cubicBezTo>
                    <a:pt x="1981652" y="1150429"/>
                    <a:pt x="1980059" y="1149704"/>
                    <a:pt x="1978944" y="1148253"/>
                  </a:cubicBezTo>
                  <a:cubicBezTo>
                    <a:pt x="1977830" y="1146984"/>
                    <a:pt x="1977033" y="1144989"/>
                    <a:pt x="1977033" y="1143176"/>
                  </a:cubicBezTo>
                  <a:lnTo>
                    <a:pt x="1977033" y="1130844"/>
                  </a:lnTo>
                  <a:lnTo>
                    <a:pt x="1836897" y="1130844"/>
                  </a:lnTo>
                  <a:cubicBezTo>
                    <a:pt x="1835146" y="1130844"/>
                    <a:pt x="1833553" y="1130119"/>
                    <a:pt x="1832438" y="1128668"/>
                  </a:cubicBezTo>
                  <a:cubicBezTo>
                    <a:pt x="1831165" y="1127399"/>
                    <a:pt x="1830528" y="1125404"/>
                    <a:pt x="1830528" y="1123591"/>
                  </a:cubicBezTo>
                  <a:lnTo>
                    <a:pt x="1830528" y="1107633"/>
                  </a:lnTo>
                  <a:lnTo>
                    <a:pt x="1651376" y="1107633"/>
                  </a:lnTo>
                  <a:cubicBezTo>
                    <a:pt x="1649625" y="1107633"/>
                    <a:pt x="1648032" y="1106907"/>
                    <a:pt x="1646917" y="1105456"/>
                  </a:cubicBezTo>
                  <a:cubicBezTo>
                    <a:pt x="1645803" y="1104006"/>
                    <a:pt x="1645007" y="1102192"/>
                    <a:pt x="1645007" y="1100379"/>
                  </a:cubicBezTo>
                  <a:lnTo>
                    <a:pt x="1645007" y="1088048"/>
                  </a:lnTo>
                  <a:lnTo>
                    <a:pt x="1633541" y="1088048"/>
                  </a:lnTo>
                  <a:cubicBezTo>
                    <a:pt x="1631789" y="1088048"/>
                    <a:pt x="1630197" y="1087322"/>
                    <a:pt x="1629082" y="1085872"/>
                  </a:cubicBezTo>
                  <a:cubicBezTo>
                    <a:pt x="1627967" y="1084421"/>
                    <a:pt x="1627171" y="1082608"/>
                    <a:pt x="1627171" y="1080794"/>
                  </a:cubicBezTo>
                  <a:lnTo>
                    <a:pt x="1627171" y="1066468"/>
                  </a:lnTo>
                  <a:lnTo>
                    <a:pt x="1609654" y="1066468"/>
                  </a:lnTo>
                  <a:cubicBezTo>
                    <a:pt x="1608062" y="1066468"/>
                    <a:pt x="1606310" y="1065743"/>
                    <a:pt x="1605195" y="1064292"/>
                  </a:cubicBezTo>
                  <a:cubicBezTo>
                    <a:pt x="1604080" y="1063023"/>
                    <a:pt x="1603284" y="1061028"/>
                    <a:pt x="1603284" y="1059214"/>
                  </a:cubicBezTo>
                  <a:lnTo>
                    <a:pt x="1603284" y="1049785"/>
                  </a:lnTo>
                  <a:lnTo>
                    <a:pt x="1594685" y="1049785"/>
                  </a:lnTo>
                  <a:cubicBezTo>
                    <a:pt x="1592933" y="1049785"/>
                    <a:pt x="1591341" y="1049059"/>
                    <a:pt x="1590226" y="1047609"/>
                  </a:cubicBezTo>
                  <a:cubicBezTo>
                    <a:pt x="1589111" y="1046158"/>
                    <a:pt x="1588315" y="1044344"/>
                    <a:pt x="1588315" y="1042531"/>
                  </a:cubicBezTo>
                  <a:lnTo>
                    <a:pt x="1588315" y="1031469"/>
                  </a:lnTo>
                  <a:lnTo>
                    <a:pt x="1475092" y="1031469"/>
                  </a:lnTo>
                  <a:cubicBezTo>
                    <a:pt x="1473499" y="1031469"/>
                    <a:pt x="1471747" y="1030744"/>
                    <a:pt x="1470633" y="1029293"/>
                  </a:cubicBezTo>
                  <a:cubicBezTo>
                    <a:pt x="1469518" y="1027842"/>
                    <a:pt x="1468722" y="1026029"/>
                    <a:pt x="1468722" y="1024216"/>
                  </a:cubicBezTo>
                  <a:lnTo>
                    <a:pt x="1468722" y="1015693"/>
                  </a:lnTo>
                  <a:lnTo>
                    <a:pt x="1397380" y="1015693"/>
                  </a:lnTo>
                  <a:cubicBezTo>
                    <a:pt x="1395787" y="1015693"/>
                    <a:pt x="1394036" y="1014967"/>
                    <a:pt x="1392921" y="1013516"/>
                  </a:cubicBezTo>
                  <a:cubicBezTo>
                    <a:pt x="1391647" y="1012066"/>
                    <a:pt x="1391010" y="1010252"/>
                    <a:pt x="1391010" y="1008439"/>
                  </a:cubicBezTo>
                  <a:lnTo>
                    <a:pt x="1391010" y="992481"/>
                  </a:lnTo>
                  <a:lnTo>
                    <a:pt x="1328586" y="992481"/>
                  </a:lnTo>
                  <a:cubicBezTo>
                    <a:pt x="1326834" y="992481"/>
                    <a:pt x="1325241" y="991756"/>
                    <a:pt x="1324127" y="990305"/>
                  </a:cubicBezTo>
                  <a:cubicBezTo>
                    <a:pt x="1323012" y="989035"/>
                    <a:pt x="1322216" y="987041"/>
                    <a:pt x="1322216" y="985227"/>
                  </a:cubicBezTo>
                  <a:lnTo>
                    <a:pt x="1322216" y="974347"/>
                  </a:lnTo>
                  <a:lnTo>
                    <a:pt x="1256766" y="974347"/>
                  </a:lnTo>
                  <a:cubicBezTo>
                    <a:pt x="1255173" y="974347"/>
                    <a:pt x="1253422" y="973621"/>
                    <a:pt x="1252307" y="972171"/>
                  </a:cubicBezTo>
                  <a:cubicBezTo>
                    <a:pt x="1251192" y="970901"/>
                    <a:pt x="1250396" y="968906"/>
                    <a:pt x="1250396" y="967093"/>
                  </a:cubicBezTo>
                  <a:lnTo>
                    <a:pt x="1250396" y="953493"/>
                  </a:lnTo>
                  <a:lnTo>
                    <a:pt x="1140039" y="953493"/>
                  </a:lnTo>
                  <a:cubicBezTo>
                    <a:pt x="1138446" y="953493"/>
                    <a:pt x="1136695" y="952767"/>
                    <a:pt x="1135580" y="951316"/>
                  </a:cubicBezTo>
                  <a:cubicBezTo>
                    <a:pt x="1134465" y="949866"/>
                    <a:pt x="1133669" y="948052"/>
                    <a:pt x="1133669" y="946239"/>
                  </a:cubicBezTo>
                  <a:lnTo>
                    <a:pt x="1133669" y="935721"/>
                  </a:lnTo>
                  <a:lnTo>
                    <a:pt x="1095132" y="935721"/>
                  </a:lnTo>
                  <a:cubicBezTo>
                    <a:pt x="1093380" y="935721"/>
                    <a:pt x="1091788" y="934996"/>
                    <a:pt x="1090673" y="933545"/>
                  </a:cubicBezTo>
                  <a:cubicBezTo>
                    <a:pt x="1089558" y="932276"/>
                    <a:pt x="1088762" y="930281"/>
                    <a:pt x="1088762" y="928467"/>
                  </a:cubicBezTo>
                  <a:lnTo>
                    <a:pt x="1088762" y="916136"/>
                  </a:lnTo>
                  <a:lnTo>
                    <a:pt x="1005317" y="916136"/>
                  </a:lnTo>
                  <a:cubicBezTo>
                    <a:pt x="1003725" y="916136"/>
                    <a:pt x="1001973" y="915411"/>
                    <a:pt x="1000858" y="913960"/>
                  </a:cubicBezTo>
                  <a:cubicBezTo>
                    <a:pt x="999584" y="912691"/>
                    <a:pt x="998947" y="910696"/>
                    <a:pt x="998947" y="908883"/>
                  </a:cubicBezTo>
                  <a:lnTo>
                    <a:pt x="998947" y="897821"/>
                  </a:lnTo>
                  <a:lnTo>
                    <a:pt x="984297" y="897821"/>
                  </a:lnTo>
                  <a:cubicBezTo>
                    <a:pt x="982704" y="897821"/>
                    <a:pt x="980953" y="897095"/>
                    <a:pt x="979838" y="895645"/>
                  </a:cubicBezTo>
                  <a:cubicBezTo>
                    <a:pt x="978723" y="894194"/>
                    <a:pt x="977927" y="892380"/>
                    <a:pt x="977927" y="890567"/>
                  </a:cubicBezTo>
                  <a:lnTo>
                    <a:pt x="977927" y="876966"/>
                  </a:lnTo>
                  <a:lnTo>
                    <a:pt x="945441" y="876966"/>
                  </a:lnTo>
                  <a:cubicBezTo>
                    <a:pt x="943689" y="876966"/>
                    <a:pt x="942097" y="876241"/>
                    <a:pt x="940982" y="874790"/>
                  </a:cubicBezTo>
                  <a:cubicBezTo>
                    <a:pt x="939867" y="873340"/>
                    <a:pt x="939071" y="871526"/>
                    <a:pt x="939071" y="869713"/>
                  </a:cubicBezTo>
                  <a:lnTo>
                    <a:pt x="939071" y="857926"/>
                  </a:lnTo>
                  <a:cubicBezTo>
                    <a:pt x="939071" y="857926"/>
                    <a:pt x="938275" y="857382"/>
                    <a:pt x="937956" y="856838"/>
                  </a:cubicBezTo>
                  <a:cubicBezTo>
                    <a:pt x="936682" y="855387"/>
                    <a:pt x="936045" y="853573"/>
                    <a:pt x="936045" y="851760"/>
                  </a:cubicBezTo>
                  <a:lnTo>
                    <a:pt x="936045" y="839792"/>
                  </a:lnTo>
                  <a:lnTo>
                    <a:pt x="885565" y="839792"/>
                  </a:lnTo>
                  <a:cubicBezTo>
                    <a:pt x="883813" y="839792"/>
                    <a:pt x="882220" y="839066"/>
                    <a:pt x="881106" y="837615"/>
                  </a:cubicBezTo>
                  <a:cubicBezTo>
                    <a:pt x="879991" y="836346"/>
                    <a:pt x="879195" y="834351"/>
                    <a:pt x="879195" y="832538"/>
                  </a:cubicBezTo>
                  <a:lnTo>
                    <a:pt x="879195" y="823652"/>
                  </a:lnTo>
                  <a:lnTo>
                    <a:pt x="864544" y="823652"/>
                  </a:lnTo>
                  <a:cubicBezTo>
                    <a:pt x="862952" y="823652"/>
                    <a:pt x="861200" y="822927"/>
                    <a:pt x="860085" y="821476"/>
                  </a:cubicBezTo>
                  <a:cubicBezTo>
                    <a:pt x="858970" y="820025"/>
                    <a:pt x="858174" y="818212"/>
                    <a:pt x="858174" y="816398"/>
                  </a:cubicBezTo>
                  <a:lnTo>
                    <a:pt x="858174" y="804611"/>
                  </a:lnTo>
                  <a:lnTo>
                    <a:pt x="852601" y="804611"/>
                  </a:lnTo>
                  <a:cubicBezTo>
                    <a:pt x="850849" y="804611"/>
                    <a:pt x="849256" y="803886"/>
                    <a:pt x="848142" y="802435"/>
                  </a:cubicBezTo>
                  <a:cubicBezTo>
                    <a:pt x="847027" y="801166"/>
                    <a:pt x="846231" y="799171"/>
                    <a:pt x="846231" y="797358"/>
                  </a:cubicBezTo>
                  <a:lnTo>
                    <a:pt x="846231" y="785208"/>
                  </a:lnTo>
                  <a:lnTo>
                    <a:pt x="774889" y="785208"/>
                  </a:lnTo>
                  <a:cubicBezTo>
                    <a:pt x="773296" y="785208"/>
                    <a:pt x="771545" y="784482"/>
                    <a:pt x="770430" y="783032"/>
                  </a:cubicBezTo>
                  <a:cubicBezTo>
                    <a:pt x="769315" y="781581"/>
                    <a:pt x="768519" y="779768"/>
                    <a:pt x="768519" y="777954"/>
                  </a:cubicBezTo>
                  <a:lnTo>
                    <a:pt x="768519" y="728448"/>
                  </a:lnTo>
                  <a:cubicBezTo>
                    <a:pt x="768519" y="728448"/>
                    <a:pt x="767723" y="727723"/>
                    <a:pt x="767404" y="727360"/>
                  </a:cubicBezTo>
                  <a:cubicBezTo>
                    <a:pt x="766290" y="725909"/>
                    <a:pt x="765493" y="724096"/>
                    <a:pt x="765493" y="722282"/>
                  </a:cubicBezTo>
                  <a:lnTo>
                    <a:pt x="765493" y="709226"/>
                  </a:lnTo>
                  <a:lnTo>
                    <a:pt x="709120" y="709226"/>
                  </a:lnTo>
                  <a:cubicBezTo>
                    <a:pt x="707369" y="709226"/>
                    <a:pt x="705776" y="708500"/>
                    <a:pt x="704662" y="707050"/>
                  </a:cubicBezTo>
                  <a:cubicBezTo>
                    <a:pt x="703388" y="705780"/>
                    <a:pt x="702751" y="703786"/>
                    <a:pt x="702751" y="701972"/>
                  </a:cubicBezTo>
                  <a:lnTo>
                    <a:pt x="702751" y="691817"/>
                  </a:lnTo>
                  <a:lnTo>
                    <a:pt x="685234" y="691817"/>
                  </a:lnTo>
                  <a:cubicBezTo>
                    <a:pt x="683641" y="691817"/>
                    <a:pt x="681889" y="691092"/>
                    <a:pt x="680775" y="689641"/>
                  </a:cubicBezTo>
                  <a:cubicBezTo>
                    <a:pt x="679660" y="688372"/>
                    <a:pt x="678864" y="686377"/>
                    <a:pt x="678864" y="684563"/>
                  </a:cubicBezTo>
                  <a:lnTo>
                    <a:pt x="678864" y="673320"/>
                  </a:lnTo>
                  <a:lnTo>
                    <a:pt x="658321" y="673320"/>
                  </a:lnTo>
                  <a:cubicBezTo>
                    <a:pt x="656569" y="673320"/>
                    <a:pt x="654977" y="672595"/>
                    <a:pt x="653862" y="671144"/>
                  </a:cubicBezTo>
                  <a:cubicBezTo>
                    <a:pt x="652747" y="669693"/>
                    <a:pt x="651951" y="667880"/>
                    <a:pt x="651951" y="666067"/>
                  </a:cubicBezTo>
                  <a:lnTo>
                    <a:pt x="651951" y="657544"/>
                  </a:lnTo>
                  <a:lnTo>
                    <a:pt x="646378" y="657544"/>
                  </a:lnTo>
                  <a:cubicBezTo>
                    <a:pt x="644626" y="657544"/>
                    <a:pt x="643033" y="656818"/>
                    <a:pt x="641919" y="655367"/>
                  </a:cubicBezTo>
                  <a:cubicBezTo>
                    <a:pt x="640804" y="653917"/>
                    <a:pt x="640008" y="652103"/>
                    <a:pt x="640008" y="650290"/>
                  </a:cubicBezTo>
                  <a:lnTo>
                    <a:pt x="640008" y="636871"/>
                  </a:lnTo>
                  <a:cubicBezTo>
                    <a:pt x="640008" y="636871"/>
                    <a:pt x="639212" y="636145"/>
                    <a:pt x="638893" y="635783"/>
                  </a:cubicBezTo>
                  <a:cubicBezTo>
                    <a:pt x="637778" y="634513"/>
                    <a:pt x="636982" y="632518"/>
                    <a:pt x="636982" y="630705"/>
                  </a:cubicBezTo>
                  <a:lnTo>
                    <a:pt x="636982" y="617648"/>
                  </a:lnTo>
                  <a:cubicBezTo>
                    <a:pt x="636982" y="617648"/>
                    <a:pt x="636186" y="617104"/>
                    <a:pt x="635867" y="616560"/>
                  </a:cubicBezTo>
                  <a:cubicBezTo>
                    <a:pt x="634753" y="615291"/>
                    <a:pt x="633957" y="613296"/>
                    <a:pt x="633957" y="611483"/>
                  </a:cubicBezTo>
                  <a:lnTo>
                    <a:pt x="633957" y="600965"/>
                  </a:lnTo>
                  <a:lnTo>
                    <a:pt x="604496" y="600965"/>
                  </a:lnTo>
                  <a:cubicBezTo>
                    <a:pt x="602744" y="600965"/>
                    <a:pt x="601152" y="600240"/>
                    <a:pt x="600037" y="598789"/>
                  </a:cubicBezTo>
                  <a:cubicBezTo>
                    <a:pt x="598923" y="597338"/>
                    <a:pt x="598126" y="595525"/>
                    <a:pt x="598126" y="593711"/>
                  </a:cubicBezTo>
                  <a:lnTo>
                    <a:pt x="598126" y="583194"/>
                  </a:lnTo>
                  <a:lnTo>
                    <a:pt x="592553" y="583194"/>
                  </a:lnTo>
                  <a:cubicBezTo>
                    <a:pt x="590960" y="583194"/>
                    <a:pt x="589209" y="582468"/>
                    <a:pt x="588094" y="581018"/>
                  </a:cubicBezTo>
                  <a:cubicBezTo>
                    <a:pt x="586979" y="579748"/>
                    <a:pt x="586183" y="577753"/>
                    <a:pt x="586183" y="575940"/>
                  </a:cubicBezTo>
                  <a:lnTo>
                    <a:pt x="586183" y="567054"/>
                  </a:lnTo>
                  <a:lnTo>
                    <a:pt x="583635" y="567054"/>
                  </a:lnTo>
                  <a:cubicBezTo>
                    <a:pt x="582042" y="567054"/>
                    <a:pt x="580291" y="566329"/>
                    <a:pt x="579176" y="564878"/>
                  </a:cubicBezTo>
                  <a:cubicBezTo>
                    <a:pt x="578061" y="563427"/>
                    <a:pt x="577265" y="561614"/>
                    <a:pt x="577265" y="559801"/>
                  </a:cubicBezTo>
                  <a:lnTo>
                    <a:pt x="577265" y="549283"/>
                  </a:lnTo>
                  <a:lnTo>
                    <a:pt x="550671" y="549283"/>
                  </a:lnTo>
                  <a:cubicBezTo>
                    <a:pt x="549079" y="549283"/>
                    <a:pt x="547327" y="548557"/>
                    <a:pt x="546212" y="547107"/>
                  </a:cubicBezTo>
                  <a:cubicBezTo>
                    <a:pt x="545098" y="545837"/>
                    <a:pt x="544301" y="543843"/>
                    <a:pt x="544301" y="542029"/>
                  </a:cubicBezTo>
                  <a:lnTo>
                    <a:pt x="544301" y="531149"/>
                  </a:lnTo>
                  <a:cubicBezTo>
                    <a:pt x="544301" y="531149"/>
                    <a:pt x="543505" y="530605"/>
                    <a:pt x="543187" y="530061"/>
                  </a:cubicBezTo>
                  <a:cubicBezTo>
                    <a:pt x="542072" y="528610"/>
                    <a:pt x="541276" y="526796"/>
                    <a:pt x="541276" y="524983"/>
                  </a:cubicBezTo>
                  <a:lnTo>
                    <a:pt x="541276" y="515916"/>
                  </a:lnTo>
                  <a:lnTo>
                    <a:pt x="508790" y="515916"/>
                  </a:lnTo>
                  <a:cubicBezTo>
                    <a:pt x="507038" y="515916"/>
                    <a:pt x="505445" y="515191"/>
                    <a:pt x="504331" y="513740"/>
                  </a:cubicBezTo>
                  <a:cubicBezTo>
                    <a:pt x="503216" y="512470"/>
                    <a:pt x="502420" y="510476"/>
                    <a:pt x="502420" y="508662"/>
                  </a:cubicBezTo>
                  <a:lnTo>
                    <a:pt x="502420" y="498145"/>
                  </a:lnTo>
                  <a:cubicBezTo>
                    <a:pt x="500827" y="498145"/>
                    <a:pt x="499394" y="497238"/>
                    <a:pt x="498279" y="495968"/>
                  </a:cubicBezTo>
                  <a:cubicBezTo>
                    <a:pt x="497005" y="494518"/>
                    <a:pt x="496368" y="492704"/>
                    <a:pt x="496368" y="490891"/>
                  </a:cubicBezTo>
                  <a:lnTo>
                    <a:pt x="496368" y="472938"/>
                  </a:lnTo>
                  <a:cubicBezTo>
                    <a:pt x="496368" y="472938"/>
                    <a:pt x="495572" y="472394"/>
                    <a:pt x="495254" y="471850"/>
                  </a:cubicBezTo>
                  <a:cubicBezTo>
                    <a:pt x="494139" y="470399"/>
                    <a:pt x="493343" y="468586"/>
                    <a:pt x="493343" y="466772"/>
                  </a:cubicBezTo>
                  <a:lnTo>
                    <a:pt x="493343" y="454441"/>
                  </a:lnTo>
                  <a:lnTo>
                    <a:pt x="481718" y="454441"/>
                  </a:lnTo>
                  <a:cubicBezTo>
                    <a:pt x="480125" y="454441"/>
                    <a:pt x="478374" y="453716"/>
                    <a:pt x="477259" y="452265"/>
                  </a:cubicBezTo>
                  <a:cubicBezTo>
                    <a:pt x="476144" y="450814"/>
                    <a:pt x="475348" y="449001"/>
                    <a:pt x="475348" y="447188"/>
                  </a:cubicBezTo>
                  <a:lnTo>
                    <a:pt x="475348" y="431592"/>
                  </a:lnTo>
                  <a:cubicBezTo>
                    <a:pt x="475348" y="431592"/>
                    <a:pt x="474552" y="430867"/>
                    <a:pt x="474233" y="430504"/>
                  </a:cubicBezTo>
                  <a:cubicBezTo>
                    <a:pt x="473119" y="429053"/>
                    <a:pt x="472322" y="427240"/>
                    <a:pt x="472322" y="425427"/>
                  </a:cubicBezTo>
                  <a:lnTo>
                    <a:pt x="472322" y="411282"/>
                  </a:lnTo>
                  <a:cubicBezTo>
                    <a:pt x="470730" y="411282"/>
                    <a:pt x="469297" y="410375"/>
                    <a:pt x="468182" y="409106"/>
                  </a:cubicBezTo>
                  <a:cubicBezTo>
                    <a:pt x="467067" y="407655"/>
                    <a:pt x="466271" y="405842"/>
                    <a:pt x="466271" y="404028"/>
                  </a:cubicBezTo>
                  <a:lnTo>
                    <a:pt x="466271" y="392241"/>
                  </a:lnTo>
                  <a:lnTo>
                    <a:pt x="415790" y="392241"/>
                  </a:lnTo>
                  <a:cubicBezTo>
                    <a:pt x="414038" y="392241"/>
                    <a:pt x="412446" y="391516"/>
                    <a:pt x="411331" y="390065"/>
                  </a:cubicBezTo>
                  <a:cubicBezTo>
                    <a:pt x="410217" y="388796"/>
                    <a:pt x="409420" y="386801"/>
                    <a:pt x="409420" y="384988"/>
                  </a:cubicBezTo>
                  <a:lnTo>
                    <a:pt x="409420" y="370662"/>
                  </a:lnTo>
                  <a:cubicBezTo>
                    <a:pt x="409420" y="370662"/>
                    <a:pt x="408624" y="370118"/>
                    <a:pt x="408306" y="369574"/>
                  </a:cubicBezTo>
                  <a:cubicBezTo>
                    <a:pt x="407032" y="368304"/>
                    <a:pt x="406395" y="366309"/>
                    <a:pt x="406395" y="364496"/>
                  </a:cubicBezTo>
                  <a:lnTo>
                    <a:pt x="406395" y="349989"/>
                  </a:lnTo>
                  <a:cubicBezTo>
                    <a:pt x="404802" y="349989"/>
                    <a:pt x="403369" y="349082"/>
                    <a:pt x="402254" y="347813"/>
                  </a:cubicBezTo>
                  <a:cubicBezTo>
                    <a:pt x="401140" y="346543"/>
                    <a:pt x="400343" y="344548"/>
                    <a:pt x="400343" y="342735"/>
                  </a:cubicBezTo>
                  <a:lnTo>
                    <a:pt x="400343" y="330585"/>
                  </a:lnTo>
                  <a:lnTo>
                    <a:pt x="376775" y="330585"/>
                  </a:lnTo>
                  <a:cubicBezTo>
                    <a:pt x="375023" y="330585"/>
                    <a:pt x="373431" y="329860"/>
                    <a:pt x="372316" y="328409"/>
                  </a:cubicBezTo>
                  <a:cubicBezTo>
                    <a:pt x="371201" y="326958"/>
                    <a:pt x="370405" y="325145"/>
                    <a:pt x="370405" y="323332"/>
                  </a:cubicBezTo>
                  <a:lnTo>
                    <a:pt x="370405" y="306829"/>
                  </a:lnTo>
                  <a:lnTo>
                    <a:pt x="364832" y="306829"/>
                  </a:lnTo>
                  <a:cubicBezTo>
                    <a:pt x="363080" y="306829"/>
                    <a:pt x="361487" y="306104"/>
                    <a:pt x="360373" y="304653"/>
                  </a:cubicBezTo>
                  <a:cubicBezTo>
                    <a:pt x="359258" y="303384"/>
                    <a:pt x="358462" y="301389"/>
                    <a:pt x="358462" y="299576"/>
                  </a:cubicBezTo>
                  <a:lnTo>
                    <a:pt x="358462" y="287970"/>
                  </a:lnTo>
                  <a:lnTo>
                    <a:pt x="322950" y="287970"/>
                  </a:lnTo>
                  <a:cubicBezTo>
                    <a:pt x="321358" y="287970"/>
                    <a:pt x="319606" y="287245"/>
                    <a:pt x="318491" y="285794"/>
                  </a:cubicBezTo>
                  <a:cubicBezTo>
                    <a:pt x="317376" y="284524"/>
                    <a:pt x="316580" y="282530"/>
                    <a:pt x="316580" y="280716"/>
                  </a:cubicBezTo>
                  <a:lnTo>
                    <a:pt x="316580" y="270380"/>
                  </a:lnTo>
                  <a:cubicBezTo>
                    <a:pt x="314988" y="270380"/>
                    <a:pt x="313554" y="269473"/>
                    <a:pt x="312440" y="268204"/>
                  </a:cubicBezTo>
                  <a:cubicBezTo>
                    <a:pt x="311166" y="266753"/>
                    <a:pt x="310529" y="264940"/>
                    <a:pt x="310529" y="263126"/>
                  </a:cubicBezTo>
                  <a:lnTo>
                    <a:pt x="310529" y="250795"/>
                  </a:lnTo>
                  <a:lnTo>
                    <a:pt x="284094" y="250795"/>
                  </a:lnTo>
                  <a:cubicBezTo>
                    <a:pt x="282502" y="250795"/>
                    <a:pt x="280750" y="250070"/>
                    <a:pt x="279635" y="248619"/>
                  </a:cubicBezTo>
                  <a:cubicBezTo>
                    <a:pt x="278520" y="247350"/>
                    <a:pt x="277724" y="245355"/>
                    <a:pt x="277724" y="243541"/>
                  </a:cubicBezTo>
                  <a:lnTo>
                    <a:pt x="277724" y="231754"/>
                  </a:lnTo>
                  <a:lnTo>
                    <a:pt x="272151" y="231754"/>
                  </a:lnTo>
                  <a:cubicBezTo>
                    <a:pt x="270558" y="231754"/>
                    <a:pt x="268806" y="231029"/>
                    <a:pt x="267692" y="229578"/>
                  </a:cubicBezTo>
                  <a:cubicBezTo>
                    <a:pt x="266577" y="228127"/>
                    <a:pt x="265781" y="226314"/>
                    <a:pt x="265781" y="224501"/>
                  </a:cubicBezTo>
                  <a:lnTo>
                    <a:pt x="265781" y="213076"/>
                  </a:lnTo>
                  <a:lnTo>
                    <a:pt x="248264" y="213076"/>
                  </a:lnTo>
                  <a:cubicBezTo>
                    <a:pt x="246671" y="213076"/>
                    <a:pt x="244920" y="212351"/>
                    <a:pt x="243805" y="210900"/>
                  </a:cubicBezTo>
                  <a:cubicBezTo>
                    <a:pt x="242690" y="209631"/>
                    <a:pt x="241894" y="207636"/>
                    <a:pt x="241894" y="205822"/>
                  </a:cubicBezTo>
                  <a:lnTo>
                    <a:pt x="241894" y="195305"/>
                  </a:lnTo>
                  <a:lnTo>
                    <a:pt x="218326" y="195305"/>
                  </a:lnTo>
                  <a:cubicBezTo>
                    <a:pt x="216733" y="195305"/>
                    <a:pt x="214981" y="194579"/>
                    <a:pt x="213867" y="193128"/>
                  </a:cubicBezTo>
                  <a:cubicBezTo>
                    <a:pt x="212593" y="191678"/>
                    <a:pt x="211956" y="189864"/>
                    <a:pt x="211956" y="188051"/>
                  </a:cubicBezTo>
                  <a:lnTo>
                    <a:pt x="211956" y="176445"/>
                  </a:lnTo>
                  <a:lnTo>
                    <a:pt x="191413" y="176445"/>
                  </a:lnTo>
                  <a:cubicBezTo>
                    <a:pt x="189661" y="176445"/>
                    <a:pt x="188069" y="175720"/>
                    <a:pt x="186954" y="174269"/>
                  </a:cubicBezTo>
                  <a:cubicBezTo>
                    <a:pt x="185840" y="172818"/>
                    <a:pt x="185043" y="171005"/>
                    <a:pt x="185043" y="169191"/>
                  </a:cubicBezTo>
                  <a:lnTo>
                    <a:pt x="185043" y="158130"/>
                  </a:lnTo>
                  <a:lnTo>
                    <a:pt x="176444" y="158130"/>
                  </a:lnTo>
                  <a:cubicBezTo>
                    <a:pt x="174692" y="158130"/>
                    <a:pt x="173100" y="157404"/>
                    <a:pt x="171985" y="155954"/>
                  </a:cubicBezTo>
                  <a:cubicBezTo>
                    <a:pt x="170870" y="154684"/>
                    <a:pt x="170074" y="152689"/>
                    <a:pt x="170074" y="150876"/>
                  </a:cubicBezTo>
                  <a:lnTo>
                    <a:pt x="170074" y="141990"/>
                  </a:lnTo>
                  <a:lnTo>
                    <a:pt x="152557" y="141990"/>
                  </a:lnTo>
                  <a:cubicBezTo>
                    <a:pt x="150806" y="141990"/>
                    <a:pt x="149213" y="141265"/>
                    <a:pt x="148098" y="139814"/>
                  </a:cubicBezTo>
                  <a:cubicBezTo>
                    <a:pt x="146984" y="138363"/>
                    <a:pt x="146187" y="136550"/>
                    <a:pt x="146187" y="134737"/>
                  </a:cubicBezTo>
                  <a:lnTo>
                    <a:pt x="146187" y="118597"/>
                  </a:lnTo>
                  <a:lnTo>
                    <a:pt x="128670" y="118597"/>
                  </a:lnTo>
                  <a:cubicBezTo>
                    <a:pt x="126919" y="118597"/>
                    <a:pt x="125326" y="117872"/>
                    <a:pt x="124212" y="116421"/>
                  </a:cubicBezTo>
                  <a:cubicBezTo>
                    <a:pt x="122938" y="115152"/>
                    <a:pt x="122301" y="113157"/>
                    <a:pt x="122301" y="111344"/>
                  </a:cubicBezTo>
                  <a:lnTo>
                    <a:pt x="122301" y="94116"/>
                  </a:lnTo>
                  <a:lnTo>
                    <a:pt x="65928" y="94116"/>
                  </a:lnTo>
                  <a:cubicBezTo>
                    <a:pt x="64335" y="94116"/>
                    <a:pt x="62583" y="93391"/>
                    <a:pt x="61469" y="91940"/>
                  </a:cubicBezTo>
                  <a:cubicBezTo>
                    <a:pt x="60354" y="90671"/>
                    <a:pt x="59558" y="88676"/>
                    <a:pt x="59558" y="86862"/>
                  </a:cubicBezTo>
                  <a:lnTo>
                    <a:pt x="59558" y="74531"/>
                  </a:lnTo>
                  <a:cubicBezTo>
                    <a:pt x="59558" y="74531"/>
                    <a:pt x="58762" y="73806"/>
                    <a:pt x="58443" y="73443"/>
                  </a:cubicBezTo>
                  <a:cubicBezTo>
                    <a:pt x="57328" y="71992"/>
                    <a:pt x="56532" y="70179"/>
                    <a:pt x="56532" y="68366"/>
                  </a:cubicBezTo>
                  <a:lnTo>
                    <a:pt x="56532" y="57304"/>
                  </a:lnTo>
                  <a:lnTo>
                    <a:pt x="35989" y="57304"/>
                  </a:lnTo>
                  <a:cubicBezTo>
                    <a:pt x="35989" y="57304"/>
                    <a:pt x="34875" y="57304"/>
                    <a:pt x="34875" y="57304"/>
                  </a:cubicBezTo>
                  <a:cubicBezTo>
                    <a:pt x="33601" y="57123"/>
                    <a:pt x="32327" y="56397"/>
                    <a:pt x="31371" y="55309"/>
                  </a:cubicBezTo>
                  <a:cubicBezTo>
                    <a:pt x="30257" y="54040"/>
                    <a:pt x="29460" y="52045"/>
                    <a:pt x="29460" y="50232"/>
                  </a:cubicBezTo>
                  <a:lnTo>
                    <a:pt x="29460" y="22668"/>
                  </a:lnTo>
                  <a:lnTo>
                    <a:pt x="0" y="22668"/>
                  </a:lnTo>
                  <a:lnTo>
                    <a:pt x="0" y="0"/>
                  </a:lnTo>
                  <a:lnTo>
                    <a:pt x="6370" y="0"/>
                  </a:lnTo>
                  <a:lnTo>
                    <a:pt x="6370" y="7254"/>
                  </a:lnTo>
                  <a:lnTo>
                    <a:pt x="35830" y="7254"/>
                  </a:lnTo>
                  <a:cubicBezTo>
                    <a:pt x="37582" y="7254"/>
                    <a:pt x="39174" y="7979"/>
                    <a:pt x="40289" y="9430"/>
                  </a:cubicBezTo>
                  <a:cubicBezTo>
                    <a:pt x="41404" y="10699"/>
                    <a:pt x="42200" y="12694"/>
                    <a:pt x="42200" y="14507"/>
                  </a:cubicBezTo>
                  <a:lnTo>
                    <a:pt x="42200" y="42071"/>
                  </a:lnTo>
                  <a:lnTo>
                    <a:pt x="62743" y="42071"/>
                  </a:lnTo>
                  <a:cubicBezTo>
                    <a:pt x="64494" y="42071"/>
                    <a:pt x="66087" y="42797"/>
                    <a:pt x="67202" y="44247"/>
                  </a:cubicBezTo>
                  <a:cubicBezTo>
                    <a:pt x="68316" y="45517"/>
                    <a:pt x="69113" y="47511"/>
                    <a:pt x="69113" y="49325"/>
                  </a:cubicBezTo>
                  <a:lnTo>
                    <a:pt x="69113" y="61656"/>
                  </a:lnTo>
                  <a:cubicBezTo>
                    <a:pt x="69113" y="61656"/>
                    <a:pt x="69909" y="62200"/>
                    <a:pt x="70227" y="62744"/>
                  </a:cubicBezTo>
                  <a:cubicBezTo>
                    <a:pt x="71342" y="64195"/>
                    <a:pt x="72138" y="66008"/>
                    <a:pt x="72138" y="67822"/>
                  </a:cubicBezTo>
                  <a:lnTo>
                    <a:pt x="72138" y="79065"/>
                  </a:lnTo>
                  <a:lnTo>
                    <a:pt x="128511" y="79065"/>
                  </a:lnTo>
                  <a:cubicBezTo>
                    <a:pt x="130263" y="79065"/>
                    <a:pt x="131855" y="79790"/>
                    <a:pt x="132970" y="81241"/>
                  </a:cubicBezTo>
                  <a:cubicBezTo>
                    <a:pt x="134085" y="82692"/>
                    <a:pt x="134881" y="84505"/>
                    <a:pt x="134881" y="86318"/>
                  </a:cubicBezTo>
                  <a:lnTo>
                    <a:pt x="134881" y="103546"/>
                  </a:lnTo>
                  <a:lnTo>
                    <a:pt x="152398" y="103546"/>
                  </a:lnTo>
                  <a:cubicBezTo>
                    <a:pt x="153990" y="103546"/>
                    <a:pt x="155742" y="104271"/>
                    <a:pt x="156857" y="105722"/>
                  </a:cubicBezTo>
                  <a:cubicBezTo>
                    <a:pt x="157972" y="106991"/>
                    <a:pt x="158768" y="108986"/>
                    <a:pt x="158768" y="110800"/>
                  </a:cubicBezTo>
                  <a:lnTo>
                    <a:pt x="158768" y="126939"/>
                  </a:lnTo>
                  <a:lnTo>
                    <a:pt x="176285" y="126939"/>
                  </a:lnTo>
                  <a:cubicBezTo>
                    <a:pt x="177877" y="126939"/>
                    <a:pt x="179629" y="127664"/>
                    <a:pt x="180744" y="129115"/>
                  </a:cubicBezTo>
                  <a:cubicBezTo>
                    <a:pt x="181858" y="130566"/>
                    <a:pt x="182655" y="132379"/>
                    <a:pt x="182655" y="134193"/>
                  </a:cubicBezTo>
                  <a:lnTo>
                    <a:pt x="182655" y="143078"/>
                  </a:lnTo>
                  <a:lnTo>
                    <a:pt x="191254" y="143078"/>
                  </a:lnTo>
                  <a:cubicBezTo>
                    <a:pt x="193006" y="143078"/>
                    <a:pt x="194598" y="143804"/>
                    <a:pt x="195713" y="145254"/>
                  </a:cubicBezTo>
                  <a:cubicBezTo>
                    <a:pt x="196827" y="146524"/>
                    <a:pt x="197624" y="148519"/>
                    <a:pt x="197624" y="150332"/>
                  </a:cubicBezTo>
                  <a:lnTo>
                    <a:pt x="197624" y="161394"/>
                  </a:lnTo>
                  <a:lnTo>
                    <a:pt x="218166" y="161394"/>
                  </a:lnTo>
                  <a:cubicBezTo>
                    <a:pt x="219918" y="161394"/>
                    <a:pt x="221511" y="162119"/>
                    <a:pt x="222625" y="163570"/>
                  </a:cubicBezTo>
                  <a:cubicBezTo>
                    <a:pt x="223740" y="165021"/>
                    <a:pt x="224536" y="166834"/>
                    <a:pt x="224536" y="168647"/>
                  </a:cubicBezTo>
                  <a:lnTo>
                    <a:pt x="224536" y="180253"/>
                  </a:lnTo>
                  <a:lnTo>
                    <a:pt x="248105" y="180253"/>
                  </a:lnTo>
                  <a:cubicBezTo>
                    <a:pt x="249856" y="180253"/>
                    <a:pt x="251449" y="180979"/>
                    <a:pt x="252563" y="182429"/>
                  </a:cubicBezTo>
                  <a:cubicBezTo>
                    <a:pt x="253678" y="183880"/>
                    <a:pt x="254474" y="185693"/>
                    <a:pt x="254474" y="187507"/>
                  </a:cubicBezTo>
                  <a:lnTo>
                    <a:pt x="254474" y="198025"/>
                  </a:lnTo>
                  <a:lnTo>
                    <a:pt x="271991" y="198025"/>
                  </a:lnTo>
                  <a:cubicBezTo>
                    <a:pt x="273743" y="198025"/>
                    <a:pt x="275336" y="198750"/>
                    <a:pt x="276450" y="200201"/>
                  </a:cubicBezTo>
                  <a:cubicBezTo>
                    <a:pt x="277565" y="201652"/>
                    <a:pt x="278361" y="203465"/>
                    <a:pt x="278361" y="205278"/>
                  </a:cubicBezTo>
                  <a:lnTo>
                    <a:pt x="278361" y="216703"/>
                  </a:lnTo>
                  <a:lnTo>
                    <a:pt x="283935" y="216703"/>
                  </a:lnTo>
                  <a:cubicBezTo>
                    <a:pt x="285687" y="216703"/>
                    <a:pt x="287279" y="217428"/>
                    <a:pt x="288394" y="218879"/>
                  </a:cubicBezTo>
                  <a:cubicBezTo>
                    <a:pt x="289508" y="220330"/>
                    <a:pt x="290305" y="222143"/>
                    <a:pt x="290305" y="223956"/>
                  </a:cubicBezTo>
                  <a:lnTo>
                    <a:pt x="290305" y="235744"/>
                  </a:lnTo>
                  <a:lnTo>
                    <a:pt x="316739" y="235744"/>
                  </a:lnTo>
                  <a:cubicBezTo>
                    <a:pt x="318491" y="235744"/>
                    <a:pt x="320084" y="236469"/>
                    <a:pt x="321198" y="237920"/>
                  </a:cubicBezTo>
                  <a:cubicBezTo>
                    <a:pt x="322313" y="239370"/>
                    <a:pt x="323109" y="241184"/>
                    <a:pt x="323109" y="242997"/>
                  </a:cubicBezTo>
                  <a:lnTo>
                    <a:pt x="323109" y="255329"/>
                  </a:lnTo>
                  <a:cubicBezTo>
                    <a:pt x="324702" y="255329"/>
                    <a:pt x="326135" y="256235"/>
                    <a:pt x="327250" y="257505"/>
                  </a:cubicBezTo>
                  <a:cubicBezTo>
                    <a:pt x="328364" y="258955"/>
                    <a:pt x="329161" y="260769"/>
                    <a:pt x="329161" y="262582"/>
                  </a:cubicBezTo>
                  <a:lnTo>
                    <a:pt x="329161" y="272919"/>
                  </a:lnTo>
                  <a:lnTo>
                    <a:pt x="364672" y="272919"/>
                  </a:lnTo>
                  <a:cubicBezTo>
                    <a:pt x="366265" y="272919"/>
                    <a:pt x="368016" y="273644"/>
                    <a:pt x="369131" y="275095"/>
                  </a:cubicBezTo>
                  <a:cubicBezTo>
                    <a:pt x="370246" y="276364"/>
                    <a:pt x="371042" y="278359"/>
                    <a:pt x="371042" y="280172"/>
                  </a:cubicBezTo>
                  <a:lnTo>
                    <a:pt x="371042" y="291959"/>
                  </a:lnTo>
                  <a:lnTo>
                    <a:pt x="376616" y="291959"/>
                  </a:lnTo>
                  <a:cubicBezTo>
                    <a:pt x="378367" y="291959"/>
                    <a:pt x="379960" y="292685"/>
                    <a:pt x="381075" y="294136"/>
                  </a:cubicBezTo>
                  <a:cubicBezTo>
                    <a:pt x="382189" y="295405"/>
                    <a:pt x="382986" y="297400"/>
                    <a:pt x="382986" y="299213"/>
                  </a:cubicBezTo>
                  <a:lnTo>
                    <a:pt x="382986" y="315715"/>
                  </a:lnTo>
                  <a:lnTo>
                    <a:pt x="406554" y="315715"/>
                  </a:lnTo>
                  <a:cubicBezTo>
                    <a:pt x="408146" y="315715"/>
                    <a:pt x="409898" y="316441"/>
                    <a:pt x="411013" y="317891"/>
                  </a:cubicBezTo>
                  <a:cubicBezTo>
                    <a:pt x="412287" y="319342"/>
                    <a:pt x="412924" y="321155"/>
                    <a:pt x="412924" y="322969"/>
                  </a:cubicBezTo>
                  <a:lnTo>
                    <a:pt x="412924" y="335119"/>
                  </a:lnTo>
                  <a:cubicBezTo>
                    <a:pt x="414516" y="335119"/>
                    <a:pt x="415949" y="336025"/>
                    <a:pt x="417064" y="337295"/>
                  </a:cubicBezTo>
                  <a:cubicBezTo>
                    <a:pt x="418179" y="338564"/>
                    <a:pt x="418975" y="340559"/>
                    <a:pt x="418975" y="342372"/>
                  </a:cubicBezTo>
                  <a:lnTo>
                    <a:pt x="418975" y="357968"/>
                  </a:lnTo>
                  <a:cubicBezTo>
                    <a:pt x="418975" y="357968"/>
                    <a:pt x="419771" y="358512"/>
                    <a:pt x="420090" y="359056"/>
                  </a:cubicBezTo>
                  <a:cubicBezTo>
                    <a:pt x="421204" y="360506"/>
                    <a:pt x="422001" y="362320"/>
                    <a:pt x="422001" y="364133"/>
                  </a:cubicBezTo>
                  <a:lnTo>
                    <a:pt x="422001" y="377190"/>
                  </a:lnTo>
                  <a:lnTo>
                    <a:pt x="472482" y="377190"/>
                  </a:lnTo>
                  <a:cubicBezTo>
                    <a:pt x="474233" y="377190"/>
                    <a:pt x="475826" y="377915"/>
                    <a:pt x="476940" y="379366"/>
                  </a:cubicBezTo>
                  <a:cubicBezTo>
                    <a:pt x="478055" y="380635"/>
                    <a:pt x="478851" y="382630"/>
                    <a:pt x="478851" y="384444"/>
                  </a:cubicBezTo>
                  <a:lnTo>
                    <a:pt x="478851" y="396231"/>
                  </a:lnTo>
                  <a:cubicBezTo>
                    <a:pt x="480444" y="396231"/>
                    <a:pt x="481877" y="397137"/>
                    <a:pt x="482992" y="398407"/>
                  </a:cubicBezTo>
                  <a:cubicBezTo>
                    <a:pt x="484106" y="399676"/>
                    <a:pt x="484903" y="401671"/>
                    <a:pt x="484903" y="403484"/>
                  </a:cubicBezTo>
                  <a:lnTo>
                    <a:pt x="484903" y="418717"/>
                  </a:lnTo>
                  <a:cubicBezTo>
                    <a:pt x="484903" y="418717"/>
                    <a:pt x="485699" y="419261"/>
                    <a:pt x="486017" y="419805"/>
                  </a:cubicBezTo>
                  <a:cubicBezTo>
                    <a:pt x="487132" y="421256"/>
                    <a:pt x="487928" y="423069"/>
                    <a:pt x="487928" y="424883"/>
                  </a:cubicBezTo>
                  <a:lnTo>
                    <a:pt x="487928" y="439390"/>
                  </a:lnTo>
                  <a:lnTo>
                    <a:pt x="499553" y="439390"/>
                  </a:lnTo>
                  <a:cubicBezTo>
                    <a:pt x="501305" y="439390"/>
                    <a:pt x="502897" y="440115"/>
                    <a:pt x="504012" y="441566"/>
                  </a:cubicBezTo>
                  <a:cubicBezTo>
                    <a:pt x="505127" y="442835"/>
                    <a:pt x="505923" y="444830"/>
                    <a:pt x="505923" y="446644"/>
                  </a:cubicBezTo>
                  <a:lnTo>
                    <a:pt x="505923" y="460063"/>
                  </a:lnTo>
                  <a:cubicBezTo>
                    <a:pt x="505923" y="460063"/>
                    <a:pt x="506719" y="460607"/>
                    <a:pt x="507038" y="461151"/>
                  </a:cubicBezTo>
                  <a:cubicBezTo>
                    <a:pt x="508153" y="462420"/>
                    <a:pt x="508949" y="464415"/>
                    <a:pt x="508949" y="466228"/>
                  </a:cubicBezTo>
                  <a:lnTo>
                    <a:pt x="508949" y="483093"/>
                  </a:lnTo>
                  <a:cubicBezTo>
                    <a:pt x="510541" y="483093"/>
                    <a:pt x="511974" y="484000"/>
                    <a:pt x="513089" y="485269"/>
                  </a:cubicBezTo>
                  <a:cubicBezTo>
                    <a:pt x="514363" y="486539"/>
                    <a:pt x="515000" y="488533"/>
                    <a:pt x="515000" y="490347"/>
                  </a:cubicBezTo>
                  <a:lnTo>
                    <a:pt x="515000" y="500865"/>
                  </a:lnTo>
                  <a:lnTo>
                    <a:pt x="547486" y="500865"/>
                  </a:lnTo>
                  <a:cubicBezTo>
                    <a:pt x="549238" y="500865"/>
                    <a:pt x="550830" y="501590"/>
                    <a:pt x="551945" y="503041"/>
                  </a:cubicBezTo>
                  <a:cubicBezTo>
                    <a:pt x="553060" y="504491"/>
                    <a:pt x="553856" y="506305"/>
                    <a:pt x="553856" y="508118"/>
                  </a:cubicBezTo>
                  <a:lnTo>
                    <a:pt x="553856" y="518273"/>
                  </a:lnTo>
                  <a:cubicBezTo>
                    <a:pt x="553856" y="518273"/>
                    <a:pt x="554652" y="518817"/>
                    <a:pt x="554971" y="519361"/>
                  </a:cubicBezTo>
                  <a:cubicBezTo>
                    <a:pt x="556085" y="520631"/>
                    <a:pt x="556882" y="522626"/>
                    <a:pt x="556882" y="524439"/>
                  </a:cubicBezTo>
                  <a:lnTo>
                    <a:pt x="556882" y="534231"/>
                  </a:lnTo>
                  <a:lnTo>
                    <a:pt x="583476" y="534231"/>
                  </a:lnTo>
                  <a:cubicBezTo>
                    <a:pt x="585227" y="534231"/>
                    <a:pt x="586820" y="534957"/>
                    <a:pt x="587935" y="536408"/>
                  </a:cubicBezTo>
                  <a:cubicBezTo>
                    <a:pt x="589209" y="537858"/>
                    <a:pt x="589845" y="539672"/>
                    <a:pt x="589845" y="541485"/>
                  </a:cubicBezTo>
                  <a:lnTo>
                    <a:pt x="589845" y="552003"/>
                  </a:lnTo>
                  <a:lnTo>
                    <a:pt x="592393" y="552003"/>
                  </a:lnTo>
                  <a:cubicBezTo>
                    <a:pt x="594145" y="552003"/>
                    <a:pt x="595738" y="552728"/>
                    <a:pt x="596852" y="554179"/>
                  </a:cubicBezTo>
                  <a:cubicBezTo>
                    <a:pt x="597967" y="555630"/>
                    <a:pt x="598763" y="557443"/>
                    <a:pt x="598763" y="559257"/>
                  </a:cubicBezTo>
                  <a:lnTo>
                    <a:pt x="598763" y="568142"/>
                  </a:lnTo>
                  <a:lnTo>
                    <a:pt x="604337" y="568142"/>
                  </a:lnTo>
                  <a:cubicBezTo>
                    <a:pt x="605929" y="568142"/>
                    <a:pt x="607681" y="568868"/>
                    <a:pt x="608796" y="570318"/>
                  </a:cubicBezTo>
                  <a:cubicBezTo>
                    <a:pt x="609910" y="571769"/>
                    <a:pt x="610707" y="573583"/>
                    <a:pt x="610707" y="575396"/>
                  </a:cubicBezTo>
                  <a:lnTo>
                    <a:pt x="610707" y="585914"/>
                  </a:lnTo>
                  <a:lnTo>
                    <a:pt x="640326" y="585914"/>
                  </a:lnTo>
                  <a:cubicBezTo>
                    <a:pt x="641919" y="585914"/>
                    <a:pt x="643670" y="586639"/>
                    <a:pt x="644785" y="588090"/>
                  </a:cubicBezTo>
                  <a:cubicBezTo>
                    <a:pt x="645900" y="589541"/>
                    <a:pt x="646696" y="591354"/>
                    <a:pt x="646696" y="593167"/>
                  </a:cubicBezTo>
                  <a:lnTo>
                    <a:pt x="646696" y="604773"/>
                  </a:lnTo>
                  <a:cubicBezTo>
                    <a:pt x="646696" y="604773"/>
                    <a:pt x="647492" y="605317"/>
                    <a:pt x="647811" y="605861"/>
                  </a:cubicBezTo>
                  <a:cubicBezTo>
                    <a:pt x="648926" y="607131"/>
                    <a:pt x="649722" y="609125"/>
                    <a:pt x="649722" y="610939"/>
                  </a:cubicBezTo>
                  <a:lnTo>
                    <a:pt x="649722" y="623995"/>
                  </a:lnTo>
                  <a:cubicBezTo>
                    <a:pt x="649722" y="623995"/>
                    <a:pt x="650518" y="624721"/>
                    <a:pt x="650837" y="625083"/>
                  </a:cubicBezTo>
                  <a:cubicBezTo>
                    <a:pt x="651951" y="626353"/>
                    <a:pt x="652747" y="628348"/>
                    <a:pt x="652747" y="630161"/>
                  </a:cubicBezTo>
                  <a:lnTo>
                    <a:pt x="652747" y="642492"/>
                  </a:lnTo>
                  <a:lnTo>
                    <a:pt x="658321" y="642492"/>
                  </a:lnTo>
                  <a:cubicBezTo>
                    <a:pt x="660073" y="642492"/>
                    <a:pt x="661665" y="643218"/>
                    <a:pt x="662780" y="644668"/>
                  </a:cubicBezTo>
                  <a:cubicBezTo>
                    <a:pt x="663895" y="645938"/>
                    <a:pt x="664691" y="647932"/>
                    <a:pt x="664691" y="649746"/>
                  </a:cubicBezTo>
                  <a:lnTo>
                    <a:pt x="664691" y="658269"/>
                  </a:lnTo>
                  <a:lnTo>
                    <a:pt x="685234" y="658269"/>
                  </a:lnTo>
                  <a:cubicBezTo>
                    <a:pt x="686826" y="658269"/>
                    <a:pt x="688578" y="658994"/>
                    <a:pt x="689692" y="660445"/>
                  </a:cubicBezTo>
                  <a:cubicBezTo>
                    <a:pt x="690807" y="661714"/>
                    <a:pt x="691603" y="663709"/>
                    <a:pt x="691603" y="665523"/>
                  </a:cubicBezTo>
                  <a:lnTo>
                    <a:pt x="691603" y="676766"/>
                  </a:lnTo>
                  <a:lnTo>
                    <a:pt x="709120" y="676766"/>
                  </a:lnTo>
                  <a:cubicBezTo>
                    <a:pt x="710872" y="676766"/>
                    <a:pt x="712465" y="677491"/>
                    <a:pt x="713579" y="678942"/>
                  </a:cubicBezTo>
                  <a:cubicBezTo>
                    <a:pt x="714694" y="680211"/>
                    <a:pt x="715490" y="682206"/>
                    <a:pt x="715490" y="684019"/>
                  </a:cubicBezTo>
                  <a:lnTo>
                    <a:pt x="715490" y="694174"/>
                  </a:lnTo>
                  <a:lnTo>
                    <a:pt x="771863" y="694174"/>
                  </a:lnTo>
                  <a:cubicBezTo>
                    <a:pt x="773615" y="694174"/>
                    <a:pt x="775207" y="694900"/>
                    <a:pt x="776322" y="696351"/>
                  </a:cubicBezTo>
                  <a:cubicBezTo>
                    <a:pt x="777437" y="697801"/>
                    <a:pt x="778233" y="699615"/>
                    <a:pt x="778233" y="701428"/>
                  </a:cubicBezTo>
                  <a:lnTo>
                    <a:pt x="778233" y="715573"/>
                  </a:lnTo>
                  <a:cubicBezTo>
                    <a:pt x="778233" y="715573"/>
                    <a:pt x="779029" y="716117"/>
                    <a:pt x="779348" y="716661"/>
                  </a:cubicBezTo>
                  <a:cubicBezTo>
                    <a:pt x="780462" y="718112"/>
                    <a:pt x="781259" y="719925"/>
                    <a:pt x="781259" y="721738"/>
                  </a:cubicBezTo>
                  <a:lnTo>
                    <a:pt x="781259" y="770156"/>
                  </a:lnTo>
                  <a:lnTo>
                    <a:pt x="852601" y="770156"/>
                  </a:lnTo>
                  <a:cubicBezTo>
                    <a:pt x="854352" y="770156"/>
                    <a:pt x="855945" y="770882"/>
                    <a:pt x="857060" y="772333"/>
                  </a:cubicBezTo>
                  <a:cubicBezTo>
                    <a:pt x="858174" y="773602"/>
                    <a:pt x="858970" y="775597"/>
                    <a:pt x="858970" y="777410"/>
                  </a:cubicBezTo>
                  <a:lnTo>
                    <a:pt x="858970" y="789560"/>
                  </a:lnTo>
                  <a:lnTo>
                    <a:pt x="864544" y="789560"/>
                  </a:lnTo>
                  <a:cubicBezTo>
                    <a:pt x="866296" y="789560"/>
                    <a:pt x="867888" y="790285"/>
                    <a:pt x="869003" y="791736"/>
                  </a:cubicBezTo>
                  <a:cubicBezTo>
                    <a:pt x="870118" y="793005"/>
                    <a:pt x="870914" y="795000"/>
                    <a:pt x="870914" y="796814"/>
                  </a:cubicBezTo>
                  <a:lnTo>
                    <a:pt x="870914" y="808601"/>
                  </a:lnTo>
                  <a:lnTo>
                    <a:pt x="885565" y="808601"/>
                  </a:lnTo>
                  <a:cubicBezTo>
                    <a:pt x="887157" y="808601"/>
                    <a:pt x="888909" y="809326"/>
                    <a:pt x="890023" y="810777"/>
                  </a:cubicBezTo>
                  <a:cubicBezTo>
                    <a:pt x="891138" y="812046"/>
                    <a:pt x="891934" y="814041"/>
                    <a:pt x="891934" y="815854"/>
                  </a:cubicBezTo>
                  <a:lnTo>
                    <a:pt x="891934" y="824740"/>
                  </a:lnTo>
                  <a:lnTo>
                    <a:pt x="942415" y="824740"/>
                  </a:lnTo>
                  <a:cubicBezTo>
                    <a:pt x="944167" y="824740"/>
                    <a:pt x="945759" y="825466"/>
                    <a:pt x="946874" y="826916"/>
                  </a:cubicBezTo>
                  <a:cubicBezTo>
                    <a:pt x="947989" y="828186"/>
                    <a:pt x="948785" y="830180"/>
                    <a:pt x="948785" y="831994"/>
                  </a:cubicBezTo>
                  <a:lnTo>
                    <a:pt x="948785" y="845232"/>
                  </a:lnTo>
                  <a:cubicBezTo>
                    <a:pt x="948785" y="845232"/>
                    <a:pt x="949581" y="845776"/>
                    <a:pt x="949900" y="846320"/>
                  </a:cubicBezTo>
                  <a:cubicBezTo>
                    <a:pt x="951014" y="847589"/>
                    <a:pt x="951811" y="849584"/>
                    <a:pt x="951811" y="851397"/>
                  </a:cubicBezTo>
                  <a:lnTo>
                    <a:pt x="951811" y="862096"/>
                  </a:lnTo>
                  <a:lnTo>
                    <a:pt x="984297" y="862096"/>
                  </a:lnTo>
                  <a:cubicBezTo>
                    <a:pt x="986048" y="862096"/>
                    <a:pt x="987641" y="862822"/>
                    <a:pt x="988756" y="864273"/>
                  </a:cubicBezTo>
                  <a:cubicBezTo>
                    <a:pt x="989870" y="865542"/>
                    <a:pt x="990666" y="867537"/>
                    <a:pt x="990666" y="869350"/>
                  </a:cubicBezTo>
                  <a:lnTo>
                    <a:pt x="990666" y="882951"/>
                  </a:lnTo>
                  <a:lnTo>
                    <a:pt x="1005158" y="882951"/>
                  </a:lnTo>
                  <a:cubicBezTo>
                    <a:pt x="1006910" y="882951"/>
                    <a:pt x="1008502" y="883676"/>
                    <a:pt x="1009617" y="885127"/>
                  </a:cubicBezTo>
                  <a:cubicBezTo>
                    <a:pt x="1010731" y="886578"/>
                    <a:pt x="1011528" y="888391"/>
                    <a:pt x="1011528" y="890204"/>
                  </a:cubicBezTo>
                  <a:lnTo>
                    <a:pt x="1011528" y="901266"/>
                  </a:lnTo>
                  <a:lnTo>
                    <a:pt x="1094972" y="901266"/>
                  </a:lnTo>
                  <a:cubicBezTo>
                    <a:pt x="1096565" y="901266"/>
                    <a:pt x="1098317" y="901992"/>
                    <a:pt x="1099431" y="903442"/>
                  </a:cubicBezTo>
                  <a:cubicBezTo>
                    <a:pt x="1100705" y="904712"/>
                    <a:pt x="1101342" y="906706"/>
                    <a:pt x="1101342" y="908520"/>
                  </a:cubicBezTo>
                  <a:lnTo>
                    <a:pt x="1101342" y="920851"/>
                  </a:lnTo>
                  <a:lnTo>
                    <a:pt x="1139880" y="920851"/>
                  </a:lnTo>
                  <a:cubicBezTo>
                    <a:pt x="1141631" y="920851"/>
                    <a:pt x="1143224" y="921576"/>
                    <a:pt x="1144338" y="923027"/>
                  </a:cubicBezTo>
                  <a:cubicBezTo>
                    <a:pt x="1145453" y="924478"/>
                    <a:pt x="1146249" y="926291"/>
                    <a:pt x="1146249" y="928105"/>
                  </a:cubicBezTo>
                  <a:lnTo>
                    <a:pt x="1146249" y="938623"/>
                  </a:lnTo>
                  <a:lnTo>
                    <a:pt x="1256607" y="938623"/>
                  </a:lnTo>
                  <a:cubicBezTo>
                    <a:pt x="1258358" y="938623"/>
                    <a:pt x="1259951" y="939348"/>
                    <a:pt x="1261065" y="940799"/>
                  </a:cubicBezTo>
                  <a:cubicBezTo>
                    <a:pt x="1262180" y="942068"/>
                    <a:pt x="1262976" y="944063"/>
                    <a:pt x="1262976" y="945876"/>
                  </a:cubicBezTo>
                  <a:lnTo>
                    <a:pt x="1262976" y="959477"/>
                  </a:lnTo>
                  <a:lnTo>
                    <a:pt x="1328426" y="959477"/>
                  </a:lnTo>
                  <a:cubicBezTo>
                    <a:pt x="1330019" y="959477"/>
                    <a:pt x="1331771" y="960202"/>
                    <a:pt x="1332885" y="961653"/>
                  </a:cubicBezTo>
                  <a:cubicBezTo>
                    <a:pt x="1334000" y="962922"/>
                    <a:pt x="1334796" y="964917"/>
                    <a:pt x="1334796" y="966730"/>
                  </a:cubicBezTo>
                  <a:lnTo>
                    <a:pt x="1334796" y="977611"/>
                  </a:lnTo>
                  <a:lnTo>
                    <a:pt x="1397220" y="977611"/>
                  </a:lnTo>
                  <a:cubicBezTo>
                    <a:pt x="1398972" y="977611"/>
                    <a:pt x="1400565" y="978336"/>
                    <a:pt x="1401679" y="979787"/>
                  </a:cubicBezTo>
                  <a:cubicBezTo>
                    <a:pt x="1402794" y="981056"/>
                    <a:pt x="1403590" y="983051"/>
                    <a:pt x="1403590" y="984865"/>
                  </a:cubicBezTo>
                  <a:lnTo>
                    <a:pt x="1403590" y="1000823"/>
                  </a:lnTo>
                  <a:lnTo>
                    <a:pt x="1474932" y="1000823"/>
                  </a:lnTo>
                  <a:cubicBezTo>
                    <a:pt x="1476684" y="1000823"/>
                    <a:pt x="1478276" y="1001548"/>
                    <a:pt x="1479391" y="1002999"/>
                  </a:cubicBezTo>
                  <a:cubicBezTo>
                    <a:pt x="1480506" y="1004449"/>
                    <a:pt x="1481302" y="1006263"/>
                    <a:pt x="1481302" y="1008076"/>
                  </a:cubicBezTo>
                  <a:lnTo>
                    <a:pt x="1481302" y="1016599"/>
                  </a:lnTo>
                  <a:lnTo>
                    <a:pt x="1594526" y="1016599"/>
                  </a:lnTo>
                  <a:cubicBezTo>
                    <a:pt x="1596118" y="1016599"/>
                    <a:pt x="1597870" y="1017325"/>
                    <a:pt x="1598985" y="1018775"/>
                  </a:cubicBezTo>
                  <a:cubicBezTo>
                    <a:pt x="1600099" y="1020226"/>
                    <a:pt x="1600896" y="1022039"/>
                    <a:pt x="1600896" y="1023853"/>
                  </a:cubicBezTo>
                  <a:lnTo>
                    <a:pt x="1600896" y="1034915"/>
                  </a:lnTo>
                  <a:lnTo>
                    <a:pt x="1609495" y="1034915"/>
                  </a:lnTo>
                  <a:cubicBezTo>
                    <a:pt x="1611246" y="1034915"/>
                    <a:pt x="1612839" y="1035640"/>
                    <a:pt x="1613954" y="1037091"/>
                  </a:cubicBezTo>
                  <a:cubicBezTo>
                    <a:pt x="1615068" y="1038542"/>
                    <a:pt x="1615865" y="1040355"/>
                    <a:pt x="1615865" y="1042168"/>
                  </a:cubicBezTo>
                  <a:lnTo>
                    <a:pt x="1615865" y="1051598"/>
                  </a:lnTo>
                  <a:lnTo>
                    <a:pt x="1633382" y="1051598"/>
                  </a:lnTo>
                  <a:cubicBezTo>
                    <a:pt x="1635133" y="1051598"/>
                    <a:pt x="1636726" y="1052324"/>
                    <a:pt x="1637841" y="1053774"/>
                  </a:cubicBezTo>
                  <a:cubicBezTo>
                    <a:pt x="1638955" y="1055225"/>
                    <a:pt x="1639751" y="1057038"/>
                    <a:pt x="1639751" y="1058852"/>
                  </a:cubicBezTo>
                  <a:lnTo>
                    <a:pt x="1639751" y="1073178"/>
                  </a:lnTo>
                  <a:lnTo>
                    <a:pt x="1651217" y="1073178"/>
                  </a:lnTo>
                  <a:cubicBezTo>
                    <a:pt x="1652969" y="1073178"/>
                    <a:pt x="1654561" y="1073903"/>
                    <a:pt x="1655676" y="1075354"/>
                  </a:cubicBezTo>
                  <a:cubicBezTo>
                    <a:pt x="1656950" y="1076805"/>
                    <a:pt x="1657587" y="1078618"/>
                    <a:pt x="1657587" y="1080431"/>
                  </a:cubicBezTo>
                  <a:lnTo>
                    <a:pt x="1657587" y="1092763"/>
                  </a:lnTo>
                  <a:lnTo>
                    <a:pt x="1836738" y="1092763"/>
                  </a:lnTo>
                  <a:cubicBezTo>
                    <a:pt x="1838490" y="1092763"/>
                    <a:pt x="1840082" y="1093488"/>
                    <a:pt x="1841197" y="1094939"/>
                  </a:cubicBezTo>
                  <a:cubicBezTo>
                    <a:pt x="1842312" y="1096389"/>
                    <a:pt x="1843108" y="1098203"/>
                    <a:pt x="1843108" y="1100016"/>
                  </a:cubicBezTo>
                  <a:lnTo>
                    <a:pt x="1843108" y="1115974"/>
                  </a:lnTo>
                  <a:lnTo>
                    <a:pt x="1983403" y="1115974"/>
                  </a:lnTo>
                  <a:cubicBezTo>
                    <a:pt x="1984996" y="1115974"/>
                    <a:pt x="1986747" y="1116700"/>
                    <a:pt x="1987862" y="1118150"/>
                  </a:cubicBezTo>
                  <a:cubicBezTo>
                    <a:pt x="1989136" y="1119420"/>
                    <a:pt x="1989773" y="1121415"/>
                    <a:pt x="1989773" y="1123228"/>
                  </a:cubicBezTo>
                  <a:lnTo>
                    <a:pt x="1989773" y="1135559"/>
                  </a:lnTo>
                  <a:lnTo>
                    <a:pt x="2189786" y="1135559"/>
                  </a:lnTo>
                  <a:cubicBezTo>
                    <a:pt x="2191537" y="1135559"/>
                    <a:pt x="2193130" y="1136285"/>
                    <a:pt x="2194244" y="1137735"/>
                  </a:cubicBezTo>
                  <a:cubicBezTo>
                    <a:pt x="2195359" y="1139005"/>
                    <a:pt x="2196155" y="1140999"/>
                    <a:pt x="2196155" y="1142813"/>
                  </a:cubicBezTo>
                  <a:lnTo>
                    <a:pt x="2196155" y="1155325"/>
                  </a:lnTo>
                  <a:lnTo>
                    <a:pt x="2704308" y="1155325"/>
                  </a:lnTo>
                  <a:cubicBezTo>
                    <a:pt x="2706060" y="1155325"/>
                    <a:pt x="2707652" y="1156051"/>
                    <a:pt x="2708767" y="1157501"/>
                  </a:cubicBezTo>
                  <a:cubicBezTo>
                    <a:pt x="2709882" y="1158771"/>
                    <a:pt x="2710678" y="1160766"/>
                    <a:pt x="2710678" y="1162579"/>
                  </a:cubicBezTo>
                  <a:lnTo>
                    <a:pt x="2710678" y="1174185"/>
                  </a:lnTo>
                  <a:lnTo>
                    <a:pt x="3577770" y="1174185"/>
                  </a:lnTo>
                  <a:cubicBezTo>
                    <a:pt x="3579521" y="1174185"/>
                    <a:pt x="3581114" y="1174910"/>
                    <a:pt x="3582229" y="1176361"/>
                  </a:cubicBezTo>
                  <a:cubicBezTo>
                    <a:pt x="3583343" y="1177630"/>
                    <a:pt x="3584139" y="1179625"/>
                    <a:pt x="3584139" y="1181438"/>
                  </a:cubicBezTo>
                  <a:lnTo>
                    <a:pt x="3584139" y="1195764"/>
                  </a:lnTo>
                  <a:lnTo>
                    <a:pt x="3685420" y="1195764"/>
                  </a:lnTo>
                  <a:cubicBezTo>
                    <a:pt x="3687012" y="1195764"/>
                    <a:pt x="3688764" y="1196490"/>
                    <a:pt x="3689879" y="1197941"/>
                  </a:cubicBezTo>
                  <a:cubicBezTo>
                    <a:pt x="3690993" y="1199210"/>
                    <a:pt x="3691790" y="1201205"/>
                    <a:pt x="3691790" y="1203018"/>
                  </a:cubicBezTo>
                  <a:lnTo>
                    <a:pt x="3691790" y="1215531"/>
                  </a:lnTo>
                  <a:lnTo>
                    <a:pt x="4963684" y="1215531"/>
                  </a:lnTo>
                  <a:lnTo>
                    <a:pt x="4963684" y="1230038"/>
                  </a:lnTo>
                </a:path>
              </a:pathLst>
            </a:custGeom>
            <a:solidFill>
              <a:schemeClr val="accent2"/>
            </a:solidFill>
            <a:ln w="158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30" name="Gruppieren 29">
              <a:extLst>
                <a:ext uri="{FF2B5EF4-FFF2-40B4-BE49-F238E27FC236}">
                  <a16:creationId xmlns:a16="http://schemas.microsoft.com/office/drawing/2014/main" id="{FBB5EFF1-04D0-144F-190A-68F026FA4769}"/>
                </a:ext>
              </a:extLst>
            </p:cNvPr>
            <p:cNvGrpSpPr/>
            <p:nvPr/>
          </p:nvGrpSpPr>
          <p:grpSpPr>
            <a:xfrm>
              <a:off x="2381127" y="1755092"/>
              <a:ext cx="4760485" cy="1210271"/>
              <a:chOff x="2381127" y="1755092"/>
              <a:chExt cx="4760485" cy="1210271"/>
            </a:xfrm>
            <a:solidFill>
              <a:schemeClr val="accent6">
                <a:alpha val="30000"/>
              </a:schemeClr>
            </a:solidFill>
          </p:grpSpPr>
          <p:sp>
            <p:nvSpPr>
              <p:cNvPr id="130" name="Freihandform: Form 129">
                <a:extLst>
                  <a:ext uri="{FF2B5EF4-FFF2-40B4-BE49-F238E27FC236}">
                    <a16:creationId xmlns:a16="http://schemas.microsoft.com/office/drawing/2014/main" id="{D055B381-D833-EDC2-F077-A23BB9D58E85}"/>
                  </a:ext>
                </a:extLst>
              </p:cNvPr>
              <p:cNvSpPr/>
              <p:nvPr/>
            </p:nvSpPr>
            <p:spPr>
              <a:xfrm>
                <a:off x="2381127" y="1755092"/>
                <a:ext cx="4760326" cy="1210271"/>
              </a:xfrm>
              <a:custGeom>
                <a:avLst/>
                <a:gdLst>
                  <a:gd name="connsiteX0" fmla="*/ 3906452 w 4760326"/>
                  <a:gd name="connsiteY0" fmla="*/ 1006807 h 1210271"/>
                  <a:gd name="connsiteX1" fmla="*/ 3482063 w 4760326"/>
                  <a:gd name="connsiteY1" fmla="*/ 1006807 h 1210271"/>
                  <a:gd name="connsiteX2" fmla="*/ 3482063 w 4760326"/>
                  <a:gd name="connsiteY2" fmla="*/ 987947 h 1210271"/>
                  <a:gd name="connsiteX3" fmla="*/ 3374254 w 4760326"/>
                  <a:gd name="connsiteY3" fmla="*/ 987947 h 1210271"/>
                  <a:gd name="connsiteX4" fmla="*/ 3374254 w 4760326"/>
                  <a:gd name="connsiteY4" fmla="*/ 967093 h 1210271"/>
                  <a:gd name="connsiteX5" fmla="*/ 2560509 w 4760326"/>
                  <a:gd name="connsiteY5" fmla="*/ 967093 h 1210271"/>
                  <a:gd name="connsiteX6" fmla="*/ 2560509 w 4760326"/>
                  <a:gd name="connsiteY6" fmla="*/ 942249 h 1210271"/>
                  <a:gd name="connsiteX7" fmla="*/ 2533597 w 4760326"/>
                  <a:gd name="connsiteY7" fmla="*/ 942249 h 1210271"/>
                  <a:gd name="connsiteX8" fmla="*/ 2533597 w 4760326"/>
                  <a:gd name="connsiteY8" fmla="*/ 916862 h 1210271"/>
                  <a:gd name="connsiteX9" fmla="*/ 2195518 w 4760326"/>
                  <a:gd name="connsiteY9" fmla="*/ 916862 h 1210271"/>
                  <a:gd name="connsiteX10" fmla="*/ 2195518 w 4760326"/>
                  <a:gd name="connsiteY10" fmla="*/ 896370 h 1210271"/>
                  <a:gd name="connsiteX11" fmla="*/ 2165580 w 4760326"/>
                  <a:gd name="connsiteY11" fmla="*/ 896370 h 1210271"/>
                  <a:gd name="connsiteX12" fmla="*/ 2165580 w 4760326"/>
                  <a:gd name="connsiteY12" fmla="*/ 874246 h 1210271"/>
                  <a:gd name="connsiteX13" fmla="*/ 2105704 w 4760326"/>
                  <a:gd name="connsiteY13" fmla="*/ 874246 h 1210271"/>
                  <a:gd name="connsiteX14" fmla="*/ 2105704 w 4760326"/>
                  <a:gd name="connsiteY14" fmla="*/ 845413 h 1210271"/>
                  <a:gd name="connsiteX15" fmla="*/ 1986110 w 4760326"/>
                  <a:gd name="connsiteY15" fmla="*/ 845413 h 1210271"/>
                  <a:gd name="connsiteX16" fmla="*/ 1986110 w 4760326"/>
                  <a:gd name="connsiteY16" fmla="*/ 825284 h 1210271"/>
                  <a:gd name="connsiteX17" fmla="*/ 1929260 w 4760326"/>
                  <a:gd name="connsiteY17" fmla="*/ 825284 h 1210271"/>
                  <a:gd name="connsiteX18" fmla="*/ 1929260 w 4760326"/>
                  <a:gd name="connsiteY18" fmla="*/ 799715 h 1210271"/>
                  <a:gd name="connsiteX19" fmla="*/ 1911265 w 4760326"/>
                  <a:gd name="connsiteY19" fmla="*/ 799715 h 1210271"/>
                  <a:gd name="connsiteX20" fmla="*/ 1911265 w 4760326"/>
                  <a:gd name="connsiteY20" fmla="*/ 777591 h 1210271"/>
                  <a:gd name="connsiteX21" fmla="*/ 1689914 w 4760326"/>
                  <a:gd name="connsiteY21" fmla="*/ 777591 h 1210271"/>
                  <a:gd name="connsiteX22" fmla="*/ 1689914 w 4760326"/>
                  <a:gd name="connsiteY22" fmla="*/ 755105 h 1210271"/>
                  <a:gd name="connsiteX23" fmla="*/ 1573346 w 4760326"/>
                  <a:gd name="connsiteY23" fmla="*/ 755105 h 1210271"/>
                  <a:gd name="connsiteX24" fmla="*/ 1573346 w 4760326"/>
                  <a:gd name="connsiteY24" fmla="*/ 731168 h 1210271"/>
                  <a:gd name="connsiteX25" fmla="*/ 1570320 w 4760326"/>
                  <a:gd name="connsiteY25" fmla="*/ 731168 h 1210271"/>
                  <a:gd name="connsiteX26" fmla="*/ 1570320 w 4760326"/>
                  <a:gd name="connsiteY26" fmla="*/ 712490 h 1210271"/>
                  <a:gd name="connsiteX27" fmla="*/ 1537357 w 4760326"/>
                  <a:gd name="connsiteY27" fmla="*/ 712490 h 1210271"/>
                  <a:gd name="connsiteX28" fmla="*/ 1537357 w 4760326"/>
                  <a:gd name="connsiteY28" fmla="*/ 692361 h 1210271"/>
                  <a:gd name="connsiteX29" fmla="*/ 1387825 w 4760326"/>
                  <a:gd name="connsiteY29" fmla="*/ 692361 h 1210271"/>
                  <a:gd name="connsiteX30" fmla="*/ 1387825 w 4760326"/>
                  <a:gd name="connsiteY30" fmla="*/ 647388 h 1210271"/>
                  <a:gd name="connsiteX31" fmla="*/ 1375882 w 4760326"/>
                  <a:gd name="connsiteY31" fmla="*/ 647388 h 1210271"/>
                  <a:gd name="connsiteX32" fmla="*/ 1375882 w 4760326"/>
                  <a:gd name="connsiteY32" fmla="*/ 625990 h 1210271"/>
                  <a:gd name="connsiteX33" fmla="*/ 1360912 w 4760326"/>
                  <a:gd name="connsiteY33" fmla="*/ 625990 h 1210271"/>
                  <a:gd name="connsiteX34" fmla="*/ 1360912 w 4760326"/>
                  <a:gd name="connsiteY34" fmla="*/ 602597 h 1210271"/>
                  <a:gd name="connsiteX35" fmla="*/ 1355020 w 4760326"/>
                  <a:gd name="connsiteY35" fmla="*/ 602597 h 1210271"/>
                  <a:gd name="connsiteX36" fmla="*/ 1355020 w 4760326"/>
                  <a:gd name="connsiteY36" fmla="*/ 554179 h 1210271"/>
                  <a:gd name="connsiteX37" fmla="*/ 1331134 w 4760326"/>
                  <a:gd name="connsiteY37" fmla="*/ 554179 h 1210271"/>
                  <a:gd name="connsiteX38" fmla="*/ 1331134 w 4760326"/>
                  <a:gd name="connsiteY38" fmla="*/ 535138 h 1210271"/>
                  <a:gd name="connsiteX39" fmla="*/ 1259314 w 4760326"/>
                  <a:gd name="connsiteY39" fmla="*/ 535138 h 1210271"/>
                  <a:gd name="connsiteX40" fmla="*/ 1259314 w 4760326"/>
                  <a:gd name="connsiteY40" fmla="*/ 487264 h 1210271"/>
                  <a:gd name="connsiteX41" fmla="*/ 1235427 w 4760326"/>
                  <a:gd name="connsiteY41" fmla="*/ 487264 h 1210271"/>
                  <a:gd name="connsiteX42" fmla="*/ 1235427 w 4760326"/>
                  <a:gd name="connsiteY42" fmla="*/ 462058 h 1210271"/>
                  <a:gd name="connsiteX43" fmla="*/ 1220458 w 4760326"/>
                  <a:gd name="connsiteY43" fmla="*/ 462058 h 1210271"/>
                  <a:gd name="connsiteX44" fmla="*/ 1220458 w 4760326"/>
                  <a:gd name="connsiteY44" fmla="*/ 436488 h 1210271"/>
                  <a:gd name="connsiteX45" fmla="*/ 1094813 w 4760326"/>
                  <a:gd name="connsiteY45" fmla="*/ 436488 h 1210271"/>
                  <a:gd name="connsiteX46" fmla="*/ 1094813 w 4760326"/>
                  <a:gd name="connsiteY46" fmla="*/ 417085 h 1210271"/>
                  <a:gd name="connsiteX47" fmla="*/ 1004999 w 4760326"/>
                  <a:gd name="connsiteY47" fmla="*/ 417085 h 1210271"/>
                  <a:gd name="connsiteX48" fmla="*/ 1004999 w 4760326"/>
                  <a:gd name="connsiteY48" fmla="*/ 394055 h 1210271"/>
                  <a:gd name="connsiteX49" fmla="*/ 966143 w 4760326"/>
                  <a:gd name="connsiteY49" fmla="*/ 394055 h 1210271"/>
                  <a:gd name="connsiteX50" fmla="*/ 966143 w 4760326"/>
                  <a:gd name="connsiteY50" fmla="*/ 368667 h 1210271"/>
                  <a:gd name="connsiteX51" fmla="*/ 936205 w 4760326"/>
                  <a:gd name="connsiteY51" fmla="*/ 368667 h 1210271"/>
                  <a:gd name="connsiteX52" fmla="*/ 936205 w 4760326"/>
                  <a:gd name="connsiteY52" fmla="*/ 345818 h 1210271"/>
                  <a:gd name="connsiteX53" fmla="*/ 909292 w 4760326"/>
                  <a:gd name="connsiteY53" fmla="*/ 345818 h 1210271"/>
                  <a:gd name="connsiteX54" fmla="*/ 909292 w 4760326"/>
                  <a:gd name="connsiteY54" fmla="*/ 324782 h 1210271"/>
                  <a:gd name="connsiteX55" fmla="*/ 858334 w 4760326"/>
                  <a:gd name="connsiteY55" fmla="*/ 324782 h 1210271"/>
                  <a:gd name="connsiteX56" fmla="*/ 858334 w 4760326"/>
                  <a:gd name="connsiteY56" fmla="*/ 303565 h 1210271"/>
                  <a:gd name="connsiteX57" fmla="*/ 834447 w 4760326"/>
                  <a:gd name="connsiteY57" fmla="*/ 303565 h 1210271"/>
                  <a:gd name="connsiteX58" fmla="*/ 834447 w 4760326"/>
                  <a:gd name="connsiteY58" fmla="*/ 280898 h 1210271"/>
                  <a:gd name="connsiteX59" fmla="*/ 816452 w 4760326"/>
                  <a:gd name="connsiteY59" fmla="*/ 280898 h 1210271"/>
                  <a:gd name="connsiteX60" fmla="*/ 816452 w 4760326"/>
                  <a:gd name="connsiteY60" fmla="*/ 261494 h 1210271"/>
                  <a:gd name="connsiteX61" fmla="*/ 777596 w 4760326"/>
                  <a:gd name="connsiteY61" fmla="*/ 261494 h 1210271"/>
                  <a:gd name="connsiteX62" fmla="*/ 777596 w 4760326"/>
                  <a:gd name="connsiteY62" fmla="*/ 229397 h 1210271"/>
                  <a:gd name="connsiteX63" fmla="*/ 741766 w 4760326"/>
                  <a:gd name="connsiteY63" fmla="*/ 229397 h 1210271"/>
                  <a:gd name="connsiteX64" fmla="*/ 741766 w 4760326"/>
                  <a:gd name="connsiteY64" fmla="*/ 207636 h 1210271"/>
                  <a:gd name="connsiteX65" fmla="*/ 675997 w 4760326"/>
                  <a:gd name="connsiteY65" fmla="*/ 207636 h 1210271"/>
                  <a:gd name="connsiteX66" fmla="*/ 675997 w 4760326"/>
                  <a:gd name="connsiteY66" fmla="*/ 176626 h 1210271"/>
                  <a:gd name="connsiteX67" fmla="*/ 616121 w 4760326"/>
                  <a:gd name="connsiteY67" fmla="*/ 176626 h 1210271"/>
                  <a:gd name="connsiteX68" fmla="*/ 616121 w 4760326"/>
                  <a:gd name="connsiteY68" fmla="*/ 153052 h 1210271"/>
                  <a:gd name="connsiteX69" fmla="*/ 523440 w 4760326"/>
                  <a:gd name="connsiteY69" fmla="*/ 153052 h 1210271"/>
                  <a:gd name="connsiteX70" fmla="*/ 523440 w 4760326"/>
                  <a:gd name="connsiteY70" fmla="*/ 120411 h 1210271"/>
                  <a:gd name="connsiteX71" fmla="*/ 445728 w 4760326"/>
                  <a:gd name="connsiteY71" fmla="*/ 120411 h 1210271"/>
                  <a:gd name="connsiteX72" fmla="*/ 445728 w 4760326"/>
                  <a:gd name="connsiteY72" fmla="*/ 92484 h 1210271"/>
                  <a:gd name="connsiteX73" fmla="*/ 194439 w 4760326"/>
                  <a:gd name="connsiteY73" fmla="*/ 92484 h 1210271"/>
                  <a:gd name="connsiteX74" fmla="*/ 194439 w 4760326"/>
                  <a:gd name="connsiteY74" fmla="*/ 60568 h 1210271"/>
                  <a:gd name="connsiteX75" fmla="*/ 0 w 4760326"/>
                  <a:gd name="connsiteY75" fmla="*/ 60568 h 1210271"/>
                  <a:gd name="connsiteX76" fmla="*/ 0 w 4760326"/>
                  <a:gd name="connsiteY76" fmla="*/ 28289 h 1210271"/>
                  <a:gd name="connsiteX77" fmla="*/ 188069 w 4760326"/>
                  <a:gd name="connsiteY77" fmla="*/ 28289 h 1210271"/>
                  <a:gd name="connsiteX78" fmla="*/ 188069 w 4760326"/>
                  <a:gd name="connsiteY78" fmla="*/ 39532 h 1210271"/>
                  <a:gd name="connsiteX79" fmla="*/ 189980 w 4760326"/>
                  <a:gd name="connsiteY79" fmla="*/ 44610 h 1210271"/>
                  <a:gd name="connsiteX80" fmla="*/ 194439 w 4760326"/>
                  <a:gd name="connsiteY80" fmla="*/ 46786 h 1210271"/>
                  <a:gd name="connsiteX81" fmla="*/ 439358 w 4760326"/>
                  <a:gd name="connsiteY81" fmla="*/ 46786 h 1210271"/>
                  <a:gd name="connsiteX82" fmla="*/ 439358 w 4760326"/>
                  <a:gd name="connsiteY82" fmla="*/ 57485 h 1210271"/>
                  <a:gd name="connsiteX83" fmla="*/ 441269 w 4760326"/>
                  <a:gd name="connsiteY83" fmla="*/ 62563 h 1210271"/>
                  <a:gd name="connsiteX84" fmla="*/ 445728 w 4760326"/>
                  <a:gd name="connsiteY84" fmla="*/ 64739 h 1210271"/>
                  <a:gd name="connsiteX85" fmla="*/ 517070 w 4760326"/>
                  <a:gd name="connsiteY85" fmla="*/ 64739 h 1210271"/>
                  <a:gd name="connsiteX86" fmla="*/ 517070 w 4760326"/>
                  <a:gd name="connsiteY86" fmla="*/ 78702 h 1210271"/>
                  <a:gd name="connsiteX87" fmla="*/ 518981 w 4760326"/>
                  <a:gd name="connsiteY87" fmla="*/ 83780 h 1210271"/>
                  <a:gd name="connsiteX88" fmla="*/ 523440 w 4760326"/>
                  <a:gd name="connsiteY88" fmla="*/ 85956 h 1210271"/>
                  <a:gd name="connsiteX89" fmla="*/ 609751 w 4760326"/>
                  <a:gd name="connsiteY89" fmla="*/ 85956 h 1210271"/>
                  <a:gd name="connsiteX90" fmla="*/ 609751 w 4760326"/>
                  <a:gd name="connsiteY90" fmla="*/ 95930 h 1210271"/>
                  <a:gd name="connsiteX91" fmla="*/ 611662 w 4760326"/>
                  <a:gd name="connsiteY91" fmla="*/ 101007 h 1210271"/>
                  <a:gd name="connsiteX92" fmla="*/ 616121 w 4760326"/>
                  <a:gd name="connsiteY92" fmla="*/ 103183 h 1210271"/>
                  <a:gd name="connsiteX93" fmla="*/ 669628 w 4760326"/>
                  <a:gd name="connsiteY93" fmla="*/ 103183 h 1210271"/>
                  <a:gd name="connsiteX94" fmla="*/ 669628 w 4760326"/>
                  <a:gd name="connsiteY94" fmla="*/ 117690 h 1210271"/>
                  <a:gd name="connsiteX95" fmla="*/ 671538 w 4760326"/>
                  <a:gd name="connsiteY95" fmla="*/ 122768 h 1210271"/>
                  <a:gd name="connsiteX96" fmla="*/ 675997 w 4760326"/>
                  <a:gd name="connsiteY96" fmla="*/ 124944 h 1210271"/>
                  <a:gd name="connsiteX97" fmla="*/ 735396 w 4760326"/>
                  <a:gd name="connsiteY97" fmla="*/ 124944 h 1210271"/>
                  <a:gd name="connsiteX98" fmla="*/ 735396 w 4760326"/>
                  <a:gd name="connsiteY98" fmla="*/ 134555 h 1210271"/>
                  <a:gd name="connsiteX99" fmla="*/ 737307 w 4760326"/>
                  <a:gd name="connsiteY99" fmla="*/ 139633 h 1210271"/>
                  <a:gd name="connsiteX100" fmla="*/ 741766 w 4760326"/>
                  <a:gd name="connsiteY100" fmla="*/ 141809 h 1210271"/>
                  <a:gd name="connsiteX101" fmla="*/ 771226 w 4760326"/>
                  <a:gd name="connsiteY101" fmla="*/ 141809 h 1210271"/>
                  <a:gd name="connsiteX102" fmla="*/ 771226 w 4760326"/>
                  <a:gd name="connsiteY102" fmla="*/ 157948 h 1210271"/>
                  <a:gd name="connsiteX103" fmla="*/ 773137 w 4760326"/>
                  <a:gd name="connsiteY103" fmla="*/ 163026 h 1210271"/>
                  <a:gd name="connsiteX104" fmla="*/ 777596 w 4760326"/>
                  <a:gd name="connsiteY104" fmla="*/ 165202 h 1210271"/>
                  <a:gd name="connsiteX105" fmla="*/ 810082 w 4760326"/>
                  <a:gd name="connsiteY105" fmla="*/ 165202 h 1210271"/>
                  <a:gd name="connsiteX106" fmla="*/ 810082 w 4760326"/>
                  <a:gd name="connsiteY106" fmla="*/ 173725 h 1210271"/>
                  <a:gd name="connsiteX107" fmla="*/ 811993 w 4760326"/>
                  <a:gd name="connsiteY107" fmla="*/ 178803 h 1210271"/>
                  <a:gd name="connsiteX108" fmla="*/ 816452 w 4760326"/>
                  <a:gd name="connsiteY108" fmla="*/ 180979 h 1210271"/>
                  <a:gd name="connsiteX109" fmla="*/ 828077 w 4760326"/>
                  <a:gd name="connsiteY109" fmla="*/ 180979 h 1210271"/>
                  <a:gd name="connsiteX110" fmla="*/ 828077 w 4760326"/>
                  <a:gd name="connsiteY110" fmla="*/ 191859 h 1210271"/>
                  <a:gd name="connsiteX111" fmla="*/ 829988 w 4760326"/>
                  <a:gd name="connsiteY111" fmla="*/ 196937 h 1210271"/>
                  <a:gd name="connsiteX112" fmla="*/ 834447 w 4760326"/>
                  <a:gd name="connsiteY112" fmla="*/ 199113 h 1210271"/>
                  <a:gd name="connsiteX113" fmla="*/ 851964 w 4760326"/>
                  <a:gd name="connsiteY113" fmla="*/ 199113 h 1210271"/>
                  <a:gd name="connsiteX114" fmla="*/ 851964 w 4760326"/>
                  <a:gd name="connsiteY114" fmla="*/ 209268 h 1210271"/>
                  <a:gd name="connsiteX115" fmla="*/ 853875 w 4760326"/>
                  <a:gd name="connsiteY115" fmla="*/ 214345 h 1210271"/>
                  <a:gd name="connsiteX116" fmla="*/ 858334 w 4760326"/>
                  <a:gd name="connsiteY116" fmla="*/ 216522 h 1210271"/>
                  <a:gd name="connsiteX117" fmla="*/ 902763 w 4760326"/>
                  <a:gd name="connsiteY117" fmla="*/ 216522 h 1210271"/>
                  <a:gd name="connsiteX118" fmla="*/ 902763 w 4760326"/>
                  <a:gd name="connsiteY118" fmla="*/ 226495 h 1210271"/>
                  <a:gd name="connsiteX119" fmla="*/ 904674 w 4760326"/>
                  <a:gd name="connsiteY119" fmla="*/ 231573 h 1210271"/>
                  <a:gd name="connsiteX120" fmla="*/ 909133 w 4760326"/>
                  <a:gd name="connsiteY120" fmla="*/ 233749 h 1210271"/>
                  <a:gd name="connsiteX121" fmla="*/ 929675 w 4760326"/>
                  <a:gd name="connsiteY121" fmla="*/ 233749 h 1210271"/>
                  <a:gd name="connsiteX122" fmla="*/ 929675 w 4760326"/>
                  <a:gd name="connsiteY122" fmla="*/ 245355 h 1210271"/>
                  <a:gd name="connsiteX123" fmla="*/ 931586 w 4760326"/>
                  <a:gd name="connsiteY123" fmla="*/ 250432 h 1210271"/>
                  <a:gd name="connsiteX124" fmla="*/ 936045 w 4760326"/>
                  <a:gd name="connsiteY124" fmla="*/ 252608 h 1210271"/>
                  <a:gd name="connsiteX125" fmla="*/ 959614 w 4760326"/>
                  <a:gd name="connsiteY125" fmla="*/ 252608 h 1210271"/>
                  <a:gd name="connsiteX126" fmla="*/ 959614 w 4760326"/>
                  <a:gd name="connsiteY126" fmla="*/ 266028 h 1210271"/>
                  <a:gd name="connsiteX127" fmla="*/ 961525 w 4760326"/>
                  <a:gd name="connsiteY127" fmla="*/ 271105 h 1210271"/>
                  <a:gd name="connsiteX128" fmla="*/ 965983 w 4760326"/>
                  <a:gd name="connsiteY128" fmla="*/ 273281 h 1210271"/>
                  <a:gd name="connsiteX129" fmla="*/ 998470 w 4760326"/>
                  <a:gd name="connsiteY129" fmla="*/ 273281 h 1210271"/>
                  <a:gd name="connsiteX130" fmla="*/ 998470 w 4760326"/>
                  <a:gd name="connsiteY130" fmla="*/ 285250 h 1210271"/>
                  <a:gd name="connsiteX131" fmla="*/ 1000381 w 4760326"/>
                  <a:gd name="connsiteY131" fmla="*/ 290327 h 1210271"/>
                  <a:gd name="connsiteX132" fmla="*/ 1004839 w 4760326"/>
                  <a:gd name="connsiteY132" fmla="*/ 292504 h 1210271"/>
                  <a:gd name="connsiteX133" fmla="*/ 1088284 w 4760326"/>
                  <a:gd name="connsiteY133" fmla="*/ 292504 h 1210271"/>
                  <a:gd name="connsiteX134" fmla="*/ 1088284 w 4760326"/>
                  <a:gd name="connsiteY134" fmla="*/ 301933 h 1210271"/>
                  <a:gd name="connsiteX135" fmla="*/ 1090195 w 4760326"/>
                  <a:gd name="connsiteY135" fmla="*/ 307011 h 1210271"/>
                  <a:gd name="connsiteX136" fmla="*/ 1094654 w 4760326"/>
                  <a:gd name="connsiteY136" fmla="*/ 309187 h 1210271"/>
                  <a:gd name="connsiteX137" fmla="*/ 1213929 w 4760326"/>
                  <a:gd name="connsiteY137" fmla="*/ 309187 h 1210271"/>
                  <a:gd name="connsiteX138" fmla="*/ 1213929 w 4760326"/>
                  <a:gd name="connsiteY138" fmla="*/ 323332 h 1210271"/>
                  <a:gd name="connsiteX139" fmla="*/ 1215840 w 4760326"/>
                  <a:gd name="connsiteY139" fmla="*/ 328409 h 1210271"/>
                  <a:gd name="connsiteX140" fmla="*/ 1220299 w 4760326"/>
                  <a:gd name="connsiteY140" fmla="*/ 330585 h 1210271"/>
                  <a:gd name="connsiteX141" fmla="*/ 1228898 w 4760326"/>
                  <a:gd name="connsiteY141" fmla="*/ 330585 h 1210271"/>
                  <a:gd name="connsiteX142" fmla="*/ 1228898 w 4760326"/>
                  <a:gd name="connsiteY142" fmla="*/ 344548 h 1210271"/>
                  <a:gd name="connsiteX143" fmla="*/ 1230809 w 4760326"/>
                  <a:gd name="connsiteY143" fmla="*/ 349626 h 1210271"/>
                  <a:gd name="connsiteX144" fmla="*/ 1235268 w 4760326"/>
                  <a:gd name="connsiteY144" fmla="*/ 351802 h 1210271"/>
                  <a:gd name="connsiteX145" fmla="*/ 1252785 w 4760326"/>
                  <a:gd name="connsiteY145" fmla="*/ 351802 h 1210271"/>
                  <a:gd name="connsiteX146" fmla="*/ 1252785 w 4760326"/>
                  <a:gd name="connsiteY146" fmla="*/ 385713 h 1210271"/>
                  <a:gd name="connsiteX147" fmla="*/ 1254696 w 4760326"/>
                  <a:gd name="connsiteY147" fmla="*/ 390790 h 1210271"/>
                  <a:gd name="connsiteX148" fmla="*/ 1259155 w 4760326"/>
                  <a:gd name="connsiteY148" fmla="*/ 392967 h 1210271"/>
                  <a:gd name="connsiteX149" fmla="*/ 1324605 w 4760326"/>
                  <a:gd name="connsiteY149" fmla="*/ 392967 h 1210271"/>
                  <a:gd name="connsiteX150" fmla="*/ 1324605 w 4760326"/>
                  <a:gd name="connsiteY150" fmla="*/ 402759 h 1210271"/>
                  <a:gd name="connsiteX151" fmla="*/ 1326515 w 4760326"/>
                  <a:gd name="connsiteY151" fmla="*/ 407837 h 1210271"/>
                  <a:gd name="connsiteX152" fmla="*/ 1330974 w 4760326"/>
                  <a:gd name="connsiteY152" fmla="*/ 410013 h 1210271"/>
                  <a:gd name="connsiteX153" fmla="*/ 1348491 w 4760326"/>
                  <a:gd name="connsiteY153" fmla="*/ 410013 h 1210271"/>
                  <a:gd name="connsiteX154" fmla="*/ 1348491 w 4760326"/>
                  <a:gd name="connsiteY154" fmla="*/ 445012 h 1210271"/>
                  <a:gd name="connsiteX155" fmla="*/ 1350402 w 4760326"/>
                  <a:gd name="connsiteY155" fmla="*/ 450089 h 1210271"/>
                  <a:gd name="connsiteX156" fmla="*/ 1354383 w 4760326"/>
                  <a:gd name="connsiteY156" fmla="*/ 452265 h 1210271"/>
                  <a:gd name="connsiteX157" fmla="*/ 1354383 w 4760326"/>
                  <a:gd name="connsiteY157" fmla="*/ 465684 h 1210271"/>
                  <a:gd name="connsiteX158" fmla="*/ 1356294 w 4760326"/>
                  <a:gd name="connsiteY158" fmla="*/ 470762 h 1210271"/>
                  <a:gd name="connsiteX159" fmla="*/ 1360753 w 4760326"/>
                  <a:gd name="connsiteY159" fmla="*/ 472938 h 1210271"/>
                  <a:gd name="connsiteX160" fmla="*/ 1369352 w 4760326"/>
                  <a:gd name="connsiteY160" fmla="*/ 472938 h 1210271"/>
                  <a:gd name="connsiteX161" fmla="*/ 1369352 w 4760326"/>
                  <a:gd name="connsiteY161" fmla="*/ 484725 h 1210271"/>
                  <a:gd name="connsiteX162" fmla="*/ 1371263 w 4760326"/>
                  <a:gd name="connsiteY162" fmla="*/ 489803 h 1210271"/>
                  <a:gd name="connsiteX163" fmla="*/ 1375722 w 4760326"/>
                  <a:gd name="connsiteY163" fmla="*/ 491979 h 1210271"/>
                  <a:gd name="connsiteX164" fmla="*/ 1381296 w 4760326"/>
                  <a:gd name="connsiteY164" fmla="*/ 491979 h 1210271"/>
                  <a:gd name="connsiteX165" fmla="*/ 1381296 w 4760326"/>
                  <a:gd name="connsiteY165" fmla="*/ 525164 h 1210271"/>
                  <a:gd name="connsiteX166" fmla="*/ 1383207 w 4760326"/>
                  <a:gd name="connsiteY166" fmla="*/ 530242 h 1210271"/>
                  <a:gd name="connsiteX167" fmla="*/ 1387666 w 4760326"/>
                  <a:gd name="connsiteY167" fmla="*/ 532418 h 1210271"/>
                  <a:gd name="connsiteX168" fmla="*/ 1530827 w 4760326"/>
                  <a:gd name="connsiteY168" fmla="*/ 532418 h 1210271"/>
                  <a:gd name="connsiteX169" fmla="*/ 1530827 w 4760326"/>
                  <a:gd name="connsiteY169" fmla="*/ 543661 h 1210271"/>
                  <a:gd name="connsiteX170" fmla="*/ 1532738 w 4760326"/>
                  <a:gd name="connsiteY170" fmla="*/ 548739 h 1210271"/>
                  <a:gd name="connsiteX171" fmla="*/ 1537197 w 4760326"/>
                  <a:gd name="connsiteY171" fmla="*/ 550915 h 1210271"/>
                  <a:gd name="connsiteX172" fmla="*/ 1563791 w 4760326"/>
                  <a:gd name="connsiteY172" fmla="*/ 550915 h 1210271"/>
                  <a:gd name="connsiteX173" fmla="*/ 1563791 w 4760326"/>
                  <a:gd name="connsiteY173" fmla="*/ 560707 h 1210271"/>
                  <a:gd name="connsiteX174" fmla="*/ 1565702 w 4760326"/>
                  <a:gd name="connsiteY174" fmla="*/ 565785 h 1210271"/>
                  <a:gd name="connsiteX175" fmla="*/ 1566817 w 4760326"/>
                  <a:gd name="connsiteY175" fmla="*/ 566873 h 1210271"/>
                  <a:gd name="connsiteX176" fmla="*/ 1566817 w 4760326"/>
                  <a:gd name="connsiteY176" fmla="*/ 582468 h 1210271"/>
                  <a:gd name="connsiteX177" fmla="*/ 1568728 w 4760326"/>
                  <a:gd name="connsiteY177" fmla="*/ 587546 h 1210271"/>
                  <a:gd name="connsiteX178" fmla="*/ 1573187 w 4760326"/>
                  <a:gd name="connsiteY178" fmla="*/ 589722 h 1210271"/>
                  <a:gd name="connsiteX179" fmla="*/ 1683385 w 4760326"/>
                  <a:gd name="connsiteY179" fmla="*/ 589722 h 1210271"/>
                  <a:gd name="connsiteX180" fmla="*/ 1683385 w 4760326"/>
                  <a:gd name="connsiteY180" fmla="*/ 603141 h 1210271"/>
                  <a:gd name="connsiteX181" fmla="*/ 1685296 w 4760326"/>
                  <a:gd name="connsiteY181" fmla="*/ 608219 h 1210271"/>
                  <a:gd name="connsiteX182" fmla="*/ 1689755 w 4760326"/>
                  <a:gd name="connsiteY182" fmla="*/ 610395 h 1210271"/>
                  <a:gd name="connsiteX183" fmla="*/ 1904736 w 4760326"/>
                  <a:gd name="connsiteY183" fmla="*/ 610395 h 1210271"/>
                  <a:gd name="connsiteX184" fmla="*/ 1904736 w 4760326"/>
                  <a:gd name="connsiteY184" fmla="*/ 623270 h 1210271"/>
                  <a:gd name="connsiteX185" fmla="*/ 1906647 w 4760326"/>
                  <a:gd name="connsiteY185" fmla="*/ 628348 h 1210271"/>
                  <a:gd name="connsiteX186" fmla="*/ 1911265 w 4760326"/>
                  <a:gd name="connsiteY186" fmla="*/ 630524 h 1210271"/>
                  <a:gd name="connsiteX187" fmla="*/ 1922890 w 4760326"/>
                  <a:gd name="connsiteY187" fmla="*/ 630524 h 1210271"/>
                  <a:gd name="connsiteX188" fmla="*/ 1922890 w 4760326"/>
                  <a:gd name="connsiteY188" fmla="*/ 646663 h 1210271"/>
                  <a:gd name="connsiteX189" fmla="*/ 1924801 w 4760326"/>
                  <a:gd name="connsiteY189" fmla="*/ 651741 h 1210271"/>
                  <a:gd name="connsiteX190" fmla="*/ 1929260 w 4760326"/>
                  <a:gd name="connsiteY190" fmla="*/ 653917 h 1210271"/>
                  <a:gd name="connsiteX191" fmla="*/ 1979741 w 4760326"/>
                  <a:gd name="connsiteY191" fmla="*/ 653917 h 1210271"/>
                  <a:gd name="connsiteX192" fmla="*/ 1979741 w 4760326"/>
                  <a:gd name="connsiteY192" fmla="*/ 665341 h 1210271"/>
                  <a:gd name="connsiteX193" fmla="*/ 1981652 w 4760326"/>
                  <a:gd name="connsiteY193" fmla="*/ 670419 h 1210271"/>
                  <a:gd name="connsiteX194" fmla="*/ 1986110 w 4760326"/>
                  <a:gd name="connsiteY194" fmla="*/ 672595 h 1210271"/>
                  <a:gd name="connsiteX195" fmla="*/ 2099334 w 4760326"/>
                  <a:gd name="connsiteY195" fmla="*/ 672595 h 1210271"/>
                  <a:gd name="connsiteX196" fmla="*/ 2099334 w 4760326"/>
                  <a:gd name="connsiteY196" fmla="*/ 691636 h 1210271"/>
                  <a:gd name="connsiteX197" fmla="*/ 2101245 w 4760326"/>
                  <a:gd name="connsiteY197" fmla="*/ 696713 h 1210271"/>
                  <a:gd name="connsiteX198" fmla="*/ 2105704 w 4760326"/>
                  <a:gd name="connsiteY198" fmla="*/ 698889 h 1210271"/>
                  <a:gd name="connsiteX199" fmla="*/ 2159211 w 4760326"/>
                  <a:gd name="connsiteY199" fmla="*/ 698889 h 1210271"/>
                  <a:gd name="connsiteX200" fmla="*/ 2159211 w 4760326"/>
                  <a:gd name="connsiteY200" fmla="*/ 712309 h 1210271"/>
                  <a:gd name="connsiteX201" fmla="*/ 2161121 w 4760326"/>
                  <a:gd name="connsiteY201" fmla="*/ 717386 h 1210271"/>
                  <a:gd name="connsiteX202" fmla="*/ 2165580 w 4760326"/>
                  <a:gd name="connsiteY202" fmla="*/ 719562 h 1210271"/>
                  <a:gd name="connsiteX203" fmla="*/ 2189149 w 4760326"/>
                  <a:gd name="connsiteY203" fmla="*/ 719562 h 1210271"/>
                  <a:gd name="connsiteX204" fmla="*/ 2189149 w 4760326"/>
                  <a:gd name="connsiteY204" fmla="*/ 731712 h 1210271"/>
                  <a:gd name="connsiteX205" fmla="*/ 2191060 w 4760326"/>
                  <a:gd name="connsiteY205" fmla="*/ 736790 h 1210271"/>
                  <a:gd name="connsiteX206" fmla="*/ 2195518 w 4760326"/>
                  <a:gd name="connsiteY206" fmla="*/ 738966 h 1210271"/>
                  <a:gd name="connsiteX207" fmla="*/ 2527227 w 4760326"/>
                  <a:gd name="connsiteY207" fmla="*/ 738966 h 1210271"/>
                  <a:gd name="connsiteX208" fmla="*/ 2527227 w 4760326"/>
                  <a:gd name="connsiteY208" fmla="*/ 755286 h 1210271"/>
                  <a:gd name="connsiteX209" fmla="*/ 2529138 w 4760326"/>
                  <a:gd name="connsiteY209" fmla="*/ 760364 h 1210271"/>
                  <a:gd name="connsiteX210" fmla="*/ 2533597 w 4760326"/>
                  <a:gd name="connsiteY210" fmla="*/ 762540 h 1210271"/>
                  <a:gd name="connsiteX211" fmla="*/ 2554139 w 4760326"/>
                  <a:gd name="connsiteY211" fmla="*/ 762540 h 1210271"/>
                  <a:gd name="connsiteX212" fmla="*/ 2554139 w 4760326"/>
                  <a:gd name="connsiteY212" fmla="*/ 778861 h 1210271"/>
                  <a:gd name="connsiteX213" fmla="*/ 2556050 w 4760326"/>
                  <a:gd name="connsiteY213" fmla="*/ 783938 h 1210271"/>
                  <a:gd name="connsiteX214" fmla="*/ 2560509 w 4760326"/>
                  <a:gd name="connsiteY214" fmla="*/ 786114 h 1210271"/>
                  <a:gd name="connsiteX215" fmla="*/ 2592995 w 4760326"/>
                  <a:gd name="connsiteY215" fmla="*/ 786114 h 1210271"/>
                  <a:gd name="connsiteX216" fmla="*/ 2592995 w 4760326"/>
                  <a:gd name="connsiteY216" fmla="*/ 796451 h 1210271"/>
                  <a:gd name="connsiteX217" fmla="*/ 2594906 w 4760326"/>
                  <a:gd name="connsiteY217" fmla="*/ 801528 h 1210271"/>
                  <a:gd name="connsiteX218" fmla="*/ 2599365 w 4760326"/>
                  <a:gd name="connsiteY218" fmla="*/ 803705 h 1210271"/>
                  <a:gd name="connsiteX219" fmla="*/ 2607964 w 4760326"/>
                  <a:gd name="connsiteY219" fmla="*/ 803705 h 1210271"/>
                  <a:gd name="connsiteX220" fmla="*/ 2607964 w 4760326"/>
                  <a:gd name="connsiteY220" fmla="*/ 818393 h 1210271"/>
                  <a:gd name="connsiteX221" fmla="*/ 2609875 w 4760326"/>
                  <a:gd name="connsiteY221" fmla="*/ 823471 h 1210271"/>
                  <a:gd name="connsiteX222" fmla="*/ 2614334 w 4760326"/>
                  <a:gd name="connsiteY222" fmla="*/ 825647 h 1210271"/>
                  <a:gd name="connsiteX223" fmla="*/ 2802403 w 4760326"/>
                  <a:gd name="connsiteY223" fmla="*/ 825647 h 1210271"/>
                  <a:gd name="connsiteX224" fmla="*/ 2802403 w 4760326"/>
                  <a:gd name="connsiteY224" fmla="*/ 842693 h 1210271"/>
                  <a:gd name="connsiteX225" fmla="*/ 2804314 w 4760326"/>
                  <a:gd name="connsiteY225" fmla="*/ 847771 h 1210271"/>
                  <a:gd name="connsiteX226" fmla="*/ 2808773 w 4760326"/>
                  <a:gd name="connsiteY226" fmla="*/ 849947 h 1210271"/>
                  <a:gd name="connsiteX227" fmla="*/ 2847151 w 4760326"/>
                  <a:gd name="connsiteY227" fmla="*/ 849947 h 1210271"/>
                  <a:gd name="connsiteX228" fmla="*/ 2847151 w 4760326"/>
                  <a:gd name="connsiteY228" fmla="*/ 863003 h 1210271"/>
                  <a:gd name="connsiteX229" fmla="*/ 2849062 w 4760326"/>
                  <a:gd name="connsiteY229" fmla="*/ 868081 h 1210271"/>
                  <a:gd name="connsiteX230" fmla="*/ 2853521 w 4760326"/>
                  <a:gd name="connsiteY230" fmla="*/ 870257 h 1210271"/>
                  <a:gd name="connsiteX231" fmla="*/ 2912920 w 4760326"/>
                  <a:gd name="connsiteY231" fmla="*/ 870257 h 1210271"/>
                  <a:gd name="connsiteX232" fmla="*/ 2912920 w 4760326"/>
                  <a:gd name="connsiteY232" fmla="*/ 883676 h 1210271"/>
                  <a:gd name="connsiteX233" fmla="*/ 2914831 w 4760326"/>
                  <a:gd name="connsiteY233" fmla="*/ 888754 h 1210271"/>
                  <a:gd name="connsiteX234" fmla="*/ 2919289 w 4760326"/>
                  <a:gd name="connsiteY234" fmla="*/ 890930 h 1210271"/>
                  <a:gd name="connsiteX235" fmla="*/ 2993657 w 4760326"/>
                  <a:gd name="connsiteY235" fmla="*/ 890930 h 1210271"/>
                  <a:gd name="connsiteX236" fmla="*/ 2993657 w 4760326"/>
                  <a:gd name="connsiteY236" fmla="*/ 907794 h 1210271"/>
                  <a:gd name="connsiteX237" fmla="*/ 2995568 w 4760326"/>
                  <a:gd name="connsiteY237" fmla="*/ 912872 h 1210271"/>
                  <a:gd name="connsiteX238" fmla="*/ 3000027 w 4760326"/>
                  <a:gd name="connsiteY238" fmla="*/ 915048 h 1210271"/>
                  <a:gd name="connsiteX239" fmla="*/ 3032513 w 4760326"/>
                  <a:gd name="connsiteY239" fmla="*/ 915048 h 1210271"/>
                  <a:gd name="connsiteX240" fmla="*/ 3032513 w 4760326"/>
                  <a:gd name="connsiteY240" fmla="*/ 930825 h 1210271"/>
                  <a:gd name="connsiteX241" fmla="*/ 3034424 w 4760326"/>
                  <a:gd name="connsiteY241" fmla="*/ 935902 h 1210271"/>
                  <a:gd name="connsiteX242" fmla="*/ 3038883 w 4760326"/>
                  <a:gd name="connsiteY242" fmla="*/ 938079 h 1210271"/>
                  <a:gd name="connsiteX243" fmla="*/ 3241921 w 4760326"/>
                  <a:gd name="connsiteY243" fmla="*/ 938079 h 1210271"/>
                  <a:gd name="connsiteX244" fmla="*/ 3241921 w 4760326"/>
                  <a:gd name="connsiteY244" fmla="*/ 958026 h 1210271"/>
                  <a:gd name="connsiteX245" fmla="*/ 3243832 w 4760326"/>
                  <a:gd name="connsiteY245" fmla="*/ 963104 h 1210271"/>
                  <a:gd name="connsiteX246" fmla="*/ 3248291 w 4760326"/>
                  <a:gd name="connsiteY246" fmla="*/ 965280 h 1210271"/>
                  <a:gd name="connsiteX247" fmla="*/ 3774438 w 4760326"/>
                  <a:gd name="connsiteY247" fmla="*/ 965280 h 1210271"/>
                  <a:gd name="connsiteX248" fmla="*/ 3774438 w 4760326"/>
                  <a:gd name="connsiteY248" fmla="*/ 983777 h 1210271"/>
                  <a:gd name="connsiteX249" fmla="*/ 3776349 w 4760326"/>
                  <a:gd name="connsiteY249" fmla="*/ 988854 h 1210271"/>
                  <a:gd name="connsiteX250" fmla="*/ 3780808 w 4760326"/>
                  <a:gd name="connsiteY250" fmla="*/ 991030 h 1210271"/>
                  <a:gd name="connsiteX251" fmla="*/ 3905975 w 4760326"/>
                  <a:gd name="connsiteY251" fmla="*/ 991030 h 1210271"/>
                  <a:gd name="connsiteX252" fmla="*/ 3905975 w 4760326"/>
                  <a:gd name="connsiteY252" fmla="*/ 1006625 h 1210271"/>
                  <a:gd name="connsiteX253" fmla="*/ 4760327 w 4760326"/>
                  <a:gd name="connsiteY253" fmla="*/ 1210272 h 1210271"/>
                  <a:gd name="connsiteX254" fmla="*/ 4760327 w 4760326"/>
                  <a:gd name="connsiteY254" fmla="*/ 1002999 h 1210271"/>
                  <a:gd name="connsiteX255" fmla="*/ 3919192 w 4760326"/>
                  <a:gd name="connsiteY255" fmla="*/ 1002999 h 1210271"/>
                  <a:gd name="connsiteX256" fmla="*/ 3919192 w 4760326"/>
                  <a:gd name="connsiteY256" fmla="*/ 983777 h 1210271"/>
                  <a:gd name="connsiteX257" fmla="*/ 3917281 w 4760326"/>
                  <a:gd name="connsiteY257" fmla="*/ 978699 h 1210271"/>
                  <a:gd name="connsiteX258" fmla="*/ 3912822 w 4760326"/>
                  <a:gd name="connsiteY258" fmla="*/ 976523 h 1210271"/>
                  <a:gd name="connsiteX259" fmla="*/ 3787655 w 4760326"/>
                  <a:gd name="connsiteY259" fmla="*/ 976523 h 1210271"/>
                  <a:gd name="connsiteX260" fmla="*/ 3787655 w 4760326"/>
                  <a:gd name="connsiteY260" fmla="*/ 958026 h 1210271"/>
                  <a:gd name="connsiteX261" fmla="*/ 3785744 w 4760326"/>
                  <a:gd name="connsiteY261" fmla="*/ 952948 h 1210271"/>
                  <a:gd name="connsiteX262" fmla="*/ 3781286 w 4760326"/>
                  <a:gd name="connsiteY262" fmla="*/ 950772 h 1210271"/>
                  <a:gd name="connsiteX263" fmla="*/ 3255138 w 4760326"/>
                  <a:gd name="connsiteY263" fmla="*/ 950772 h 1210271"/>
                  <a:gd name="connsiteX264" fmla="*/ 3255138 w 4760326"/>
                  <a:gd name="connsiteY264" fmla="*/ 930825 h 1210271"/>
                  <a:gd name="connsiteX265" fmla="*/ 3253227 w 4760326"/>
                  <a:gd name="connsiteY265" fmla="*/ 925747 h 1210271"/>
                  <a:gd name="connsiteX266" fmla="*/ 3248768 w 4760326"/>
                  <a:gd name="connsiteY266" fmla="*/ 923571 h 1210271"/>
                  <a:gd name="connsiteX267" fmla="*/ 3045730 w 4760326"/>
                  <a:gd name="connsiteY267" fmla="*/ 923571 h 1210271"/>
                  <a:gd name="connsiteX268" fmla="*/ 3045730 w 4760326"/>
                  <a:gd name="connsiteY268" fmla="*/ 907794 h 1210271"/>
                  <a:gd name="connsiteX269" fmla="*/ 3043819 w 4760326"/>
                  <a:gd name="connsiteY269" fmla="*/ 902717 h 1210271"/>
                  <a:gd name="connsiteX270" fmla="*/ 3039360 w 4760326"/>
                  <a:gd name="connsiteY270" fmla="*/ 900541 h 1210271"/>
                  <a:gd name="connsiteX271" fmla="*/ 3006874 w 4760326"/>
                  <a:gd name="connsiteY271" fmla="*/ 900541 h 1210271"/>
                  <a:gd name="connsiteX272" fmla="*/ 3006874 w 4760326"/>
                  <a:gd name="connsiteY272" fmla="*/ 883676 h 1210271"/>
                  <a:gd name="connsiteX273" fmla="*/ 3004964 w 4760326"/>
                  <a:gd name="connsiteY273" fmla="*/ 878599 h 1210271"/>
                  <a:gd name="connsiteX274" fmla="*/ 3000505 w 4760326"/>
                  <a:gd name="connsiteY274" fmla="*/ 876422 h 1210271"/>
                  <a:gd name="connsiteX275" fmla="*/ 2926137 w 4760326"/>
                  <a:gd name="connsiteY275" fmla="*/ 876422 h 1210271"/>
                  <a:gd name="connsiteX276" fmla="*/ 2926137 w 4760326"/>
                  <a:gd name="connsiteY276" fmla="*/ 863003 h 1210271"/>
                  <a:gd name="connsiteX277" fmla="*/ 2924226 w 4760326"/>
                  <a:gd name="connsiteY277" fmla="*/ 857926 h 1210271"/>
                  <a:gd name="connsiteX278" fmla="*/ 2919767 w 4760326"/>
                  <a:gd name="connsiteY278" fmla="*/ 855750 h 1210271"/>
                  <a:gd name="connsiteX279" fmla="*/ 2860369 w 4760326"/>
                  <a:gd name="connsiteY279" fmla="*/ 855750 h 1210271"/>
                  <a:gd name="connsiteX280" fmla="*/ 2860369 w 4760326"/>
                  <a:gd name="connsiteY280" fmla="*/ 842693 h 1210271"/>
                  <a:gd name="connsiteX281" fmla="*/ 2858458 w 4760326"/>
                  <a:gd name="connsiteY281" fmla="*/ 837615 h 1210271"/>
                  <a:gd name="connsiteX282" fmla="*/ 2853999 w 4760326"/>
                  <a:gd name="connsiteY282" fmla="*/ 835439 h 1210271"/>
                  <a:gd name="connsiteX283" fmla="*/ 2815461 w 4760326"/>
                  <a:gd name="connsiteY283" fmla="*/ 835439 h 1210271"/>
                  <a:gd name="connsiteX284" fmla="*/ 2815461 w 4760326"/>
                  <a:gd name="connsiteY284" fmla="*/ 818393 h 1210271"/>
                  <a:gd name="connsiteX285" fmla="*/ 2813550 w 4760326"/>
                  <a:gd name="connsiteY285" fmla="*/ 813316 h 1210271"/>
                  <a:gd name="connsiteX286" fmla="*/ 2809092 w 4760326"/>
                  <a:gd name="connsiteY286" fmla="*/ 811140 h 1210271"/>
                  <a:gd name="connsiteX287" fmla="*/ 2621023 w 4760326"/>
                  <a:gd name="connsiteY287" fmla="*/ 811140 h 1210271"/>
                  <a:gd name="connsiteX288" fmla="*/ 2621023 w 4760326"/>
                  <a:gd name="connsiteY288" fmla="*/ 796451 h 1210271"/>
                  <a:gd name="connsiteX289" fmla="*/ 2619111 w 4760326"/>
                  <a:gd name="connsiteY289" fmla="*/ 791373 h 1210271"/>
                  <a:gd name="connsiteX290" fmla="*/ 2614653 w 4760326"/>
                  <a:gd name="connsiteY290" fmla="*/ 789197 h 1210271"/>
                  <a:gd name="connsiteX291" fmla="*/ 2606053 w 4760326"/>
                  <a:gd name="connsiteY291" fmla="*/ 789197 h 1210271"/>
                  <a:gd name="connsiteX292" fmla="*/ 2606053 w 4760326"/>
                  <a:gd name="connsiteY292" fmla="*/ 778861 h 1210271"/>
                  <a:gd name="connsiteX293" fmla="*/ 2604142 w 4760326"/>
                  <a:gd name="connsiteY293" fmla="*/ 773783 h 1210271"/>
                  <a:gd name="connsiteX294" fmla="*/ 2599683 w 4760326"/>
                  <a:gd name="connsiteY294" fmla="*/ 771607 h 1210271"/>
                  <a:gd name="connsiteX295" fmla="*/ 2567198 w 4760326"/>
                  <a:gd name="connsiteY295" fmla="*/ 771607 h 1210271"/>
                  <a:gd name="connsiteX296" fmla="*/ 2567198 w 4760326"/>
                  <a:gd name="connsiteY296" fmla="*/ 755286 h 1210271"/>
                  <a:gd name="connsiteX297" fmla="*/ 2565287 w 4760326"/>
                  <a:gd name="connsiteY297" fmla="*/ 750209 h 1210271"/>
                  <a:gd name="connsiteX298" fmla="*/ 2560828 w 4760326"/>
                  <a:gd name="connsiteY298" fmla="*/ 748033 h 1210271"/>
                  <a:gd name="connsiteX299" fmla="*/ 2540285 w 4760326"/>
                  <a:gd name="connsiteY299" fmla="*/ 748033 h 1210271"/>
                  <a:gd name="connsiteX300" fmla="*/ 2540285 w 4760326"/>
                  <a:gd name="connsiteY300" fmla="*/ 731712 h 1210271"/>
                  <a:gd name="connsiteX301" fmla="*/ 2538374 w 4760326"/>
                  <a:gd name="connsiteY301" fmla="*/ 726635 h 1210271"/>
                  <a:gd name="connsiteX302" fmla="*/ 2533915 w 4760326"/>
                  <a:gd name="connsiteY302" fmla="*/ 724458 h 1210271"/>
                  <a:gd name="connsiteX303" fmla="*/ 2202207 w 4760326"/>
                  <a:gd name="connsiteY303" fmla="*/ 724458 h 1210271"/>
                  <a:gd name="connsiteX304" fmla="*/ 2202207 w 4760326"/>
                  <a:gd name="connsiteY304" fmla="*/ 712309 h 1210271"/>
                  <a:gd name="connsiteX305" fmla="*/ 2200296 w 4760326"/>
                  <a:gd name="connsiteY305" fmla="*/ 707231 h 1210271"/>
                  <a:gd name="connsiteX306" fmla="*/ 2195837 w 4760326"/>
                  <a:gd name="connsiteY306" fmla="*/ 705055 h 1210271"/>
                  <a:gd name="connsiteX307" fmla="*/ 2172269 w 4760326"/>
                  <a:gd name="connsiteY307" fmla="*/ 705055 h 1210271"/>
                  <a:gd name="connsiteX308" fmla="*/ 2172269 w 4760326"/>
                  <a:gd name="connsiteY308" fmla="*/ 691636 h 1210271"/>
                  <a:gd name="connsiteX309" fmla="*/ 2170358 w 4760326"/>
                  <a:gd name="connsiteY309" fmla="*/ 686558 h 1210271"/>
                  <a:gd name="connsiteX310" fmla="*/ 2165899 w 4760326"/>
                  <a:gd name="connsiteY310" fmla="*/ 684382 h 1210271"/>
                  <a:gd name="connsiteX311" fmla="*/ 2112392 w 4760326"/>
                  <a:gd name="connsiteY311" fmla="*/ 684382 h 1210271"/>
                  <a:gd name="connsiteX312" fmla="*/ 2112392 w 4760326"/>
                  <a:gd name="connsiteY312" fmla="*/ 665341 h 1210271"/>
                  <a:gd name="connsiteX313" fmla="*/ 2110481 w 4760326"/>
                  <a:gd name="connsiteY313" fmla="*/ 660264 h 1210271"/>
                  <a:gd name="connsiteX314" fmla="*/ 2106022 w 4760326"/>
                  <a:gd name="connsiteY314" fmla="*/ 658088 h 1210271"/>
                  <a:gd name="connsiteX315" fmla="*/ 1992799 w 4760326"/>
                  <a:gd name="connsiteY315" fmla="*/ 658088 h 1210271"/>
                  <a:gd name="connsiteX316" fmla="*/ 1992799 w 4760326"/>
                  <a:gd name="connsiteY316" fmla="*/ 646663 h 1210271"/>
                  <a:gd name="connsiteX317" fmla="*/ 1990888 w 4760326"/>
                  <a:gd name="connsiteY317" fmla="*/ 641585 h 1210271"/>
                  <a:gd name="connsiteX318" fmla="*/ 1986429 w 4760326"/>
                  <a:gd name="connsiteY318" fmla="*/ 639409 h 1210271"/>
                  <a:gd name="connsiteX319" fmla="*/ 1935948 w 4760326"/>
                  <a:gd name="connsiteY319" fmla="*/ 639409 h 1210271"/>
                  <a:gd name="connsiteX320" fmla="*/ 1935948 w 4760326"/>
                  <a:gd name="connsiteY320" fmla="*/ 623270 h 1210271"/>
                  <a:gd name="connsiteX321" fmla="*/ 1934037 w 4760326"/>
                  <a:gd name="connsiteY321" fmla="*/ 618192 h 1210271"/>
                  <a:gd name="connsiteX322" fmla="*/ 1929578 w 4760326"/>
                  <a:gd name="connsiteY322" fmla="*/ 616016 h 1210271"/>
                  <a:gd name="connsiteX323" fmla="*/ 1917953 w 4760326"/>
                  <a:gd name="connsiteY323" fmla="*/ 616016 h 1210271"/>
                  <a:gd name="connsiteX324" fmla="*/ 1917953 w 4760326"/>
                  <a:gd name="connsiteY324" fmla="*/ 603141 h 1210271"/>
                  <a:gd name="connsiteX325" fmla="*/ 1916042 w 4760326"/>
                  <a:gd name="connsiteY325" fmla="*/ 598064 h 1210271"/>
                  <a:gd name="connsiteX326" fmla="*/ 1911584 w 4760326"/>
                  <a:gd name="connsiteY326" fmla="*/ 595887 h 1210271"/>
                  <a:gd name="connsiteX327" fmla="*/ 1696602 w 4760326"/>
                  <a:gd name="connsiteY327" fmla="*/ 595887 h 1210271"/>
                  <a:gd name="connsiteX328" fmla="*/ 1696602 w 4760326"/>
                  <a:gd name="connsiteY328" fmla="*/ 582468 h 1210271"/>
                  <a:gd name="connsiteX329" fmla="*/ 1694691 w 4760326"/>
                  <a:gd name="connsiteY329" fmla="*/ 577391 h 1210271"/>
                  <a:gd name="connsiteX330" fmla="*/ 1690232 w 4760326"/>
                  <a:gd name="connsiteY330" fmla="*/ 575215 h 1210271"/>
                  <a:gd name="connsiteX331" fmla="*/ 1580034 w 4760326"/>
                  <a:gd name="connsiteY331" fmla="*/ 575215 h 1210271"/>
                  <a:gd name="connsiteX332" fmla="*/ 1580034 w 4760326"/>
                  <a:gd name="connsiteY332" fmla="*/ 560707 h 1210271"/>
                  <a:gd name="connsiteX333" fmla="*/ 1578123 w 4760326"/>
                  <a:gd name="connsiteY333" fmla="*/ 555630 h 1210271"/>
                  <a:gd name="connsiteX334" fmla="*/ 1577009 w 4760326"/>
                  <a:gd name="connsiteY334" fmla="*/ 554542 h 1210271"/>
                  <a:gd name="connsiteX335" fmla="*/ 1577009 w 4760326"/>
                  <a:gd name="connsiteY335" fmla="*/ 543661 h 1210271"/>
                  <a:gd name="connsiteX336" fmla="*/ 1575098 w 4760326"/>
                  <a:gd name="connsiteY336" fmla="*/ 538584 h 1210271"/>
                  <a:gd name="connsiteX337" fmla="*/ 1570639 w 4760326"/>
                  <a:gd name="connsiteY337" fmla="*/ 536408 h 1210271"/>
                  <a:gd name="connsiteX338" fmla="*/ 1544045 w 4760326"/>
                  <a:gd name="connsiteY338" fmla="*/ 536408 h 1210271"/>
                  <a:gd name="connsiteX339" fmla="*/ 1544045 w 4760326"/>
                  <a:gd name="connsiteY339" fmla="*/ 525346 h 1210271"/>
                  <a:gd name="connsiteX340" fmla="*/ 1542134 w 4760326"/>
                  <a:gd name="connsiteY340" fmla="*/ 520268 h 1210271"/>
                  <a:gd name="connsiteX341" fmla="*/ 1537675 w 4760326"/>
                  <a:gd name="connsiteY341" fmla="*/ 518092 h 1210271"/>
                  <a:gd name="connsiteX342" fmla="*/ 1394513 w 4760326"/>
                  <a:gd name="connsiteY342" fmla="*/ 518092 h 1210271"/>
                  <a:gd name="connsiteX343" fmla="*/ 1394513 w 4760326"/>
                  <a:gd name="connsiteY343" fmla="*/ 484907 h 1210271"/>
                  <a:gd name="connsiteX344" fmla="*/ 1392602 w 4760326"/>
                  <a:gd name="connsiteY344" fmla="*/ 479829 h 1210271"/>
                  <a:gd name="connsiteX345" fmla="*/ 1388143 w 4760326"/>
                  <a:gd name="connsiteY345" fmla="*/ 477653 h 1210271"/>
                  <a:gd name="connsiteX346" fmla="*/ 1382570 w 4760326"/>
                  <a:gd name="connsiteY346" fmla="*/ 477653 h 1210271"/>
                  <a:gd name="connsiteX347" fmla="*/ 1382570 w 4760326"/>
                  <a:gd name="connsiteY347" fmla="*/ 465866 h 1210271"/>
                  <a:gd name="connsiteX348" fmla="*/ 1380659 w 4760326"/>
                  <a:gd name="connsiteY348" fmla="*/ 460788 h 1210271"/>
                  <a:gd name="connsiteX349" fmla="*/ 1376200 w 4760326"/>
                  <a:gd name="connsiteY349" fmla="*/ 458612 h 1210271"/>
                  <a:gd name="connsiteX350" fmla="*/ 1367601 w 4760326"/>
                  <a:gd name="connsiteY350" fmla="*/ 458612 h 1210271"/>
                  <a:gd name="connsiteX351" fmla="*/ 1367601 w 4760326"/>
                  <a:gd name="connsiteY351" fmla="*/ 445193 h 1210271"/>
                  <a:gd name="connsiteX352" fmla="*/ 1365690 w 4760326"/>
                  <a:gd name="connsiteY352" fmla="*/ 440115 h 1210271"/>
                  <a:gd name="connsiteX353" fmla="*/ 1361549 w 4760326"/>
                  <a:gd name="connsiteY353" fmla="*/ 437939 h 1210271"/>
                  <a:gd name="connsiteX354" fmla="*/ 1361549 w 4760326"/>
                  <a:gd name="connsiteY354" fmla="*/ 402759 h 1210271"/>
                  <a:gd name="connsiteX355" fmla="*/ 1359638 w 4760326"/>
                  <a:gd name="connsiteY355" fmla="*/ 397681 h 1210271"/>
                  <a:gd name="connsiteX356" fmla="*/ 1355180 w 4760326"/>
                  <a:gd name="connsiteY356" fmla="*/ 395505 h 1210271"/>
                  <a:gd name="connsiteX357" fmla="*/ 1337663 w 4760326"/>
                  <a:gd name="connsiteY357" fmla="*/ 395505 h 1210271"/>
                  <a:gd name="connsiteX358" fmla="*/ 1337663 w 4760326"/>
                  <a:gd name="connsiteY358" fmla="*/ 385713 h 1210271"/>
                  <a:gd name="connsiteX359" fmla="*/ 1335752 w 4760326"/>
                  <a:gd name="connsiteY359" fmla="*/ 380635 h 1210271"/>
                  <a:gd name="connsiteX360" fmla="*/ 1331293 w 4760326"/>
                  <a:gd name="connsiteY360" fmla="*/ 378459 h 1210271"/>
                  <a:gd name="connsiteX361" fmla="*/ 1265843 w 4760326"/>
                  <a:gd name="connsiteY361" fmla="*/ 378459 h 1210271"/>
                  <a:gd name="connsiteX362" fmla="*/ 1265843 w 4760326"/>
                  <a:gd name="connsiteY362" fmla="*/ 344548 h 1210271"/>
                  <a:gd name="connsiteX363" fmla="*/ 1263932 w 4760326"/>
                  <a:gd name="connsiteY363" fmla="*/ 339471 h 1210271"/>
                  <a:gd name="connsiteX364" fmla="*/ 1259473 w 4760326"/>
                  <a:gd name="connsiteY364" fmla="*/ 337295 h 1210271"/>
                  <a:gd name="connsiteX365" fmla="*/ 1241956 w 4760326"/>
                  <a:gd name="connsiteY365" fmla="*/ 337295 h 1210271"/>
                  <a:gd name="connsiteX366" fmla="*/ 1241956 w 4760326"/>
                  <a:gd name="connsiteY366" fmla="*/ 323332 h 1210271"/>
                  <a:gd name="connsiteX367" fmla="*/ 1240045 w 4760326"/>
                  <a:gd name="connsiteY367" fmla="*/ 318254 h 1210271"/>
                  <a:gd name="connsiteX368" fmla="*/ 1235586 w 4760326"/>
                  <a:gd name="connsiteY368" fmla="*/ 316078 h 1210271"/>
                  <a:gd name="connsiteX369" fmla="*/ 1226987 w 4760326"/>
                  <a:gd name="connsiteY369" fmla="*/ 316078 h 1210271"/>
                  <a:gd name="connsiteX370" fmla="*/ 1226987 w 4760326"/>
                  <a:gd name="connsiteY370" fmla="*/ 301933 h 1210271"/>
                  <a:gd name="connsiteX371" fmla="*/ 1225076 w 4760326"/>
                  <a:gd name="connsiteY371" fmla="*/ 296856 h 1210271"/>
                  <a:gd name="connsiteX372" fmla="*/ 1220617 w 4760326"/>
                  <a:gd name="connsiteY372" fmla="*/ 294680 h 1210271"/>
                  <a:gd name="connsiteX373" fmla="*/ 1101342 w 4760326"/>
                  <a:gd name="connsiteY373" fmla="*/ 294680 h 1210271"/>
                  <a:gd name="connsiteX374" fmla="*/ 1101342 w 4760326"/>
                  <a:gd name="connsiteY374" fmla="*/ 285250 h 1210271"/>
                  <a:gd name="connsiteX375" fmla="*/ 1099431 w 4760326"/>
                  <a:gd name="connsiteY375" fmla="*/ 280172 h 1210271"/>
                  <a:gd name="connsiteX376" fmla="*/ 1094972 w 4760326"/>
                  <a:gd name="connsiteY376" fmla="*/ 277996 h 1210271"/>
                  <a:gd name="connsiteX377" fmla="*/ 1011528 w 4760326"/>
                  <a:gd name="connsiteY377" fmla="*/ 277996 h 1210271"/>
                  <a:gd name="connsiteX378" fmla="*/ 1011528 w 4760326"/>
                  <a:gd name="connsiteY378" fmla="*/ 266028 h 1210271"/>
                  <a:gd name="connsiteX379" fmla="*/ 1009617 w 4760326"/>
                  <a:gd name="connsiteY379" fmla="*/ 260950 h 1210271"/>
                  <a:gd name="connsiteX380" fmla="*/ 1005158 w 4760326"/>
                  <a:gd name="connsiteY380" fmla="*/ 258774 h 1210271"/>
                  <a:gd name="connsiteX381" fmla="*/ 972672 w 4760326"/>
                  <a:gd name="connsiteY381" fmla="*/ 258774 h 1210271"/>
                  <a:gd name="connsiteX382" fmla="*/ 972672 w 4760326"/>
                  <a:gd name="connsiteY382" fmla="*/ 245355 h 1210271"/>
                  <a:gd name="connsiteX383" fmla="*/ 970761 w 4760326"/>
                  <a:gd name="connsiteY383" fmla="*/ 240277 h 1210271"/>
                  <a:gd name="connsiteX384" fmla="*/ 966302 w 4760326"/>
                  <a:gd name="connsiteY384" fmla="*/ 238101 h 1210271"/>
                  <a:gd name="connsiteX385" fmla="*/ 942734 w 4760326"/>
                  <a:gd name="connsiteY385" fmla="*/ 238101 h 1210271"/>
                  <a:gd name="connsiteX386" fmla="*/ 942734 w 4760326"/>
                  <a:gd name="connsiteY386" fmla="*/ 226495 h 1210271"/>
                  <a:gd name="connsiteX387" fmla="*/ 940823 w 4760326"/>
                  <a:gd name="connsiteY387" fmla="*/ 221418 h 1210271"/>
                  <a:gd name="connsiteX388" fmla="*/ 936364 w 4760326"/>
                  <a:gd name="connsiteY388" fmla="*/ 219242 h 1210271"/>
                  <a:gd name="connsiteX389" fmla="*/ 915821 w 4760326"/>
                  <a:gd name="connsiteY389" fmla="*/ 219242 h 1210271"/>
                  <a:gd name="connsiteX390" fmla="*/ 915821 w 4760326"/>
                  <a:gd name="connsiteY390" fmla="*/ 209268 h 1210271"/>
                  <a:gd name="connsiteX391" fmla="*/ 913910 w 4760326"/>
                  <a:gd name="connsiteY391" fmla="*/ 204190 h 1210271"/>
                  <a:gd name="connsiteX392" fmla="*/ 909451 w 4760326"/>
                  <a:gd name="connsiteY392" fmla="*/ 202014 h 1210271"/>
                  <a:gd name="connsiteX393" fmla="*/ 864863 w 4760326"/>
                  <a:gd name="connsiteY393" fmla="*/ 202014 h 1210271"/>
                  <a:gd name="connsiteX394" fmla="*/ 864863 w 4760326"/>
                  <a:gd name="connsiteY394" fmla="*/ 191859 h 1210271"/>
                  <a:gd name="connsiteX395" fmla="*/ 862952 w 4760326"/>
                  <a:gd name="connsiteY395" fmla="*/ 186782 h 1210271"/>
                  <a:gd name="connsiteX396" fmla="*/ 858493 w 4760326"/>
                  <a:gd name="connsiteY396" fmla="*/ 184605 h 1210271"/>
                  <a:gd name="connsiteX397" fmla="*/ 840976 w 4760326"/>
                  <a:gd name="connsiteY397" fmla="*/ 184605 h 1210271"/>
                  <a:gd name="connsiteX398" fmla="*/ 840976 w 4760326"/>
                  <a:gd name="connsiteY398" fmla="*/ 173725 h 1210271"/>
                  <a:gd name="connsiteX399" fmla="*/ 839065 w 4760326"/>
                  <a:gd name="connsiteY399" fmla="*/ 168647 h 1210271"/>
                  <a:gd name="connsiteX400" fmla="*/ 834606 w 4760326"/>
                  <a:gd name="connsiteY400" fmla="*/ 166471 h 1210271"/>
                  <a:gd name="connsiteX401" fmla="*/ 822981 w 4760326"/>
                  <a:gd name="connsiteY401" fmla="*/ 166471 h 1210271"/>
                  <a:gd name="connsiteX402" fmla="*/ 822981 w 4760326"/>
                  <a:gd name="connsiteY402" fmla="*/ 157948 h 1210271"/>
                  <a:gd name="connsiteX403" fmla="*/ 821070 w 4760326"/>
                  <a:gd name="connsiteY403" fmla="*/ 152871 h 1210271"/>
                  <a:gd name="connsiteX404" fmla="*/ 816611 w 4760326"/>
                  <a:gd name="connsiteY404" fmla="*/ 150695 h 1210271"/>
                  <a:gd name="connsiteX405" fmla="*/ 784125 w 4760326"/>
                  <a:gd name="connsiteY405" fmla="*/ 150695 h 1210271"/>
                  <a:gd name="connsiteX406" fmla="*/ 784125 w 4760326"/>
                  <a:gd name="connsiteY406" fmla="*/ 134555 h 1210271"/>
                  <a:gd name="connsiteX407" fmla="*/ 782214 w 4760326"/>
                  <a:gd name="connsiteY407" fmla="*/ 129478 h 1210271"/>
                  <a:gd name="connsiteX408" fmla="*/ 777755 w 4760326"/>
                  <a:gd name="connsiteY408" fmla="*/ 127302 h 1210271"/>
                  <a:gd name="connsiteX409" fmla="*/ 748295 w 4760326"/>
                  <a:gd name="connsiteY409" fmla="*/ 127302 h 1210271"/>
                  <a:gd name="connsiteX410" fmla="*/ 748295 w 4760326"/>
                  <a:gd name="connsiteY410" fmla="*/ 117690 h 1210271"/>
                  <a:gd name="connsiteX411" fmla="*/ 746384 w 4760326"/>
                  <a:gd name="connsiteY411" fmla="*/ 112613 h 1210271"/>
                  <a:gd name="connsiteX412" fmla="*/ 741925 w 4760326"/>
                  <a:gd name="connsiteY412" fmla="*/ 110437 h 1210271"/>
                  <a:gd name="connsiteX413" fmla="*/ 682526 w 4760326"/>
                  <a:gd name="connsiteY413" fmla="*/ 110437 h 1210271"/>
                  <a:gd name="connsiteX414" fmla="*/ 682526 w 4760326"/>
                  <a:gd name="connsiteY414" fmla="*/ 95930 h 1210271"/>
                  <a:gd name="connsiteX415" fmla="*/ 680615 w 4760326"/>
                  <a:gd name="connsiteY415" fmla="*/ 90852 h 1210271"/>
                  <a:gd name="connsiteX416" fmla="*/ 676157 w 4760326"/>
                  <a:gd name="connsiteY416" fmla="*/ 88676 h 1210271"/>
                  <a:gd name="connsiteX417" fmla="*/ 622650 w 4760326"/>
                  <a:gd name="connsiteY417" fmla="*/ 88676 h 1210271"/>
                  <a:gd name="connsiteX418" fmla="*/ 622650 w 4760326"/>
                  <a:gd name="connsiteY418" fmla="*/ 78702 h 1210271"/>
                  <a:gd name="connsiteX419" fmla="*/ 620739 w 4760326"/>
                  <a:gd name="connsiteY419" fmla="*/ 73625 h 1210271"/>
                  <a:gd name="connsiteX420" fmla="*/ 616280 w 4760326"/>
                  <a:gd name="connsiteY420" fmla="*/ 71448 h 1210271"/>
                  <a:gd name="connsiteX421" fmla="*/ 529969 w 4760326"/>
                  <a:gd name="connsiteY421" fmla="*/ 71448 h 1210271"/>
                  <a:gd name="connsiteX422" fmla="*/ 529969 w 4760326"/>
                  <a:gd name="connsiteY422" fmla="*/ 57485 h 1210271"/>
                  <a:gd name="connsiteX423" fmla="*/ 528058 w 4760326"/>
                  <a:gd name="connsiteY423" fmla="*/ 52408 h 1210271"/>
                  <a:gd name="connsiteX424" fmla="*/ 523599 w 4760326"/>
                  <a:gd name="connsiteY424" fmla="*/ 50232 h 1210271"/>
                  <a:gd name="connsiteX425" fmla="*/ 452257 w 4760326"/>
                  <a:gd name="connsiteY425" fmla="*/ 50232 h 1210271"/>
                  <a:gd name="connsiteX426" fmla="*/ 452257 w 4760326"/>
                  <a:gd name="connsiteY426" fmla="*/ 39351 h 1210271"/>
                  <a:gd name="connsiteX427" fmla="*/ 450346 w 4760326"/>
                  <a:gd name="connsiteY427" fmla="*/ 34274 h 1210271"/>
                  <a:gd name="connsiteX428" fmla="*/ 445888 w 4760326"/>
                  <a:gd name="connsiteY428" fmla="*/ 32097 h 1210271"/>
                  <a:gd name="connsiteX429" fmla="*/ 200968 w 4760326"/>
                  <a:gd name="connsiteY429" fmla="*/ 32097 h 1210271"/>
                  <a:gd name="connsiteX430" fmla="*/ 200968 w 4760326"/>
                  <a:gd name="connsiteY430" fmla="*/ 20854 h 1210271"/>
                  <a:gd name="connsiteX431" fmla="*/ 199057 w 4760326"/>
                  <a:gd name="connsiteY431" fmla="*/ 15777 h 1210271"/>
                  <a:gd name="connsiteX432" fmla="*/ 194598 w 4760326"/>
                  <a:gd name="connsiteY432" fmla="*/ 13601 h 1210271"/>
                  <a:gd name="connsiteX433" fmla="*/ 6529 w 4760326"/>
                  <a:gd name="connsiteY433" fmla="*/ 13601 h 1210271"/>
                  <a:gd name="connsiteX434" fmla="*/ 6529 w 4760326"/>
                  <a:gd name="connsiteY434" fmla="*/ 0 h 1210271"/>
                  <a:gd name="connsiteX435" fmla="*/ 523599 w 4760326"/>
                  <a:gd name="connsiteY435" fmla="*/ 0 h 1210271"/>
                  <a:gd name="connsiteX436" fmla="*/ 523599 w 4760326"/>
                  <a:gd name="connsiteY436" fmla="*/ 1451 h 1210271"/>
                  <a:gd name="connsiteX437" fmla="*/ 616280 w 4760326"/>
                  <a:gd name="connsiteY437" fmla="*/ 1451 h 1210271"/>
                  <a:gd name="connsiteX438" fmla="*/ 616280 w 4760326"/>
                  <a:gd name="connsiteY438" fmla="*/ 11606 h 1210271"/>
                  <a:gd name="connsiteX439" fmla="*/ 676157 w 4760326"/>
                  <a:gd name="connsiteY439" fmla="*/ 11606 h 1210271"/>
                  <a:gd name="connsiteX440" fmla="*/ 676157 w 4760326"/>
                  <a:gd name="connsiteY440" fmla="*/ 23393 h 1210271"/>
                  <a:gd name="connsiteX441" fmla="*/ 741925 w 4760326"/>
                  <a:gd name="connsiteY441" fmla="*/ 23393 h 1210271"/>
                  <a:gd name="connsiteX442" fmla="*/ 741925 w 4760326"/>
                  <a:gd name="connsiteY442" fmla="*/ 34818 h 1210271"/>
                  <a:gd name="connsiteX443" fmla="*/ 777755 w 4760326"/>
                  <a:gd name="connsiteY443" fmla="*/ 34818 h 1210271"/>
                  <a:gd name="connsiteX444" fmla="*/ 777755 w 4760326"/>
                  <a:gd name="connsiteY444" fmla="*/ 48781 h 1210271"/>
                  <a:gd name="connsiteX445" fmla="*/ 816611 w 4760326"/>
                  <a:gd name="connsiteY445" fmla="*/ 48781 h 1210271"/>
                  <a:gd name="connsiteX446" fmla="*/ 816611 w 4760326"/>
                  <a:gd name="connsiteY446" fmla="*/ 60568 h 1210271"/>
                  <a:gd name="connsiteX447" fmla="*/ 834606 w 4760326"/>
                  <a:gd name="connsiteY447" fmla="*/ 60568 h 1210271"/>
                  <a:gd name="connsiteX448" fmla="*/ 834606 w 4760326"/>
                  <a:gd name="connsiteY448" fmla="*/ 73625 h 1210271"/>
                  <a:gd name="connsiteX449" fmla="*/ 858493 w 4760326"/>
                  <a:gd name="connsiteY449" fmla="*/ 73625 h 1210271"/>
                  <a:gd name="connsiteX450" fmla="*/ 858493 w 4760326"/>
                  <a:gd name="connsiteY450" fmla="*/ 86500 h 1210271"/>
                  <a:gd name="connsiteX451" fmla="*/ 909451 w 4760326"/>
                  <a:gd name="connsiteY451" fmla="*/ 86500 h 1210271"/>
                  <a:gd name="connsiteX452" fmla="*/ 909451 w 4760326"/>
                  <a:gd name="connsiteY452" fmla="*/ 99556 h 1210271"/>
                  <a:gd name="connsiteX453" fmla="*/ 936364 w 4760326"/>
                  <a:gd name="connsiteY453" fmla="*/ 99556 h 1210271"/>
                  <a:gd name="connsiteX454" fmla="*/ 936364 w 4760326"/>
                  <a:gd name="connsiteY454" fmla="*/ 113520 h 1210271"/>
                  <a:gd name="connsiteX455" fmla="*/ 966302 w 4760326"/>
                  <a:gd name="connsiteY455" fmla="*/ 113520 h 1210271"/>
                  <a:gd name="connsiteX456" fmla="*/ 966302 w 4760326"/>
                  <a:gd name="connsiteY456" fmla="*/ 128752 h 1210271"/>
                  <a:gd name="connsiteX457" fmla="*/ 1005158 w 4760326"/>
                  <a:gd name="connsiteY457" fmla="*/ 128752 h 1210271"/>
                  <a:gd name="connsiteX458" fmla="*/ 1005158 w 4760326"/>
                  <a:gd name="connsiteY458" fmla="*/ 143622 h 1210271"/>
                  <a:gd name="connsiteX459" fmla="*/ 1094972 w 4760326"/>
                  <a:gd name="connsiteY459" fmla="*/ 143622 h 1210271"/>
                  <a:gd name="connsiteX460" fmla="*/ 1094972 w 4760326"/>
                  <a:gd name="connsiteY460" fmla="*/ 157042 h 1210271"/>
                  <a:gd name="connsiteX461" fmla="*/ 1220617 w 4760326"/>
                  <a:gd name="connsiteY461" fmla="*/ 157042 h 1210271"/>
                  <a:gd name="connsiteX462" fmla="*/ 1220617 w 4760326"/>
                  <a:gd name="connsiteY462" fmla="*/ 173362 h 1210271"/>
                  <a:gd name="connsiteX463" fmla="*/ 1235586 w 4760326"/>
                  <a:gd name="connsiteY463" fmla="*/ 173362 h 1210271"/>
                  <a:gd name="connsiteX464" fmla="*/ 1235586 w 4760326"/>
                  <a:gd name="connsiteY464" fmla="*/ 189864 h 1210271"/>
                  <a:gd name="connsiteX465" fmla="*/ 1259473 w 4760326"/>
                  <a:gd name="connsiteY465" fmla="*/ 189864 h 1210271"/>
                  <a:gd name="connsiteX466" fmla="*/ 1259473 w 4760326"/>
                  <a:gd name="connsiteY466" fmla="*/ 222687 h 1210271"/>
                  <a:gd name="connsiteX467" fmla="*/ 1331293 w 4760326"/>
                  <a:gd name="connsiteY467" fmla="*/ 222687 h 1210271"/>
                  <a:gd name="connsiteX468" fmla="*/ 1331293 w 4760326"/>
                  <a:gd name="connsiteY468" fmla="*/ 237013 h 1210271"/>
                  <a:gd name="connsiteX469" fmla="*/ 1355180 w 4760326"/>
                  <a:gd name="connsiteY469" fmla="*/ 237013 h 1210271"/>
                  <a:gd name="connsiteX470" fmla="*/ 1355180 w 4760326"/>
                  <a:gd name="connsiteY470" fmla="*/ 271649 h 1210271"/>
                  <a:gd name="connsiteX471" fmla="*/ 1361072 w 4760326"/>
                  <a:gd name="connsiteY471" fmla="*/ 271649 h 1210271"/>
                  <a:gd name="connsiteX472" fmla="*/ 1361072 w 4760326"/>
                  <a:gd name="connsiteY472" fmla="*/ 288877 h 1210271"/>
                  <a:gd name="connsiteX473" fmla="*/ 1376041 w 4760326"/>
                  <a:gd name="connsiteY473" fmla="*/ 288877 h 1210271"/>
                  <a:gd name="connsiteX474" fmla="*/ 1376041 w 4760326"/>
                  <a:gd name="connsiteY474" fmla="*/ 305016 h 1210271"/>
                  <a:gd name="connsiteX475" fmla="*/ 1387984 w 4760326"/>
                  <a:gd name="connsiteY475" fmla="*/ 305016 h 1210271"/>
                  <a:gd name="connsiteX476" fmla="*/ 1387984 w 4760326"/>
                  <a:gd name="connsiteY476" fmla="*/ 339471 h 1210271"/>
                  <a:gd name="connsiteX477" fmla="*/ 1537516 w 4760326"/>
                  <a:gd name="connsiteY477" fmla="*/ 339471 h 1210271"/>
                  <a:gd name="connsiteX478" fmla="*/ 1537516 w 4760326"/>
                  <a:gd name="connsiteY478" fmla="*/ 355429 h 1210271"/>
                  <a:gd name="connsiteX479" fmla="*/ 1570480 w 4760326"/>
                  <a:gd name="connsiteY479" fmla="*/ 355429 h 1210271"/>
                  <a:gd name="connsiteX480" fmla="*/ 1570480 w 4760326"/>
                  <a:gd name="connsiteY480" fmla="*/ 370480 h 1210271"/>
                  <a:gd name="connsiteX481" fmla="*/ 1573505 w 4760326"/>
                  <a:gd name="connsiteY481" fmla="*/ 370480 h 1210271"/>
                  <a:gd name="connsiteX482" fmla="*/ 1573505 w 4760326"/>
                  <a:gd name="connsiteY482" fmla="*/ 389158 h 1210271"/>
                  <a:gd name="connsiteX483" fmla="*/ 1690073 w 4760326"/>
                  <a:gd name="connsiteY483" fmla="*/ 389158 h 1210271"/>
                  <a:gd name="connsiteX484" fmla="*/ 1690073 w 4760326"/>
                  <a:gd name="connsiteY484" fmla="*/ 406930 h 1210271"/>
                  <a:gd name="connsiteX485" fmla="*/ 1911424 w 4760326"/>
                  <a:gd name="connsiteY485" fmla="*/ 406930 h 1210271"/>
                  <a:gd name="connsiteX486" fmla="*/ 1911424 w 4760326"/>
                  <a:gd name="connsiteY486" fmla="*/ 424520 h 1210271"/>
                  <a:gd name="connsiteX487" fmla="*/ 1929419 w 4760326"/>
                  <a:gd name="connsiteY487" fmla="*/ 424520 h 1210271"/>
                  <a:gd name="connsiteX488" fmla="*/ 1929419 w 4760326"/>
                  <a:gd name="connsiteY488" fmla="*/ 444830 h 1210271"/>
                  <a:gd name="connsiteX489" fmla="*/ 1986270 w 4760326"/>
                  <a:gd name="connsiteY489" fmla="*/ 444830 h 1210271"/>
                  <a:gd name="connsiteX490" fmla="*/ 1986270 w 4760326"/>
                  <a:gd name="connsiteY490" fmla="*/ 461514 h 1210271"/>
                  <a:gd name="connsiteX491" fmla="*/ 2105863 w 4760326"/>
                  <a:gd name="connsiteY491" fmla="*/ 461514 h 1210271"/>
                  <a:gd name="connsiteX492" fmla="*/ 2105863 w 4760326"/>
                  <a:gd name="connsiteY492" fmla="*/ 484363 h 1210271"/>
                  <a:gd name="connsiteX493" fmla="*/ 2165739 w 4760326"/>
                  <a:gd name="connsiteY493" fmla="*/ 484363 h 1210271"/>
                  <a:gd name="connsiteX494" fmla="*/ 2165739 w 4760326"/>
                  <a:gd name="connsiteY494" fmla="*/ 502859 h 1210271"/>
                  <a:gd name="connsiteX495" fmla="*/ 2195678 w 4760326"/>
                  <a:gd name="connsiteY495" fmla="*/ 502859 h 1210271"/>
                  <a:gd name="connsiteX496" fmla="*/ 2195678 w 4760326"/>
                  <a:gd name="connsiteY496" fmla="*/ 520450 h 1210271"/>
                  <a:gd name="connsiteX497" fmla="*/ 2533756 w 4760326"/>
                  <a:gd name="connsiteY497" fmla="*/ 520450 h 1210271"/>
                  <a:gd name="connsiteX498" fmla="*/ 2533756 w 4760326"/>
                  <a:gd name="connsiteY498" fmla="*/ 541304 h 1210271"/>
                  <a:gd name="connsiteX499" fmla="*/ 2560668 w 4760326"/>
                  <a:gd name="connsiteY499" fmla="*/ 541304 h 1210271"/>
                  <a:gd name="connsiteX500" fmla="*/ 2560668 w 4760326"/>
                  <a:gd name="connsiteY500" fmla="*/ 562339 h 1210271"/>
                  <a:gd name="connsiteX501" fmla="*/ 2599524 w 4760326"/>
                  <a:gd name="connsiteY501" fmla="*/ 562339 h 1210271"/>
                  <a:gd name="connsiteX502" fmla="*/ 2599524 w 4760326"/>
                  <a:gd name="connsiteY502" fmla="*/ 578479 h 1210271"/>
                  <a:gd name="connsiteX503" fmla="*/ 2614493 w 4760326"/>
                  <a:gd name="connsiteY503" fmla="*/ 578479 h 1210271"/>
                  <a:gd name="connsiteX504" fmla="*/ 2614493 w 4760326"/>
                  <a:gd name="connsiteY504" fmla="*/ 598245 h 1210271"/>
                  <a:gd name="connsiteX505" fmla="*/ 2808932 w 4760326"/>
                  <a:gd name="connsiteY505" fmla="*/ 598245 h 1210271"/>
                  <a:gd name="connsiteX506" fmla="*/ 2808932 w 4760326"/>
                  <a:gd name="connsiteY506" fmla="*/ 620187 h 1210271"/>
                  <a:gd name="connsiteX507" fmla="*/ 2853839 w 4760326"/>
                  <a:gd name="connsiteY507" fmla="*/ 620187 h 1210271"/>
                  <a:gd name="connsiteX508" fmla="*/ 2853839 w 4760326"/>
                  <a:gd name="connsiteY508" fmla="*/ 638865 h 1210271"/>
                  <a:gd name="connsiteX509" fmla="*/ 2919608 w 4760326"/>
                  <a:gd name="connsiteY509" fmla="*/ 638865 h 1210271"/>
                  <a:gd name="connsiteX510" fmla="*/ 2919608 w 4760326"/>
                  <a:gd name="connsiteY510" fmla="*/ 657725 h 1210271"/>
                  <a:gd name="connsiteX511" fmla="*/ 3000345 w 4760326"/>
                  <a:gd name="connsiteY511" fmla="*/ 657725 h 1210271"/>
                  <a:gd name="connsiteX512" fmla="*/ 3000345 w 4760326"/>
                  <a:gd name="connsiteY512" fmla="*/ 679667 h 1210271"/>
                  <a:gd name="connsiteX513" fmla="*/ 3039360 w 4760326"/>
                  <a:gd name="connsiteY513" fmla="*/ 679667 h 1210271"/>
                  <a:gd name="connsiteX514" fmla="*/ 3039360 w 4760326"/>
                  <a:gd name="connsiteY514" fmla="*/ 700884 h 1210271"/>
                  <a:gd name="connsiteX515" fmla="*/ 3248768 w 4760326"/>
                  <a:gd name="connsiteY515" fmla="*/ 700884 h 1210271"/>
                  <a:gd name="connsiteX516" fmla="*/ 3248768 w 4760326"/>
                  <a:gd name="connsiteY516" fmla="*/ 725365 h 1210271"/>
                  <a:gd name="connsiteX517" fmla="*/ 3781286 w 4760326"/>
                  <a:gd name="connsiteY517" fmla="*/ 725365 h 1210271"/>
                  <a:gd name="connsiteX518" fmla="*/ 3781286 w 4760326"/>
                  <a:gd name="connsiteY518" fmla="*/ 748395 h 1210271"/>
                  <a:gd name="connsiteX519" fmla="*/ 3912822 w 4760326"/>
                  <a:gd name="connsiteY519" fmla="*/ 748395 h 1210271"/>
                  <a:gd name="connsiteX520" fmla="*/ 3912822 w 4760326"/>
                  <a:gd name="connsiteY520" fmla="*/ 771426 h 1210271"/>
                  <a:gd name="connsiteX521" fmla="*/ 4760327 w 4760326"/>
                  <a:gd name="connsiteY521" fmla="*/ 771426 h 1210271"/>
                  <a:gd name="connsiteX522" fmla="*/ 4760327 w 4760326"/>
                  <a:gd name="connsiteY522" fmla="*/ 1209909 h 12102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</a:cxnLst>
                <a:rect l="l" t="t" r="r" b="b"/>
                <a:pathLst>
                  <a:path w="4760326" h="1210271">
                    <a:moveTo>
                      <a:pt x="3906452" y="1006807"/>
                    </a:moveTo>
                    <a:lnTo>
                      <a:pt x="3482063" y="1006807"/>
                    </a:lnTo>
                    <a:lnTo>
                      <a:pt x="3482063" y="987947"/>
                    </a:lnTo>
                    <a:lnTo>
                      <a:pt x="3374254" y="987947"/>
                    </a:lnTo>
                    <a:lnTo>
                      <a:pt x="3374254" y="967093"/>
                    </a:lnTo>
                    <a:lnTo>
                      <a:pt x="2560509" y="967093"/>
                    </a:lnTo>
                    <a:lnTo>
                      <a:pt x="2560509" y="942249"/>
                    </a:lnTo>
                    <a:lnTo>
                      <a:pt x="2533597" y="942249"/>
                    </a:lnTo>
                    <a:lnTo>
                      <a:pt x="2533597" y="916862"/>
                    </a:lnTo>
                    <a:lnTo>
                      <a:pt x="2195518" y="916862"/>
                    </a:lnTo>
                    <a:lnTo>
                      <a:pt x="2195518" y="896370"/>
                    </a:lnTo>
                    <a:lnTo>
                      <a:pt x="2165580" y="896370"/>
                    </a:lnTo>
                    <a:lnTo>
                      <a:pt x="2165580" y="874246"/>
                    </a:lnTo>
                    <a:lnTo>
                      <a:pt x="2105704" y="874246"/>
                    </a:lnTo>
                    <a:lnTo>
                      <a:pt x="2105704" y="845413"/>
                    </a:lnTo>
                    <a:lnTo>
                      <a:pt x="1986110" y="845413"/>
                    </a:lnTo>
                    <a:lnTo>
                      <a:pt x="1986110" y="825284"/>
                    </a:lnTo>
                    <a:lnTo>
                      <a:pt x="1929260" y="825284"/>
                    </a:lnTo>
                    <a:lnTo>
                      <a:pt x="1929260" y="799715"/>
                    </a:lnTo>
                    <a:lnTo>
                      <a:pt x="1911265" y="799715"/>
                    </a:lnTo>
                    <a:lnTo>
                      <a:pt x="1911265" y="777591"/>
                    </a:lnTo>
                    <a:lnTo>
                      <a:pt x="1689914" y="777591"/>
                    </a:lnTo>
                    <a:lnTo>
                      <a:pt x="1689914" y="755105"/>
                    </a:lnTo>
                    <a:lnTo>
                      <a:pt x="1573346" y="755105"/>
                    </a:lnTo>
                    <a:lnTo>
                      <a:pt x="1573346" y="731168"/>
                    </a:lnTo>
                    <a:lnTo>
                      <a:pt x="1570320" y="731168"/>
                    </a:lnTo>
                    <a:lnTo>
                      <a:pt x="1570320" y="712490"/>
                    </a:lnTo>
                    <a:lnTo>
                      <a:pt x="1537357" y="712490"/>
                    </a:lnTo>
                    <a:lnTo>
                      <a:pt x="1537357" y="692361"/>
                    </a:lnTo>
                    <a:lnTo>
                      <a:pt x="1387825" y="692361"/>
                    </a:lnTo>
                    <a:lnTo>
                      <a:pt x="1387825" y="647388"/>
                    </a:lnTo>
                    <a:lnTo>
                      <a:pt x="1375882" y="647388"/>
                    </a:lnTo>
                    <a:lnTo>
                      <a:pt x="1375882" y="625990"/>
                    </a:lnTo>
                    <a:lnTo>
                      <a:pt x="1360912" y="625990"/>
                    </a:lnTo>
                    <a:lnTo>
                      <a:pt x="1360912" y="602597"/>
                    </a:lnTo>
                    <a:lnTo>
                      <a:pt x="1355020" y="602597"/>
                    </a:lnTo>
                    <a:lnTo>
                      <a:pt x="1355020" y="554179"/>
                    </a:lnTo>
                    <a:lnTo>
                      <a:pt x="1331134" y="554179"/>
                    </a:lnTo>
                    <a:lnTo>
                      <a:pt x="1331134" y="535138"/>
                    </a:lnTo>
                    <a:lnTo>
                      <a:pt x="1259314" y="535138"/>
                    </a:lnTo>
                    <a:lnTo>
                      <a:pt x="1259314" y="487264"/>
                    </a:lnTo>
                    <a:lnTo>
                      <a:pt x="1235427" y="487264"/>
                    </a:lnTo>
                    <a:lnTo>
                      <a:pt x="1235427" y="462058"/>
                    </a:lnTo>
                    <a:lnTo>
                      <a:pt x="1220458" y="462058"/>
                    </a:lnTo>
                    <a:lnTo>
                      <a:pt x="1220458" y="436488"/>
                    </a:lnTo>
                    <a:lnTo>
                      <a:pt x="1094813" y="436488"/>
                    </a:lnTo>
                    <a:lnTo>
                      <a:pt x="1094813" y="417085"/>
                    </a:lnTo>
                    <a:lnTo>
                      <a:pt x="1004999" y="417085"/>
                    </a:lnTo>
                    <a:lnTo>
                      <a:pt x="1004999" y="394055"/>
                    </a:lnTo>
                    <a:lnTo>
                      <a:pt x="966143" y="394055"/>
                    </a:lnTo>
                    <a:lnTo>
                      <a:pt x="966143" y="368667"/>
                    </a:lnTo>
                    <a:lnTo>
                      <a:pt x="936205" y="368667"/>
                    </a:lnTo>
                    <a:lnTo>
                      <a:pt x="936205" y="345818"/>
                    </a:lnTo>
                    <a:lnTo>
                      <a:pt x="909292" y="345818"/>
                    </a:lnTo>
                    <a:lnTo>
                      <a:pt x="909292" y="324782"/>
                    </a:lnTo>
                    <a:lnTo>
                      <a:pt x="858334" y="324782"/>
                    </a:lnTo>
                    <a:lnTo>
                      <a:pt x="858334" y="303565"/>
                    </a:lnTo>
                    <a:lnTo>
                      <a:pt x="834447" y="303565"/>
                    </a:lnTo>
                    <a:lnTo>
                      <a:pt x="834447" y="280898"/>
                    </a:lnTo>
                    <a:lnTo>
                      <a:pt x="816452" y="280898"/>
                    </a:lnTo>
                    <a:lnTo>
                      <a:pt x="816452" y="261494"/>
                    </a:lnTo>
                    <a:lnTo>
                      <a:pt x="777596" y="261494"/>
                    </a:lnTo>
                    <a:lnTo>
                      <a:pt x="777596" y="229397"/>
                    </a:lnTo>
                    <a:lnTo>
                      <a:pt x="741766" y="229397"/>
                    </a:lnTo>
                    <a:lnTo>
                      <a:pt x="741766" y="207636"/>
                    </a:lnTo>
                    <a:lnTo>
                      <a:pt x="675997" y="207636"/>
                    </a:lnTo>
                    <a:lnTo>
                      <a:pt x="675997" y="176626"/>
                    </a:lnTo>
                    <a:lnTo>
                      <a:pt x="616121" y="176626"/>
                    </a:lnTo>
                    <a:lnTo>
                      <a:pt x="616121" y="153052"/>
                    </a:lnTo>
                    <a:lnTo>
                      <a:pt x="523440" y="153052"/>
                    </a:lnTo>
                    <a:lnTo>
                      <a:pt x="523440" y="120411"/>
                    </a:lnTo>
                    <a:lnTo>
                      <a:pt x="445728" y="120411"/>
                    </a:lnTo>
                    <a:lnTo>
                      <a:pt x="445728" y="92484"/>
                    </a:lnTo>
                    <a:lnTo>
                      <a:pt x="194439" y="92484"/>
                    </a:lnTo>
                    <a:lnTo>
                      <a:pt x="194439" y="60568"/>
                    </a:lnTo>
                    <a:lnTo>
                      <a:pt x="0" y="60568"/>
                    </a:lnTo>
                    <a:lnTo>
                      <a:pt x="0" y="28289"/>
                    </a:lnTo>
                    <a:lnTo>
                      <a:pt x="188069" y="28289"/>
                    </a:lnTo>
                    <a:lnTo>
                      <a:pt x="188069" y="39532"/>
                    </a:lnTo>
                    <a:cubicBezTo>
                      <a:pt x="188069" y="41527"/>
                      <a:pt x="188706" y="43341"/>
                      <a:pt x="189980" y="44610"/>
                    </a:cubicBezTo>
                    <a:cubicBezTo>
                      <a:pt x="191095" y="46061"/>
                      <a:pt x="192846" y="46786"/>
                      <a:pt x="194439" y="46786"/>
                    </a:cubicBezTo>
                    <a:lnTo>
                      <a:pt x="439358" y="46786"/>
                    </a:lnTo>
                    <a:lnTo>
                      <a:pt x="439358" y="57485"/>
                    </a:lnTo>
                    <a:cubicBezTo>
                      <a:pt x="439358" y="59480"/>
                      <a:pt x="439995" y="61293"/>
                      <a:pt x="441269" y="62563"/>
                    </a:cubicBezTo>
                    <a:cubicBezTo>
                      <a:pt x="442384" y="64013"/>
                      <a:pt x="444136" y="64739"/>
                      <a:pt x="445728" y="64739"/>
                    </a:cubicBezTo>
                    <a:lnTo>
                      <a:pt x="517070" y="64739"/>
                    </a:lnTo>
                    <a:lnTo>
                      <a:pt x="517070" y="78702"/>
                    </a:lnTo>
                    <a:cubicBezTo>
                      <a:pt x="517070" y="80697"/>
                      <a:pt x="517707" y="82510"/>
                      <a:pt x="518981" y="83780"/>
                    </a:cubicBezTo>
                    <a:cubicBezTo>
                      <a:pt x="520096" y="85230"/>
                      <a:pt x="521848" y="85956"/>
                      <a:pt x="523440" y="85956"/>
                    </a:cubicBezTo>
                    <a:lnTo>
                      <a:pt x="609751" y="85956"/>
                    </a:lnTo>
                    <a:lnTo>
                      <a:pt x="609751" y="95930"/>
                    </a:lnTo>
                    <a:cubicBezTo>
                      <a:pt x="609751" y="97924"/>
                      <a:pt x="610388" y="99738"/>
                      <a:pt x="611662" y="101007"/>
                    </a:cubicBezTo>
                    <a:cubicBezTo>
                      <a:pt x="612777" y="102276"/>
                      <a:pt x="614529" y="103183"/>
                      <a:pt x="616121" y="103183"/>
                    </a:cubicBezTo>
                    <a:lnTo>
                      <a:pt x="669628" y="103183"/>
                    </a:lnTo>
                    <a:lnTo>
                      <a:pt x="669628" y="117690"/>
                    </a:lnTo>
                    <a:cubicBezTo>
                      <a:pt x="669628" y="119504"/>
                      <a:pt x="670265" y="121499"/>
                      <a:pt x="671538" y="122768"/>
                    </a:cubicBezTo>
                    <a:cubicBezTo>
                      <a:pt x="672653" y="124037"/>
                      <a:pt x="674405" y="124944"/>
                      <a:pt x="675997" y="124944"/>
                    </a:cubicBezTo>
                    <a:lnTo>
                      <a:pt x="735396" y="124944"/>
                    </a:lnTo>
                    <a:lnTo>
                      <a:pt x="735396" y="134555"/>
                    </a:lnTo>
                    <a:cubicBezTo>
                      <a:pt x="735396" y="136550"/>
                      <a:pt x="736033" y="138363"/>
                      <a:pt x="737307" y="139633"/>
                    </a:cubicBezTo>
                    <a:cubicBezTo>
                      <a:pt x="738422" y="140902"/>
                      <a:pt x="740173" y="141809"/>
                      <a:pt x="741766" y="141809"/>
                    </a:cubicBezTo>
                    <a:lnTo>
                      <a:pt x="771226" y="141809"/>
                    </a:lnTo>
                    <a:lnTo>
                      <a:pt x="771226" y="157948"/>
                    </a:lnTo>
                    <a:cubicBezTo>
                      <a:pt x="771226" y="159762"/>
                      <a:pt x="771863" y="161756"/>
                      <a:pt x="773137" y="163026"/>
                    </a:cubicBezTo>
                    <a:cubicBezTo>
                      <a:pt x="774411" y="164295"/>
                      <a:pt x="776004" y="165202"/>
                      <a:pt x="777596" y="165202"/>
                    </a:cubicBezTo>
                    <a:lnTo>
                      <a:pt x="810082" y="165202"/>
                    </a:lnTo>
                    <a:lnTo>
                      <a:pt x="810082" y="173725"/>
                    </a:lnTo>
                    <a:cubicBezTo>
                      <a:pt x="810082" y="175720"/>
                      <a:pt x="810719" y="177533"/>
                      <a:pt x="811993" y="178803"/>
                    </a:cubicBezTo>
                    <a:cubicBezTo>
                      <a:pt x="813267" y="180253"/>
                      <a:pt x="814859" y="180979"/>
                      <a:pt x="816452" y="180979"/>
                    </a:cubicBezTo>
                    <a:lnTo>
                      <a:pt x="828077" y="180979"/>
                    </a:lnTo>
                    <a:lnTo>
                      <a:pt x="828077" y="191859"/>
                    </a:lnTo>
                    <a:cubicBezTo>
                      <a:pt x="828077" y="193854"/>
                      <a:pt x="828714" y="195667"/>
                      <a:pt x="829988" y="196937"/>
                    </a:cubicBezTo>
                    <a:cubicBezTo>
                      <a:pt x="831102" y="198387"/>
                      <a:pt x="832854" y="199113"/>
                      <a:pt x="834447" y="199113"/>
                    </a:cubicBezTo>
                    <a:lnTo>
                      <a:pt x="851964" y="199113"/>
                    </a:lnTo>
                    <a:lnTo>
                      <a:pt x="851964" y="209268"/>
                    </a:lnTo>
                    <a:cubicBezTo>
                      <a:pt x="851964" y="211263"/>
                      <a:pt x="852601" y="213076"/>
                      <a:pt x="853875" y="214345"/>
                    </a:cubicBezTo>
                    <a:cubicBezTo>
                      <a:pt x="854989" y="215615"/>
                      <a:pt x="856741" y="216522"/>
                      <a:pt x="858334" y="216522"/>
                    </a:cubicBezTo>
                    <a:lnTo>
                      <a:pt x="902763" y="216522"/>
                    </a:lnTo>
                    <a:lnTo>
                      <a:pt x="902763" y="226495"/>
                    </a:lnTo>
                    <a:cubicBezTo>
                      <a:pt x="902763" y="228490"/>
                      <a:pt x="903400" y="230303"/>
                      <a:pt x="904674" y="231573"/>
                    </a:cubicBezTo>
                    <a:cubicBezTo>
                      <a:pt x="905789" y="233024"/>
                      <a:pt x="907540" y="233749"/>
                      <a:pt x="909133" y="233749"/>
                    </a:cubicBezTo>
                    <a:lnTo>
                      <a:pt x="929675" y="233749"/>
                    </a:lnTo>
                    <a:lnTo>
                      <a:pt x="929675" y="245355"/>
                    </a:lnTo>
                    <a:cubicBezTo>
                      <a:pt x="929675" y="247350"/>
                      <a:pt x="930312" y="249163"/>
                      <a:pt x="931586" y="250432"/>
                    </a:cubicBezTo>
                    <a:cubicBezTo>
                      <a:pt x="932860" y="251883"/>
                      <a:pt x="934453" y="252608"/>
                      <a:pt x="936045" y="252608"/>
                    </a:cubicBezTo>
                    <a:lnTo>
                      <a:pt x="959614" y="252608"/>
                    </a:lnTo>
                    <a:lnTo>
                      <a:pt x="959614" y="266028"/>
                    </a:lnTo>
                    <a:cubicBezTo>
                      <a:pt x="959614" y="267841"/>
                      <a:pt x="960251" y="269836"/>
                      <a:pt x="961525" y="271105"/>
                    </a:cubicBezTo>
                    <a:cubicBezTo>
                      <a:pt x="962639" y="272375"/>
                      <a:pt x="964391" y="273281"/>
                      <a:pt x="965983" y="273281"/>
                    </a:cubicBezTo>
                    <a:lnTo>
                      <a:pt x="998470" y="273281"/>
                    </a:lnTo>
                    <a:lnTo>
                      <a:pt x="998470" y="285250"/>
                    </a:lnTo>
                    <a:cubicBezTo>
                      <a:pt x="998470" y="287063"/>
                      <a:pt x="999107" y="289058"/>
                      <a:pt x="1000381" y="290327"/>
                    </a:cubicBezTo>
                    <a:cubicBezTo>
                      <a:pt x="1001495" y="291597"/>
                      <a:pt x="1003247" y="292504"/>
                      <a:pt x="1004839" y="292504"/>
                    </a:cubicBezTo>
                    <a:lnTo>
                      <a:pt x="1088284" y="292504"/>
                    </a:lnTo>
                    <a:lnTo>
                      <a:pt x="1088284" y="301933"/>
                    </a:lnTo>
                    <a:cubicBezTo>
                      <a:pt x="1088284" y="303928"/>
                      <a:pt x="1088921" y="305741"/>
                      <a:pt x="1090195" y="307011"/>
                    </a:cubicBezTo>
                    <a:cubicBezTo>
                      <a:pt x="1091310" y="308280"/>
                      <a:pt x="1093061" y="309187"/>
                      <a:pt x="1094654" y="309187"/>
                    </a:cubicBezTo>
                    <a:lnTo>
                      <a:pt x="1213929" y="309187"/>
                    </a:lnTo>
                    <a:lnTo>
                      <a:pt x="1213929" y="323332"/>
                    </a:lnTo>
                    <a:cubicBezTo>
                      <a:pt x="1213929" y="325326"/>
                      <a:pt x="1214566" y="327140"/>
                      <a:pt x="1215840" y="328409"/>
                    </a:cubicBezTo>
                    <a:cubicBezTo>
                      <a:pt x="1217114" y="329860"/>
                      <a:pt x="1218706" y="330585"/>
                      <a:pt x="1220299" y="330585"/>
                    </a:cubicBezTo>
                    <a:lnTo>
                      <a:pt x="1228898" y="330585"/>
                    </a:lnTo>
                    <a:lnTo>
                      <a:pt x="1228898" y="344548"/>
                    </a:lnTo>
                    <a:cubicBezTo>
                      <a:pt x="1228898" y="346543"/>
                      <a:pt x="1229535" y="348357"/>
                      <a:pt x="1230809" y="349626"/>
                    </a:cubicBezTo>
                    <a:cubicBezTo>
                      <a:pt x="1231924" y="351077"/>
                      <a:pt x="1233675" y="351802"/>
                      <a:pt x="1235268" y="351802"/>
                    </a:cubicBezTo>
                    <a:lnTo>
                      <a:pt x="1252785" y="351802"/>
                    </a:lnTo>
                    <a:lnTo>
                      <a:pt x="1252785" y="385713"/>
                    </a:lnTo>
                    <a:cubicBezTo>
                      <a:pt x="1252785" y="387526"/>
                      <a:pt x="1253422" y="389521"/>
                      <a:pt x="1254696" y="390790"/>
                    </a:cubicBezTo>
                    <a:cubicBezTo>
                      <a:pt x="1255970" y="392060"/>
                      <a:pt x="1257562" y="392967"/>
                      <a:pt x="1259155" y="392967"/>
                    </a:cubicBezTo>
                    <a:lnTo>
                      <a:pt x="1324605" y="392967"/>
                    </a:lnTo>
                    <a:lnTo>
                      <a:pt x="1324605" y="402759"/>
                    </a:lnTo>
                    <a:cubicBezTo>
                      <a:pt x="1324605" y="404754"/>
                      <a:pt x="1325242" y="406567"/>
                      <a:pt x="1326515" y="407837"/>
                    </a:cubicBezTo>
                    <a:cubicBezTo>
                      <a:pt x="1327630" y="409287"/>
                      <a:pt x="1329382" y="410013"/>
                      <a:pt x="1330974" y="410013"/>
                    </a:cubicBezTo>
                    <a:lnTo>
                      <a:pt x="1348491" y="410013"/>
                    </a:lnTo>
                    <a:lnTo>
                      <a:pt x="1348491" y="445012"/>
                    </a:lnTo>
                    <a:cubicBezTo>
                      <a:pt x="1348491" y="446825"/>
                      <a:pt x="1349128" y="448820"/>
                      <a:pt x="1350402" y="450089"/>
                    </a:cubicBezTo>
                    <a:cubicBezTo>
                      <a:pt x="1351517" y="451358"/>
                      <a:pt x="1352950" y="452084"/>
                      <a:pt x="1354383" y="452265"/>
                    </a:cubicBezTo>
                    <a:lnTo>
                      <a:pt x="1354383" y="465684"/>
                    </a:lnTo>
                    <a:cubicBezTo>
                      <a:pt x="1354383" y="467498"/>
                      <a:pt x="1355020" y="469493"/>
                      <a:pt x="1356294" y="470762"/>
                    </a:cubicBezTo>
                    <a:cubicBezTo>
                      <a:pt x="1357568" y="472031"/>
                      <a:pt x="1359161" y="472938"/>
                      <a:pt x="1360753" y="472938"/>
                    </a:cubicBezTo>
                    <a:lnTo>
                      <a:pt x="1369352" y="472938"/>
                    </a:lnTo>
                    <a:lnTo>
                      <a:pt x="1369352" y="484725"/>
                    </a:lnTo>
                    <a:cubicBezTo>
                      <a:pt x="1369352" y="486720"/>
                      <a:pt x="1369989" y="488533"/>
                      <a:pt x="1371263" y="489803"/>
                    </a:cubicBezTo>
                    <a:cubicBezTo>
                      <a:pt x="1372537" y="491072"/>
                      <a:pt x="1374130" y="491979"/>
                      <a:pt x="1375722" y="491979"/>
                    </a:cubicBezTo>
                    <a:lnTo>
                      <a:pt x="1381296" y="491979"/>
                    </a:lnTo>
                    <a:lnTo>
                      <a:pt x="1381296" y="525164"/>
                    </a:lnTo>
                    <a:cubicBezTo>
                      <a:pt x="1381296" y="526978"/>
                      <a:pt x="1381933" y="528973"/>
                      <a:pt x="1383207" y="530242"/>
                    </a:cubicBezTo>
                    <a:cubicBezTo>
                      <a:pt x="1384481" y="531511"/>
                      <a:pt x="1386073" y="532418"/>
                      <a:pt x="1387666" y="532418"/>
                    </a:cubicBezTo>
                    <a:lnTo>
                      <a:pt x="1530827" y="532418"/>
                    </a:lnTo>
                    <a:lnTo>
                      <a:pt x="1530827" y="543661"/>
                    </a:lnTo>
                    <a:cubicBezTo>
                      <a:pt x="1530827" y="545656"/>
                      <a:pt x="1531464" y="547469"/>
                      <a:pt x="1532738" y="548739"/>
                    </a:cubicBezTo>
                    <a:cubicBezTo>
                      <a:pt x="1533853" y="550189"/>
                      <a:pt x="1535605" y="550915"/>
                      <a:pt x="1537197" y="550915"/>
                    </a:cubicBezTo>
                    <a:lnTo>
                      <a:pt x="1563791" y="550915"/>
                    </a:lnTo>
                    <a:lnTo>
                      <a:pt x="1563791" y="560707"/>
                    </a:lnTo>
                    <a:cubicBezTo>
                      <a:pt x="1563791" y="562521"/>
                      <a:pt x="1564428" y="564515"/>
                      <a:pt x="1565702" y="565785"/>
                    </a:cubicBezTo>
                    <a:cubicBezTo>
                      <a:pt x="1566021" y="566148"/>
                      <a:pt x="1566498" y="566510"/>
                      <a:pt x="1566817" y="566873"/>
                    </a:cubicBezTo>
                    <a:lnTo>
                      <a:pt x="1566817" y="582468"/>
                    </a:lnTo>
                    <a:cubicBezTo>
                      <a:pt x="1566817" y="584463"/>
                      <a:pt x="1567454" y="586276"/>
                      <a:pt x="1568728" y="587546"/>
                    </a:cubicBezTo>
                    <a:cubicBezTo>
                      <a:pt x="1569843" y="588997"/>
                      <a:pt x="1571594" y="589722"/>
                      <a:pt x="1573187" y="589722"/>
                    </a:cubicBezTo>
                    <a:lnTo>
                      <a:pt x="1683385" y="589722"/>
                    </a:lnTo>
                    <a:lnTo>
                      <a:pt x="1683385" y="603141"/>
                    </a:lnTo>
                    <a:cubicBezTo>
                      <a:pt x="1683385" y="604955"/>
                      <a:pt x="1684022" y="606949"/>
                      <a:pt x="1685296" y="608219"/>
                    </a:cubicBezTo>
                    <a:cubicBezTo>
                      <a:pt x="1686570" y="609488"/>
                      <a:pt x="1688162" y="610395"/>
                      <a:pt x="1689755" y="610395"/>
                    </a:cubicBezTo>
                    <a:lnTo>
                      <a:pt x="1904736" y="610395"/>
                    </a:lnTo>
                    <a:lnTo>
                      <a:pt x="1904736" y="623270"/>
                    </a:lnTo>
                    <a:cubicBezTo>
                      <a:pt x="1904736" y="625265"/>
                      <a:pt x="1905373" y="627078"/>
                      <a:pt x="1906647" y="628348"/>
                    </a:cubicBezTo>
                    <a:cubicBezTo>
                      <a:pt x="1907921" y="629798"/>
                      <a:pt x="1909513" y="630524"/>
                      <a:pt x="1911265" y="630524"/>
                    </a:cubicBezTo>
                    <a:lnTo>
                      <a:pt x="1922890" y="630524"/>
                    </a:lnTo>
                    <a:lnTo>
                      <a:pt x="1922890" y="646663"/>
                    </a:lnTo>
                    <a:cubicBezTo>
                      <a:pt x="1922890" y="648658"/>
                      <a:pt x="1923527" y="650471"/>
                      <a:pt x="1924801" y="651741"/>
                    </a:cubicBezTo>
                    <a:cubicBezTo>
                      <a:pt x="1925916" y="653191"/>
                      <a:pt x="1927667" y="653917"/>
                      <a:pt x="1929260" y="653917"/>
                    </a:cubicBezTo>
                    <a:lnTo>
                      <a:pt x="1979741" y="653917"/>
                    </a:lnTo>
                    <a:lnTo>
                      <a:pt x="1979741" y="665341"/>
                    </a:lnTo>
                    <a:cubicBezTo>
                      <a:pt x="1979741" y="667336"/>
                      <a:pt x="1980378" y="669149"/>
                      <a:pt x="1981652" y="670419"/>
                    </a:cubicBezTo>
                    <a:cubicBezTo>
                      <a:pt x="1982766" y="671869"/>
                      <a:pt x="1984518" y="672595"/>
                      <a:pt x="1986110" y="672595"/>
                    </a:cubicBezTo>
                    <a:lnTo>
                      <a:pt x="2099334" y="672595"/>
                    </a:lnTo>
                    <a:lnTo>
                      <a:pt x="2099334" y="691636"/>
                    </a:lnTo>
                    <a:cubicBezTo>
                      <a:pt x="2099334" y="693630"/>
                      <a:pt x="2099971" y="695444"/>
                      <a:pt x="2101245" y="696713"/>
                    </a:cubicBezTo>
                    <a:cubicBezTo>
                      <a:pt x="2102360" y="698164"/>
                      <a:pt x="2104111" y="698889"/>
                      <a:pt x="2105704" y="698889"/>
                    </a:cubicBezTo>
                    <a:lnTo>
                      <a:pt x="2159211" y="698889"/>
                    </a:lnTo>
                    <a:lnTo>
                      <a:pt x="2159211" y="712309"/>
                    </a:lnTo>
                    <a:cubicBezTo>
                      <a:pt x="2159211" y="714303"/>
                      <a:pt x="2159847" y="716117"/>
                      <a:pt x="2161121" y="717386"/>
                    </a:cubicBezTo>
                    <a:cubicBezTo>
                      <a:pt x="2162395" y="718837"/>
                      <a:pt x="2163988" y="719562"/>
                      <a:pt x="2165580" y="719562"/>
                    </a:cubicBezTo>
                    <a:lnTo>
                      <a:pt x="2189149" y="719562"/>
                    </a:lnTo>
                    <a:lnTo>
                      <a:pt x="2189149" y="731712"/>
                    </a:lnTo>
                    <a:cubicBezTo>
                      <a:pt x="2189149" y="733707"/>
                      <a:pt x="2189786" y="735520"/>
                      <a:pt x="2191060" y="736790"/>
                    </a:cubicBezTo>
                    <a:cubicBezTo>
                      <a:pt x="2192334" y="738240"/>
                      <a:pt x="2193926" y="738966"/>
                      <a:pt x="2195518" y="738966"/>
                    </a:cubicBezTo>
                    <a:lnTo>
                      <a:pt x="2527227" y="738966"/>
                    </a:lnTo>
                    <a:lnTo>
                      <a:pt x="2527227" y="755286"/>
                    </a:lnTo>
                    <a:cubicBezTo>
                      <a:pt x="2527227" y="757281"/>
                      <a:pt x="2527864" y="759095"/>
                      <a:pt x="2529138" y="760364"/>
                    </a:cubicBezTo>
                    <a:cubicBezTo>
                      <a:pt x="2530252" y="761815"/>
                      <a:pt x="2532004" y="762540"/>
                      <a:pt x="2533597" y="762540"/>
                    </a:cubicBezTo>
                    <a:lnTo>
                      <a:pt x="2554139" y="762540"/>
                    </a:lnTo>
                    <a:lnTo>
                      <a:pt x="2554139" y="778861"/>
                    </a:lnTo>
                    <a:cubicBezTo>
                      <a:pt x="2554139" y="780856"/>
                      <a:pt x="2554776" y="782669"/>
                      <a:pt x="2556050" y="783938"/>
                    </a:cubicBezTo>
                    <a:cubicBezTo>
                      <a:pt x="2557324" y="785389"/>
                      <a:pt x="2558917" y="786114"/>
                      <a:pt x="2560509" y="786114"/>
                    </a:cubicBezTo>
                    <a:lnTo>
                      <a:pt x="2592995" y="786114"/>
                    </a:lnTo>
                    <a:lnTo>
                      <a:pt x="2592995" y="796451"/>
                    </a:lnTo>
                    <a:cubicBezTo>
                      <a:pt x="2592995" y="798446"/>
                      <a:pt x="2593632" y="800259"/>
                      <a:pt x="2594906" y="801528"/>
                    </a:cubicBezTo>
                    <a:cubicBezTo>
                      <a:pt x="2596180" y="802798"/>
                      <a:pt x="2597773" y="803705"/>
                      <a:pt x="2599365" y="803705"/>
                    </a:cubicBezTo>
                    <a:lnTo>
                      <a:pt x="2607964" y="803705"/>
                    </a:lnTo>
                    <a:lnTo>
                      <a:pt x="2607964" y="818393"/>
                    </a:lnTo>
                    <a:cubicBezTo>
                      <a:pt x="2607964" y="820388"/>
                      <a:pt x="2608601" y="822201"/>
                      <a:pt x="2609875" y="823471"/>
                    </a:cubicBezTo>
                    <a:cubicBezTo>
                      <a:pt x="2610990" y="824740"/>
                      <a:pt x="2612742" y="825647"/>
                      <a:pt x="2614334" y="825647"/>
                    </a:cubicBezTo>
                    <a:lnTo>
                      <a:pt x="2802403" y="825647"/>
                    </a:lnTo>
                    <a:lnTo>
                      <a:pt x="2802403" y="842693"/>
                    </a:lnTo>
                    <a:cubicBezTo>
                      <a:pt x="2802403" y="844688"/>
                      <a:pt x="2803040" y="846501"/>
                      <a:pt x="2804314" y="847771"/>
                    </a:cubicBezTo>
                    <a:cubicBezTo>
                      <a:pt x="2805429" y="849221"/>
                      <a:pt x="2807180" y="849947"/>
                      <a:pt x="2808773" y="849947"/>
                    </a:cubicBezTo>
                    <a:lnTo>
                      <a:pt x="2847151" y="849947"/>
                    </a:lnTo>
                    <a:lnTo>
                      <a:pt x="2847151" y="863003"/>
                    </a:lnTo>
                    <a:cubicBezTo>
                      <a:pt x="2847151" y="864998"/>
                      <a:pt x="2847788" y="866811"/>
                      <a:pt x="2849062" y="868081"/>
                    </a:cubicBezTo>
                    <a:cubicBezTo>
                      <a:pt x="2850336" y="869350"/>
                      <a:pt x="2851929" y="870257"/>
                      <a:pt x="2853521" y="870257"/>
                    </a:cubicBezTo>
                    <a:lnTo>
                      <a:pt x="2912920" y="870257"/>
                    </a:lnTo>
                    <a:lnTo>
                      <a:pt x="2912920" y="883676"/>
                    </a:lnTo>
                    <a:cubicBezTo>
                      <a:pt x="2912920" y="885490"/>
                      <a:pt x="2913557" y="887484"/>
                      <a:pt x="2914831" y="888754"/>
                    </a:cubicBezTo>
                    <a:cubicBezTo>
                      <a:pt x="2916105" y="890204"/>
                      <a:pt x="2917697" y="890930"/>
                      <a:pt x="2919289" y="890930"/>
                    </a:cubicBezTo>
                    <a:lnTo>
                      <a:pt x="2993657" y="890930"/>
                    </a:lnTo>
                    <a:lnTo>
                      <a:pt x="2993657" y="907794"/>
                    </a:lnTo>
                    <a:cubicBezTo>
                      <a:pt x="2993657" y="909608"/>
                      <a:pt x="2994294" y="911603"/>
                      <a:pt x="2995568" y="912872"/>
                    </a:cubicBezTo>
                    <a:cubicBezTo>
                      <a:pt x="2996683" y="914323"/>
                      <a:pt x="2998434" y="915048"/>
                      <a:pt x="3000027" y="915048"/>
                    </a:cubicBezTo>
                    <a:lnTo>
                      <a:pt x="3032513" y="915048"/>
                    </a:lnTo>
                    <a:lnTo>
                      <a:pt x="3032513" y="930825"/>
                    </a:lnTo>
                    <a:cubicBezTo>
                      <a:pt x="3032513" y="932820"/>
                      <a:pt x="3033150" y="934633"/>
                      <a:pt x="3034424" y="935902"/>
                    </a:cubicBezTo>
                    <a:cubicBezTo>
                      <a:pt x="3035698" y="937172"/>
                      <a:pt x="3037290" y="938079"/>
                      <a:pt x="3038883" y="938079"/>
                    </a:cubicBezTo>
                    <a:lnTo>
                      <a:pt x="3241921" y="938079"/>
                    </a:lnTo>
                    <a:lnTo>
                      <a:pt x="3241921" y="958026"/>
                    </a:lnTo>
                    <a:cubicBezTo>
                      <a:pt x="3241921" y="960021"/>
                      <a:pt x="3242558" y="961834"/>
                      <a:pt x="3243832" y="963104"/>
                    </a:cubicBezTo>
                    <a:cubicBezTo>
                      <a:pt x="3245106" y="964373"/>
                      <a:pt x="3246698" y="965280"/>
                      <a:pt x="3248291" y="965280"/>
                    </a:cubicBezTo>
                    <a:lnTo>
                      <a:pt x="3774438" y="965280"/>
                    </a:lnTo>
                    <a:lnTo>
                      <a:pt x="3774438" y="983777"/>
                    </a:lnTo>
                    <a:cubicBezTo>
                      <a:pt x="3774438" y="985771"/>
                      <a:pt x="3775075" y="987585"/>
                      <a:pt x="3776349" y="988854"/>
                    </a:cubicBezTo>
                    <a:cubicBezTo>
                      <a:pt x="3777464" y="990123"/>
                      <a:pt x="3779215" y="991030"/>
                      <a:pt x="3780808" y="991030"/>
                    </a:cubicBezTo>
                    <a:lnTo>
                      <a:pt x="3905975" y="991030"/>
                    </a:lnTo>
                    <a:lnTo>
                      <a:pt x="3905975" y="1006625"/>
                    </a:lnTo>
                    <a:moveTo>
                      <a:pt x="4760327" y="1210272"/>
                    </a:moveTo>
                    <a:lnTo>
                      <a:pt x="4760327" y="1002999"/>
                    </a:lnTo>
                    <a:lnTo>
                      <a:pt x="3919192" y="1002999"/>
                    </a:lnTo>
                    <a:lnTo>
                      <a:pt x="3919192" y="983777"/>
                    </a:lnTo>
                    <a:cubicBezTo>
                      <a:pt x="3919192" y="981963"/>
                      <a:pt x="3918555" y="979968"/>
                      <a:pt x="3917281" y="978699"/>
                    </a:cubicBezTo>
                    <a:cubicBezTo>
                      <a:pt x="3916007" y="977430"/>
                      <a:pt x="3914415" y="976523"/>
                      <a:pt x="3912822" y="976523"/>
                    </a:cubicBezTo>
                    <a:lnTo>
                      <a:pt x="3787655" y="976523"/>
                    </a:lnTo>
                    <a:lnTo>
                      <a:pt x="3787655" y="958026"/>
                    </a:lnTo>
                    <a:cubicBezTo>
                      <a:pt x="3787655" y="956031"/>
                      <a:pt x="3787018" y="954218"/>
                      <a:pt x="3785744" y="952948"/>
                    </a:cubicBezTo>
                    <a:cubicBezTo>
                      <a:pt x="3784470" y="951679"/>
                      <a:pt x="3782878" y="950772"/>
                      <a:pt x="3781286" y="950772"/>
                    </a:cubicBezTo>
                    <a:lnTo>
                      <a:pt x="3255138" y="950772"/>
                    </a:lnTo>
                    <a:lnTo>
                      <a:pt x="3255138" y="930825"/>
                    </a:lnTo>
                    <a:cubicBezTo>
                      <a:pt x="3255138" y="929011"/>
                      <a:pt x="3254501" y="927017"/>
                      <a:pt x="3253227" y="925747"/>
                    </a:cubicBezTo>
                    <a:cubicBezTo>
                      <a:pt x="3252112" y="924478"/>
                      <a:pt x="3250361" y="923571"/>
                      <a:pt x="3248768" y="923571"/>
                    </a:cubicBezTo>
                    <a:lnTo>
                      <a:pt x="3045730" y="923571"/>
                    </a:lnTo>
                    <a:lnTo>
                      <a:pt x="3045730" y="907794"/>
                    </a:lnTo>
                    <a:cubicBezTo>
                      <a:pt x="3045730" y="905800"/>
                      <a:pt x="3045093" y="903986"/>
                      <a:pt x="3043819" y="902717"/>
                    </a:cubicBezTo>
                    <a:cubicBezTo>
                      <a:pt x="3042705" y="901266"/>
                      <a:pt x="3040953" y="900541"/>
                      <a:pt x="3039360" y="900541"/>
                    </a:cubicBezTo>
                    <a:lnTo>
                      <a:pt x="3006874" y="900541"/>
                    </a:lnTo>
                    <a:lnTo>
                      <a:pt x="3006874" y="883676"/>
                    </a:lnTo>
                    <a:cubicBezTo>
                      <a:pt x="3006874" y="881863"/>
                      <a:pt x="3006237" y="879868"/>
                      <a:pt x="3004964" y="878599"/>
                    </a:cubicBezTo>
                    <a:cubicBezTo>
                      <a:pt x="3003849" y="877329"/>
                      <a:pt x="3002097" y="876422"/>
                      <a:pt x="3000505" y="876422"/>
                    </a:cubicBezTo>
                    <a:lnTo>
                      <a:pt x="2926137" y="876422"/>
                    </a:lnTo>
                    <a:lnTo>
                      <a:pt x="2926137" y="863003"/>
                    </a:lnTo>
                    <a:cubicBezTo>
                      <a:pt x="2926137" y="861008"/>
                      <a:pt x="2925500" y="859195"/>
                      <a:pt x="2924226" y="857926"/>
                    </a:cubicBezTo>
                    <a:cubicBezTo>
                      <a:pt x="2923111" y="856656"/>
                      <a:pt x="2921360" y="855750"/>
                      <a:pt x="2919767" y="855750"/>
                    </a:cubicBezTo>
                    <a:lnTo>
                      <a:pt x="2860369" y="855750"/>
                    </a:lnTo>
                    <a:lnTo>
                      <a:pt x="2860369" y="842693"/>
                    </a:lnTo>
                    <a:cubicBezTo>
                      <a:pt x="2860369" y="840880"/>
                      <a:pt x="2859731" y="838885"/>
                      <a:pt x="2858458" y="837615"/>
                    </a:cubicBezTo>
                    <a:cubicBezTo>
                      <a:pt x="2857343" y="836346"/>
                      <a:pt x="2855591" y="835439"/>
                      <a:pt x="2853999" y="835439"/>
                    </a:cubicBezTo>
                    <a:lnTo>
                      <a:pt x="2815461" y="835439"/>
                    </a:lnTo>
                    <a:lnTo>
                      <a:pt x="2815461" y="818393"/>
                    </a:lnTo>
                    <a:cubicBezTo>
                      <a:pt x="2815461" y="816398"/>
                      <a:pt x="2814824" y="814585"/>
                      <a:pt x="2813550" y="813316"/>
                    </a:cubicBezTo>
                    <a:cubicBezTo>
                      <a:pt x="2812436" y="812046"/>
                      <a:pt x="2810684" y="811140"/>
                      <a:pt x="2809092" y="811140"/>
                    </a:cubicBezTo>
                    <a:lnTo>
                      <a:pt x="2621023" y="811140"/>
                    </a:lnTo>
                    <a:lnTo>
                      <a:pt x="2621023" y="796451"/>
                    </a:lnTo>
                    <a:cubicBezTo>
                      <a:pt x="2621023" y="794638"/>
                      <a:pt x="2620385" y="792643"/>
                      <a:pt x="2619111" y="791373"/>
                    </a:cubicBezTo>
                    <a:cubicBezTo>
                      <a:pt x="2617997" y="790104"/>
                      <a:pt x="2616245" y="789197"/>
                      <a:pt x="2614653" y="789197"/>
                    </a:cubicBezTo>
                    <a:lnTo>
                      <a:pt x="2606053" y="789197"/>
                    </a:lnTo>
                    <a:lnTo>
                      <a:pt x="2606053" y="778861"/>
                    </a:lnTo>
                    <a:cubicBezTo>
                      <a:pt x="2606053" y="777047"/>
                      <a:pt x="2605416" y="775053"/>
                      <a:pt x="2604142" y="773783"/>
                    </a:cubicBezTo>
                    <a:cubicBezTo>
                      <a:pt x="2602869" y="772333"/>
                      <a:pt x="2601276" y="771607"/>
                      <a:pt x="2599683" y="771607"/>
                    </a:cubicBezTo>
                    <a:lnTo>
                      <a:pt x="2567198" y="771607"/>
                    </a:lnTo>
                    <a:lnTo>
                      <a:pt x="2567198" y="755286"/>
                    </a:lnTo>
                    <a:cubicBezTo>
                      <a:pt x="2567198" y="753292"/>
                      <a:pt x="2566561" y="751478"/>
                      <a:pt x="2565287" y="750209"/>
                    </a:cubicBezTo>
                    <a:cubicBezTo>
                      <a:pt x="2564172" y="748758"/>
                      <a:pt x="2562420" y="748033"/>
                      <a:pt x="2560828" y="748033"/>
                    </a:cubicBezTo>
                    <a:lnTo>
                      <a:pt x="2540285" y="748033"/>
                    </a:lnTo>
                    <a:lnTo>
                      <a:pt x="2540285" y="731712"/>
                    </a:lnTo>
                    <a:cubicBezTo>
                      <a:pt x="2540285" y="729899"/>
                      <a:pt x="2539648" y="727904"/>
                      <a:pt x="2538374" y="726635"/>
                    </a:cubicBezTo>
                    <a:cubicBezTo>
                      <a:pt x="2537100" y="725365"/>
                      <a:pt x="2535508" y="724458"/>
                      <a:pt x="2533915" y="724458"/>
                    </a:cubicBezTo>
                    <a:lnTo>
                      <a:pt x="2202207" y="724458"/>
                    </a:lnTo>
                    <a:lnTo>
                      <a:pt x="2202207" y="712309"/>
                    </a:lnTo>
                    <a:cubicBezTo>
                      <a:pt x="2202207" y="710495"/>
                      <a:pt x="2201570" y="708500"/>
                      <a:pt x="2200296" y="707231"/>
                    </a:cubicBezTo>
                    <a:cubicBezTo>
                      <a:pt x="2199181" y="705780"/>
                      <a:pt x="2197429" y="705055"/>
                      <a:pt x="2195837" y="705055"/>
                    </a:cubicBezTo>
                    <a:lnTo>
                      <a:pt x="2172269" y="705055"/>
                    </a:lnTo>
                    <a:lnTo>
                      <a:pt x="2172269" y="691636"/>
                    </a:lnTo>
                    <a:cubicBezTo>
                      <a:pt x="2172269" y="689641"/>
                      <a:pt x="2171632" y="687828"/>
                      <a:pt x="2170358" y="686558"/>
                    </a:cubicBezTo>
                    <a:cubicBezTo>
                      <a:pt x="2169243" y="685289"/>
                      <a:pt x="2167491" y="684382"/>
                      <a:pt x="2165899" y="684382"/>
                    </a:cubicBezTo>
                    <a:lnTo>
                      <a:pt x="2112392" y="684382"/>
                    </a:lnTo>
                    <a:lnTo>
                      <a:pt x="2112392" y="665341"/>
                    </a:lnTo>
                    <a:cubicBezTo>
                      <a:pt x="2112392" y="663346"/>
                      <a:pt x="2111755" y="661533"/>
                      <a:pt x="2110481" y="660264"/>
                    </a:cubicBezTo>
                    <a:cubicBezTo>
                      <a:pt x="2109367" y="658813"/>
                      <a:pt x="2107615" y="658088"/>
                      <a:pt x="2106022" y="658088"/>
                    </a:cubicBezTo>
                    <a:lnTo>
                      <a:pt x="1992799" y="658088"/>
                    </a:lnTo>
                    <a:lnTo>
                      <a:pt x="1992799" y="646663"/>
                    </a:lnTo>
                    <a:cubicBezTo>
                      <a:pt x="1992799" y="644850"/>
                      <a:pt x="1992162" y="642855"/>
                      <a:pt x="1990888" y="641585"/>
                    </a:cubicBezTo>
                    <a:cubicBezTo>
                      <a:pt x="1989773" y="640135"/>
                      <a:pt x="1988021" y="639409"/>
                      <a:pt x="1986429" y="639409"/>
                    </a:cubicBezTo>
                    <a:lnTo>
                      <a:pt x="1935948" y="639409"/>
                    </a:lnTo>
                    <a:lnTo>
                      <a:pt x="1935948" y="623270"/>
                    </a:lnTo>
                    <a:cubicBezTo>
                      <a:pt x="1935948" y="621275"/>
                      <a:pt x="1935311" y="619462"/>
                      <a:pt x="1934037" y="618192"/>
                    </a:cubicBezTo>
                    <a:cubicBezTo>
                      <a:pt x="1932922" y="616742"/>
                      <a:pt x="1931171" y="616016"/>
                      <a:pt x="1929578" y="616016"/>
                    </a:cubicBezTo>
                    <a:lnTo>
                      <a:pt x="1917953" y="616016"/>
                    </a:lnTo>
                    <a:lnTo>
                      <a:pt x="1917953" y="603141"/>
                    </a:lnTo>
                    <a:cubicBezTo>
                      <a:pt x="1917953" y="601146"/>
                      <a:pt x="1917316" y="599333"/>
                      <a:pt x="1916042" y="598064"/>
                    </a:cubicBezTo>
                    <a:cubicBezTo>
                      <a:pt x="1914768" y="596794"/>
                      <a:pt x="1913176" y="595887"/>
                      <a:pt x="1911584" y="595887"/>
                    </a:cubicBezTo>
                    <a:lnTo>
                      <a:pt x="1696602" y="595887"/>
                    </a:lnTo>
                    <a:lnTo>
                      <a:pt x="1696602" y="582468"/>
                    </a:lnTo>
                    <a:cubicBezTo>
                      <a:pt x="1696602" y="580655"/>
                      <a:pt x="1695965" y="578660"/>
                      <a:pt x="1694691" y="577391"/>
                    </a:cubicBezTo>
                    <a:cubicBezTo>
                      <a:pt x="1693576" y="575940"/>
                      <a:pt x="1691825" y="575215"/>
                      <a:pt x="1690232" y="575215"/>
                    </a:cubicBezTo>
                    <a:lnTo>
                      <a:pt x="1580034" y="575215"/>
                    </a:lnTo>
                    <a:lnTo>
                      <a:pt x="1580034" y="560707"/>
                    </a:lnTo>
                    <a:cubicBezTo>
                      <a:pt x="1580034" y="558713"/>
                      <a:pt x="1579397" y="556899"/>
                      <a:pt x="1578123" y="555630"/>
                    </a:cubicBezTo>
                    <a:cubicBezTo>
                      <a:pt x="1577805" y="555267"/>
                      <a:pt x="1577327" y="554904"/>
                      <a:pt x="1577009" y="554542"/>
                    </a:cubicBezTo>
                    <a:lnTo>
                      <a:pt x="1577009" y="543661"/>
                    </a:lnTo>
                    <a:cubicBezTo>
                      <a:pt x="1577009" y="541666"/>
                      <a:pt x="1576372" y="539853"/>
                      <a:pt x="1575098" y="538584"/>
                    </a:cubicBezTo>
                    <a:cubicBezTo>
                      <a:pt x="1573824" y="537314"/>
                      <a:pt x="1572231" y="536408"/>
                      <a:pt x="1570639" y="536408"/>
                    </a:cubicBezTo>
                    <a:lnTo>
                      <a:pt x="1544045" y="536408"/>
                    </a:lnTo>
                    <a:lnTo>
                      <a:pt x="1544045" y="525346"/>
                    </a:lnTo>
                    <a:cubicBezTo>
                      <a:pt x="1544045" y="523351"/>
                      <a:pt x="1543408" y="521538"/>
                      <a:pt x="1542134" y="520268"/>
                    </a:cubicBezTo>
                    <a:cubicBezTo>
                      <a:pt x="1541019" y="518999"/>
                      <a:pt x="1539267" y="518092"/>
                      <a:pt x="1537675" y="518092"/>
                    </a:cubicBezTo>
                    <a:lnTo>
                      <a:pt x="1394513" y="518092"/>
                    </a:lnTo>
                    <a:lnTo>
                      <a:pt x="1394513" y="484907"/>
                    </a:lnTo>
                    <a:cubicBezTo>
                      <a:pt x="1394513" y="483093"/>
                      <a:pt x="1393876" y="481098"/>
                      <a:pt x="1392602" y="479829"/>
                    </a:cubicBezTo>
                    <a:cubicBezTo>
                      <a:pt x="1391488" y="478560"/>
                      <a:pt x="1389736" y="477653"/>
                      <a:pt x="1388143" y="477653"/>
                    </a:cubicBezTo>
                    <a:lnTo>
                      <a:pt x="1382570" y="477653"/>
                    </a:lnTo>
                    <a:lnTo>
                      <a:pt x="1382570" y="465866"/>
                    </a:lnTo>
                    <a:cubicBezTo>
                      <a:pt x="1382570" y="463871"/>
                      <a:pt x="1381933" y="462058"/>
                      <a:pt x="1380659" y="460788"/>
                    </a:cubicBezTo>
                    <a:cubicBezTo>
                      <a:pt x="1379385" y="459519"/>
                      <a:pt x="1377792" y="458612"/>
                      <a:pt x="1376200" y="458612"/>
                    </a:cubicBezTo>
                    <a:lnTo>
                      <a:pt x="1367601" y="458612"/>
                    </a:lnTo>
                    <a:lnTo>
                      <a:pt x="1367601" y="445193"/>
                    </a:lnTo>
                    <a:cubicBezTo>
                      <a:pt x="1367601" y="443198"/>
                      <a:pt x="1366964" y="441385"/>
                      <a:pt x="1365690" y="440115"/>
                    </a:cubicBezTo>
                    <a:cubicBezTo>
                      <a:pt x="1364575" y="438846"/>
                      <a:pt x="1363142" y="438121"/>
                      <a:pt x="1361549" y="437939"/>
                    </a:cubicBezTo>
                    <a:lnTo>
                      <a:pt x="1361549" y="402759"/>
                    </a:lnTo>
                    <a:cubicBezTo>
                      <a:pt x="1361549" y="400946"/>
                      <a:pt x="1360912" y="398951"/>
                      <a:pt x="1359638" y="397681"/>
                    </a:cubicBezTo>
                    <a:cubicBezTo>
                      <a:pt x="1358524" y="396231"/>
                      <a:pt x="1356772" y="395505"/>
                      <a:pt x="1355180" y="395505"/>
                    </a:cubicBezTo>
                    <a:lnTo>
                      <a:pt x="1337663" y="395505"/>
                    </a:lnTo>
                    <a:lnTo>
                      <a:pt x="1337663" y="385713"/>
                    </a:lnTo>
                    <a:cubicBezTo>
                      <a:pt x="1337663" y="383718"/>
                      <a:pt x="1337026" y="381905"/>
                      <a:pt x="1335752" y="380635"/>
                    </a:cubicBezTo>
                    <a:cubicBezTo>
                      <a:pt x="1334637" y="379366"/>
                      <a:pt x="1332885" y="378459"/>
                      <a:pt x="1331293" y="378459"/>
                    </a:cubicBezTo>
                    <a:lnTo>
                      <a:pt x="1265843" y="378459"/>
                    </a:lnTo>
                    <a:lnTo>
                      <a:pt x="1265843" y="344548"/>
                    </a:lnTo>
                    <a:cubicBezTo>
                      <a:pt x="1265843" y="342735"/>
                      <a:pt x="1265206" y="340740"/>
                      <a:pt x="1263932" y="339471"/>
                    </a:cubicBezTo>
                    <a:cubicBezTo>
                      <a:pt x="1262817" y="338201"/>
                      <a:pt x="1261065" y="337295"/>
                      <a:pt x="1259473" y="337295"/>
                    </a:cubicBezTo>
                    <a:lnTo>
                      <a:pt x="1241956" y="337295"/>
                    </a:lnTo>
                    <a:lnTo>
                      <a:pt x="1241956" y="323332"/>
                    </a:lnTo>
                    <a:cubicBezTo>
                      <a:pt x="1241956" y="321337"/>
                      <a:pt x="1241319" y="319523"/>
                      <a:pt x="1240045" y="318254"/>
                    </a:cubicBezTo>
                    <a:cubicBezTo>
                      <a:pt x="1238930" y="316803"/>
                      <a:pt x="1237179" y="316078"/>
                      <a:pt x="1235586" y="316078"/>
                    </a:cubicBezTo>
                    <a:lnTo>
                      <a:pt x="1226987" y="316078"/>
                    </a:lnTo>
                    <a:lnTo>
                      <a:pt x="1226987" y="301933"/>
                    </a:lnTo>
                    <a:cubicBezTo>
                      <a:pt x="1226987" y="300120"/>
                      <a:pt x="1226350" y="298125"/>
                      <a:pt x="1225076" y="296856"/>
                    </a:cubicBezTo>
                    <a:cubicBezTo>
                      <a:pt x="1223961" y="295586"/>
                      <a:pt x="1222210" y="294680"/>
                      <a:pt x="1220617" y="294680"/>
                    </a:cubicBezTo>
                    <a:lnTo>
                      <a:pt x="1101342" y="294680"/>
                    </a:lnTo>
                    <a:lnTo>
                      <a:pt x="1101342" y="285250"/>
                    </a:lnTo>
                    <a:cubicBezTo>
                      <a:pt x="1101342" y="283255"/>
                      <a:pt x="1100705" y="281442"/>
                      <a:pt x="1099431" y="280172"/>
                    </a:cubicBezTo>
                    <a:cubicBezTo>
                      <a:pt x="1098317" y="278903"/>
                      <a:pt x="1096565" y="277996"/>
                      <a:pt x="1094972" y="277996"/>
                    </a:cubicBezTo>
                    <a:lnTo>
                      <a:pt x="1011528" y="277996"/>
                    </a:lnTo>
                    <a:lnTo>
                      <a:pt x="1011528" y="266028"/>
                    </a:lnTo>
                    <a:cubicBezTo>
                      <a:pt x="1011528" y="264214"/>
                      <a:pt x="1010891" y="262220"/>
                      <a:pt x="1009617" y="260950"/>
                    </a:cubicBezTo>
                    <a:cubicBezTo>
                      <a:pt x="1008502" y="259681"/>
                      <a:pt x="1006750" y="258774"/>
                      <a:pt x="1005158" y="258774"/>
                    </a:cubicBezTo>
                    <a:lnTo>
                      <a:pt x="972672" y="258774"/>
                    </a:lnTo>
                    <a:lnTo>
                      <a:pt x="972672" y="245355"/>
                    </a:lnTo>
                    <a:cubicBezTo>
                      <a:pt x="972672" y="243541"/>
                      <a:pt x="972035" y="241547"/>
                      <a:pt x="970761" y="240277"/>
                    </a:cubicBezTo>
                    <a:cubicBezTo>
                      <a:pt x="969646" y="239008"/>
                      <a:pt x="967894" y="238101"/>
                      <a:pt x="966302" y="238101"/>
                    </a:cubicBezTo>
                    <a:lnTo>
                      <a:pt x="942734" y="238101"/>
                    </a:lnTo>
                    <a:lnTo>
                      <a:pt x="942734" y="226495"/>
                    </a:lnTo>
                    <a:cubicBezTo>
                      <a:pt x="942734" y="224501"/>
                      <a:pt x="942097" y="222687"/>
                      <a:pt x="940823" y="221418"/>
                    </a:cubicBezTo>
                    <a:cubicBezTo>
                      <a:pt x="939708" y="220148"/>
                      <a:pt x="937956" y="219242"/>
                      <a:pt x="936364" y="219242"/>
                    </a:cubicBezTo>
                    <a:lnTo>
                      <a:pt x="915821" y="219242"/>
                    </a:lnTo>
                    <a:lnTo>
                      <a:pt x="915821" y="209268"/>
                    </a:lnTo>
                    <a:cubicBezTo>
                      <a:pt x="915821" y="207454"/>
                      <a:pt x="915184" y="205460"/>
                      <a:pt x="913910" y="204190"/>
                    </a:cubicBezTo>
                    <a:cubicBezTo>
                      <a:pt x="912636" y="202921"/>
                      <a:pt x="911044" y="202014"/>
                      <a:pt x="909451" y="202014"/>
                    </a:cubicBezTo>
                    <a:lnTo>
                      <a:pt x="864863" y="202014"/>
                    </a:lnTo>
                    <a:lnTo>
                      <a:pt x="864863" y="191859"/>
                    </a:lnTo>
                    <a:cubicBezTo>
                      <a:pt x="864863" y="189864"/>
                      <a:pt x="864226" y="188051"/>
                      <a:pt x="862952" y="186782"/>
                    </a:cubicBezTo>
                    <a:cubicBezTo>
                      <a:pt x="861837" y="185331"/>
                      <a:pt x="860085" y="184605"/>
                      <a:pt x="858493" y="184605"/>
                    </a:cubicBezTo>
                    <a:lnTo>
                      <a:pt x="840976" y="184605"/>
                    </a:lnTo>
                    <a:lnTo>
                      <a:pt x="840976" y="173725"/>
                    </a:lnTo>
                    <a:cubicBezTo>
                      <a:pt x="840976" y="171912"/>
                      <a:pt x="840339" y="169917"/>
                      <a:pt x="839065" y="168647"/>
                    </a:cubicBezTo>
                    <a:cubicBezTo>
                      <a:pt x="837950" y="167378"/>
                      <a:pt x="836198" y="166471"/>
                      <a:pt x="834606" y="166471"/>
                    </a:cubicBezTo>
                    <a:lnTo>
                      <a:pt x="822981" y="166471"/>
                    </a:lnTo>
                    <a:lnTo>
                      <a:pt x="822981" y="157948"/>
                    </a:lnTo>
                    <a:cubicBezTo>
                      <a:pt x="822981" y="156135"/>
                      <a:pt x="822344" y="154140"/>
                      <a:pt x="821070" y="152871"/>
                    </a:cubicBezTo>
                    <a:cubicBezTo>
                      <a:pt x="819955" y="151420"/>
                      <a:pt x="818204" y="150695"/>
                      <a:pt x="816611" y="150695"/>
                    </a:cubicBezTo>
                    <a:lnTo>
                      <a:pt x="784125" y="150695"/>
                    </a:lnTo>
                    <a:lnTo>
                      <a:pt x="784125" y="134555"/>
                    </a:lnTo>
                    <a:cubicBezTo>
                      <a:pt x="784125" y="132742"/>
                      <a:pt x="783488" y="130747"/>
                      <a:pt x="782214" y="129478"/>
                    </a:cubicBezTo>
                    <a:cubicBezTo>
                      <a:pt x="781099" y="128027"/>
                      <a:pt x="779348" y="127302"/>
                      <a:pt x="777755" y="127302"/>
                    </a:cubicBezTo>
                    <a:lnTo>
                      <a:pt x="748295" y="127302"/>
                    </a:lnTo>
                    <a:lnTo>
                      <a:pt x="748295" y="117690"/>
                    </a:lnTo>
                    <a:cubicBezTo>
                      <a:pt x="748295" y="115696"/>
                      <a:pt x="747658" y="113882"/>
                      <a:pt x="746384" y="112613"/>
                    </a:cubicBezTo>
                    <a:cubicBezTo>
                      <a:pt x="745269" y="111344"/>
                      <a:pt x="743517" y="110437"/>
                      <a:pt x="741925" y="110437"/>
                    </a:cubicBezTo>
                    <a:lnTo>
                      <a:pt x="682526" y="110437"/>
                    </a:lnTo>
                    <a:lnTo>
                      <a:pt x="682526" y="95930"/>
                    </a:lnTo>
                    <a:cubicBezTo>
                      <a:pt x="682526" y="94116"/>
                      <a:pt x="681889" y="92121"/>
                      <a:pt x="680615" y="90852"/>
                    </a:cubicBezTo>
                    <a:cubicBezTo>
                      <a:pt x="679501" y="89583"/>
                      <a:pt x="677749" y="88676"/>
                      <a:pt x="676157" y="88676"/>
                    </a:cubicBezTo>
                    <a:lnTo>
                      <a:pt x="622650" y="88676"/>
                    </a:lnTo>
                    <a:lnTo>
                      <a:pt x="622650" y="78702"/>
                    </a:lnTo>
                    <a:cubicBezTo>
                      <a:pt x="622650" y="76707"/>
                      <a:pt x="622013" y="74894"/>
                      <a:pt x="620739" y="73625"/>
                    </a:cubicBezTo>
                    <a:cubicBezTo>
                      <a:pt x="619624" y="72174"/>
                      <a:pt x="617873" y="71448"/>
                      <a:pt x="616280" y="71448"/>
                    </a:cubicBezTo>
                    <a:lnTo>
                      <a:pt x="529969" y="71448"/>
                    </a:lnTo>
                    <a:lnTo>
                      <a:pt x="529969" y="57485"/>
                    </a:lnTo>
                    <a:cubicBezTo>
                      <a:pt x="529969" y="55672"/>
                      <a:pt x="529332" y="53677"/>
                      <a:pt x="528058" y="52408"/>
                    </a:cubicBezTo>
                    <a:cubicBezTo>
                      <a:pt x="526784" y="51138"/>
                      <a:pt x="525192" y="50232"/>
                      <a:pt x="523599" y="50232"/>
                    </a:cubicBezTo>
                    <a:lnTo>
                      <a:pt x="452257" y="50232"/>
                    </a:lnTo>
                    <a:lnTo>
                      <a:pt x="452257" y="39351"/>
                    </a:lnTo>
                    <a:cubicBezTo>
                      <a:pt x="452257" y="37356"/>
                      <a:pt x="451620" y="35543"/>
                      <a:pt x="450346" y="34274"/>
                    </a:cubicBezTo>
                    <a:cubicBezTo>
                      <a:pt x="449232" y="33004"/>
                      <a:pt x="447480" y="32097"/>
                      <a:pt x="445888" y="32097"/>
                    </a:cubicBezTo>
                    <a:lnTo>
                      <a:pt x="200968" y="32097"/>
                    </a:lnTo>
                    <a:lnTo>
                      <a:pt x="200968" y="20854"/>
                    </a:lnTo>
                    <a:cubicBezTo>
                      <a:pt x="200968" y="18859"/>
                      <a:pt x="200331" y="17046"/>
                      <a:pt x="199057" y="15777"/>
                    </a:cubicBezTo>
                    <a:cubicBezTo>
                      <a:pt x="197942" y="14507"/>
                      <a:pt x="196191" y="13601"/>
                      <a:pt x="194598" y="13601"/>
                    </a:cubicBezTo>
                    <a:lnTo>
                      <a:pt x="6529" y="13601"/>
                    </a:lnTo>
                    <a:lnTo>
                      <a:pt x="6529" y="0"/>
                    </a:lnTo>
                    <a:lnTo>
                      <a:pt x="523599" y="0"/>
                    </a:lnTo>
                    <a:lnTo>
                      <a:pt x="523599" y="1451"/>
                    </a:lnTo>
                    <a:lnTo>
                      <a:pt x="616280" y="1451"/>
                    </a:lnTo>
                    <a:lnTo>
                      <a:pt x="616280" y="11606"/>
                    </a:lnTo>
                    <a:lnTo>
                      <a:pt x="676157" y="11606"/>
                    </a:lnTo>
                    <a:lnTo>
                      <a:pt x="676157" y="23393"/>
                    </a:lnTo>
                    <a:lnTo>
                      <a:pt x="741925" y="23393"/>
                    </a:lnTo>
                    <a:lnTo>
                      <a:pt x="741925" y="34818"/>
                    </a:lnTo>
                    <a:lnTo>
                      <a:pt x="777755" y="34818"/>
                    </a:lnTo>
                    <a:lnTo>
                      <a:pt x="777755" y="48781"/>
                    </a:lnTo>
                    <a:lnTo>
                      <a:pt x="816611" y="48781"/>
                    </a:lnTo>
                    <a:lnTo>
                      <a:pt x="816611" y="60568"/>
                    </a:lnTo>
                    <a:lnTo>
                      <a:pt x="834606" y="60568"/>
                    </a:lnTo>
                    <a:lnTo>
                      <a:pt x="834606" y="73625"/>
                    </a:lnTo>
                    <a:lnTo>
                      <a:pt x="858493" y="73625"/>
                    </a:lnTo>
                    <a:lnTo>
                      <a:pt x="858493" y="86500"/>
                    </a:lnTo>
                    <a:lnTo>
                      <a:pt x="909451" y="86500"/>
                    </a:lnTo>
                    <a:lnTo>
                      <a:pt x="909451" y="99556"/>
                    </a:lnTo>
                    <a:lnTo>
                      <a:pt x="936364" y="99556"/>
                    </a:lnTo>
                    <a:lnTo>
                      <a:pt x="936364" y="113520"/>
                    </a:lnTo>
                    <a:lnTo>
                      <a:pt x="966302" y="113520"/>
                    </a:lnTo>
                    <a:lnTo>
                      <a:pt x="966302" y="128752"/>
                    </a:lnTo>
                    <a:lnTo>
                      <a:pt x="1005158" y="128752"/>
                    </a:lnTo>
                    <a:lnTo>
                      <a:pt x="1005158" y="143622"/>
                    </a:lnTo>
                    <a:lnTo>
                      <a:pt x="1094972" y="143622"/>
                    </a:lnTo>
                    <a:lnTo>
                      <a:pt x="1094972" y="157042"/>
                    </a:lnTo>
                    <a:lnTo>
                      <a:pt x="1220617" y="157042"/>
                    </a:lnTo>
                    <a:lnTo>
                      <a:pt x="1220617" y="173362"/>
                    </a:lnTo>
                    <a:lnTo>
                      <a:pt x="1235586" y="173362"/>
                    </a:lnTo>
                    <a:lnTo>
                      <a:pt x="1235586" y="189864"/>
                    </a:lnTo>
                    <a:lnTo>
                      <a:pt x="1259473" y="189864"/>
                    </a:lnTo>
                    <a:lnTo>
                      <a:pt x="1259473" y="222687"/>
                    </a:lnTo>
                    <a:lnTo>
                      <a:pt x="1331293" y="222687"/>
                    </a:lnTo>
                    <a:lnTo>
                      <a:pt x="1331293" y="237013"/>
                    </a:lnTo>
                    <a:lnTo>
                      <a:pt x="1355180" y="237013"/>
                    </a:lnTo>
                    <a:lnTo>
                      <a:pt x="1355180" y="271649"/>
                    </a:lnTo>
                    <a:lnTo>
                      <a:pt x="1361072" y="271649"/>
                    </a:lnTo>
                    <a:lnTo>
                      <a:pt x="1361072" y="288877"/>
                    </a:lnTo>
                    <a:lnTo>
                      <a:pt x="1376041" y="288877"/>
                    </a:lnTo>
                    <a:lnTo>
                      <a:pt x="1376041" y="305016"/>
                    </a:lnTo>
                    <a:lnTo>
                      <a:pt x="1387984" y="305016"/>
                    </a:lnTo>
                    <a:lnTo>
                      <a:pt x="1387984" y="339471"/>
                    </a:lnTo>
                    <a:lnTo>
                      <a:pt x="1537516" y="339471"/>
                    </a:lnTo>
                    <a:lnTo>
                      <a:pt x="1537516" y="355429"/>
                    </a:lnTo>
                    <a:lnTo>
                      <a:pt x="1570480" y="355429"/>
                    </a:lnTo>
                    <a:lnTo>
                      <a:pt x="1570480" y="370480"/>
                    </a:lnTo>
                    <a:lnTo>
                      <a:pt x="1573505" y="370480"/>
                    </a:lnTo>
                    <a:lnTo>
                      <a:pt x="1573505" y="389158"/>
                    </a:lnTo>
                    <a:lnTo>
                      <a:pt x="1690073" y="389158"/>
                    </a:lnTo>
                    <a:lnTo>
                      <a:pt x="1690073" y="406930"/>
                    </a:lnTo>
                    <a:lnTo>
                      <a:pt x="1911424" y="406930"/>
                    </a:lnTo>
                    <a:lnTo>
                      <a:pt x="1911424" y="424520"/>
                    </a:lnTo>
                    <a:lnTo>
                      <a:pt x="1929419" y="424520"/>
                    </a:lnTo>
                    <a:lnTo>
                      <a:pt x="1929419" y="444830"/>
                    </a:lnTo>
                    <a:lnTo>
                      <a:pt x="1986270" y="444830"/>
                    </a:lnTo>
                    <a:lnTo>
                      <a:pt x="1986270" y="461514"/>
                    </a:lnTo>
                    <a:lnTo>
                      <a:pt x="2105863" y="461514"/>
                    </a:lnTo>
                    <a:lnTo>
                      <a:pt x="2105863" y="484363"/>
                    </a:lnTo>
                    <a:lnTo>
                      <a:pt x="2165739" y="484363"/>
                    </a:lnTo>
                    <a:lnTo>
                      <a:pt x="2165739" y="502859"/>
                    </a:lnTo>
                    <a:lnTo>
                      <a:pt x="2195678" y="502859"/>
                    </a:lnTo>
                    <a:lnTo>
                      <a:pt x="2195678" y="520450"/>
                    </a:lnTo>
                    <a:lnTo>
                      <a:pt x="2533756" y="520450"/>
                    </a:lnTo>
                    <a:lnTo>
                      <a:pt x="2533756" y="541304"/>
                    </a:lnTo>
                    <a:lnTo>
                      <a:pt x="2560668" y="541304"/>
                    </a:lnTo>
                    <a:lnTo>
                      <a:pt x="2560668" y="562339"/>
                    </a:lnTo>
                    <a:lnTo>
                      <a:pt x="2599524" y="562339"/>
                    </a:lnTo>
                    <a:lnTo>
                      <a:pt x="2599524" y="578479"/>
                    </a:lnTo>
                    <a:lnTo>
                      <a:pt x="2614493" y="578479"/>
                    </a:lnTo>
                    <a:lnTo>
                      <a:pt x="2614493" y="598245"/>
                    </a:lnTo>
                    <a:lnTo>
                      <a:pt x="2808932" y="598245"/>
                    </a:lnTo>
                    <a:lnTo>
                      <a:pt x="2808932" y="620187"/>
                    </a:lnTo>
                    <a:lnTo>
                      <a:pt x="2853839" y="620187"/>
                    </a:lnTo>
                    <a:lnTo>
                      <a:pt x="2853839" y="638865"/>
                    </a:lnTo>
                    <a:lnTo>
                      <a:pt x="2919608" y="638865"/>
                    </a:lnTo>
                    <a:lnTo>
                      <a:pt x="2919608" y="657725"/>
                    </a:lnTo>
                    <a:lnTo>
                      <a:pt x="3000345" y="657725"/>
                    </a:lnTo>
                    <a:lnTo>
                      <a:pt x="3000345" y="679667"/>
                    </a:lnTo>
                    <a:lnTo>
                      <a:pt x="3039360" y="679667"/>
                    </a:lnTo>
                    <a:lnTo>
                      <a:pt x="3039360" y="700884"/>
                    </a:lnTo>
                    <a:lnTo>
                      <a:pt x="3248768" y="700884"/>
                    </a:lnTo>
                    <a:lnTo>
                      <a:pt x="3248768" y="725365"/>
                    </a:lnTo>
                    <a:lnTo>
                      <a:pt x="3781286" y="725365"/>
                    </a:lnTo>
                    <a:lnTo>
                      <a:pt x="3781286" y="748395"/>
                    </a:lnTo>
                    <a:lnTo>
                      <a:pt x="3912822" y="748395"/>
                    </a:lnTo>
                    <a:lnTo>
                      <a:pt x="3912822" y="771426"/>
                    </a:lnTo>
                    <a:lnTo>
                      <a:pt x="4760327" y="771426"/>
                    </a:lnTo>
                    <a:lnTo>
                      <a:pt x="4760327" y="1209909"/>
                    </a:lnTo>
                  </a:path>
                </a:pathLst>
              </a:custGeom>
              <a:grpFill/>
              <a:ln w="158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1" name="Freihandform: Form 130">
                <a:extLst>
                  <a:ext uri="{FF2B5EF4-FFF2-40B4-BE49-F238E27FC236}">
                    <a16:creationId xmlns:a16="http://schemas.microsoft.com/office/drawing/2014/main" id="{94DB54A5-026F-968E-BD27-E63AD586186C}"/>
                  </a:ext>
                </a:extLst>
              </p:cNvPr>
              <p:cNvSpPr/>
              <p:nvPr/>
            </p:nvSpPr>
            <p:spPr>
              <a:xfrm>
                <a:off x="4941795" y="2722004"/>
                <a:ext cx="2199817" cy="243359"/>
              </a:xfrm>
              <a:custGeom>
                <a:avLst/>
                <a:gdLst>
                  <a:gd name="connsiteX0" fmla="*/ 2199659 w 2199817"/>
                  <a:gd name="connsiteY0" fmla="*/ 243360 h 243359"/>
                  <a:gd name="connsiteX1" fmla="*/ 1352154 w 2199817"/>
                  <a:gd name="connsiteY1" fmla="*/ 243360 h 243359"/>
                  <a:gd name="connsiteX2" fmla="*/ 1352154 w 2199817"/>
                  <a:gd name="connsiteY2" fmla="*/ 215433 h 243359"/>
                  <a:gd name="connsiteX3" fmla="*/ 1220617 w 2199817"/>
                  <a:gd name="connsiteY3" fmla="*/ 215433 h 243359"/>
                  <a:gd name="connsiteX4" fmla="*/ 1220617 w 2199817"/>
                  <a:gd name="connsiteY4" fmla="*/ 188232 h 243359"/>
                  <a:gd name="connsiteX5" fmla="*/ 688100 w 2199817"/>
                  <a:gd name="connsiteY5" fmla="*/ 188232 h 243359"/>
                  <a:gd name="connsiteX6" fmla="*/ 688100 w 2199817"/>
                  <a:gd name="connsiteY6" fmla="*/ 159762 h 243359"/>
                  <a:gd name="connsiteX7" fmla="*/ 478692 w 2199817"/>
                  <a:gd name="connsiteY7" fmla="*/ 159762 h 243359"/>
                  <a:gd name="connsiteX8" fmla="*/ 478692 w 2199817"/>
                  <a:gd name="connsiteY8" fmla="*/ 135643 h 243359"/>
                  <a:gd name="connsiteX9" fmla="*/ 439677 w 2199817"/>
                  <a:gd name="connsiteY9" fmla="*/ 135643 h 243359"/>
                  <a:gd name="connsiteX10" fmla="*/ 439677 w 2199817"/>
                  <a:gd name="connsiteY10" fmla="*/ 110255 h 243359"/>
                  <a:gd name="connsiteX11" fmla="*/ 358940 w 2199817"/>
                  <a:gd name="connsiteY11" fmla="*/ 110255 h 243359"/>
                  <a:gd name="connsiteX12" fmla="*/ 358940 w 2199817"/>
                  <a:gd name="connsiteY12" fmla="*/ 88676 h 243359"/>
                  <a:gd name="connsiteX13" fmla="*/ 293171 w 2199817"/>
                  <a:gd name="connsiteY13" fmla="*/ 88676 h 243359"/>
                  <a:gd name="connsiteX14" fmla="*/ 293171 w 2199817"/>
                  <a:gd name="connsiteY14" fmla="*/ 67459 h 243359"/>
                  <a:gd name="connsiteX15" fmla="*/ 248264 w 2199817"/>
                  <a:gd name="connsiteY15" fmla="*/ 67459 h 243359"/>
                  <a:gd name="connsiteX16" fmla="*/ 248264 w 2199817"/>
                  <a:gd name="connsiteY16" fmla="*/ 41890 h 243359"/>
                  <a:gd name="connsiteX17" fmla="*/ 53825 w 2199817"/>
                  <a:gd name="connsiteY17" fmla="*/ 41890 h 243359"/>
                  <a:gd name="connsiteX18" fmla="*/ 53825 w 2199817"/>
                  <a:gd name="connsiteY18" fmla="*/ 18859 h 243359"/>
                  <a:gd name="connsiteX19" fmla="*/ 38856 w 2199817"/>
                  <a:gd name="connsiteY19" fmla="*/ 18859 h 243359"/>
                  <a:gd name="connsiteX20" fmla="*/ 38856 w 2199817"/>
                  <a:gd name="connsiteY20" fmla="*/ 363 h 243359"/>
                  <a:gd name="connsiteX21" fmla="*/ 0 w 2199817"/>
                  <a:gd name="connsiteY21" fmla="*/ 363 h 243359"/>
                  <a:gd name="connsiteX22" fmla="*/ 0 w 2199817"/>
                  <a:gd name="connsiteY22" fmla="*/ 0 h 243359"/>
                  <a:gd name="connsiteX23" fmla="*/ 813745 w 2199817"/>
                  <a:gd name="connsiteY23" fmla="*/ 0 h 243359"/>
                  <a:gd name="connsiteX24" fmla="*/ 813745 w 2199817"/>
                  <a:gd name="connsiteY24" fmla="*/ 20854 h 243359"/>
                  <a:gd name="connsiteX25" fmla="*/ 921554 w 2199817"/>
                  <a:gd name="connsiteY25" fmla="*/ 20854 h 243359"/>
                  <a:gd name="connsiteX26" fmla="*/ 921554 w 2199817"/>
                  <a:gd name="connsiteY26" fmla="*/ 39714 h 243359"/>
                  <a:gd name="connsiteX27" fmla="*/ 1345943 w 2199817"/>
                  <a:gd name="connsiteY27" fmla="*/ 39714 h 243359"/>
                  <a:gd name="connsiteX28" fmla="*/ 1345943 w 2199817"/>
                  <a:gd name="connsiteY28" fmla="*/ 43341 h 243359"/>
                  <a:gd name="connsiteX29" fmla="*/ 1347854 w 2199817"/>
                  <a:gd name="connsiteY29" fmla="*/ 48418 h 243359"/>
                  <a:gd name="connsiteX30" fmla="*/ 1352313 w 2199817"/>
                  <a:gd name="connsiteY30" fmla="*/ 50594 h 243359"/>
                  <a:gd name="connsiteX31" fmla="*/ 2199818 w 2199817"/>
                  <a:gd name="connsiteY31" fmla="*/ 50594 h 243359"/>
                  <a:gd name="connsiteX32" fmla="*/ 2199818 w 2199817"/>
                  <a:gd name="connsiteY32" fmla="*/ 39714 h 243359"/>
                  <a:gd name="connsiteX33" fmla="*/ 2199818 w 2199817"/>
                  <a:gd name="connsiteY33" fmla="*/ 243179 h 243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2199817" h="243359">
                    <a:moveTo>
                      <a:pt x="2199659" y="243360"/>
                    </a:moveTo>
                    <a:lnTo>
                      <a:pt x="1352154" y="243360"/>
                    </a:lnTo>
                    <a:lnTo>
                      <a:pt x="1352154" y="215433"/>
                    </a:lnTo>
                    <a:lnTo>
                      <a:pt x="1220617" y="215433"/>
                    </a:lnTo>
                    <a:lnTo>
                      <a:pt x="1220617" y="188232"/>
                    </a:lnTo>
                    <a:lnTo>
                      <a:pt x="688100" y="188232"/>
                    </a:lnTo>
                    <a:lnTo>
                      <a:pt x="688100" y="159762"/>
                    </a:lnTo>
                    <a:lnTo>
                      <a:pt x="478692" y="159762"/>
                    </a:lnTo>
                    <a:lnTo>
                      <a:pt x="478692" y="135643"/>
                    </a:lnTo>
                    <a:lnTo>
                      <a:pt x="439677" y="135643"/>
                    </a:lnTo>
                    <a:lnTo>
                      <a:pt x="439677" y="110255"/>
                    </a:lnTo>
                    <a:lnTo>
                      <a:pt x="358940" y="110255"/>
                    </a:lnTo>
                    <a:lnTo>
                      <a:pt x="358940" y="88676"/>
                    </a:lnTo>
                    <a:lnTo>
                      <a:pt x="293171" y="88676"/>
                    </a:lnTo>
                    <a:lnTo>
                      <a:pt x="293171" y="67459"/>
                    </a:lnTo>
                    <a:lnTo>
                      <a:pt x="248264" y="67459"/>
                    </a:lnTo>
                    <a:lnTo>
                      <a:pt x="248264" y="41890"/>
                    </a:lnTo>
                    <a:lnTo>
                      <a:pt x="53825" y="41890"/>
                    </a:lnTo>
                    <a:lnTo>
                      <a:pt x="53825" y="18859"/>
                    </a:lnTo>
                    <a:lnTo>
                      <a:pt x="38856" y="18859"/>
                    </a:lnTo>
                    <a:lnTo>
                      <a:pt x="38856" y="363"/>
                    </a:lnTo>
                    <a:lnTo>
                      <a:pt x="0" y="363"/>
                    </a:lnTo>
                    <a:lnTo>
                      <a:pt x="0" y="0"/>
                    </a:lnTo>
                    <a:lnTo>
                      <a:pt x="813745" y="0"/>
                    </a:lnTo>
                    <a:lnTo>
                      <a:pt x="813745" y="20854"/>
                    </a:lnTo>
                    <a:lnTo>
                      <a:pt x="921554" y="20854"/>
                    </a:lnTo>
                    <a:lnTo>
                      <a:pt x="921554" y="39714"/>
                    </a:lnTo>
                    <a:lnTo>
                      <a:pt x="1345943" y="39714"/>
                    </a:lnTo>
                    <a:lnTo>
                      <a:pt x="1345943" y="43341"/>
                    </a:lnTo>
                    <a:cubicBezTo>
                      <a:pt x="1345943" y="45154"/>
                      <a:pt x="1346581" y="47149"/>
                      <a:pt x="1347854" y="48418"/>
                    </a:cubicBezTo>
                    <a:cubicBezTo>
                      <a:pt x="1349129" y="49687"/>
                      <a:pt x="1350721" y="50594"/>
                      <a:pt x="1352313" y="50594"/>
                    </a:cubicBezTo>
                    <a:lnTo>
                      <a:pt x="2199818" y="50594"/>
                    </a:lnTo>
                    <a:lnTo>
                      <a:pt x="2199818" y="39714"/>
                    </a:lnTo>
                    <a:lnTo>
                      <a:pt x="2199818" y="243179"/>
                    </a:lnTo>
                  </a:path>
                </a:pathLst>
              </a:custGeom>
              <a:grpFill/>
              <a:ln w="158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1" name="Grafik 300">
              <a:extLst>
                <a:ext uri="{FF2B5EF4-FFF2-40B4-BE49-F238E27FC236}">
                  <a16:creationId xmlns:a16="http://schemas.microsoft.com/office/drawing/2014/main" id="{1A52612E-4F1F-8230-0F6C-19AA920A5839}"/>
                </a:ext>
              </a:extLst>
            </p:cNvPr>
            <p:cNvGrpSpPr/>
            <p:nvPr/>
          </p:nvGrpSpPr>
          <p:grpSpPr>
            <a:xfrm>
              <a:off x="2510912" y="2010602"/>
              <a:ext cx="4630541" cy="987947"/>
              <a:chOff x="2510912" y="2010602"/>
              <a:chExt cx="4630541" cy="987947"/>
            </a:xfrm>
            <a:solidFill>
              <a:schemeClr val="accent2"/>
            </a:solidFill>
          </p:grpSpPr>
          <p:sp>
            <p:nvSpPr>
              <p:cNvPr id="89" name="Freihandform: Form 88">
                <a:extLst>
                  <a:ext uri="{FF2B5EF4-FFF2-40B4-BE49-F238E27FC236}">
                    <a16:creationId xmlns:a16="http://schemas.microsoft.com/office/drawing/2014/main" id="{AFEF144E-96DF-DEC8-68FC-A9F487B9D075}"/>
                  </a:ext>
                </a:extLst>
              </p:cNvPr>
              <p:cNvSpPr/>
              <p:nvPr/>
            </p:nvSpPr>
            <p:spPr>
              <a:xfrm>
                <a:off x="2510912" y="2010602"/>
                <a:ext cx="39652" cy="45153"/>
              </a:xfrm>
              <a:custGeom>
                <a:avLst/>
                <a:gdLst>
                  <a:gd name="connsiteX0" fmla="*/ 16402 w 39652"/>
                  <a:gd name="connsiteY0" fmla="*/ 45154 h 45153"/>
                  <a:gd name="connsiteX1" fmla="*/ 16402 w 39652"/>
                  <a:gd name="connsiteY1" fmla="*/ 26476 h 45153"/>
                  <a:gd name="connsiteX2" fmla="*/ 0 w 39652"/>
                  <a:gd name="connsiteY2" fmla="*/ 26476 h 45153"/>
                  <a:gd name="connsiteX3" fmla="*/ 0 w 39652"/>
                  <a:gd name="connsiteY3" fmla="*/ 18497 h 45153"/>
                  <a:gd name="connsiteX4" fmla="*/ 16402 w 39652"/>
                  <a:gd name="connsiteY4" fmla="*/ 18497 h 45153"/>
                  <a:gd name="connsiteX5" fmla="*/ 16402 w 39652"/>
                  <a:gd name="connsiteY5" fmla="*/ 0 h 45153"/>
                  <a:gd name="connsiteX6" fmla="*/ 23250 w 39652"/>
                  <a:gd name="connsiteY6" fmla="*/ 0 h 45153"/>
                  <a:gd name="connsiteX7" fmla="*/ 23250 w 39652"/>
                  <a:gd name="connsiteY7" fmla="*/ 18497 h 45153"/>
                  <a:gd name="connsiteX8" fmla="*/ 39652 w 39652"/>
                  <a:gd name="connsiteY8" fmla="*/ 18497 h 45153"/>
                  <a:gd name="connsiteX9" fmla="*/ 39652 w 39652"/>
                  <a:gd name="connsiteY9" fmla="*/ 26476 h 45153"/>
                  <a:gd name="connsiteX10" fmla="*/ 23250 w 39652"/>
                  <a:gd name="connsiteY10" fmla="*/ 26476 h 45153"/>
                  <a:gd name="connsiteX11" fmla="*/ 23250 w 39652"/>
                  <a:gd name="connsiteY11" fmla="*/ 45154 h 45153"/>
                  <a:gd name="connsiteX12" fmla="*/ 16402 w 39652"/>
                  <a:gd name="connsiteY12" fmla="*/ 45154 h 45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652" h="45153">
                    <a:moveTo>
                      <a:pt x="16402" y="45154"/>
                    </a:moveTo>
                    <a:lnTo>
                      <a:pt x="16402" y="26476"/>
                    </a:lnTo>
                    <a:lnTo>
                      <a:pt x="0" y="26476"/>
                    </a:lnTo>
                    <a:lnTo>
                      <a:pt x="0" y="18497"/>
                    </a:lnTo>
                    <a:lnTo>
                      <a:pt x="16402" y="18497"/>
                    </a:lnTo>
                    <a:lnTo>
                      <a:pt x="16402" y="0"/>
                    </a:lnTo>
                    <a:lnTo>
                      <a:pt x="23250" y="0"/>
                    </a:lnTo>
                    <a:lnTo>
                      <a:pt x="23250" y="18497"/>
                    </a:lnTo>
                    <a:lnTo>
                      <a:pt x="39652" y="18497"/>
                    </a:lnTo>
                    <a:lnTo>
                      <a:pt x="39652" y="26476"/>
                    </a:lnTo>
                    <a:lnTo>
                      <a:pt x="23250" y="26476"/>
                    </a:lnTo>
                    <a:lnTo>
                      <a:pt x="23250" y="45154"/>
                    </a:lnTo>
                    <a:lnTo>
                      <a:pt x="16402" y="45154"/>
                    </a:lnTo>
                  </a:path>
                </a:pathLst>
              </a:custGeom>
              <a:grpFill/>
              <a:ln w="158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0" name="Freihandform: Form 89">
                <a:extLst>
                  <a:ext uri="{FF2B5EF4-FFF2-40B4-BE49-F238E27FC236}">
                    <a16:creationId xmlns:a16="http://schemas.microsoft.com/office/drawing/2014/main" id="{738BB0E8-98EA-AFF0-DE87-30D98D9F5682}"/>
                  </a:ext>
                </a:extLst>
              </p:cNvPr>
              <p:cNvSpPr/>
              <p:nvPr/>
            </p:nvSpPr>
            <p:spPr>
              <a:xfrm>
                <a:off x="2747232" y="2289868"/>
                <a:ext cx="39652" cy="45154"/>
              </a:xfrm>
              <a:custGeom>
                <a:avLst/>
                <a:gdLst>
                  <a:gd name="connsiteX0" fmla="*/ 16402 w 39652"/>
                  <a:gd name="connsiteY0" fmla="*/ 45154 h 45154"/>
                  <a:gd name="connsiteX1" fmla="*/ 16402 w 39652"/>
                  <a:gd name="connsiteY1" fmla="*/ 26295 h 45154"/>
                  <a:gd name="connsiteX2" fmla="*/ 0 w 39652"/>
                  <a:gd name="connsiteY2" fmla="*/ 26295 h 45154"/>
                  <a:gd name="connsiteX3" fmla="*/ 0 w 39652"/>
                  <a:gd name="connsiteY3" fmla="*/ 18497 h 45154"/>
                  <a:gd name="connsiteX4" fmla="*/ 16402 w 39652"/>
                  <a:gd name="connsiteY4" fmla="*/ 18497 h 45154"/>
                  <a:gd name="connsiteX5" fmla="*/ 16402 w 39652"/>
                  <a:gd name="connsiteY5" fmla="*/ 0 h 45154"/>
                  <a:gd name="connsiteX6" fmla="*/ 23409 w 39652"/>
                  <a:gd name="connsiteY6" fmla="*/ 0 h 45154"/>
                  <a:gd name="connsiteX7" fmla="*/ 23409 w 39652"/>
                  <a:gd name="connsiteY7" fmla="*/ 18497 h 45154"/>
                  <a:gd name="connsiteX8" fmla="*/ 39652 w 39652"/>
                  <a:gd name="connsiteY8" fmla="*/ 18497 h 45154"/>
                  <a:gd name="connsiteX9" fmla="*/ 39652 w 39652"/>
                  <a:gd name="connsiteY9" fmla="*/ 26295 h 45154"/>
                  <a:gd name="connsiteX10" fmla="*/ 23409 w 39652"/>
                  <a:gd name="connsiteY10" fmla="*/ 26295 h 45154"/>
                  <a:gd name="connsiteX11" fmla="*/ 23409 w 39652"/>
                  <a:gd name="connsiteY11" fmla="*/ 45154 h 45154"/>
                  <a:gd name="connsiteX12" fmla="*/ 16402 w 39652"/>
                  <a:gd name="connsiteY12" fmla="*/ 45154 h 45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652" h="45154">
                    <a:moveTo>
                      <a:pt x="16402" y="45154"/>
                    </a:moveTo>
                    <a:lnTo>
                      <a:pt x="16402" y="26295"/>
                    </a:lnTo>
                    <a:lnTo>
                      <a:pt x="0" y="26295"/>
                    </a:lnTo>
                    <a:lnTo>
                      <a:pt x="0" y="18497"/>
                    </a:lnTo>
                    <a:lnTo>
                      <a:pt x="16402" y="18497"/>
                    </a:lnTo>
                    <a:lnTo>
                      <a:pt x="16402" y="0"/>
                    </a:lnTo>
                    <a:lnTo>
                      <a:pt x="23409" y="0"/>
                    </a:lnTo>
                    <a:lnTo>
                      <a:pt x="23409" y="18497"/>
                    </a:lnTo>
                    <a:lnTo>
                      <a:pt x="39652" y="18497"/>
                    </a:lnTo>
                    <a:lnTo>
                      <a:pt x="39652" y="26295"/>
                    </a:lnTo>
                    <a:lnTo>
                      <a:pt x="23409" y="26295"/>
                    </a:lnTo>
                    <a:lnTo>
                      <a:pt x="23409" y="45154"/>
                    </a:lnTo>
                    <a:lnTo>
                      <a:pt x="16402" y="45154"/>
                    </a:lnTo>
                  </a:path>
                </a:pathLst>
              </a:custGeom>
              <a:grpFill/>
              <a:ln w="158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1" name="Freihandform: Form 90">
                <a:extLst>
                  <a:ext uri="{FF2B5EF4-FFF2-40B4-BE49-F238E27FC236}">
                    <a16:creationId xmlns:a16="http://schemas.microsoft.com/office/drawing/2014/main" id="{8D58DB72-C5BA-1A64-FAAF-BF608DE7D890}"/>
                  </a:ext>
                </a:extLst>
              </p:cNvPr>
              <p:cNvSpPr/>
              <p:nvPr/>
            </p:nvSpPr>
            <p:spPr>
              <a:xfrm>
                <a:off x="3139135" y="2599961"/>
                <a:ext cx="39652" cy="45153"/>
              </a:xfrm>
              <a:custGeom>
                <a:avLst/>
                <a:gdLst>
                  <a:gd name="connsiteX0" fmla="*/ 16402 w 39652"/>
                  <a:gd name="connsiteY0" fmla="*/ 45154 h 45153"/>
                  <a:gd name="connsiteX1" fmla="*/ 16402 w 39652"/>
                  <a:gd name="connsiteY1" fmla="*/ 26294 h 45153"/>
                  <a:gd name="connsiteX2" fmla="*/ 0 w 39652"/>
                  <a:gd name="connsiteY2" fmla="*/ 26294 h 45153"/>
                  <a:gd name="connsiteX3" fmla="*/ 0 w 39652"/>
                  <a:gd name="connsiteY3" fmla="*/ 18497 h 45153"/>
                  <a:gd name="connsiteX4" fmla="*/ 16402 w 39652"/>
                  <a:gd name="connsiteY4" fmla="*/ 18497 h 45153"/>
                  <a:gd name="connsiteX5" fmla="*/ 16402 w 39652"/>
                  <a:gd name="connsiteY5" fmla="*/ 0 h 45153"/>
                  <a:gd name="connsiteX6" fmla="*/ 23409 w 39652"/>
                  <a:gd name="connsiteY6" fmla="*/ 0 h 45153"/>
                  <a:gd name="connsiteX7" fmla="*/ 23409 w 39652"/>
                  <a:gd name="connsiteY7" fmla="*/ 18497 h 45153"/>
                  <a:gd name="connsiteX8" fmla="*/ 39652 w 39652"/>
                  <a:gd name="connsiteY8" fmla="*/ 18497 h 45153"/>
                  <a:gd name="connsiteX9" fmla="*/ 39652 w 39652"/>
                  <a:gd name="connsiteY9" fmla="*/ 26294 h 45153"/>
                  <a:gd name="connsiteX10" fmla="*/ 23409 w 39652"/>
                  <a:gd name="connsiteY10" fmla="*/ 26294 h 45153"/>
                  <a:gd name="connsiteX11" fmla="*/ 23409 w 39652"/>
                  <a:gd name="connsiteY11" fmla="*/ 45154 h 45153"/>
                  <a:gd name="connsiteX12" fmla="*/ 16402 w 39652"/>
                  <a:gd name="connsiteY12" fmla="*/ 45154 h 45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652" h="45153">
                    <a:moveTo>
                      <a:pt x="16402" y="45154"/>
                    </a:moveTo>
                    <a:lnTo>
                      <a:pt x="16402" y="26294"/>
                    </a:lnTo>
                    <a:lnTo>
                      <a:pt x="0" y="26294"/>
                    </a:lnTo>
                    <a:lnTo>
                      <a:pt x="0" y="18497"/>
                    </a:lnTo>
                    <a:lnTo>
                      <a:pt x="16402" y="18497"/>
                    </a:lnTo>
                    <a:lnTo>
                      <a:pt x="16402" y="0"/>
                    </a:lnTo>
                    <a:lnTo>
                      <a:pt x="23409" y="0"/>
                    </a:lnTo>
                    <a:lnTo>
                      <a:pt x="23409" y="18497"/>
                    </a:lnTo>
                    <a:lnTo>
                      <a:pt x="39652" y="18497"/>
                    </a:lnTo>
                    <a:lnTo>
                      <a:pt x="39652" y="26294"/>
                    </a:lnTo>
                    <a:lnTo>
                      <a:pt x="23409" y="26294"/>
                    </a:lnTo>
                    <a:lnTo>
                      <a:pt x="23409" y="45154"/>
                    </a:lnTo>
                    <a:lnTo>
                      <a:pt x="16402" y="45154"/>
                    </a:lnTo>
                  </a:path>
                </a:pathLst>
              </a:custGeom>
              <a:grpFill/>
              <a:ln w="158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2" name="Freihandform: Form 91">
                <a:extLst>
                  <a:ext uri="{FF2B5EF4-FFF2-40B4-BE49-F238E27FC236}">
                    <a16:creationId xmlns:a16="http://schemas.microsoft.com/office/drawing/2014/main" id="{E7766F76-8885-BF97-E451-451FB8889051}"/>
                  </a:ext>
                </a:extLst>
              </p:cNvPr>
              <p:cNvSpPr/>
              <p:nvPr/>
            </p:nvSpPr>
            <p:spPr>
              <a:xfrm>
                <a:off x="3237868" y="2639131"/>
                <a:ext cx="39652" cy="45153"/>
              </a:xfrm>
              <a:custGeom>
                <a:avLst/>
                <a:gdLst>
                  <a:gd name="connsiteX0" fmla="*/ 16402 w 39652"/>
                  <a:gd name="connsiteY0" fmla="*/ 45154 h 45153"/>
                  <a:gd name="connsiteX1" fmla="*/ 16402 w 39652"/>
                  <a:gd name="connsiteY1" fmla="*/ 26476 h 45153"/>
                  <a:gd name="connsiteX2" fmla="*/ 0 w 39652"/>
                  <a:gd name="connsiteY2" fmla="*/ 26476 h 45153"/>
                  <a:gd name="connsiteX3" fmla="*/ 0 w 39652"/>
                  <a:gd name="connsiteY3" fmla="*/ 18497 h 45153"/>
                  <a:gd name="connsiteX4" fmla="*/ 16402 w 39652"/>
                  <a:gd name="connsiteY4" fmla="*/ 18497 h 45153"/>
                  <a:gd name="connsiteX5" fmla="*/ 16402 w 39652"/>
                  <a:gd name="connsiteY5" fmla="*/ 0 h 45153"/>
                  <a:gd name="connsiteX6" fmla="*/ 23250 w 39652"/>
                  <a:gd name="connsiteY6" fmla="*/ 0 h 45153"/>
                  <a:gd name="connsiteX7" fmla="*/ 23250 w 39652"/>
                  <a:gd name="connsiteY7" fmla="*/ 18497 h 45153"/>
                  <a:gd name="connsiteX8" fmla="*/ 39652 w 39652"/>
                  <a:gd name="connsiteY8" fmla="*/ 18497 h 45153"/>
                  <a:gd name="connsiteX9" fmla="*/ 39652 w 39652"/>
                  <a:gd name="connsiteY9" fmla="*/ 26476 h 45153"/>
                  <a:gd name="connsiteX10" fmla="*/ 23250 w 39652"/>
                  <a:gd name="connsiteY10" fmla="*/ 26476 h 45153"/>
                  <a:gd name="connsiteX11" fmla="*/ 23250 w 39652"/>
                  <a:gd name="connsiteY11" fmla="*/ 45154 h 45153"/>
                  <a:gd name="connsiteX12" fmla="*/ 16402 w 39652"/>
                  <a:gd name="connsiteY12" fmla="*/ 45154 h 45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652" h="45153">
                    <a:moveTo>
                      <a:pt x="16402" y="45154"/>
                    </a:moveTo>
                    <a:lnTo>
                      <a:pt x="16402" y="26476"/>
                    </a:lnTo>
                    <a:lnTo>
                      <a:pt x="0" y="26476"/>
                    </a:lnTo>
                    <a:lnTo>
                      <a:pt x="0" y="18497"/>
                    </a:lnTo>
                    <a:lnTo>
                      <a:pt x="16402" y="18497"/>
                    </a:lnTo>
                    <a:lnTo>
                      <a:pt x="16402" y="0"/>
                    </a:lnTo>
                    <a:lnTo>
                      <a:pt x="23250" y="0"/>
                    </a:lnTo>
                    <a:lnTo>
                      <a:pt x="23250" y="18497"/>
                    </a:lnTo>
                    <a:lnTo>
                      <a:pt x="39652" y="18497"/>
                    </a:lnTo>
                    <a:lnTo>
                      <a:pt x="39652" y="26476"/>
                    </a:lnTo>
                    <a:lnTo>
                      <a:pt x="23250" y="26476"/>
                    </a:lnTo>
                    <a:lnTo>
                      <a:pt x="23250" y="45154"/>
                    </a:lnTo>
                    <a:lnTo>
                      <a:pt x="16402" y="45154"/>
                    </a:lnTo>
                  </a:path>
                </a:pathLst>
              </a:custGeom>
              <a:grpFill/>
              <a:ln w="158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3" name="Freihandform: Form 92">
                <a:extLst>
                  <a:ext uri="{FF2B5EF4-FFF2-40B4-BE49-F238E27FC236}">
                    <a16:creationId xmlns:a16="http://schemas.microsoft.com/office/drawing/2014/main" id="{5A0A9AF5-3468-4AE9-4169-0824EA9AC653}"/>
                  </a:ext>
                </a:extLst>
              </p:cNvPr>
              <p:cNvSpPr/>
              <p:nvPr/>
            </p:nvSpPr>
            <p:spPr>
              <a:xfrm>
                <a:off x="3845071" y="2830627"/>
                <a:ext cx="39652" cy="45154"/>
              </a:xfrm>
              <a:custGeom>
                <a:avLst/>
                <a:gdLst>
                  <a:gd name="connsiteX0" fmla="*/ 16402 w 39652"/>
                  <a:gd name="connsiteY0" fmla="*/ 45154 h 45154"/>
                  <a:gd name="connsiteX1" fmla="*/ 16402 w 39652"/>
                  <a:gd name="connsiteY1" fmla="*/ 26295 h 45154"/>
                  <a:gd name="connsiteX2" fmla="*/ 0 w 39652"/>
                  <a:gd name="connsiteY2" fmla="*/ 26295 h 45154"/>
                  <a:gd name="connsiteX3" fmla="*/ 0 w 39652"/>
                  <a:gd name="connsiteY3" fmla="*/ 18497 h 45154"/>
                  <a:gd name="connsiteX4" fmla="*/ 16402 w 39652"/>
                  <a:gd name="connsiteY4" fmla="*/ 18497 h 45154"/>
                  <a:gd name="connsiteX5" fmla="*/ 16402 w 39652"/>
                  <a:gd name="connsiteY5" fmla="*/ 0 h 45154"/>
                  <a:gd name="connsiteX6" fmla="*/ 23409 w 39652"/>
                  <a:gd name="connsiteY6" fmla="*/ 0 h 45154"/>
                  <a:gd name="connsiteX7" fmla="*/ 23409 w 39652"/>
                  <a:gd name="connsiteY7" fmla="*/ 18497 h 45154"/>
                  <a:gd name="connsiteX8" fmla="*/ 39652 w 39652"/>
                  <a:gd name="connsiteY8" fmla="*/ 18497 h 45154"/>
                  <a:gd name="connsiteX9" fmla="*/ 39652 w 39652"/>
                  <a:gd name="connsiteY9" fmla="*/ 26295 h 45154"/>
                  <a:gd name="connsiteX10" fmla="*/ 23409 w 39652"/>
                  <a:gd name="connsiteY10" fmla="*/ 26295 h 45154"/>
                  <a:gd name="connsiteX11" fmla="*/ 23409 w 39652"/>
                  <a:gd name="connsiteY11" fmla="*/ 45154 h 45154"/>
                  <a:gd name="connsiteX12" fmla="*/ 16402 w 39652"/>
                  <a:gd name="connsiteY12" fmla="*/ 45154 h 45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652" h="45154">
                    <a:moveTo>
                      <a:pt x="16402" y="45154"/>
                    </a:moveTo>
                    <a:lnTo>
                      <a:pt x="16402" y="26295"/>
                    </a:lnTo>
                    <a:lnTo>
                      <a:pt x="0" y="26295"/>
                    </a:lnTo>
                    <a:lnTo>
                      <a:pt x="0" y="18497"/>
                    </a:lnTo>
                    <a:lnTo>
                      <a:pt x="16402" y="18497"/>
                    </a:lnTo>
                    <a:lnTo>
                      <a:pt x="16402" y="0"/>
                    </a:lnTo>
                    <a:lnTo>
                      <a:pt x="23409" y="0"/>
                    </a:lnTo>
                    <a:lnTo>
                      <a:pt x="23409" y="18497"/>
                    </a:lnTo>
                    <a:lnTo>
                      <a:pt x="39652" y="18497"/>
                    </a:lnTo>
                    <a:lnTo>
                      <a:pt x="39652" y="26295"/>
                    </a:lnTo>
                    <a:lnTo>
                      <a:pt x="23409" y="26295"/>
                    </a:lnTo>
                    <a:lnTo>
                      <a:pt x="23409" y="45154"/>
                    </a:lnTo>
                    <a:lnTo>
                      <a:pt x="16402" y="45154"/>
                    </a:lnTo>
                  </a:path>
                </a:pathLst>
              </a:custGeom>
              <a:grpFill/>
              <a:ln w="158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4" name="Freihandform: Form 93">
                <a:extLst>
                  <a:ext uri="{FF2B5EF4-FFF2-40B4-BE49-F238E27FC236}">
                    <a16:creationId xmlns:a16="http://schemas.microsoft.com/office/drawing/2014/main" id="{921A9C51-36AE-58F3-B70D-C4BEC174ADCC}"/>
                  </a:ext>
                </a:extLst>
              </p:cNvPr>
              <p:cNvSpPr/>
              <p:nvPr/>
            </p:nvSpPr>
            <p:spPr>
              <a:xfrm>
                <a:off x="4769491" y="2893190"/>
                <a:ext cx="39651" cy="45154"/>
              </a:xfrm>
              <a:custGeom>
                <a:avLst/>
                <a:gdLst>
                  <a:gd name="connsiteX0" fmla="*/ 16243 w 39651"/>
                  <a:gd name="connsiteY0" fmla="*/ 45154 h 45154"/>
                  <a:gd name="connsiteX1" fmla="*/ 16243 w 39651"/>
                  <a:gd name="connsiteY1" fmla="*/ 26476 h 45154"/>
                  <a:gd name="connsiteX2" fmla="*/ 0 w 39651"/>
                  <a:gd name="connsiteY2" fmla="*/ 26476 h 45154"/>
                  <a:gd name="connsiteX3" fmla="*/ 0 w 39651"/>
                  <a:gd name="connsiteY3" fmla="*/ 18497 h 45154"/>
                  <a:gd name="connsiteX4" fmla="*/ 16243 w 39651"/>
                  <a:gd name="connsiteY4" fmla="*/ 18497 h 45154"/>
                  <a:gd name="connsiteX5" fmla="*/ 16243 w 39651"/>
                  <a:gd name="connsiteY5" fmla="*/ 0 h 45154"/>
                  <a:gd name="connsiteX6" fmla="*/ 23250 w 39651"/>
                  <a:gd name="connsiteY6" fmla="*/ 0 h 45154"/>
                  <a:gd name="connsiteX7" fmla="*/ 23250 w 39651"/>
                  <a:gd name="connsiteY7" fmla="*/ 18497 h 45154"/>
                  <a:gd name="connsiteX8" fmla="*/ 39652 w 39651"/>
                  <a:gd name="connsiteY8" fmla="*/ 18497 h 45154"/>
                  <a:gd name="connsiteX9" fmla="*/ 39652 w 39651"/>
                  <a:gd name="connsiteY9" fmla="*/ 26476 h 45154"/>
                  <a:gd name="connsiteX10" fmla="*/ 23250 w 39651"/>
                  <a:gd name="connsiteY10" fmla="*/ 26476 h 45154"/>
                  <a:gd name="connsiteX11" fmla="*/ 23250 w 39651"/>
                  <a:gd name="connsiteY11" fmla="*/ 45154 h 45154"/>
                  <a:gd name="connsiteX12" fmla="*/ 16243 w 39651"/>
                  <a:gd name="connsiteY12" fmla="*/ 45154 h 45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651" h="45154">
                    <a:moveTo>
                      <a:pt x="16243" y="45154"/>
                    </a:moveTo>
                    <a:lnTo>
                      <a:pt x="16243" y="26476"/>
                    </a:lnTo>
                    <a:lnTo>
                      <a:pt x="0" y="26476"/>
                    </a:lnTo>
                    <a:lnTo>
                      <a:pt x="0" y="18497"/>
                    </a:lnTo>
                    <a:lnTo>
                      <a:pt x="16243" y="18497"/>
                    </a:lnTo>
                    <a:lnTo>
                      <a:pt x="16243" y="0"/>
                    </a:lnTo>
                    <a:lnTo>
                      <a:pt x="23250" y="0"/>
                    </a:lnTo>
                    <a:lnTo>
                      <a:pt x="23250" y="18497"/>
                    </a:lnTo>
                    <a:lnTo>
                      <a:pt x="39652" y="18497"/>
                    </a:lnTo>
                    <a:lnTo>
                      <a:pt x="39652" y="26476"/>
                    </a:lnTo>
                    <a:lnTo>
                      <a:pt x="23250" y="26476"/>
                    </a:lnTo>
                    <a:lnTo>
                      <a:pt x="23250" y="45154"/>
                    </a:lnTo>
                    <a:lnTo>
                      <a:pt x="16243" y="45154"/>
                    </a:lnTo>
                  </a:path>
                </a:pathLst>
              </a:custGeom>
              <a:grpFill/>
              <a:ln w="158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5" name="Freihandform: Form 94">
                <a:extLst>
                  <a:ext uri="{FF2B5EF4-FFF2-40B4-BE49-F238E27FC236}">
                    <a16:creationId xmlns:a16="http://schemas.microsoft.com/office/drawing/2014/main" id="{018A5393-C4D3-6B1E-CF07-F28CED9AA28B}"/>
                  </a:ext>
                </a:extLst>
              </p:cNvPr>
              <p:cNvSpPr/>
              <p:nvPr/>
            </p:nvSpPr>
            <p:spPr>
              <a:xfrm>
                <a:off x="5029698" y="2912049"/>
                <a:ext cx="39652" cy="45154"/>
              </a:xfrm>
              <a:custGeom>
                <a:avLst/>
                <a:gdLst>
                  <a:gd name="connsiteX0" fmla="*/ 16402 w 39652"/>
                  <a:gd name="connsiteY0" fmla="*/ 45154 h 45154"/>
                  <a:gd name="connsiteX1" fmla="*/ 16402 w 39652"/>
                  <a:gd name="connsiteY1" fmla="*/ 26476 h 45154"/>
                  <a:gd name="connsiteX2" fmla="*/ 0 w 39652"/>
                  <a:gd name="connsiteY2" fmla="*/ 26476 h 45154"/>
                  <a:gd name="connsiteX3" fmla="*/ 0 w 39652"/>
                  <a:gd name="connsiteY3" fmla="*/ 18678 h 45154"/>
                  <a:gd name="connsiteX4" fmla="*/ 16402 w 39652"/>
                  <a:gd name="connsiteY4" fmla="*/ 18678 h 45154"/>
                  <a:gd name="connsiteX5" fmla="*/ 16402 w 39652"/>
                  <a:gd name="connsiteY5" fmla="*/ 0 h 45154"/>
                  <a:gd name="connsiteX6" fmla="*/ 23409 w 39652"/>
                  <a:gd name="connsiteY6" fmla="*/ 0 h 45154"/>
                  <a:gd name="connsiteX7" fmla="*/ 23409 w 39652"/>
                  <a:gd name="connsiteY7" fmla="*/ 18678 h 45154"/>
                  <a:gd name="connsiteX8" fmla="*/ 39652 w 39652"/>
                  <a:gd name="connsiteY8" fmla="*/ 18678 h 45154"/>
                  <a:gd name="connsiteX9" fmla="*/ 39652 w 39652"/>
                  <a:gd name="connsiteY9" fmla="*/ 26476 h 45154"/>
                  <a:gd name="connsiteX10" fmla="*/ 23409 w 39652"/>
                  <a:gd name="connsiteY10" fmla="*/ 26476 h 45154"/>
                  <a:gd name="connsiteX11" fmla="*/ 23409 w 39652"/>
                  <a:gd name="connsiteY11" fmla="*/ 45154 h 45154"/>
                  <a:gd name="connsiteX12" fmla="*/ 16402 w 39652"/>
                  <a:gd name="connsiteY12" fmla="*/ 45154 h 45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652" h="45154">
                    <a:moveTo>
                      <a:pt x="16402" y="45154"/>
                    </a:moveTo>
                    <a:lnTo>
                      <a:pt x="16402" y="26476"/>
                    </a:lnTo>
                    <a:lnTo>
                      <a:pt x="0" y="26476"/>
                    </a:lnTo>
                    <a:lnTo>
                      <a:pt x="0" y="18678"/>
                    </a:lnTo>
                    <a:lnTo>
                      <a:pt x="16402" y="18678"/>
                    </a:lnTo>
                    <a:lnTo>
                      <a:pt x="16402" y="0"/>
                    </a:lnTo>
                    <a:lnTo>
                      <a:pt x="23409" y="0"/>
                    </a:lnTo>
                    <a:lnTo>
                      <a:pt x="23409" y="18678"/>
                    </a:lnTo>
                    <a:lnTo>
                      <a:pt x="39652" y="18678"/>
                    </a:lnTo>
                    <a:lnTo>
                      <a:pt x="39652" y="26476"/>
                    </a:lnTo>
                    <a:lnTo>
                      <a:pt x="23409" y="26476"/>
                    </a:lnTo>
                    <a:lnTo>
                      <a:pt x="23409" y="45154"/>
                    </a:lnTo>
                    <a:lnTo>
                      <a:pt x="16402" y="45154"/>
                    </a:lnTo>
                  </a:path>
                </a:pathLst>
              </a:custGeom>
              <a:grpFill/>
              <a:ln w="158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6" name="Freihandform: Form 95">
                <a:extLst>
                  <a:ext uri="{FF2B5EF4-FFF2-40B4-BE49-F238E27FC236}">
                    <a16:creationId xmlns:a16="http://schemas.microsoft.com/office/drawing/2014/main" id="{AC05881A-8C9D-40B5-3115-76F1E8490D36}"/>
                  </a:ext>
                </a:extLst>
              </p:cNvPr>
              <p:cNvSpPr/>
              <p:nvPr/>
            </p:nvSpPr>
            <p:spPr>
              <a:xfrm>
                <a:off x="5077631" y="2912049"/>
                <a:ext cx="39652" cy="45154"/>
              </a:xfrm>
              <a:custGeom>
                <a:avLst/>
                <a:gdLst>
                  <a:gd name="connsiteX0" fmla="*/ 16243 w 39652"/>
                  <a:gd name="connsiteY0" fmla="*/ 45154 h 45154"/>
                  <a:gd name="connsiteX1" fmla="*/ 16243 w 39652"/>
                  <a:gd name="connsiteY1" fmla="*/ 26476 h 45154"/>
                  <a:gd name="connsiteX2" fmla="*/ 0 w 39652"/>
                  <a:gd name="connsiteY2" fmla="*/ 26476 h 45154"/>
                  <a:gd name="connsiteX3" fmla="*/ 0 w 39652"/>
                  <a:gd name="connsiteY3" fmla="*/ 18678 h 45154"/>
                  <a:gd name="connsiteX4" fmla="*/ 16243 w 39652"/>
                  <a:gd name="connsiteY4" fmla="*/ 18678 h 45154"/>
                  <a:gd name="connsiteX5" fmla="*/ 16243 w 39652"/>
                  <a:gd name="connsiteY5" fmla="*/ 0 h 45154"/>
                  <a:gd name="connsiteX6" fmla="*/ 23250 w 39652"/>
                  <a:gd name="connsiteY6" fmla="*/ 0 h 45154"/>
                  <a:gd name="connsiteX7" fmla="*/ 23250 w 39652"/>
                  <a:gd name="connsiteY7" fmla="*/ 18678 h 45154"/>
                  <a:gd name="connsiteX8" fmla="*/ 39652 w 39652"/>
                  <a:gd name="connsiteY8" fmla="*/ 18678 h 45154"/>
                  <a:gd name="connsiteX9" fmla="*/ 39652 w 39652"/>
                  <a:gd name="connsiteY9" fmla="*/ 26476 h 45154"/>
                  <a:gd name="connsiteX10" fmla="*/ 23250 w 39652"/>
                  <a:gd name="connsiteY10" fmla="*/ 26476 h 45154"/>
                  <a:gd name="connsiteX11" fmla="*/ 23250 w 39652"/>
                  <a:gd name="connsiteY11" fmla="*/ 45154 h 45154"/>
                  <a:gd name="connsiteX12" fmla="*/ 16243 w 39652"/>
                  <a:gd name="connsiteY12" fmla="*/ 45154 h 45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652" h="45154">
                    <a:moveTo>
                      <a:pt x="16243" y="45154"/>
                    </a:moveTo>
                    <a:lnTo>
                      <a:pt x="16243" y="26476"/>
                    </a:lnTo>
                    <a:lnTo>
                      <a:pt x="0" y="26476"/>
                    </a:lnTo>
                    <a:lnTo>
                      <a:pt x="0" y="18678"/>
                    </a:lnTo>
                    <a:lnTo>
                      <a:pt x="16243" y="18678"/>
                    </a:lnTo>
                    <a:lnTo>
                      <a:pt x="16243" y="0"/>
                    </a:lnTo>
                    <a:lnTo>
                      <a:pt x="23250" y="0"/>
                    </a:lnTo>
                    <a:lnTo>
                      <a:pt x="23250" y="18678"/>
                    </a:lnTo>
                    <a:lnTo>
                      <a:pt x="39652" y="18678"/>
                    </a:lnTo>
                    <a:lnTo>
                      <a:pt x="39652" y="26476"/>
                    </a:lnTo>
                    <a:lnTo>
                      <a:pt x="23250" y="26476"/>
                    </a:lnTo>
                    <a:lnTo>
                      <a:pt x="23250" y="45154"/>
                    </a:lnTo>
                    <a:lnTo>
                      <a:pt x="16243" y="45154"/>
                    </a:lnTo>
                  </a:path>
                </a:pathLst>
              </a:custGeom>
              <a:grpFill/>
              <a:ln w="158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7" name="Freihandform: Form 96">
                <a:extLst>
                  <a:ext uri="{FF2B5EF4-FFF2-40B4-BE49-F238E27FC236}">
                    <a16:creationId xmlns:a16="http://schemas.microsoft.com/office/drawing/2014/main" id="{73941D59-575C-89D1-35DF-16F7A7CBC6AE}"/>
                  </a:ext>
                </a:extLst>
              </p:cNvPr>
              <p:cNvSpPr/>
              <p:nvPr/>
            </p:nvSpPr>
            <p:spPr>
              <a:xfrm>
                <a:off x="5194358" y="2912049"/>
                <a:ext cx="39492" cy="45154"/>
              </a:xfrm>
              <a:custGeom>
                <a:avLst/>
                <a:gdLst>
                  <a:gd name="connsiteX0" fmla="*/ 16243 w 39492"/>
                  <a:gd name="connsiteY0" fmla="*/ 45154 h 45154"/>
                  <a:gd name="connsiteX1" fmla="*/ 16243 w 39492"/>
                  <a:gd name="connsiteY1" fmla="*/ 26476 h 45154"/>
                  <a:gd name="connsiteX2" fmla="*/ 0 w 39492"/>
                  <a:gd name="connsiteY2" fmla="*/ 26476 h 45154"/>
                  <a:gd name="connsiteX3" fmla="*/ 0 w 39492"/>
                  <a:gd name="connsiteY3" fmla="*/ 18678 h 45154"/>
                  <a:gd name="connsiteX4" fmla="*/ 16243 w 39492"/>
                  <a:gd name="connsiteY4" fmla="*/ 18678 h 45154"/>
                  <a:gd name="connsiteX5" fmla="*/ 16243 w 39492"/>
                  <a:gd name="connsiteY5" fmla="*/ 0 h 45154"/>
                  <a:gd name="connsiteX6" fmla="*/ 23250 w 39492"/>
                  <a:gd name="connsiteY6" fmla="*/ 0 h 45154"/>
                  <a:gd name="connsiteX7" fmla="*/ 23250 w 39492"/>
                  <a:gd name="connsiteY7" fmla="*/ 18678 h 45154"/>
                  <a:gd name="connsiteX8" fmla="*/ 39493 w 39492"/>
                  <a:gd name="connsiteY8" fmla="*/ 18678 h 45154"/>
                  <a:gd name="connsiteX9" fmla="*/ 39493 w 39492"/>
                  <a:gd name="connsiteY9" fmla="*/ 26476 h 45154"/>
                  <a:gd name="connsiteX10" fmla="*/ 23250 w 39492"/>
                  <a:gd name="connsiteY10" fmla="*/ 26476 h 45154"/>
                  <a:gd name="connsiteX11" fmla="*/ 23250 w 39492"/>
                  <a:gd name="connsiteY11" fmla="*/ 45154 h 45154"/>
                  <a:gd name="connsiteX12" fmla="*/ 16243 w 39492"/>
                  <a:gd name="connsiteY12" fmla="*/ 45154 h 45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92" h="45154">
                    <a:moveTo>
                      <a:pt x="16243" y="45154"/>
                    </a:moveTo>
                    <a:lnTo>
                      <a:pt x="16243" y="26476"/>
                    </a:lnTo>
                    <a:lnTo>
                      <a:pt x="0" y="26476"/>
                    </a:lnTo>
                    <a:lnTo>
                      <a:pt x="0" y="18678"/>
                    </a:lnTo>
                    <a:lnTo>
                      <a:pt x="16243" y="18678"/>
                    </a:lnTo>
                    <a:lnTo>
                      <a:pt x="16243" y="0"/>
                    </a:lnTo>
                    <a:lnTo>
                      <a:pt x="23250" y="0"/>
                    </a:lnTo>
                    <a:lnTo>
                      <a:pt x="23250" y="18678"/>
                    </a:lnTo>
                    <a:lnTo>
                      <a:pt x="39493" y="18678"/>
                    </a:lnTo>
                    <a:lnTo>
                      <a:pt x="39493" y="26476"/>
                    </a:lnTo>
                    <a:lnTo>
                      <a:pt x="23250" y="26476"/>
                    </a:lnTo>
                    <a:lnTo>
                      <a:pt x="23250" y="45154"/>
                    </a:lnTo>
                    <a:lnTo>
                      <a:pt x="16243" y="45154"/>
                    </a:lnTo>
                  </a:path>
                </a:pathLst>
              </a:custGeom>
              <a:grpFill/>
              <a:ln w="158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8" name="Freihandform: Form 97">
                <a:extLst>
                  <a:ext uri="{FF2B5EF4-FFF2-40B4-BE49-F238E27FC236}">
                    <a16:creationId xmlns:a16="http://schemas.microsoft.com/office/drawing/2014/main" id="{246313C8-2AE5-FEB0-C241-3052AD5761E0}"/>
                  </a:ext>
                </a:extLst>
              </p:cNvPr>
              <p:cNvSpPr/>
              <p:nvPr/>
            </p:nvSpPr>
            <p:spPr>
              <a:xfrm>
                <a:off x="5388638" y="2912049"/>
                <a:ext cx="39652" cy="45154"/>
              </a:xfrm>
              <a:custGeom>
                <a:avLst/>
                <a:gdLst>
                  <a:gd name="connsiteX0" fmla="*/ 16402 w 39652"/>
                  <a:gd name="connsiteY0" fmla="*/ 45154 h 45154"/>
                  <a:gd name="connsiteX1" fmla="*/ 16402 w 39652"/>
                  <a:gd name="connsiteY1" fmla="*/ 26476 h 45154"/>
                  <a:gd name="connsiteX2" fmla="*/ 0 w 39652"/>
                  <a:gd name="connsiteY2" fmla="*/ 26476 h 45154"/>
                  <a:gd name="connsiteX3" fmla="*/ 0 w 39652"/>
                  <a:gd name="connsiteY3" fmla="*/ 18678 h 45154"/>
                  <a:gd name="connsiteX4" fmla="*/ 16402 w 39652"/>
                  <a:gd name="connsiteY4" fmla="*/ 18678 h 45154"/>
                  <a:gd name="connsiteX5" fmla="*/ 16402 w 39652"/>
                  <a:gd name="connsiteY5" fmla="*/ 0 h 45154"/>
                  <a:gd name="connsiteX6" fmla="*/ 23409 w 39652"/>
                  <a:gd name="connsiteY6" fmla="*/ 0 h 45154"/>
                  <a:gd name="connsiteX7" fmla="*/ 23409 w 39652"/>
                  <a:gd name="connsiteY7" fmla="*/ 18678 h 45154"/>
                  <a:gd name="connsiteX8" fmla="*/ 39652 w 39652"/>
                  <a:gd name="connsiteY8" fmla="*/ 18678 h 45154"/>
                  <a:gd name="connsiteX9" fmla="*/ 39652 w 39652"/>
                  <a:gd name="connsiteY9" fmla="*/ 26476 h 45154"/>
                  <a:gd name="connsiteX10" fmla="*/ 23409 w 39652"/>
                  <a:gd name="connsiteY10" fmla="*/ 26476 h 45154"/>
                  <a:gd name="connsiteX11" fmla="*/ 23409 w 39652"/>
                  <a:gd name="connsiteY11" fmla="*/ 45154 h 45154"/>
                  <a:gd name="connsiteX12" fmla="*/ 16402 w 39652"/>
                  <a:gd name="connsiteY12" fmla="*/ 45154 h 45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652" h="45154">
                    <a:moveTo>
                      <a:pt x="16402" y="45154"/>
                    </a:moveTo>
                    <a:lnTo>
                      <a:pt x="16402" y="26476"/>
                    </a:lnTo>
                    <a:lnTo>
                      <a:pt x="0" y="26476"/>
                    </a:lnTo>
                    <a:lnTo>
                      <a:pt x="0" y="18678"/>
                    </a:lnTo>
                    <a:lnTo>
                      <a:pt x="16402" y="18678"/>
                    </a:lnTo>
                    <a:lnTo>
                      <a:pt x="16402" y="0"/>
                    </a:lnTo>
                    <a:lnTo>
                      <a:pt x="23409" y="0"/>
                    </a:lnTo>
                    <a:lnTo>
                      <a:pt x="23409" y="18678"/>
                    </a:lnTo>
                    <a:lnTo>
                      <a:pt x="39652" y="18678"/>
                    </a:lnTo>
                    <a:lnTo>
                      <a:pt x="39652" y="26476"/>
                    </a:lnTo>
                    <a:lnTo>
                      <a:pt x="23409" y="26476"/>
                    </a:lnTo>
                    <a:lnTo>
                      <a:pt x="23409" y="45154"/>
                    </a:lnTo>
                    <a:lnTo>
                      <a:pt x="16402" y="45154"/>
                    </a:lnTo>
                  </a:path>
                </a:pathLst>
              </a:custGeom>
              <a:grpFill/>
              <a:ln w="158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9" name="Freihandform: Form 98">
                <a:extLst>
                  <a:ext uri="{FF2B5EF4-FFF2-40B4-BE49-F238E27FC236}">
                    <a16:creationId xmlns:a16="http://schemas.microsoft.com/office/drawing/2014/main" id="{DB303CC6-1588-4ACA-E760-7D8B644B364E}"/>
                  </a:ext>
                </a:extLst>
              </p:cNvPr>
              <p:cNvSpPr/>
              <p:nvPr/>
            </p:nvSpPr>
            <p:spPr>
              <a:xfrm>
                <a:off x="5397715" y="2912049"/>
                <a:ext cx="39652" cy="45154"/>
              </a:xfrm>
              <a:custGeom>
                <a:avLst/>
                <a:gdLst>
                  <a:gd name="connsiteX0" fmla="*/ 16243 w 39652"/>
                  <a:gd name="connsiteY0" fmla="*/ 45154 h 45154"/>
                  <a:gd name="connsiteX1" fmla="*/ 16243 w 39652"/>
                  <a:gd name="connsiteY1" fmla="*/ 26476 h 45154"/>
                  <a:gd name="connsiteX2" fmla="*/ 0 w 39652"/>
                  <a:gd name="connsiteY2" fmla="*/ 26476 h 45154"/>
                  <a:gd name="connsiteX3" fmla="*/ 0 w 39652"/>
                  <a:gd name="connsiteY3" fmla="*/ 18678 h 45154"/>
                  <a:gd name="connsiteX4" fmla="*/ 16243 w 39652"/>
                  <a:gd name="connsiteY4" fmla="*/ 18678 h 45154"/>
                  <a:gd name="connsiteX5" fmla="*/ 16243 w 39652"/>
                  <a:gd name="connsiteY5" fmla="*/ 0 h 45154"/>
                  <a:gd name="connsiteX6" fmla="*/ 23250 w 39652"/>
                  <a:gd name="connsiteY6" fmla="*/ 0 h 45154"/>
                  <a:gd name="connsiteX7" fmla="*/ 23250 w 39652"/>
                  <a:gd name="connsiteY7" fmla="*/ 18678 h 45154"/>
                  <a:gd name="connsiteX8" fmla="*/ 39652 w 39652"/>
                  <a:gd name="connsiteY8" fmla="*/ 18678 h 45154"/>
                  <a:gd name="connsiteX9" fmla="*/ 39652 w 39652"/>
                  <a:gd name="connsiteY9" fmla="*/ 26476 h 45154"/>
                  <a:gd name="connsiteX10" fmla="*/ 23250 w 39652"/>
                  <a:gd name="connsiteY10" fmla="*/ 26476 h 45154"/>
                  <a:gd name="connsiteX11" fmla="*/ 23250 w 39652"/>
                  <a:gd name="connsiteY11" fmla="*/ 45154 h 45154"/>
                  <a:gd name="connsiteX12" fmla="*/ 16243 w 39652"/>
                  <a:gd name="connsiteY12" fmla="*/ 45154 h 45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652" h="45154">
                    <a:moveTo>
                      <a:pt x="16243" y="45154"/>
                    </a:moveTo>
                    <a:lnTo>
                      <a:pt x="16243" y="26476"/>
                    </a:lnTo>
                    <a:lnTo>
                      <a:pt x="0" y="26476"/>
                    </a:lnTo>
                    <a:lnTo>
                      <a:pt x="0" y="18678"/>
                    </a:lnTo>
                    <a:lnTo>
                      <a:pt x="16243" y="18678"/>
                    </a:lnTo>
                    <a:lnTo>
                      <a:pt x="16243" y="0"/>
                    </a:lnTo>
                    <a:lnTo>
                      <a:pt x="23250" y="0"/>
                    </a:lnTo>
                    <a:lnTo>
                      <a:pt x="23250" y="18678"/>
                    </a:lnTo>
                    <a:lnTo>
                      <a:pt x="39652" y="18678"/>
                    </a:lnTo>
                    <a:lnTo>
                      <a:pt x="39652" y="26476"/>
                    </a:lnTo>
                    <a:lnTo>
                      <a:pt x="23250" y="26476"/>
                    </a:lnTo>
                    <a:lnTo>
                      <a:pt x="23250" y="45154"/>
                    </a:lnTo>
                    <a:lnTo>
                      <a:pt x="16243" y="45154"/>
                    </a:lnTo>
                  </a:path>
                </a:pathLst>
              </a:custGeom>
              <a:grpFill/>
              <a:ln w="158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0" name="Freihandform: Form 99">
                <a:extLst>
                  <a:ext uri="{FF2B5EF4-FFF2-40B4-BE49-F238E27FC236}">
                    <a16:creationId xmlns:a16="http://schemas.microsoft.com/office/drawing/2014/main" id="{D0F7C5BE-5AEC-4C3A-8047-25B1DA5CA56E}"/>
                  </a:ext>
                </a:extLst>
              </p:cNvPr>
              <p:cNvSpPr/>
              <p:nvPr/>
            </p:nvSpPr>
            <p:spPr>
              <a:xfrm>
                <a:off x="5753629" y="2933811"/>
                <a:ext cx="39652" cy="45153"/>
              </a:xfrm>
              <a:custGeom>
                <a:avLst/>
                <a:gdLst>
                  <a:gd name="connsiteX0" fmla="*/ 16403 w 39652"/>
                  <a:gd name="connsiteY0" fmla="*/ 45154 h 45153"/>
                  <a:gd name="connsiteX1" fmla="*/ 16403 w 39652"/>
                  <a:gd name="connsiteY1" fmla="*/ 26476 h 45153"/>
                  <a:gd name="connsiteX2" fmla="*/ 0 w 39652"/>
                  <a:gd name="connsiteY2" fmla="*/ 26476 h 45153"/>
                  <a:gd name="connsiteX3" fmla="*/ 0 w 39652"/>
                  <a:gd name="connsiteY3" fmla="*/ 18497 h 45153"/>
                  <a:gd name="connsiteX4" fmla="*/ 16403 w 39652"/>
                  <a:gd name="connsiteY4" fmla="*/ 18497 h 45153"/>
                  <a:gd name="connsiteX5" fmla="*/ 16403 w 39652"/>
                  <a:gd name="connsiteY5" fmla="*/ 0 h 45153"/>
                  <a:gd name="connsiteX6" fmla="*/ 23409 w 39652"/>
                  <a:gd name="connsiteY6" fmla="*/ 0 h 45153"/>
                  <a:gd name="connsiteX7" fmla="*/ 23409 w 39652"/>
                  <a:gd name="connsiteY7" fmla="*/ 18497 h 45153"/>
                  <a:gd name="connsiteX8" fmla="*/ 39652 w 39652"/>
                  <a:gd name="connsiteY8" fmla="*/ 18497 h 45153"/>
                  <a:gd name="connsiteX9" fmla="*/ 39652 w 39652"/>
                  <a:gd name="connsiteY9" fmla="*/ 26476 h 45153"/>
                  <a:gd name="connsiteX10" fmla="*/ 23409 w 39652"/>
                  <a:gd name="connsiteY10" fmla="*/ 26476 h 45153"/>
                  <a:gd name="connsiteX11" fmla="*/ 23409 w 39652"/>
                  <a:gd name="connsiteY11" fmla="*/ 45154 h 45153"/>
                  <a:gd name="connsiteX12" fmla="*/ 16403 w 39652"/>
                  <a:gd name="connsiteY12" fmla="*/ 45154 h 45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652" h="45153">
                    <a:moveTo>
                      <a:pt x="16403" y="45154"/>
                    </a:moveTo>
                    <a:lnTo>
                      <a:pt x="16403" y="26476"/>
                    </a:lnTo>
                    <a:lnTo>
                      <a:pt x="0" y="26476"/>
                    </a:lnTo>
                    <a:lnTo>
                      <a:pt x="0" y="18497"/>
                    </a:lnTo>
                    <a:lnTo>
                      <a:pt x="16403" y="18497"/>
                    </a:lnTo>
                    <a:lnTo>
                      <a:pt x="16403" y="0"/>
                    </a:lnTo>
                    <a:lnTo>
                      <a:pt x="23409" y="0"/>
                    </a:lnTo>
                    <a:lnTo>
                      <a:pt x="23409" y="18497"/>
                    </a:lnTo>
                    <a:lnTo>
                      <a:pt x="39652" y="18497"/>
                    </a:lnTo>
                    <a:lnTo>
                      <a:pt x="39652" y="26476"/>
                    </a:lnTo>
                    <a:lnTo>
                      <a:pt x="23409" y="26476"/>
                    </a:lnTo>
                    <a:lnTo>
                      <a:pt x="23409" y="45154"/>
                    </a:lnTo>
                    <a:lnTo>
                      <a:pt x="16403" y="45154"/>
                    </a:lnTo>
                  </a:path>
                </a:pathLst>
              </a:custGeom>
              <a:grpFill/>
              <a:ln w="158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1" name="Freihandform: Form 100">
                <a:extLst>
                  <a:ext uri="{FF2B5EF4-FFF2-40B4-BE49-F238E27FC236}">
                    <a16:creationId xmlns:a16="http://schemas.microsoft.com/office/drawing/2014/main" id="{4CC13435-A534-9E7F-6437-B508751F59FC}"/>
                  </a:ext>
                </a:extLst>
              </p:cNvPr>
              <p:cNvSpPr/>
              <p:nvPr/>
            </p:nvSpPr>
            <p:spPr>
              <a:xfrm>
                <a:off x="5831500" y="2933811"/>
                <a:ext cx="39651" cy="45153"/>
              </a:xfrm>
              <a:custGeom>
                <a:avLst/>
                <a:gdLst>
                  <a:gd name="connsiteX0" fmla="*/ 16243 w 39651"/>
                  <a:gd name="connsiteY0" fmla="*/ 45154 h 45153"/>
                  <a:gd name="connsiteX1" fmla="*/ 16243 w 39651"/>
                  <a:gd name="connsiteY1" fmla="*/ 26476 h 45153"/>
                  <a:gd name="connsiteX2" fmla="*/ 0 w 39651"/>
                  <a:gd name="connsiteY2" fmla="*/ 26476 h 45153"/>
                  <a:gd name="connsiteX3" fmla="*/ 0 w 39651"/>
                  <a:gd name="connsiteY3" fmla="*/ 18497 h 45153"/>
                  <a:gd name="connsiteX4" fmla="*/ 16243 w 39651"/>
                  <a:gd name="connsiteY4" fmla="*/ 18497 h 45153"/>
                  <a:gd name="connsiteX5" fmla="*/ 16243 w 39651"/>
                  <a:gd name="connsiteY5" fmla="*/ 0 h 45153"/>
                  <a:gd name="connsiteX6" fmla="*/ 23250 w 39651"/>
                  <a:gd name="connsiteY6" fmla="*/ 0 h 45153"/>
                  <a:gd name="connsiteX7" fmla="*/ 23250 w 39651"/>
                  <a:gd name="connsiteY7" fmla="*/ 18497 h 45153"/>
                  <a:gd name="connsiteX8" fmla="*/ 39652 w 39651"/>
                  <a:gd name="connsiteY8" fmla="*/ 18497 h 45153"/>
                  <a:gd name="connsiteX9" fmla="*/ 39652 w 39651"/>
                  <a:gd name="connsiteY9" fmla="*/ 26476 h 45153"/>
                  <a:gd name="connsiteX10" fmla="*/ 23250 w 39651"/>
                  <a:gd name="connsiteY10" fmla="*/ 26476 h 45153"/>
                  <a:gd name="connsiteX11" fmla="*/ 23250 w 39651"/>
                  <a:gd name="connsiteY11" fmla="*/ 45154 h 45153"/>
                  <a:gd name="connsiteX12" fmla="*/ 16243 w 39651"/>
                  <a:gd name="connsiteY12" fmla="*/ 45154 h 45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651" h="45153">
                    <a:moveTo>
                      <a:pt x="16243" y="45154"/>
                    </a:moveTo>
                    <a:lnTo>
                      <a:pt x="16243" y="26476"/>
                    </a:lnTo>
                    <a:lnTo>
                      <a:pt x="0" y="26476"/>
                    </a:lnTo>
                    <a:lnTo>
                      <a:pt x="0" y="18497"/>
                    </a:lnTo>
                    <a:lnTo>
                      <a:pt x="16243" y="18497"/>
                    </a:lnTo>
                    <a:lnTo>
                      <a:pt x="16243" y="0"/>
                    </a:lnTo>
                    <a:lnTo>
                      <a:pt x="23250" y="0"/>
                    </a:lnTo>
                    <a:lnTo>
                      <a:pt x="23250" y="18497"/>
                    </a:lnTo>
                    <a:lnTo>
                      <a:pt x="39652" y="18497"/>
                    </a:lnTo>
                    <a:lnTo>
                      <a:pt x="39652" y="26476"/>
                    </a:lnTo>
                    <a:lnTo>
                      <a:pt x="23250" y="26476"/>
                    </a:lnTo>
                    <a:lnTo>
                      <a:pt x="23250" y="45154"/>
                    </a:lnTo>
                    <a:lnTo>
                      <a:pt x="16243" y="45154"/>
                    </a:lnTo>
                  </a:path>
                </a:pathLst>
              </a:custGeom>
              <a:grpFill/>
              <a:ln w="158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2" name="Freihandform: Form 101">
                <a:extLst>
                  <a:ext uri="{FF2B5EF4-FFF2-40B4-BE49-F238E27FC236}">
                    <a16:creationId xmlns:a16="http://schemas.microsoft.com/office/drawing/2014/main" id="{139C8D9C-A37B-4B00-5D37-63E4FDED7C05}"/>
                  </a:ext>
                </a:extLst>
              </p:cNvPr>
              <p:cNvSpPr/>
              <p:nvPr/>
            </p:nvSpPr>
            <p:spPr>
              <a:xfrm>
                <a:off x="5906186" y="2953395"/>
                <a:ext cx="39652" cy="45153"/>
              </a:xfrm>
              <a:custGeom>
                <a:avLst/>
                <a:gdLst>
                  <a:gd name="connsiteX0" fmla="*/ 16402 w 39652"/>
                  <a:gd name="connsiteY0" fmla="*/ 45154 h 45153"/>
                  <a:gd name="connsiteX1" fmla="*/ 16402 w 39652"/>
                  <a:gd name="connsiteY1" fmla="*/ 26476 h 45153"/>
                  <a:gd name="connsiteX2" fmla="*/ 0 w 39652"/>
                  <a:gd name="connsiteY2" fmla="*/ 26476 h 45153"/>
                  <a:gd name="connsiteX3" fmla="*/ 0 w 39652"/>
                  <a:gd name="connsiteY3" fmla="*/ 18678 h 45153"/>
                  <a:gd name="connsiteX4" fmla="*/ 16402 w 39652"/>
                  <a:gd name="connsiteY4" fmla="*/ 18678 h 45153"/>
                  <a:gd name="connsiteX5" fmla="*/ 16402 w 39652"/>
                  <a:gd name="connsiteY5" fmla="*/ 0 h 45153"/>
                  <a:gd name="connsiteX6" fmla="*/ 23409 w 39652"/>
                  <a:gd name="connsiteY6" fmla="*/ 0 h 45153"/>
                  <a:gd name="connsiteX7" fmla="*/ 23409 w 39652"/>
                  <a:gd name="connsiteY7" fmla="*/ 18678 h 45153"/>
                  <a:gd name="connsiteX8" fmla="*/ 39652 w 39652"/>
                  <a:gd name="connsiteY8" fmla="*/ 18678 h 45153"/>
                  <a:gd name="connsiteX9" fmla="*/ 39652 w 39652"/>
                  <a:gd name="connsiteY9" fmla="*/ 26476 h 45153"/>
                  <a:gd name="connsiteX10" fmla="*/ 23409 w 39652"/>
                  <a:gd name="connsiteY10" fmla="*/ 26476 h 45153"/>
                  <a:gd name="connsiteX11" fmla="*/ 23409 w 39652"/>
                  <a:gd name="connsiteY11" fmla="*/ 45154 h 45153"/>
                  <a:gd name="connsiteX12" fmla="*/ 16402 w 39652"/>
                  <a:gd name="connsiteY12" fmla="*/ 45154 h 45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652" h="45153">
                    <a:moveTo>
                      <a:pt x="16402" y="45154"/>
                    </a:moveTo>
                    <a:lnTo>
                      <a:pt x="16402" y="26476"/>
                    </a:lnTo>
                    <a:lnTo>
                      <a:pt x="0" y="26476"/>
                    </a:lnTo>
                    <a:lnTo>
                      <a:pt x="0" y="18678"/>
                    </a:lnTo>
                    <a:lnTo>
                      <a:pt x="16402" y="18678"/>
                    </a:lnTo>
                    <a:lnTo>
                      <a:pt x="16402" y="0"/>
                    </a:lnTo>
                    <a:lnTo>
                      <a:pt x="23409" y="0"/>
                    </a:lnTo>
                    <a:lnTo>
                      <a:pt x="23409" y="18678"/>
                    </a:lnTo>
                    <a:lnTo>
                      <a:pt x="39652" y="18678"/>
                    </a:lnTo>
                    <a:lnTo>
                      <a:pt x="39652" y="26476"/>
                    </a:lnTo>
                    <a:lnTo>
                      <a:pt x="23409" y="26476"/>
                    </a:lnTo>
                    <a:lnTo>
                      <a:pt x="23409" y="45154"/>
                    </a:lnTo>
                    <a:lnTo>
                      <a:pt x="16402" y="45154"/>
                    </a:lnTo>
                  </a:path>
                </a:pathLst>
              </a:custGeom>
              <a:grpFill/>
              <a:ln w="158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3" name="Freihandform: Form 102">
                <a:extLst>
                  <a:ext uri="{FF2B5EF4-FFF2-40B4-BE49-F238E27FC236}">
                    <a16:creationId xmlns:a16="http://schemas.microsoft.com/office/drawing/2014/main" id="{2F1FF74D-BCD5-4E22-4578-D0E200C1E7CE}"/>
                  </a:ext>
                </a:extLst>
              </p:cNvPr>
              <p:cNvSpPr/>
              <p:nvPr/>
            </p:nvSpPr>
            <p:spPr>
              <a:xfrm>
                <a:off x="5915263" y="2953395"/>
                <a:ext cx="39492" cy="45153"/>
              </a:xfrm>
              <a:custGeom>
                <a:avLst/>
                <a:gdLst>
                  <a:gd name="connsiteX0" fmla="*/ 16243 w 39492"/>
                  <a:gd name="connsiteY0" fmla="*/ 45154 h 45153"/>
                  <a:gd name="connsiteX1" fmla="*/ 16243 w 39492"/>
                  <a:gd name="connsiteY1" fmla="*/ 26476 h 45153"/>
                  <a:gd name="connsiteX2" fmla="*/ 0 w 39492"/>
                  <a:gd name="connsiteY2" fmla="*/ 26476 h 45153"/>
                  <a:gd name="connsiteX3" fmla="*/ 0 w 39492"/>
                  <a:gd name="connsiteY3" fmla="*/ 18678 h 45153"/>
                  <a:gd name="connsiteX4" fmla="*/ 16243 w 39492"/>
                  <a:gd name="connsiteY4" fmla="*/ 18678 h 45153"/>
                  <a:gd name="connsiteX5" fmla="*/ 16243 w 39492"/>
                  <a:gd name="connsiteY5" fmla="*/ 0 h 45153"/>
                  <a:gd name="connsiteX6" fmla="*/ 23250 w 39492"/>
                  <a:gd name="connsiteY6" fmla="*/ 0 h 45153"/>
                  <a:gd name="connsiteX7" fmla="*/ 23250 w 39492"/>
                  <a:gd name="connsiteY7" fmla="*/ 18678 h 45153"/>
                  <a:gd name="connsiteX8" fmla="*/ 39493 w 39492"/>
                  <a:gd name="connsiteY8" fmla="*/ 18678 h 45153"/>
                  <a:gd name="connsiteX9" fmla="*/ 39493 w 39492"/>
                  <a:gd name="connsiteY9" fmla="*/ 26476 h 45153"/>
                  <a:gd name="connsiteX10" fmla="*/ 23250 w 39492"/>
                  <a:gd name="connsiteY10" fmla="*/ 26476 h 45153"/>
                  <a:gd name="connsiteX11" fmla="*/ 23250 w 39492"/>
                  <a:gd name="connsiteY11" fmla="*/ 45154 h 45153"/>
                  <a:gd name="connsiteX12" fmla="*/ 16243 w 39492"/>
                  <a:gd name="connsiteY12" fmla="*/ 45154 h 45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92" h="45153">
                    <a:moveTo>
                      <a:pt x="16243" y="45154"/>
                    </a:moveTo>
                    <a:lnTo>
                      <a:pt x="16243" y="26476"/>
                    </a:lnTo>
                    <a:lnTo>
                      <a:pt x="0" y="26476"/>
                    </a:lnTo>
                    <a:lnTo>
                      <a:pt x="0" y="18678"/>
                    </a:lnTo>
                    <a:lnTo>
                      <a:pt x="16243" y="18678"/>
                    </a:lnTo>
                    <a:lnTo>
                      <a:pt x="16243" y="0"/>
                    </a:lnTo>
                    <a:lnTo>
                      <a:pt x="23250" y="0"/>
                    </a:lnTo>
                    <a:lnTo>
                      <a:pt x="23250" y="18678"/>
                    </a:lnTo>
                    <a:lnTo>
                      <a:pt x="39493" y="18678"/>
                    </a:lnTo>
                    <a:lnTo>
                      <a:pt x="39493" y="26476"/>
                    </a:lnTo>
                    <a:lnTo>
                      <a:pt x="23250" y="26476"/>
                    </a:lnTo>
                    <a:lnTo>
                      <a:pt x="23250" y="45154"/>
                    </a:lnTo>
                    <a:lnTo>
                      <a:pt x="16243" y="45154"/>
                    </a:lnTo>
                  </a:path>
                </a:pathLst>
              </a:custGeom>
              <a:grpFill/>
              <a:ln w="158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4" name="Freihandform: Form 103">
                <a:extLst>
                  <a:ext uri="{FF2B5EF4-FFF2-40B4-BE49-F238E27FC236}">
                    <a16:creationId xmlns:a16="http://schemas.microsoft.com/office/drawing/2014/main" id="{1B23F567-8E10-60CF-4A9B-06C624FBB5B7}"/>
                  </a:ext>
                </a:extLst>
              </p:cNvPr>
              <p:cNvSpPr/>
              <p:nvPr/>
            </p:nvSpPr>
            <p:spPr>
              <a:xfrm>
                <a:off x="5999026" y="2953395"/>
                <a:ext cx="39493" cy="45153"/>
              </a:xfrm>
              <a:custGeom>
                <a:avLst/>
                <a:gdLst>
                  <a:gd name="connsiteX0" fmla="*/ 16243 w 39493"/>
                  <a:gd name="connsiteY0" fmla="*/ 45154 h 45153"/>
                  <a:gd name="connsiteX1" fmla="*/ 16243 w 39493"/>
                  <a:gd name="connsiteY1" fmla="*/ 26476 h 45153"/>
                  <a:gd name="connsiteX2" fmla="*/ 0 w 39493"/>
                  <a:gd name="connsiteY2" fmla="*/ 26476 h 45153"/>
                  <a:gd name="connsiteX3" fmla="*/ 0 w 39493"/>
                  <a:gd name="connsiteY3" fmla="*/ 18678 h 45153"/>
                  <a:gd name="connsiteX4" fmla="*/ 16243 w 39493"/>
                  <a:gd name="connsiteY4" fmla="*/ 18678 h 45153"/>
                  <a:gd name="connsiteX5" fmla="*/ 16243 w 39493"/>
                  <a:gd name="connsiteY5" fmla="*/ 0 h 45153"/>
                  <a:gd name="connsiteX6" fmla="*/ 23250 w 39493"/>
                  <a:gd name="connsiteY6" fmla="*/ 0 h 45153"/>
                  <a:gd name="connsiteX7" fmla="*/ 23250 w 39493"/>
                  <a:gd name="connsiteY7" fmla="*/ 18678 h 45153"/>
                  <a:gd name="connsiteX8" fmla="*/ 39493 w 39493"/>
                  <a:gd name="connsiteY8" fmla="*/ 18678 h 45153"/>
                  <a:gd name="connsiteX9" fmla="*/ 39493 w 39493"/>
                  <a:gd name="connsiteY9" fmla="*/ 26476 h 45153"/>
                  <a:gd name="connsiteX10" fmla="*/ 23250 w 39493"/>
                  <a:gd name="connsiteY10" fmla="*/ 26476 h 45153"/>
                  <a:gd name="connsiteX11" fmla="*/ 23250 w 39493"/>
                  <a:gd name="connsiteY11" fmla="*/ 45154 h 45153"/>
                  <a:gd name="connsiteX12" fmla="*/ 16243 w 39493"/>
                  <a:gd name="connsiteY12" fmla="*/ 45154 h 45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93" h="45153">
                    <a:moveTo>
                      <a:pt x="16243" y="45154"/>
                    </a:moveTo>
                    <a:lnTo>
                      <a:pt x="16243" y="26476"/>
                    </a:lnTo>
                    <a:lnTo>
                      <a:pt x="0" y="26476"/>
                    </a:lnTo>
                    <a:lnTo>
                      <a:pt x="0" y="18678"/>
                    </a:lnTo>
                    <a:lnTo>
                      <a:pt x="16243" y="18678"/>
                    </a:lnTo>
                    <a:lnTo>
                      <a:pt x="16243" y="0"/>
                    </a:lnTo>
                    <a:lnTo>
                      <a:pt x="23250" y="0"/>
                    </a:lnTo>
                    <a:lnTo>
                      <a:pt x="23250" y="18678"/>
                    </a:lnTo>
                    <a:lnTo>
                      <a:pt x="39493" y="18678"/>
                    </a:lnTo>
                    <a:lnTo>
                      <a:pt x="39493" y="26476"/>
                    </a:lnTo>
                    <a:lnTo>
                      <a:pt x="23250" y="26476"/>
                    </a:lnTo>
                    <a:lnTo>
                      <a:pt x="23250" y="45154"/>
                    </a:lnTo>
                    <a:lnTo>
                      <a:pt x="16243" y="45154"/>
                    </a:lnTo>
                  </a:path>
                </a:pathLst>
              </a:custGeom>
              <a:grpFill/>
              <a:ln w="158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5" name="Freihandform: Form 104">
                <a:extLst>
                  <a:ext uri="{FF2B5EF4-FFF2-40B4-BE49-F238E27FC236}">
                    <a16:creationId xmlns:a16="http://schemas.microsoft.com/office/drawing/2014/main" id="{BED14A15-5170-4643-12D2-ED2C7BAEE5DD}"/>
                  </a:ext>
                </a:extLst>
              </p:cNvPr>
              <p:cNvSpPr/>
              <p:nvPr/>
            </p:nvSpPr>
            <p:spPr>
              <a:xfrm>
                <a:off x="6049825" y="2953395"/>
                <a:ext cx="39652" cy="45153"/>
              </a:xfrm>
              <a:custGeom>
                <a:avLst/>
                <a:gdLst>
                  <a:gd name="connsiteX0" fmla="*/ 16402 w 39652"/>
                  <a:gd name="connsiteY0" fmla="*/ 45154 h 45153"/>
                  <a:gd name="connsiteX1" fmla="*/ 16402 w 39652"/>
                  <a:gd name="connsiteY1" fmla="*/ 26476 h 45153"/>
                  <a:gd name="connsiteX2" fmla="*/ 0 w 39652"/>
                  <a:gd name="connsiteY2" fmla="*/ 26476 h 45153"/>
                  <a:gd name="connsiteX3" fmla="*/ 0 w 39652"/>
                  <a:gd name="connsiteY3" fmla="*/ 18678 h 45153"/>
                  <a:gd name="connsiteX4" fmla="*/ 16402 w 39652"/>
                  <a:gd name="connsiteY4" fmla="*/ 18678 h 45153"/>
                  <a:gd name="connsiteX5" fmla="*/ 16402 w 39652"/>
                  <a:gd name="connsiteY5" fmla="*/ 0 h 45153"/>
                  <a:gd name="connsiteX6" fmla="*/ 23250 w 39652"/>
                  <a:gd name="connsiteY6" fmla="*/ 0 h 45153"/>
                  <a:gd name="connsiteX7" fmla="*/ 23250 w 39652"/>
                  <a:gd name="connsiteY7" fmla="*/ 18678 h 45153"/>
                  <a:gd name="connsiteX8" fmla="*/ 39652 w 39652"/>
                  <a:gd name="connsiteY8" fmla="*/ 18678 h 45153"/>
                  <a:gd name="connsiteX9" fmla="*/ 39652 w 39652"/>
                  <a:gd name="connsiteY9" fmla="*/ 26476 h 45153"/>
                  <a:gd name="connsiteX10" fmla="*/ 23250 w 39652"/>
                  <a:gd name="connsiteY10" fmla="*/ 26476 h 45153"/>
                  <a:gd name="connsiteX11" fmla="*/ 23250 w 39652"/>
                  <a:gd name="connsiteY11" fmla="*/ 45154 h 45153"/>
                  <a:gd name="connsiteX12" fmla="*/ 16402 w 39652"/>
                  <a:gd name="connsiteY12" fmla="*/ 45154 h 45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652" h="45153">
                    <a:moveTo>
                      <a:pt x="16402" y="45154"/>
                    </a:moveTo>
                    <a:lnTo>
                      <a:pt x="16402" y="26476"/>
                    </a:lnTo>
                    <a:lnTo>
                      <a:pt x="0" y="26476"/>
                    </a:lnTo>
                    <a:lnTo>
                      <a:pt x="0" y="18678"/>
                    </a:lnTo>
                    <a:lnTo>
                      <a:pt x="16402" y="18678"/>
                    </a:lnTo>
                    <a:lnTo>
                      <a:pt x="16402" y="0"/>
                    </a:lnTo>
                    <a:lnTo>
                      <a:pt x="23250" y="0"/>
                    </a:lnTo>
                    <a:lnTo>
                      <a:pt x="23250" y="18678"/>
                    </a:lnTo>
                    <a:lnTo>
                      <a:pt x="39652" y="18678"/>
                    </a:lnTo>
                    <a:lnTo>
                      <a:pt x="39652" y="26476"/>
                    </a:lnTo>
                    <a:lnTo>
                      <a:pt x="23250" y="26476"/>
                    </a:lnTo>
                    <a:lnTo>
                      <a:pt x="23250" y="45154"/>
                    </a:lnTo>
                    <a:lnTo>
                      <a:pt x="16402" y="45154"/>
                    </a:lnTo>
                  </a:path>
                </a:pathLst>
              </a:custGeom>
              <a:grpFill/>
              <a:ln w="158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6" name="Freihandform: Form 105">
                <a:extLst>
                  <a:ext uri="{FF2B5EF4-FFF2-40B4-BE49-F238E27FC236}">
                    <a16:creationId xmlns:a16="http://schemas.microsoft.com/office/drawing/2014/main" id="{DBCCC1AF-9E5E-58A8-46DF-74F2D1141858}"/>
                  </a:ext>
                </a:extLst>
              </p:cNvPr>
              <p:cNvSpPr/>
              <p:nvPr/>
            </p:nvSpPr>
            <p:spPr>
              <a:xfrm>
                <a:off x="6109702" y="2953395"/>
                <a:ext cx="39493" cy="45153"/>
              </a:xfrm>
              <a:custGeom>
                <a:avLst/>
                <a:gdLst>
                  <a:gd name="connsiteX0" fmla="*/ 16243 w 39493"/>
                  <a:gd name="connsiteY0" fmla="*/ 45154 h 45153"/>
                  <a:gd name="connsiteX1" fmla="*/ 16243 w 39493"/>
                  <a:gd name="connsiteY1" fmla="*/ 26476 h 45153"/>
                  <a:gd name="connsiteX2" fmla="*/ 0 w 39493"/>
                  <a:gd name="connsiteY2" fmla="*/ 26476 h 45153"/>
                  <a:gd name="connsiteX3" fmla="*/ 0 w 39493"/>
                  <a:gd name="connsiteY3" fmla="*/ 18678 h 45153"/>
                  <a:gd name="connsiteX4" fmla="*/ 16243 w 39493"/>
                  <a:gd name="connsiteY4" fmla="*/ 18678 h 45153"/>
                  <a:gd name="connsiteX5" fmla="*/ 16243 w 39493"/>
                  <a:gd name="connsiteY5" fmla="*/ 0 h 45153"/>
                  <a:gd name="connsiteX6" fmla="*/ 23250 w 39493"/>
                  <a:gd name="connsiteY6" fmla="*/ 0 h 45153"/>
                  <a:gd name="connsiteX7" fmla="*/ 23250 w 39493"/>
                  <a:gd name="connsiteY7" fmla="*/ 18678 h 45153"/>
                  <a:gd name="connsiteX8" fmla="*/ 39493 w 39493"/>
                  <a:gd name="connsiteY8" fmla="*/ 18678 h 45153"/>
                  <a:gd name="connsiteX9" fmla="*/ 39493 w 39493"/>
                  <a:gd name="connsiteY9" fmla="*/ 26476 h 45153"/>
                  <a:gd name="connsiteX10" fmla="*/ 23250 w 39493"/>
                  <a:gd name="connsiteY10" fmla="*/ 26476 h 45153"/>
                  <a:gd name="connsiteX11" fmla="*/ 23250 w 39493"/>
                  <a:gd name="connsiteY11" fmla="*/ 45154 h 45153"/>
                  <a:gd name="connsiteX12" fmla="*/ 16243 w 39493"/>
                  <a:gd name="connsiteY12" fmla="*/ 45154 h 45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93" h="45153">
                    <a:moveTo>
                      <a:pt x="16243" y="45154"/>
                    </a:moveTo>
                    <a:lnTo>
                      <a:pt x="16243" y="26476"/>
                    </a:lnTo>
                    <a:lnTo>
                      <a:pt x="0" y="26476"/>
                    </a:lnTo>
                    <a:lnTo>
                      <a:pt x="0" y="18678"/>
                    </a:lnTo>
                    <a:lnTo>
                      <a:pt x="16243" y="18678"/>
                    </a:lnTo>
                    <a:lnTo>
                      <a:pt x="16243" y="0"/>
                    </a:lnTo>
                    <a:lnTo>
                      <a:pt x="23250" y="0"/>
                    </a:lnTo>
                    <a:lnTo>
                      <a:pt x="23250" y="18678"/>
                    </a:lnTo>
                    <a:lnTo>
                      <a:pt x="39493" y="18678"/>
                    </a:lnTo>
                    <a:lnTo>
                      <a:pt x="39493" y="26476"/>
                    </a:lnTo>
                    <a:lnTo>
                      <a:pt x="23250" y="26476"/>
                    </a:lnTo>
                    <a:lnTo>
                      <a:pt x="23250" y="45154"/>
                    </a:lnTo>
                    <a:lnTo>
                      <a:pt x="16243" y="45154"/>
                    </a:lnTo>
                  </a:path>
                </a:pathLst>
              </a:custGeom>
              <a:grpFill/>
              <a:ln w="158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7" name="Freihandform: Form 106">
                <a:extLst>
                  <a:ext uri="{FF2B5EF4-FFF2-40B4-BE49-F238E27FC236}">
                    <a16:creationId xmlns:a16="http://schemas.microsoft.com/office/drawing/2014/main" id="{A4CC0531-D37F-6DB4-B5E3-FEC20481BFFB}"/>
                  </a:ext>
                </a:extLst>
              </p:cNvPr>
              <p:cNvSpPr/>
              <p:nvPr/>
            </p:nvSpPr>
            <p:spPr>
              <a:xfrm>
                <a:off x="6154609" y="2953395"/>
                <a:ext cx="39492" cy="45153"/>
              </a:xfrm>
              <a:custGeom>
                <a:avLst/>
                <a:gdLst>
                  <a:gd name="connsiteX0" fmla="*/ 16243 w 39492"/>
                  <a:gd name="connsiteY0" fmla="*/ 45154 h 45153"/>
                  <a:gd name="connsiteX1" fmla="*/ 16243 w 39492"/>
                  <a:gd name="connsiteY1" fmla="*/ 26476 h 45153"/>
                  <a:gd name="connsiteX2" fmla="*/ 0 w 39492"/>
                  <a:gd name="connsiteY2" fmla="*/ 26476 h 45153"/>
                  <a:gd name="connsiteX3" fmla="*/ 0 w 39492"/>
                  <a:gd name="connsiteY3" fmla="*/ 18678 h 45153"/>
                  <a:gd name="connsiteX4" fmla="*/ 16243 w 39492"/>
                  <a:gd name="connsiteY4" fmla="*/ 18678 h 45153"/>
                  <a:gd name="connsiteX5" fmla="*/ 16243 w 39492"/>
                  <a:gd name="connsiteY5" fmla="*/ 0 h 45153"/>
                  <a:gd name="connsiteX6" fmla="*/ 23250 w 39492"/>
                  <a:gd name="connsiteY6" fmla="*/ 0 h 45153"/>
                  <a:gd name="connsiteX7" fmla="*/ 23250 w 39492"/>
                  <a:gd name="connsiteY7" fmla="*/ 18678 h 45153"/>
                  <a:gd name="connsiteX8" fmla="*/ 39493 w 39492"/>
                  <a:gd name="connsiteY8" fmla="*/ 18678 h 45153"/>
                  <a:gd name="connsiteX9" fmla="*/ 39493 w 39492"/>
                  <a:gd name="connsiteY9" fmla="*/ 26476 h 45153"/>
                  <a:gd name="connsiteX10" fmla="*/ 23250 w 39492"/>
                  <a:gd name="connsiteY10" fmla="*/ 26476 h 45153"/>
                  <a:gd name="connsiteX11" fmla="*/ 23250 w 39492"/>
                  <a:gd name="connsiteY11" fmla="*/ 45154 h 45153"/>
                  <a:gd name="connsiteX12" fmla="*/ 16243 w 39492"/>
                  <a:gd name="connsiteY12" fmla="*/ 45154 h 45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92" h="45153">
                    <a:moveTo>
                      <a:pt x="16243" y="45154"/>
                    </a:moveTo>
                    <a:lnTo>
                      <a:pt x="16243" y="26476"/>
                    </a:lnTo>
                    <a:lnTo>
                      <a:pt x="0" y="26476"/>
                    </a:lnTo>
                    <a:lnTo>
                      <a:pt x="0" y="18678"/>
                    </a:lnTo>
                    <a:lnTo>
                      <a:pt x="16243" y="18678"/>
                    </a:lnTo>
                    <a:lnTo>
                      <a:pt x="16243" y="0"/>
                    </a:lnTo>
                    <a:lnTo>
                      <a:pt x="23250" y="0"/>
                    </a:lnTo>
                    <a:lnTo>
                      <a:pt x="23250" y="18678"/>
                    </a:lnTo>
                    <a:lnTo>
                      <a:pt x="39493" y="18678"/>
                    </a:lnTo>
                    <a:lnTo>
                      <a:pt x="39493" y="26476"/>
                    </a:lnTo>
                    <a:lnTo>
                      <a:pt x="23250" y="26476"/>
                    </a:lnTo>
                    <a:lnTo>
                      <a:pt x="23250" y="45154"/>
                    </a:lnTo>
                    <a:lnTo>
                      <a:pt x="16243" y="45154"/>
                    </a:lnTo>
                  </a:path>
                </a:pathLst>
              </a:custGeom>
              <a:grpFill/>
              <a:ln w="158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8" name="Freihandform: Form 107">
                <a:extLst>
                  <a:ext uri="{FF2B5EF4-FFF2-40B4-BE49-F238E27FC236}">
                    <a16:creationId xmlns:a16="http://schemas.microsoft.com/office/drawing/2014/main" id="{13995D8F-4BD2-CCEE-1E6D-14BB6458EEC1}"/>
                  </a:ext>
                </a:extLst>
              </p:cNvPr>
              <p:cNvSpPr/>
              <p:nvPr/>
            </p:nvSpPr>
            <p:spPr>
              <a:xfrm>
                <a:off x="6178496" y="2953395"/>
                <a:ext cx="39492" cy="45153"/>
              </a:xfrm>
              <a:custGeom>
                <a:avLst/>
                <a:gdLst>
                  <a:gd name="connsiteX0" fmla="*/ 16243 w 39492"/>
                  <a:gd name="connsiteY0" fmla="*/ 45154 h 45153"/>
                  <a:gd name="connsiteX1" fmla="*/ 16243 w 39492"/>
                  <a:gd name="connsiteY1" fmla="*/ 26476 h 45153"/>
                  <a:gd name="connsiteX2" fmla="*/ 0 w 39492"/>
                  <a:gd name="connsiteY2" fmla="*/ 26476 h 45153"/>
                  <a:gd name="connsiteX3" fmla="*/ 0 w 39492"/>
                  <a:gd name="connsiteY3" fmla="*/ 18678 h 45153"/>
                  <a:gd name="connsiteX4" fmla="*/ 16243 w 39492"/>
                  <a:gd name="connsiteY4" fmla="*/ 18678 h 45153"/>
                  <a:gd name="connsiteX5" fmla="*/ 16243 w 39492"/>
                  <a:gd name="connsiteY5" fmla="*/ 0 h 45153"/>
                  <a:gd name="connsiteX6" fmla="*/ 23250 w 39492"/>
                  <a:gd name="connsiteY6" fmla="*/ 0 h 45153"/>
                  <a:gd name="connsiteX7" fmla="*/ 23250 w 39492"/>
                  <a:gd name="connsiteY7" fmla="*/ 18678 h 45153"/>
                  <a:gd name="connsiteX8" fmla="*/ 39493 w 39492"/>
                  <a:gd name="connsiteY8" fmla="*/ 18678 h 45153"/>
                  <a:gd name="connsiteX9" fmla="*/ 39493 w 39492"/>
                  <a:gd name="connsiteY9" fmla="*/ 26476 h 45153"/>
                  <a:gd name="connsiteX10" fmla="*/ 23250 w 39492"/>
                  <a:gd name="connsiteY10" fmla="*/ 26476 h 45153"/>
                  <a:gd name="connsiteX11" fmla="*/ 23250 w 39492"/>
                  <a:gd name="connsiteY11" fmla="*/ 45154 h 45153"/>
                  <a:gd name="connsiteX12" fmla="*/ 16243 w 39492"/>
                  <a:gd name="connsiteY12" fmla="*/ 45154 h 45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92" h="45153">
                    <a:moveTo>
                      <a:pt x="16243" y="45154"/>
                    </a:moveTo>
                    <a:lnTo>
                      <a:pt x="16243" y="26476"/>
                    </a:lnTo>
                    <a:lnTo>
                      <a:pt x="0" y="26476"/>
                    </a:lnTo>
                    <a:lnTo>
                      <a:pt x="0" y="18678"/>
                    </a:lnTo>
                    <a:lnTo>
                      <a:pt x="16243" y="18678"/>
                    </a:lnTo>
                    <a:lnTo>
                      <a:pt x="16243" y="0"/>
                    </a:lnTo>
                    <a:lnTo>
                      <a:pt x="23250" y="0"/>
                    </a:lnTo>
                    <a:lnTo>
                      <a:pt x="23250" y="18678"/>
                    </a:lnTo>
                    <a:lnTo>
                      <a:pt x="39493" y="18678"/>
                    </a:lnTo>
                    <a:lnTo>
                      <a:pt x="39493" y="26476"/>
                    </a:lnTo>
                    <a:lnTo>
                      <a:pt x="23250" y="26476"/>
                    </a:lnTo>
                    <a:lnTo>
                      <a:pt x="23250" y="45154"/>
                    </a:lnTo>
                    <a:lnTo>
                      <a:pt x="16243" y="45154"/>
                    </a:lnTo>
                  </a:path>
                </a:pathLst>
              </a:custGeom>
              <a:grpFill/>
              <a:ln w="158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9" name="Freihandform: Form 108">
                <a:extLst>
                  <a:ext uri="{FF2B5EF4-FFF2-40B4-BE49-F238E27FC236}">
                    <a16:creationId xmlns:a16="http://schemas.microsoft.com/office/drawing/2014/main" id="{BD17D049-E46C-906D-A4D1-54CD1A4C588D}"/>
                  </a:ext>
                </a:extLst>
              </p:cNvPr>
              <p:cNvSpPr/>
              <p:nvPr/>
            </p:nvSpPr>
            <p:spPr>
              <a:xfrm>
                <a:off x="6202383" y="2953395"/>
                <a:ext cx="39652" cy="45153"/>
              </a:xfrm>
              <a:custGeom>
                <a:avLst/>
                <a:gdLst>
                  <a:gd name="connsiteX0" fmla="*/ 16403 w 39652"/>
                  <a:gd name="connsiteY0" fmla="*/ 45154 h 45153"/>
                  <a:gd name="connsiteX1" fmla="*/ 16403 w 39652"/>
                  <a:gd name="connsiteY1" fmla="*/ 26476 h 45153"/>
                  <a:gd name="connsiteX2" fmla="*/ 0 w 39652"/>
                  <a:gd name="connsiteY2" fmla="*/ 26476 h 45153"/>
                  <a:gd name="connsiteX3" fmla="*/ 0 w 39652"/>
                  <a:gd name="connsiteY3" fmla="*/ 18678 h 45153"/>
                  <a:gd name="connsiteX4" fmla="*/ 16403 w 39652"/>
                  <a:gd name="connsiteY4" fmla="*/ 18678 h 45153"/>
                  <a:gd name="connsiteX5" fmla="*/ 16403 w 39652"/>
                  <a:gd name="connsiteY5" fmla="*/ 0 h 45153"/>
                  <a:gd name="connsiteX6" fmla="*/ 23250 w 39652"/>
                  <a:gd name="connsiteY6" fmla="*/ 0 h 45153"/>
                  <a:gd name="connsiteX7" fmla="*/ 23250 w 39652"/>
                  <a:gd name="connsiteY7" fmla="*/ 18678 h 45153"/>
                  <a:gd name="connsiteX8" fmla="*/ 39652 w 39652"/>
                  <a:gd name="connsiteY8" fmla="*/ 18678 h 45153"/>
                  <a:gd name="connsiteX9" fmla="*/ 39652 w 39652"/>
                  <a:gd name="connsiteY9" fmla="*/ 26476 h 45153"/>
                  <a:gd name="connsiteX10" fmla="*/ 23250 w 39652"/>
                  <a:gd name="connsiteY10" fmla="*/ 26476 h 45153"/>
                  <a:gd name="connsiteX11" fmla="*/ 23250 w 39652"/>
                  <a:gd name="connsiteY11" fmla="*/ 45154 h 45153"/>
                  <a:gd name="connsiteX12" fmla="*/ 16403 w 39652"/>
                  <a:gd name="connsiteY12" fmla="*/ 45154 h 45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652" h="45153">
                    <a:moveTo>
                      <a:pt x="16403" y="45154"/>
                    </a:moveTo>
                    <a:lnTo>
                      <a:pt x="16403" y="26476"/>
                    </a:lnTo>
                    <a:lnTo>
                      <a:pt x="0" y="26476"/>
                    </a:lnTo>
                    <a:lnTo>
                      <a:pt x="0" y="18678"/>
                    </a:lnTo>
                    <a:lnTo>
                      <a:pt x="16403" y="18678"/>
                    </a:lnTo>
                    <a:lnTo>
                      <a:pt x="16403" y="0"/>
                    </a:lnTo>
                    <a:lnTo>
                      <a:pt x="23250" y="0"/>
                    </a:lnTo>
                    <a:lnTo>
                      <a:pt x="23250" y="18678"/>
                    </a:lnTo>
                    <a:lnTo>
                      <a:pt x="39652" y="18678"/>
                    </a:lnTo>
                    <a:lnTo>
                      <a:pt x="39652" y="26476"/>
                    </a:lnTo>
                    <a:lnTo>
                      <a:pt x="23250" y="26476"/>
                    </a:lnTo>
                    <a:lnTo>
                      <a:pt x="23250" y="45154"/>
                    </a:lnTo>
                    <a:lnTo>
                      <a:pt x="16403" y="45154"/>
                    </a:lnTo>
                  </a:path>
                </a:pathLst>
              </a:custGeom>
              <a:grpFill/>
              <a:ln w="158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0" name="Freihandform: Form 109">
                <a:extLst>
                  <a:ext uri="{FF2B5EF4-FFF2-40B4-BE49-F238E27FC236}">
                    <a16:creationId xmlns:a16="http://schemas.microsoft.com/office/drawing/2014/main" id="{F58CA6A1-33B0-F416-F7D3-1431C8031AD0}"/>
                  </a:ext>
                </a:extLst>
              </p:cNvPr>
              <p:cNvSpPr/>
              <p:nvPr/>
            </p:nvSpPr>
            <p:spPr>
              <a:xfrm>
                <a:off x="6214326" y="2953395"/>
                <a:ext cx="39652" cy="45153"/>
              </a:xfrm>
              <a:custGeom>
                <a:avLst/>
                <a:gdLst>
                  <a:gd name="connsiteX0" fmla="*/ 16403 w 39652"/>
                  <a:gd name="connsiteY0" fmla="*/ 45154 h 45153"/>
                  <a:gd name="connsiteX1" fmla="*/ 16403 w 39652"/>
                  <a:gd name="connsiteY1" fmla="*/ 26476 h 45153"/>
                  <a:gd name="connsiteX2" fmla="*/ 0 w 39652"/>
                  <a:gd name="connsiteY2" fmla="*/ 26476 h 45153"/>
                  <a:gd name="connsiteX3" fmla="*/ 0 w 39652"/>
                  <a:gd name="connsiteY3" fmla="*/ 18678 h 45153"/>
                  <a:gd name="connsiteX4" fmla="*/ 16403 w 39652"/>
                  <a:gd name="connsiteY4" fmla="*/ 18678 h 45153"/>
                  <a:gd name="connsiteX5" fmla="*/ 16403 w 39652"/>
                  <a:gd name="connsiteY5" fmla="*/ 0 h 45153"/>
                  <a:gd name="connsiteX6" fmla="*/ 23250 w 39652"/>
                  <a:gd name="connsiteY6" fmla="*/ 0 h 45153"/>
                  <a:gd name="connsiteX7" fmla="*/ 23250 w 39652"/>
                  <a:gd name="connsiteY7" fmla="*/ 18678 h 45153"/>
                  <a:gd name="connsiteX8" fmla="*/ 39652 w 39652"/>
                  <a:gd name="connsiteY8" fmla="*/ 18678 h 45153"/>
                  <a:gd name="connsiteX9" fmla="*/ 39652 w 39652"/>
                  <a:gd name="connsiteY9" fmla="*/ 26476 h 45153"/>
                  <a:gd name="connsiteX10" fmla="*/ 23250 w 39652"/>
                  <a:gd name="connsiteY10" fmla="*/ 26476 h 45153"/>
                  <a:gd name="connsiteX11" fmla="*/ 23250 w 39652"/>
                  <a:gd name="connsiteY11" fmla="*/ 45154 h 45153"/>
                  <a:gd name="connsiteX12" fmla="*/ 16403 w 39652"/>
                  <a:gd name="connsiteY12" fmla="*/ 45154 h 45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652" h="45153">
                    <a:moveTo>
                      <a:pt x="16403" y="45154"/>
                    </a:moveTo>
                    <a:lnTo>
                      <a:pt x="16403" y="26476"/>
                    </a:lnTo>
                    <a:lnTo>
                      <a:pt x="0" y="26476"/>
                    </a:lnTo>
                    <a:lnTo>
                      <a:pt x="0" y="18678"/>
                    </a:lnTo>
                    <a:lnTo>
                      <a:pt x="16403" y="18678"/>
                    </a:lnTo>
                    <a:lnTo>
                      <a:pt x="16403" y="0"/>
                    </a:lnTo>
                    <a:lnTo>
                      <a:pt x="23250" y="0"/>
                    </a:lnTo>
                    <a:lnTo>
                      <a:pt x="23250" y="18678"/>
                    </a:lnTo>
                    <a:lnTo>
                      <a:pt x="39652" y="18678"/>
                    </a:lnTo>
                    <a:lnTo>
                      <a:pt x="39652" y="26476"/>
                    </a:lnTo>
                    <a:lnTo>
                      <a:pt x="23250" y="26476"/>
                    </a:lnTo>
                    <a:lnTo>
                      <a:pt x="23250" y="45154"/>
                    </a:lnTo>
                    <a:lnTo>
                      <a:pt x="16403" y="45154"/>
                    </a:lnTo>
                  </a:path>
                </a:pathLst>
              </a:custGeom>
              <a:grpFill/>
              <a:ln w="158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1" name="Freihandform: Form 110">
                <a:extLst>
                  <a:ext uri="{FF2B5EF4-FFF2-40B4-BE49-F238E27FC236}">
                    <a16:creationId xmlns:a16="http://schemas.microsoft.com/office/drawing/2014/main" id="{3B636C68-C9A3-2D72-704C-8B24617F72BF}"/>
                  </a:ext>
                </a:extLst>
              </p:cNvPr>
              <p:cNvSpPr/>
              <p:nvPr/>
            </p:nvSpPr>
            <p:spPr>
              <a:xfrm>
                <a:off x="6310033" y="2953395"/>
                <a:ext cx="39651" cy="45153"/>
              </a:xfrm>
              <a:custGeom>
                <a:avLst/>
                <a:gdLst>
                  <a:gd name="connsiteX0" fmla="*/ 16402 w 39651"/>
                  <a:gd name="connsiteY0" fmla="*/ 45154 h 45153"/>
                  <a:gd name="connsiteX1" fmla="*/ 16402 w 39651"/>
                  <a:gd name="connsiteY1" fmla="*/ 26476 h 45153"/>
                  <a:gd name="connsiteX2" fmla="*/ 0 w 39651"/>
                  <a:gd name="connsiteY2" fmla="*/ 26476 h 45153"/>
                  <a:gd name="connsiteX3" fmla="*/ 0 w 39651"/>
                  <a:gd name="connsiteY3" fmla="*/ 18678 h 45153"/>
                  <a:gd name="connsiteX4" fmla="*/ 16402 w 39651"/>
                  <a:gd name="connsiteY4" fmla="*/ 18678 h 45153"/>
                  <a:gd name="connsiteX5" fmla="*/ 16402 w 39651"/>
                  <a:gd name="connsiteY5" fmla="*/ 0 h 45153"/>
                  <a:gd name="connsiteX6" fmla="*/ 23409 w 39651"/>
                  <a:gd name="connsiteY6" fmla="*/ 0 h 45153"/>
                  <a:gd name="connsiteX7" fmla="*/ 23409 w 39651"/>
                  <a:gd name="connsiteY7" fmla="*/ 18678 h 45153"/>
                  <a:gd name="connsiteX8" fmla="*/ 39652 w 39651"/>
                  <a:gd name="connsiteY8" fmla="*/ 18678 h 45153"/>
                  <a:gd name="connsiteX9" fmla="*/ 39652 w 39651"/>
                  <a:gd name="connsiteY9" fmla="*/ 26476 h 45153"/>
                  <a:gd name="connsiteX10" fmla="*/ 23409 w 39651"/>
                  <a:gd name="connsiteY10" fmla="*/ 26476 h 45153"/>
                  <a:gd name="connsiteX11" fmla="*/ 23409 w 39651"/>
                  <a:gd name="connsiteY11" fmla="*/ 45154 h 45153"/>
                  <a:gd name="connsiteX12" fmla="*/ 16402 w 39651"/>
                  <a:gd name="connsiteY12" fmla="*/ 45154 h 45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651" h="45153">
                    <a:moveTo>
                      <a:pt x="16402" y="45154"/>
                    </a:moveTo>
                    <a:lnTo>
                      <a:pt x="16402" y="26476"/>
                    </a:lnTo>
                    <a:lnTo>
                      <a:pt x="0" y="26476"/>
                    </a:lnTo>
                    <a:lnTo>
                      <a:pt x="0" y="18678"/>
                    </a:lnTo>
                    <a:lnTo>
                      <a:pt x="16402" y="18678"/>
                    </a:lnTo>
                    <a:lnTo>
                      <a:pt x="16402" y="0"/>
                    </a:lnTo>
                    <a:lnTo>
                      <a:pt x="23409" y="0"/>
                    </a:lnTo>
                    <a:lnTo>
                      <a:pt x="23409" y="18678"/>
                    </a:lnTo>
                    <a:lnTo>
                      <a:pt x="39652" y="18678"/>
                    </a:lnTo>
                    <a:lnTo>
                      <a:pt x="39652" y="26476"/>
                    </a:lnTo>
                    <a:lnTo>
                      <a:pt x="23409" y="26476"/>
                    </a:lnTo>
                    <a:lnTo>
                      <a:pt x="23409" y="45154"/>
                    </a:lnTo>
                    <a:lnTo>
                      <a:pt x="16402" y="45154"/>
                    </a:lnTo>
                  </a:path>
                </a:pathLst>
              </a:custGeom>
              <a:grpFill/>
              <a:ln w="158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2" name="Freihandform: Form 111">
                <a:extLst>
                  <a:ext uri="{FF2B5EF4-FFF2-40B4-BE49-F238E27FC236}">
                    <a16:creationId xmlns:a16="http://schemas.microsoft.com/office/drawing/2014/main" id="{D6BA5018-112B-0985-FA98-4C4D288C62E8}"/>
                  </a:ext>
                </a:extLst>
              </p:cNvPr>
              <p:cNvSpPr/>
              <p:nvPr/>
            </p:nvSpPr>
            <p:spPr>
              <a:xfrm>
                <a:off x="6334079" y="2953395"/>
                <a:ext cx="39492" cy="45153"/>
              </a:xfrm>
              <a:custGeom>
                <a:avLst/>
                <a:gdLst>
                  <a:gd name="connsiteX0" fmla="*/ 16243 w 39492"/>
                  <a:gd name="connsiteY0" fmla="*/ 45154 h 45153"/>
                  <a:gd name="connsiteX1" fmla="*/ 16243 w 39492"/>
                  <a:gd name="connsiteY1" fmla="*/ 26476 h 45153"/>
                  <a:gd name="connsiteX2" fmla="*/ 0 w 39492"/>
                  <a:gd name="connsiteY2" fmla="*/ 26476 h 45153"/>
                  <a:gd name="connsiteX3" fmla="*/ 0 w 39492"/>
                  <a:gd name="connsiteY3" fmla="*/ 18678 h 45153"/>
                  <a:gd name="connsiteX4" fmla="*/ 16243 w 39492"/>
                  <a:gd name="connsiteY4" fmla="*/ 18678 h 45153"/>
                  <a:gd name="connsiteX5" fmla="*/ 16243 w 39492"/>
                  <a:gd name="connsiteY5" fmla="*/ 0 h 45153"/>
                  <a:gd name="connsiteX6" fmla="*/ 23250 w 39492"/>
                  <a:gd name="connsiteY6" fmla="*/ 0 h 45153"/>
                  <a:gd name="connsiteX7" fmla="*/ 23250 w 39492"/>
                  <a:gd name="connsiteY7" fmla="*/ 18678 h 45153"/>
                  <a:gd name="connsiteX8" fmla="*/ 39493 w 39492"/>
                  <a:gd name="connsiteY8" fmla="*/ 18678 h 45153"/>
                  <a:gd name="connsiteX9" fmla="*/ 39493 w 39492"/>
                  <a:gd name="connsiteY9" fmla="*/ 26476 h 45153"/>
                  <a:gd name="connsiteX10" fmla="*/ 23250 w 39492"/>
                  <a:gd name="connsiteY10" fmla="*/ 26476 h 45153"/>
                  <a:gd name="connsiteX11" fmla="*/ 23250 w 39492"/>
                  <a:gd name="connsiteY11" fmla="*/ 45154 h 45153"/>
                  <a:gd name="connsiteX12" fmla="*/ 16243 w 39492"/>
                  <a:gd name="connsiteY12" fmla="*/ 45154 h 45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92" h="45153">
                    <a:moveTo>
                      <a:pt x="16243" y="45154"/>
                    </a:moveTo>
                    <a:lnTo>
                      <a:pt x="16243" y="26476"/>
                    </a:lnTo>
                    <a:lnTo>
                      <a:pt x="0" y="26476"/>
                    </a:lnTo>
                    <a:lnTo>
                      <a:pt x="0" y="18678"/>
                    </a:lnTo>
                    <a:lnTo>
                      <a:pt x="16243" y="18678"/>
                    </a:lnTo>
                    <a:lnTo>
                      <a:pt x="16243" y="0"/>
                    </a:lnTo>
                    <a:lnTo>
                      <a:pt x="23250" y="0"/>
                    </a:lnTo>
                    <a:lnTo>
                      <a:pt x="23250" y="18678"/>
                    </a:lnTo>
                    <a:lnTo>
                      <a:pt x="39493" y="18678"/>
                    </a:lnTo>
                    <a:lnTo>
                      <a:pt x="39493" y="26476"/>
                    </a:lnTo>
                    <a:lnTo>
                      <a:pt x="23250" y="26476"/>
                    </a:lnTo>
                    <a:lnTo>
                      <a:pt x="23250" y="45154"/>
                    </a:lnTo>
                    <a:lnTo>
                      <a:pt x="16243" y="45154"/>
                    </a:lnTo>
                  </a:path>
                </a:pathLst>
              </a:custGeom>
              <a:grpFill/>
              <a:ln w="158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3" name="Freihandform: Form 112">
                <a:extLst>
                  <a:ext uri="{FF2B5EF4-FFF2-40B4-BE49-F238E27FC236}">
                    <a16:creationId xmlns:a16="http://schemas.microsoft.com/office/drawing/2014/main" id="{56B2034E-F27F-1AD5-826B-11E7ACF09982}"/>
                  </a:ext>
                </a:extLst>
              </p:cNvPr>
              <p:cNvSpPr/>
              <p:nvPr/>
            </p:nvSpPr>
            <p:spPr>
              <a:xfrm>
                <a:off x="6402714" y="2953395"/>
                <a:ext cx="39651" cy="45153"/>
              </a:xfrm>
              <a:custGeom>
                <a:avLst/>
                <a:gdLst>
                  <a:gd name="connsiteX0" fmla="*/ 16402 w 39651"/>
                  <a:gd name="connsiteY0" fmla="*/ 45154 h 45153"/>
                  <a:gd name="connsiteX1" fmla="*/ 16402 w 39651"/>
                  <a:gd name="connsiteY1" fmla="*/ 26476 h 45153"/>
                  <a:gd name="connsiteX2" fmla="*/ 0 w 39651"/>
                  <a:gd name="connsiteY2" fmla="*/ 26476 h 45153"/>
                  <a:gd name="connsiteX3" fmla="*/ 0 w 39651"/>
                  <a:gd name="connsiteY3" fmla="*/ 18678 h 45153"/>
                  <a:gd name="connsiteX4" fmla="*/ 16402 w 39651"/>
                  <a:gd name="connsiteY4" fmla="*/ 18678 h 45153"/>
                  <a:gd name="connsiteX5" fmla="*/ 16402 w 39651"/>
                  <a:gd name="connsiteY5" fmla="*/ 0 h 45153"/>
                  <a:gd name="connsiteX6" fmla="*/ 23409 w 39651"/>
                  <a:gd name="connsiteY6" fmla="*/ 0 h 45153"/>
                  <a:gd name="connsiteX7" fmla="*/ 23409 w 39651"/>
                  <a:gd name="connsiteY7" fmla="*/ 18678 h 45153"/>
                  <a:gd name="connsiteX8" fmla="*/ 39652 w 39651"/>
                  <a:gd name="connsiteY8" fmla="*/ 18678 h 45153"/>
                  <a:gd name="connsiteX9" fmla="*/ 39652 w 39651"/>
                  <a:gd name="connsiteY9" fmla="*/ 26476 h 45153"/>
                  <a:gd name="connsiteX10" fmla="*/ 23409 w 39651"/>
                  <a:gd name="connsiteY10" fmla="*/ 26476 h 45153"/>
                  <a:gd name="connsiteX11" fmla="*/ 23409 w 39651"/>
                  <a:gd name="connsiteY11" fmla="*/ 45154 h 45153"/>
                  <a:gd name="connsiteX12" fmla="*/ 16402 w 39651"/>
                  <a:gd name="connsiteY12" fmla="*/ 45154 h 45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651" h="45153">
                    <a:moveTo>
                      <a:pt x="16402" y="45154"/>
                    </a:moveTo>
                    <a:lnTo>
                      <a:pt x="16402" y="26476"/>
                    </a:lnTo>
                    <a:lnTo>
                      <a:pt x="0" y="26476"/>
                    </a:lnTo>
                    <a:lnTo>
                      <a:pt x="0" y="18678"/>
                    </a:lnTo>
                    <a:lnTo>
                      <a:pt x="16402" y="18678"/>
                    </a:lnTo>
                    <a:lnTo>
                      <a:pt x="16402" y="0"/>
                    </a:lnTo>
                    <a:lnTo>
                      <a:pt x="23409" y="0"/>
                    </a:lnTo>
                    <a:lnTo>
                      <a:pt x="23409" y="18678"/>
                    </a:lnTo>
                    <a:lnTo>
                      <a:pt x="39652" y="18678"/>
                    </a:lnTo>
                    <a:lnTo>
                      <a:pt x="39652" y="26476"/>
                    </a:lnTo>
                    <a:lnTo>
                      <a:pt x="23409" y="26476"/>
                    </a:lnTo>
                    <a:lnTo>
                      <a:pt x="23409" y="45154"/>
                    </a:lnTo>
                    <a:lnTo>
                      <a:pt x="16402" y="45154"/>
                    </a:lnTo>
                  </a:path>
                </a:pathLst>
              </a:custGeom>
              <a:grpFill/>
              <a:ln w="158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4" name="Freihandform: Form 113">
                <a:extLst>
                  <a:ext uri="{FF2B5EF4-FFF2-40B4-BE49-F238E27FC236}">
                    <a16:creationId xmlns:a16="http://schemas.microsoft.com/office/drawing/2014/main" id="{FB1BFF35-4B6A-E551-15D4-894985B63B85}"/>
                  </a:ext>
                </a:extLst>
              </p:cNvPr>
              <p:cNvSpPr/>
              <p:nvPr/>
            </p:nvSpPr>
            <p:spPr>
              <a:xfrm>
                <a:off x="6420708" y="2953395"/>
                <a:ext cx="39651" cy="45153"/>
              </a:xfrm>
              <a:custGeom>
                <a:avLst/>
                <a:gdLst>
                  <a:gd name="connsiteX0" fmla="*/ 16402 w 39651"/>
                  <a:gd name="connsiteY0" fmla="*/ 45154 h 45153"/>
                  <a:gd name="connsiteX1" fmla="*/ 16402 w 39651"/>
                  <a:gd name="connsiteY1" fmla="*/ 26476 h 45153"/>
                  <a:gd name="connsiteX2" fmla="*/ 0 w 39651"/>
                  <a:gd name="connsiteY2" fmla="*/ 26476 h 45153"/>
                  <a:gd name="connsiteX3" fmla="*/ 0 w 39651"/>
                  <a:gd name="connsiteY3" fmla="*/ 18678 h 45153"/>
                  <a:gd name="connsiteX4" fmla="*/ 16402 w 39651"/>
                  <a:gd name="connsiteY4" fmla="*/ 18678 h 45153"/>
                  <a:gd name="connsiteX5" fmla="*/ 16402 w 39651"/>
                  <a:gd name="connsiteY5" fmla="*/ 0 h 45153"/>
                  <a:gd name="connsiteX6" fmla="*/ 23409 w 39651"/>
                  <a:gd name="connsiteY6" fmla="*/ 0 h 45153"/>
                  <a:gd name="connsiteX7" fmla="*/ 23409 w 39651"/>
                  <a:gd name="connsiteY7" fmla="*/ 18678 h 45153"/>
                  <a:gd name="connsiteX8" fmla="*/ 39652 w 39651"/>
                  <a:gd name="connsiteY8" fmla="*/ 18678 h 45153"/>
                  <a:gd name="connsiteX9" fmla="*/ 39652 w 39651"/>
                  <a:gd name="connsiteY9" fmla="*/ 26476 h 45153"/>
                  <a:gd name="connsiteX10" fmla="*/ 23409 w 39651"/>
                  <a:gd name="connsiteY10" fmla="*/ 26476 h 45153"/>
                  <a:gd name="connsiteX11" fmla="*/ 23409 w 39651"/>
                  <a:gd name="connsiteY11" fmla="*/ 45154 h 45153"/>
                  <a:gd name="connsiteX12" fmla="*/ 16402 w 39651"/>
                  <a:gd name="connsiteY12" fmla="*/ 45154 h 45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651" h="45153">
                    <a:moveTo>
                      <a:pt x="16402" y="45154"/>
                    </a:moveTo>
                    <a:lnTo>
                      <a:pt x="16402" y="26476"/>
                    </a:lnTo>
                    <a:lnTo>
                      <a:pt x="0" y="26476"/>
                    </a:lnTo>
                    <a:lnTo>
                      <a:pt x="0" y="18678"/>
                    </a:lnTo>
                    <a:lnTo>
                      <a:pt x="16402" y="18678"/>
                    </a:lnTo>
                    <a:lnTo>
                      <a:pt x="16402" y="0"/>
                    </a:lnTo>
                    <a:lnTo>
                      <a:pt x="23409" y="0"/>
                    </a:lnTo>
                    <a:lnTo>
                      <a:pt x="23409" y="18678"/>
                    </a:lnTo>
                    <a:lnTo>
                      <a:pt x="39652" y="18678"/>
                    </a:lnTo>
                    <a:lnTo>
                      <a:pt x="39652" y="26476"/>
                    </a:lnTo>
                    <a:lnTo>
                      <a:pt x="23409" y="26476"/>
                    </a:lnTo>
                    <a:lnTo>
                      <a:pt x="23409" y="45154"/>
                    </a:lnTo>
                    <a:lnTo>
                      <a:pt x="16402" y="45154"/>
                    </a:lnTo>
                  </a:path>
                </a:pathLst>
              </a:custGeom>
              <a:grpFill/>
              <a:ln w="158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5" name="Freihandform: Form 114">
                <a:extLst>
                  <a:ext uri="{FF2B5EF4-FFF2-40B4-BE49-F238E27FC236}">
                    <a16:creationId xmlns:a16="http://schemas.microsoft.com/office/drawing/2014/main" id="{6FC4708D-8382-07B4-3AB5-5FD7F5FDCDCA}"/>
                  </a:ext>
                </a:extLst>
              </p:cNvPr>
              <p:cNvSpPr/>
              <p:nvPr/>
            </p:nvSpPr>
            <p:spPr>
              <a:xfrm>
                <a:off x="6426760" y="2953395"/>
                <a:ext cx="39651" cy="45153"/>
              </a:xfrm>
              <a:custGeom>
                <a:avLst/>
                <a:gdLst>
                  <a:gd name="connsiteX0" fmla="*/ 16243 w 39651"/>
                  <a:gd name="connsiteY0" fmla="*/ 45154 h 45153"/>
                  <a:gd name="connsiteX1" fmla="*/ 16243 w 39651"/>
                  <a:gd name="connsiteY1" fmla="*/ 26476 h 45153"/>
                  <a:gd name="connsiteX2" fmla="*/ 0 w 39651"/>
                  <a:gd name="connsiteY2" fmla="*/ 26476 h 45153"/>
                  <a:gd name="connsiteX3" fmla="*/ 0 w 39651"/>
                  <a:gd name="connsiteY3" fmla="*/ 18678 h 45153"/>
                  <a:gd name="connsiteX4" fmla="*/ 16243 w 39651"/>
                  <a:gd name="connsiteY4" fmla="*/ 18678 h 45153"/>
                  <a:gd name="connsiteX5" fmla="*/ 16243 w 39651"/>
                  <a:gd name="connsiteY5" fmla="*/ 0 h 45153"/>
                  <a:gd name="connsiteX6" fmla="*/ 23250 w 39651"/>
                  <a:gd name="connsiteY6" fmla="*/ 0 h 45153"/>
                  <a:gd name="connsiteX7" fmla="*/ 23250 w 39651"/>
                  <a:gd name="connsiteY7" fmla="*/ 18678 h 45153"/>
                  <a:gd name="connsiteX8" fmla="*/ 39652 w 39651"/>
                  <a:gd name="connsiteY8" fmla="*/ 18678 h 45153"/>
                  <a:gd name="connsiteX9" fmla="*/ 39652 w 39651"/>
                  <a:gd name="connsiteY9" fmla="*/ 26476 h 45153"/>
                  <a:gd name="connsiteX10" fmla="*/ 23250 w 39651"/>
                  <a:gd name="connsiteY10" fmla="*/ 26476 h 45153"/>
                  <a:gd name="connsiteX11" fmla="*/ 23250 w 39651"/>
                  <a:gd name="connsiteY11" fmla="*/ 45154 h 45153"/>
                  <a:gd name="connsiteX12" fmla="*/ 16243 w 39651"/>
                  <a:gd name="connsiteY12" fmla="*/ 45154 h 45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651" h="45153">
                    <a:moveTo>
                      <a:pt x="16243" y="45154"/>
                    </a:moveTo>
                    <a:lnTo>
                      <a:pt x="16243" y="26476"/>
                    </a:lnTo>
                    <a:lnTo>
                      <a:pt x="0" y="26476"/>
                    </a:lnTo>
                    <a:lnTo>
                      <a:pt x="0" y="18678"/>
                    </a:lnTo>
                    <a:lnTo>
                      <a:pt x="16243" y="18678"/>
                    </a:lnTo>
                    <a:lnTo>
                      <a:pt x="16243" y="0"/>
                    </a:lnTo>
                    <a:lnTo>
                      <a:pt x="23250" y="0"/>
                    </a:lnTo>
                    <a:lnTo>
                      <a:pt x="23250" y="18678"/>
                    </a:lnTo>
                    <a:lnTo>
                      <a:pt x="39652" y="18678"/>
                    </a:lnTo>
                    <a:lnTo>
                      <a:pt x="39652" y="26476"/>
                    </a:lnTo>
                    <a:lnTo>
                      <a:pt x="23250" y="26476"/>
                    </a:lnTo>
                    <a:lnTo>
                      <a:pt x="23250" y="45154"/>
                    </a:lnTo>
                    <a:lnTo>
                      <a:pt x="16243" y="45154"/>
                    </a:lnTo>
                  </a:path>
                </a:pathLst>
              </a:custGeom>
              <a:grpFill/>
              <a:ln w="158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6" name="Freihandform: Form 115">
                <a:extLst>
                  <a:ext uri="{FF2B5EF4-FFF2-40B4-BE49-F238E27FC236}">
                    <a16:creationId xmlns:a16="http://schemas.microsoft.com/office/drawing/2014/main" id="{6A16B01C-CA6C-E538-D3C0-1C8DB48C53B5}"/>
                  </a:ext>
                </a:extLst>
              </p:cNvPr>
              <p:cNvSpPr/>
              <p:nvPr/>
            </p:nvSpPr>
            <p:spPr>
              <a:xfrm>
                <a:off x="6441729" y="2953395"/>
                <a:ext cx="39651" cy="45153"/>
              </a:xfrm>
              <a:custGeom>
                <a:avLst/>
                <a:gdLst>
                  <a:gd name="connsiteX0" fmla="*/ 16243 w 39651"/>
                  <a:gd name="connsiteY0" fmla="*/ 45154 h 45153"/>
                  <a:gd name="connsiteX1" fmla="*/ 16243 w 39651"/>
                  <a:gd name="connsiteY1" fmla="*/ 26476 h 45153"/>
                  <a:gd name="connsiteX2" fmla="*/ 0 w 39651"/>
                  <a:gd name="connsiteY2" fmla="*/ 26476 h 45153"/>
                  <a:gd name="connsiteX3" fmla="*/ 0 w 39651"/>
                  <a:gd name="connsiteY3" fmla="*/ 18678 h 45153"/>
                  <a:gd name="connsiteX4" fmla="*/ 16243 w 39651"/>
                  <a:gd name="connsiteY4" fmla="*/ 18678 h 45153"/>
                  <a:gd name="connsiteX5" fmla="*/ 16243 w 39651"/>
                  <a:gd name="connsiteY5" fmla="*/ 0 h 45153"/>
                  <a:gd name="connsiteX6" fmla="*/ 23250 w 39651"/>
                  <a:gd name="connsiteY6" fmla="*/ 0 h 45153"/>
                  <a:gd name="connsiteX7" fmla="*/ 23250 w 39651"/>
                  <a:gd name="connsiteY7" fmla="*/ 18678 h 45153"/>
                  <a:gd name="connsiteX8" fmla="*/ 39652 w 39651"/>
                  <a:gd name="connsiteY8" fmla="*/ 18678 h 45153"/>
                  <a:gd name="connsiteX9" fmla="*/ 39652 w 39651"/>
                  <a:gd name="connsiteY9" fmla="*/ 26476 h 45153"/>
                  <a:gd name="connsiteX10" fmla="*/ 23250 w 39651"/>
                  <a:gd name="connsiteY10" fmla="*/ 26476 h 45153"/>
                  <a:gd name="connsiteX11" fmla="*/ 23250 w 39651"/>
                  <a:gd name="connsiteY11" fmla="*/ 45154 h 45153"/>
                  <a:gd name="connsiteX12" fmla="*/ 16243 w 39651"/>
                  <a:gd name="connsiteY12" fmla="*/ 45154 h 45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651" h="45153">
                    <a:moveTo>
                      <a:pt x="16243" y="45154"/>
                    </a:moveTo>
                    <a:lnTo>
                      <a:pt x="16243" y="26476"/>
                    </a:lnTo>
                    <a:lnTo>
                      <a:pt x="0" y="26476"/>
                    </a:lnTo>
                    <a:lnTo>
                      <a:pt x="0" y="18678"/>
                    </a:lnTo>
                    <a:lnTo>
                      <a:pt x="16243" y="18678"/>
                    </a:lnTo>
                    <a:lnTo>
                      <a:pt x="16243" y="0"/>
                    </a:lnTo>
                    <a:lnTo>
                      <a:pt x="23250" y="0"/>
                    </a:lnTo>
                    <a:lnTo>
                      <a:pt x="23250" y="18678"/>
                    </a:lnTo>
                    <a:lnTo>
                      <a:pt x="39652" y="18678"/>
                    </a:lnTo>
                    <a:lnTo>
                      <a:pt x="39652" y="26476"/>
                    </a:lnTo>
                    <a:lnTo>
                      <a:pt x="23250" y="26476"/>
                    </a:lnTo>
                    <a:lnTo>
                      <a:pt x="23250" y="45154"/>
                    </a:lnTo>
                    <a:lnTo>
                      <a:pt x="16243" y="45154"/>
                    </a:lnTo>
                  </a:path>
                </a:pathLst>
              </a:custGeom>
              <a:grpFill/>
              <a:ln w="158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7" name="Freihandform: Form 116">
                <a:extLst>
                  <a:ext uri="{FF2B5EF4-FFF2-40B4-BE49-F238E27FC236}">
                    <a16:creationId xmlns:a16="http://schemas.microsoft.com/office/drawing/2014/main" id="{66A9CE87-413C-214B-E01A-260E2105B254}"/>
                  </a:ext>
                </a:extLst>
              </p:cNvPr>
              <p:cNvSpPr/>
              <p:nvPr/>
            </p:nvSpPr>
            <p:spPr>
              <a:xfrm>
                <a:off x="6447621" y="2953395"/>
                <a:ext cx="39651" cy="45153"/>
              </a:xfrm>
              <a:custGeom>
                <a:avLst/>
                <a:gdLst>
                  <a:gd name="connsiteX0" fmla="*/ 16402 w 39651"/>
                  <a:gd name="connsiteY0" fmla="*/ 45154 h 45153"/>
                  <a:gd name="connsiteX1" fmla="*/ 16402 w 39651"/>
                  <a:gd name="connsiteY1" fmla="*/ 26476 h 45153"/>
                  <a:gd name="connsiteX2" fmla="*/ 0 w 39651"/>
                  <a:gd name="connsiteY2" fmla="*/ 26476 h 45153"/>
                  <a:gd name="connsiteX3" fmla="*/ 0 w 39651"/>
                  <a:gd name="connsiteY3" fmla="*/ 18678 h 45153"/>
                  <a:gd name="connsiteX4" fmla="*/ 16402 w 39651"/>
                  <a:gd name="connsiteY4" fmla="*/ 18678 h 45153"/>
                  <a:gd name="connsiteX5" fmla="*/ 16402 w 39651"/>
                  <a:gd name="connsiteY5" fmla="*/ 0 h 45153"/>
                  <a:gd name="connsiteX6" fmla="*/ 23409 w 39651"/>
                  <a:gd name="connsiteY6" fmla="*/ 0 h 45153"/>
                  <a:gd name="connsiteX7" fmla="*/ 23409 w 39651"/>
                  <a:gd name="connsiteY7" fmla="*/ 18678 h 45153"/>
                  <a:gd name="connsiteX8" fmla="*/ 39652 w 39651"/>
                  <a:gd name="connsiteY8" fmla="*/ 18678 h 45153"/>
                  <a:gd name="connsiteX9" fmla="*/ 39652 w 39651"/>
                  <a:gd name="connsiteY9" fmla="*/ 26476 h 45153"/>
                  <a:gd name="connsiteX10" fmla="*/ 23409 w 39651"/>
                  <a:gd name="connsiteY10" fmla="*/ 26476 h 45153"/>
                  <a:gd name="connsiteX11" fmla="*/ 23409 w 39651"/>
                  <a:gd name="connsiteY11" fmla="*/ 45154 h 45153"/>
                  <a:gd name="connsiteX12" fmla="*/ 16402 w 39651"/>
                  <a:gd name="connsiteY12" fmla="*/ 45154 h 45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651" h="45153">
                    <a:moveTo>
                      <a:pt x="16402" y="45154"/>
                    </a:moveTo>
                    <a:lnTo>
                      <a:pt x="16402" y="26476"/>
                    </a:lnTo>
                    <a:lnTo>
                      <a:pt x="0" y="26476"/>
                    </a:lnTo>
                    <a:lnTo>
                      <a:pt x="0" y="18678"/>
                    </a:lnTo>
                    <a:lnTo>
                      <a:pt x="16402" y="18678"/>
                    </a:lnTo>
                    <a:lnTo>
                      <a:pt x="16402" y="0"/>
                    </a:lnTo>
                    <a:lnTo>
                      <a:pt x="23409" y="0"/>
                    </a:lnTo>
                    <a:lnTo>
                      <a:pt x="23409" y="18678"/>
                    </a:lnTo>
                    <a:lnTo>
                      <a:pt x="39652" y="18678"/>
                    </a:lnTo>
                    <a:lnTo>
                      <a:pt x="39652" y="26476"/>
                    </a:lnTo>
                    <a:lnTo>
                      <a:pt x="23409" y="26476"/>
                    </a:lnTo>
                    <a:lnTo>
                      <a:pt x="23409" y="45154"/>
                    </a:lnTo>
                    <a:lnTo>
                      <a:pt x="16402" y="45154"/>
                    </a:lnTo>
                  </a:path>
                </a:pathLst>
              </a:custGeom>
              <a:grpFill/>
              <a:ln w="158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8" name="Freihandform: Form 117">
                <a:extLst>
                  <a:ext uri="{FF2B5EF4-FFF2-40B4-BE49-F238E27FC236}">
                    <a16:creationId xmlns:a16="http://schemas.microsoft.com/office/drawing/2014/main" id="{F89395B6-6D4B-7576-B90C-CDD1472C3BAF}"/>
                  </a:ext>
                </a:extLst>
              </p:cNvPr>
              <p:cNvSpPr/>
              <p:nvPr/>
            </p:nvSpPr>
            <p:spPr>
              <a:xfrm>
                <a:off x="6492528" y="2953395"/>
                <a:ext cx="39652" cy="45153"/>
              </a:xfrm>
              <a:custGeom>
                <a:avLst/>
                <a:gdLst>
                  <a:gd name="connsiteX0" fmla="*/ 16402 w 39652"/>
                  <a:gd name="connsiteY0" fmla="*/ 45154 h 45153"/>
                  <a:gd name="connsiteX1" fmla="*/ 16402 w 39652"/>
                  <a:gd name="connsiteY1" fmla="*/ 26476 h 45153"/>
                  <a:gd name="connsiteX2" fmla="*/ 0 w 39652"/>
                  <a:gd name="connsiteY2" fmla="*/ 26476 h 45153"/>
                  <a:gd name="connsiteX3" fmla="*/ 0 w 39652"/>
                  <a:gd name="connsiteY3" fmla="*/ 18678 h 45153"/>
                  <a:gd name="connsiteX4" fmla="*/ 16402 w 39652"/>
                  <a:gd name="connsiteY4" fmla="*/ 18678 h 45153"/>
                  <a:gd name="connsiteX5" fmla="*/ 16402 w 39652"/>
                  <a:gd name="connsiteY5" fmla="*/ 0 h 45153"/>
                  <a:gd name="connsiteX6" fmla="*/ 23250 w 39652"/>
                  <a:gd name="connsiteY6" fmla="*/ 0 h 45153"/>
                  <a:gd name="connsiteX7" fmla="*/ 23250 w 39652"/>
                  <a:gd name="connsiteY7" fmla="*/ 18678 h 45153"/>
                  <a:gd name="connsiteX8" fmla="*/ 39652 w 39652"/>
                  <a:gd name="connsiteY8" fmla="*/ 18678 h 45153"/>
                  <a:gd name="connsiteX9" fmla="*/ 39652 w 39652"/>
                  <a:gd name="connsiteY9" fmla="*/ 26476 h 45153"/>
                  <a:gd name="connsiteX10" fmla="*/ 23250 w 39652"/>
                  <a:gd name="connsiteY10" fmla="*/ 26476 h 45153"/>
                  <a:gd name="connsiteX11" fmla="*/ 23250 w 39652"/>
                  <a:gd name="connsiteY11" fmla="*/ 45154 h 45153"/>
                  <a:gd name="connsiteX12" fmla="*/ 16402 w 39652"/>
                  <a:gd name="connsiteY12" fmla="*/ 45154 h 45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652" h="45153">
                    <a:moveTo>
                      <a:pt x="16402" y="45154"/>
                    </a:moveTo>
                    <a:lnTo>
                      <a:pt x="16402" y="26476"/>
                    </a:lnTo>
                    <a:lnTo>
                      <a:pt x="0" y="26476"/>
                    </a:lnTo>
                    <a:lnTo>
                      <a:pt x="0" y="18678"/>
                    </a:lnTo>
                    <a:lnTo>
                      <a:pt x="16402" y="18678"/>
                    </a:lnTo>
                    <a:lnTo>
                      <a:pt x="16402" y="0"/>
                    </a:lnTo>
                    <a:lnTo>
                      <a:pt x="23250" y="0"/>
                    </a:lnTo>
                    <a:lnTo>
                      <a:pt x="23250" y="18678"/>
                    </a:lnTo>
                    <a:lnTo>
                      <a:pt x="39652" y="18678"/>
                    </a:lnTo>
                    <a:lnTo>
                      <a:pt x="39652" y="26476"/>
                    </a:lnTo>
                    <a:lnTo>
                      <a:pt x="23250" y="26476"/>
                    </a:lnTo>
                    <a:lnTo>
                      <a:pt x="23250" y="45154"/>
                    </a:lnTo>
                    <a:lnTo>
                      <a:pt x="16402" y="45154"/>
                    </a:lnTo>
                  </a:path>
                </a:pathLst>
              </a:custGeom>
              <a:grpFill/>
              <a:ln w="158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9" name="Freihandform: Form 118">
                <a:extLst>
                  <a:ext uri="{FF2B5EF4-FFF2-40B4-BE49-F238E27FC236}">
                    <a16:creationId xmlns:a16="http://schemas.microsoft.com/office/drawing/2014/main" id="{9F0C98B1-7C93-F929-C114-FD5B1B0AD482}"/>
                  </a:ext>
                </a:extLst>
              </p:cNvPr>
              <p:cNvSpPr/>
              <p:nvPr/>
            </p:nvSpPr>
            <p:spPr>
              <a:xfrm>
                <a:off x="6516574" y="2953395"/>
                <a:ext cx="39493" cy="45153"/>
              </a:xfrm>
              <a:custGeom>
                <a:avLst/>
                <a:gdLst>
                  <a:gd name="connsiteX0" fmla="*/ 16243 w 39493"/>
                  <a:gd name="connsiteY0" fmla="*/ 45154 h 45153"/>
                  <a:gd name="connsiteX1" fmla="*/ 16243 w 39493"/>
                  <a:gd name="connsiteY1" fmla="*/ 26476 h 45153"/>
                  <a:gd name="connsiteX2" fmla="*/ 0 w 39493"/>
                  <a:gd name="connsiteY2" fmla="*/ 26476 h 45153"/>
                  <a:gd name="connsiteX3" fmla="*/ 0 w 39493"/>
                  <a:gd name="connsiteY3" fmla="*/ 18678 h 45153"/>
                  <a:gd name="connsiteX4" fmla="*/ 16243 w 39493"/>
                  <a:gd name="connsiteY4" fmla="*/ 18678 h 45153"/>
                  <a:gd name="connsiteX5" fmla="*/ 16243 w 39493"/>
                  <a:gd name="connsiteY5" fmla="*/ 0 h 45153"/>
                  <a:gd name="connsiteX6" fmla="*/ 23250 w 39493"/>
                  <a:gd name="connsiteY6" fmla="*/ 0 h 45153"/>
                  <a:gd name="connsiteX7" fmla="*/ 23250 w 39493"/>
                  <a:gd name="connsiteY7" fmla="*/ 18678 h 45153"/>
                  <a:gd name="connsiteX8" fmla="*/ 39493 w 39493"/>
                  <a:gd name="connsiteY8" fmla="*/ 18678 h 45153"/>
                  <a:gd name="connsiteX9" fmla="*/ 39493 w 39493"/>
                  <a:gd name="connsiteY9" fmla="*/ 26476 h 45153"/>
                  <a:gd name="connsiteX10" fmla="*/ 23250 w 39493"/>
                  <a:gd name="connsiteY10" fmla="*/ 26476 h 45153"/>
                  <a:gd name="connsiteX11" fmla="*/ 23250 w 39493"/>
                  <a:gd name="connsiteY11" fmla="*/ 45154 h 45153"/>
                  <a:gd name="connsiteX12" fmla="*/ 16243 w 39493"/>
                  <a:gd name="connsiteY12" fmla="*/ 45154 h 45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93" h="45153">
                    <a:moveTo>
                      <a:pt x="16243" y="45154"/>
                    </a:moveTo>
                    <a:lnTo>
                      <a:pt x="16243" y="26476"/>
                    </a:lnTo>
                    <a:lnTo>
                      <a:pt x="0" y="26476"/>
                    </a:lnTo>
                    <a:lnTo>
                      <a:pt x="0" y="18678"/>
                    </a:lnTo>
                    <a:lnTo>
                      <a:pt x="16243" y="18678"/>
                    </a:lnTo>
                    <a:lnTo>
                      <a:pt x="16243" y="0"/>
                    </a:lnTo>
                    <a:lnTo>
                      <a:pt x="23250" y="0"/>
                    </a:lnTo>
                    <a:lnTo>
                      <a:pt x="23250" y="18678"/>
                    </a:lnTo>
                    <a:lnTo>
                      <a:pt x="39493" y="18678"/>
                    </a:lnTo>
                    <a:lnTo>
                      <a:pt x="39493" y="26476"/>
                    </a:lnTo>
                    <a:lnTo>
                      <a:pt x="23250" y="26476"/>
                    </a:lnTo>
                    <a:lnTo>
                      <a:pt x="23250" y="45154"/>
                    </a:lnTo>
                    <a:lnTo>
                      <a:pt x="16243" y="45154"/>
                    </a:lnTo>
                  </a:path>
                </a:pathLst>
              </a:custGeom>
              <a:grpFill/>
              <a:ln w="158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0" name="Freihandform: Form 119">
                <a:extLst>
                  <a:ext uri="{FF2B5EF4-FFF2-40B4-BE49-F238E27FC236}">
                    <a16:creationId xmlns:a16="http://schemas.microsoft.com/office/drawing/2014/main" id="{BCB93B69-42EE-19B8-8317-6D2884C2AC10}"/>
                  </a:ext>
                </a:extLst>
              </p:cNvPr>
              <p:cNvSpPr/>
              <p:nvPr/>
            </p:nvSpPr>
            <p:spPr>
              <a:xfrm>
                <a:off x="6534409" y="2953395"/>
                <a:ext cx="39652" cy="45153"/>
              </a:xfrm>
              <a:custGeom>
                <a:avLst/>
                <a:gdLst>
                  <a:gd name="connsiteX0" fmla="*/ 16402 w 39652"/>
                  <a:gd name="connsiteY0" fmla="*/ 45154 h 45153"/>
                  <a:gd name="connsiteX1" fmla="*/ 16402 w 39652"/>
                  <a:gd name="connsiteY1" fmla="*/ 26476 h 45153"/>
                  <a:gd name="connsiteX2" fmla="*/ 0 w 39652"/>
                  <a:gd name="connsiteY2" fmla="*/ 26476 h 45153"/>
                  <a:gd name="connsiteX3" fmla="*/ 0 w 39652"/>
                  <a:gd name="connsiteY3" fmla="*/ 18678 h 45153"/>
                  <a:gd name="connsiteX4" fmla="*/ 16402 w 39652"/>
                  <a:gd name="connsiteY4" fmla="*/ 18678 h 45153"/>
                  <a:gd name="connsiteX5" fmla="*/ 16402 w 39652"/>
                  <a:gd name="connsiteY5" fmla="*/ 0 h 45153"/>
                  <a:gd name="connsiteX6" fmla="*/ 23409 w 39652"/>
                  <a:gd name="connsiteY6" fmla="*/ 0 h 45153"/>
                  <a:gd name="connsiteX7" fmla="*/ 23409 w 39652"/>
                  <a:gd name="connsiteY7" fmla="*/ 18678 h 45153"/>
                  <a:gd name="connsiteX8" fmla="*/ 39652 w 39652"/>
                  <a:gd name="connsiteY8" fmla="*/ 18678 h 45153"/>
                  <a:gd name="connsiteX9" fmla="*/ 39652 w 39652"/>
                  <a:gd name="connsiteY9" fmla="*/ 26476 h 45153"/>
                  <a:gd name="connsiteX10" fmla="*/ 23409 w 39652"/>
                  <a:gd name="connsiteY10" fmla="*/ 26476 h 45153"/>
                  <a:gd name="connsiteX11" fmla="*/ 23409 w 39652"/>
                  <a:gd name="connsiteY11" fmla="*/ 45154 h 45153"/>
                  <a:gd name="connsiteX12" fmla="*/ 16402 w 39652"/>
                  <a:gd name="connsiteY12" fmla="*/ 45154 h 45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652" h="45153">
                    <a:moveTo>
                      <a:pt x="16402" y="45154"/>
                    </a:moveTo>
                    <a:lnTo>
                      <a:pt x="16402" y="26476"/>
                    </a:lnTo>
                    <a:lnTo>
                      <a:pt x="0" y="26476"/>
                    </a:lnTo>
                    <a:lnTo>
                      <a:pt x="0" y="18678"/>
                    </a:lnTo>
                    <a:lnTo>
                      <a:pt x="16402" y="18678"/>
                    </a:lnTo>
                    <a:lnTo>
                      <a:pt x="16402" y="0"/>
                    </a:lnTo>
                    <a:lnTo>
                      <a:pt x="23409" y="0"/>
                    </a:lnTo>
                    <a:lnTo>
                      <a:pt x="23409" y="18678"/>
                    </a:lnTo>
                    <a:lnTo>
                      <a:pt x="39652" y="18678"/>
                    </a:lnTo>
                    <a:lnTo>
                      <a:pt x="39652" y="26476"/>
                    </a:lnTo>
                    <a:lnTo>
                      <a:pt x="23409" y="26476"/>
                    </a:lnTo>
                    <a:lnTo>
                      <a:pt x="23409" y="45154"/>
                    </a:lnTo>
                    <a:lnTo>
                      <a:pt x="16402" y="45154"/>
                    </a:lnTo>
                  </a:path>
                </a:pathLst>
              </a:custGeom>
              <a:grpFill/>
              <a:ln w="158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1" name="Freihandform: Form 120">
                <a:extLst>
                  <a:ext uri="{FF2B5EF4-FFF2-40B4-BE49-F238E27FC236}">
                    <a16:creationId xmlns:a16="http://schemas.microsoft.com/office/drawing/2014/main" id="{6439372B-660B-E337-39F6-215103ED1E57}"/>
                  </a:ext>
                </a:extLst>
              </p:cNvPr>
              <p:cNvSpPr/>
              <p:nvPr/>
            </p:nvSpPr>
            <p:spPr>
              <a:xfrm>
                <a:off x="6591260" y="2953395"/>
                <a:ext cx="39651" cy="45153"/>
              </a:xfrm>
              <a:custGeom>
                <a:avLst/>
                <a:gdLst>
                  <a:gd name="connsiteX0" fmla="*/ 16402 w 39651"/>
                  <a:gd name="connsiteY0" fmla="*/ 45154 h 45153"/>
                  <a:gd name="connsiteX1" fmla="*/ 16402 w 39651"/>
                  <a:gd name="connsiteY1" fmla="*/ 26476 h 45153"/>
                  <a:gd name="connsiteX2" fmla="*/ 0 w 39651"/>
                  <a:gd name="connsiteY2" fmla="*/ 26476 h 45153"/>
                  <a:gd name="connsiteX3" fmla="*/ 0 w 39651"/>
                  <a:gd name="connsiteY3" fmla="*/ 18678 h 45153"/>
                  <a:gd name="connsiteX4" fmla="*/ 16402 w 39651"/>
                  <a:gd name="connsiteY4" fmla="*/ 18678 h 45153"/>
                  <a:gd name="connsiteX5" fmla="*/ 16402 w 39651"/>
                  <a:gd name="connsiteY5" fmla="*/ 0 h 45153"/>
                  <a:gd name="connsiteX6" fmla="*/ 23250 w 39651"/>
                  <a:gd name="connsiteY6" fmla="*/ 0 h 45153"/>
                  <a:gd name="connsiteX7" fmla="*/ 23250 w 39651"/>
                  <a:gd name="connsiteY7" fmla="*/ 18678 h 45153"/>
                  <a:gd name="connsiteX8" fmla="*/ 39652 w 39651"/>
                  <a:gd name="connsiteY8" fmla="*/ 18678 h 45153"/>
                  <a:gd name="connsiteX9" fmla="*/ 39652 w 39651"/>
                  <a:gd name="connsiteY9" fmla="*/ 26476 h 45153"/>
                  <a:gd name="connsiteX10" fmla="*/ 23250 w 39651"/>
                  <a:gd name="connsiteY10" fmla="*/ 26476 h 45153"/>
                  <a:gd name="connsiteX11" fmla="*/ 23250 w 39651"/>
                  <a:gd name="connsiteY11" fmla="*/ 45154 h 45153"/>
                  <a:gd name="connsiteX12" fmla="*/ 16402 w 39651"/>
                  <a:gd name="connsiteY12" fmla="*/ 45154 h 45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651" h="45153">
                    <a:moveTo>
                      <a:pt x="16402" y="45154"/>
                    </a:moveTo>
                    <a:lnTo>
                      <a:pt x="16402" y="26476"/>
                    </a:lnTo>
                    <a:lnTo>
                      <a:pt x="0" y="26476"/>
                    </a:lnTo>
                    <a:lnTo>
                      <a:pt x="0" y="18678"/>
                    </a:lnTo>
                    <a:lnTo>
                      <a:pt x="16402" y="18678"/>
                    </a:lnTo>
                    <a:lnTo>
                      <a:pt x="16402" y="0"/>
                    </a:lnTo>
                    <a:lnTo>
                      <a:pt x="23250" y="0"/>
                    </a:lnTo>
                    <a:lnTo>
                      <a:pt x="23250" y="18678"/>
                    </a:lnTo>
                    <a:lnTo>
                      <a:pt x="39652" y="18678"/>
                    </a:lnTo>
                    <a:lnTo>
                      <a:pt x="39652" y="26476"/>
                    </a:lnTo>
                    <a:lnTo>
                      <a:pt x="23250" y="26476"/>
                    </a:lnTo>
                    <a:lnTo>
                      <a:pt x="23250" y="45154"/>
                    </a:lnTo>
                    <a:lnTo>
                      <a:pt x="16402" y="45154"/>
                    </a:lnTo>
                  </a:path>
                </a:pathLst>
              </a:custGeom>
              <a:grpFill/>
              <a:ln w="158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2" name="Freihandform: Form 121">
                <a:extLst>
                  <a:ext uri="{FF2B5EF4-FFF2-40B4-BE49-F238E27FC236}">
                    <a16:creationId xmlns:a16="http://schemas.microsoft.com/office/drawing/2014/main" id="{B04AFD66-E8A8-5471-BF04-441F94F480B2}"/>
                  </a:ext>
                </a:extLst>
              </p:cNvPr>
              <p:cNvSpPr/>
              <p:nvPr/>
            </p:nvSpPr>
            <p:spPr>
              <a:xfrm>
                <a:off x="6654162" y="2953395"/>
                <a:ext cx="39492" cy="45153"/>
              </a:xfrm>
              <a:custGeom>
                <a:avLst/>
                <a:gdLst>
                  <a:gd name="connsiteX0" fmla="*/ 16243 w 39492"/>
                  <a:gd name="connsiteY0" fmla="*/ 45154 h 45153"/>
                  <a:gd name="connsiteX1" fmla="*/ 16243 w 39492"/>
                  <a:gd name="connsiteY1" fmla="*/ 26476 h 45153"/>
                  <a:gd name="connsiteX2" fmla="*/ 0 w 39492"/>
                  <a:gd name="connsiteY2" fmla="*/ 26476 h 45153"/>
                  <a:gd name="connsiteX3" fmla="*/ 0 w 39492"/>
                  <a:gd name="connsiteY3" fmla="*/ 18678 h 45153"/>
                  <a:gd name="connsiteX4" fmla="*/ 16243 w 39492"/>
                  <a:gd name="connsiteY4" fmla="*/ 18678 h 45153"/>
                  <a:gd name="connsiteX5" fmla="*/ 16243 w 39492"/>
                  <a:gd name="connsiteY5" fmla="*/ 0 h 45153"/>
                  <a:gd name="connsiteX6" fmla="*/ 23250 w 39492"/>
                  <a:gd name="connsiteY6" fmla="*/ 0 h 45153"/>
                  <a:gd name="connsiteX7" fmla="*/ 23250 w 39492"/>
                  <a:gd name="connsiteY7" fmla="*/ 18678 h 45153"/>
                  <a:gd name="connsiteX8" fmla="*/ 39493 w 39492"/>
                  <a:gd name="connsiteY8" fmla="*/ 18678 h 45153"/>
                  <a:gd name="connsiteX9" fmla="*/ 39493 w 39492"/>
                  <a:gd name="connsiteY9" fmla="*/ 26476 h 45153"/>
                  <a:gd name="connsiteX10" fmla="*/ 23250 w 39492"/>
                  <a:gd name="connsiteY10" fmla="*/ 26476 h 45153"/>
                  <a:gd name="connsiteX11" fmla="*/ 23250 w 39492"/>
                  <a:gd name="connsiteY11" fmla="*/ 45154 h 45153"/>
                  <a:gd name="connsiteX12" fmla="*/ 16243 w 39492"/>
                  <a:gd name="connsiteY12" fmla="*/ 45154 h 45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92" h="45153">
                    <a:moveTo>
                      <a:pt x="16243" y="45154"/>
                    </a:moveTo>
                    <a:lnTo>
                      <a:pt x="16243" y="26476"/>
                    </a:lnTo>
                    <a:lnTo>
                      <a:pt x="0" y="26476"/>
                    </a:lnTo>
                    <a:lnTo>
                      <a:pt x="0" y="18678"/>
                    </a:lnTo>
                    <a:lnTo>
                      <a:pt x="16243" y="18678"/>
                    </a:lnTo>
                    <a:lnTo>
                      <a:pt x="16243" y="0"/>
                    </a:lnTo>
                    <a:lnTo>
                      <a:pt x="23250" y="0"/>
                    </a:lnTo>
                    <a:lnTo>
                      <a:pt x="23250" y="18678"/>
                    </a:lnTo>
                    <a:lnTo>
                      <a:pt x="39493" y="18678"/>
                    </a:lnTo>
                    <a:lnTo>
                      <a:pt x="39493" y="26476"/>
                    </a:lnTo>
                    <a:lnTo>
                      <a:pt x="23250" y="26476"/>
                    </a:lnTo>
                    <a:lnTo>
                      <a:pt x="23250" y="45154"/>
                    </a:lnTo>
                    <a:lnTo>
                      <a:pt x="16243" y="45154"/>
                    </a:lnTo>
                  </a:path>
                </a:pathLst>
              </a:custGeom>
              <a:grpFill/>
              <a:ln w="158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3" name="Freihandform: Form 122">
                <a:extLst>
                  <a:ext uri="{FF2B5EF4-FFF2-40B4-BE49-F238E27FC236}">
                    <a16:creationId xmlns:a16="http://schemas.microsoft.com/office/drawing/2014/main" id="{3B02C759-9940-838E-B091-AE84B1DD3186}"/>
                  </a:ext>
                </a:extLst>
              </p:cNvPr>
              <p:cNvSpPr/>
              <p:nvPr/>
            </p:nvSpPr>
            <p:spPr>
              <a:xfrm>
                <a:off x="6809745" y="2953395"/>
                <a:ext cx="39493" cy="45153"/>
              </a:xfrm>
              <a:custGeom>
                <a:avLst/>
                <a:gdLst>
                  <a:gd name="connsiteX0" fmla="*/ 16243 w 39493"/>
                  <a:gd name="connsiteY0" fmla="*/ 45154 h 45153"/>
                  <a:gd name="connsiteX1" fmla="*/ 16243 w 39493"/>
                  <a:gd name="connsiteY1" fmla="*/ 26476 h 45153"/>
                  <a:gd name="connsiteX2" fmla="*/ 0 w 39493"/>
                  <a:gd name="connsiteY2" fmla="*/ 26476 h 45153"/>
                  <a:gd name="connsiteX3" fmla="*/ 0 w 39493"/>
                  <a:gd name="connsiteY3" fmla="*/ 18678 h 45153"/>
                  <a:gd name="connsiteX4" fmla="*/ 16243 w 39493"/>
                  <a:gd name="connsiteY4" fmla="*/ 18678 h 45153"/>
                  <a:gd name="connsiteX5" fmla="*/ 16243 w 39493"/>
                  <a:gd name="connsiteY5" fmla="*/ 0 h 45153"/>
                  <a:gd name="connsiteX6" fmla="*/ 23250 w 39493"/>
                  <a:gd name="connsiteY6" fmla="*/ 0 h 45153"/>
                  <a:gd name="connsiteX7" fmla="*/ 23250 w 39493"/>
                  <a:gd name="connsiteY7" fmla="*/ 18678 h 45153"/>
                  <a:gd name="connsiteX8" fmla="*/ 39493 w 39493"/>
                  <a:gd name="connsiteY8" fmla="*/ 18678 h 45153"/>
                  <a:gd name="connsiteX9" fmla="*/ 39493 w 39493"/>
                  <a:gd name="connsiteY9" fmla="*/ 26476 h 45153"/>
                  <a:gd name="connsiteX10" fmla="*/ 23250 w 39493"/>
                  <a:gd name="connsiteY10" fmla="*/ 26476 h 45153"/>
                  <a:gd name="connsiteX11" fmla="*/ 23250 w 39493"/>
                  <a:gd name="connsiteY11" fmla="*/ 45154 h 45153"/>
                  <a:gd name="connsiteX12" fmla="*/ 16243 w 39493"/>
                  <a:gd name="connsiteY12" fmla="*/ 45154 h 45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93" h="45153">
                    <a:moveTo>
                      <a:pt x="16243" y="45154"/>
                    </a:moveTo>
                    <a:lnTo>
                      <a:pt x="16243" y="26476"/>
                    </a:lnTo>
                    <a:lnTo>
                      <a:pt x="0" y="26476"/>
                    </a:lnTo>
                    <a:lnTo>
                      <a:pt x="0" y="18678"/>
                    </a:lnTo>
                    <a:lnTo>
                      <a:pt x="16243" y="18678"/>
                    </a:lnTo>
                    <a:lnTo>
                      <a:pt x="16243" y="0"/>
                    </a:lnTo>
                    <a:lnTo>
                      <a:pt x="23250" y="0"/>
                    </a:lnTo>
                    <a:lnTo>
                      <a:pt x="23250" y="18678"/>
                    </a:lnTo>
                    <a:lnTo>
                      <a:pt x="39493" y="18678"/>
                    </a:lnTo>
                    <a:lnTo>
                      <a:pt x="39493" y="26476"/>
                    </a:lnTo>
                    <a:lnTo>
                      <a:pt x="23250" y="26476"/>
                    </a:lnTo>
                    <a:lnTo>
                      <a:pt x="23250" y="45154"/>
                    </a:lnTo>
                    <a:lnTo>
                      <a:pt x="16243" y="45154"/>
                    </a:lnTo>
                  </a:path>
                </a:pathLst>
              </a:custGeom>
              <a:grpFill/>
              <a:ln w="158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4" name="Freihandform: Form 123">
                <a:extLst>
                  <a:ext uri="{FF2B5EF4-FFF2-40B4-BE49-F238E27FC236}">
                    <a16:creationId xmlns:a16="http://schemas.microsoft.com/office/drawing/2014/main" id="{B0332EE8-71CF-6CF4-8ADA-F36E9CF4F322}"/>
                  </a:ext>
                </a:extLst>
              </p:cNvPr>
              <p:cNvSpPr/>
              <p:nvPr/>
            </p:nvSpPr>
            <p:spPr>
              <a:xfrm>
                <a:off x="6848601" y="2953395"/>
                <a:ext cx="39493" cy="45153"/>
              </a:xfrm>
              <a:custGeom>
                <a:avLst/>
                <a:gdLst>
                  <a:gd name="connsiteX0" fmla="*/ 16243 w 39493"/>
                  <a:gd name="connsiteY0" fmla="*/ 45154 h 45153"/>
                  <a:gd name="connsiteX1" fmla="*/ 16243 w 39493"/>
                  <a:gd name="connsiteY1" fmla="*/ 26476 h 45153"/>
                  <a:gd name="connsiteX2" fmla="*/ 0 w 39493"/>
                  <a:gd name="connsiteY2" fmla="*/ 26476 h 45153"/>
                  <a:gd name="connsiteX3" fmla="*/ 0 w 39493"/>
                  <a:gd name="connsiteY3" fmla="*/ 18678 h 45153"/>
                  <a:gd name="connsiteX4" fmla="*/ 16243 w 39493"/>
                  <a:gd name="connsiteY4" fmla="*/ 18678 h 45153"/>
                  <a:gd name="connsiteX5" fmla="*/ 16243 w 39493"/>
                  <a:gd name="connsiteY5" fmla="*/ 0 h 45153"/>
                  <a:gd name="connsiteX6" fmla="*/ 23250 w 39493"/>
                  <a:gd name="connsiteY6" fmla="*/ 0 h 45153"/>
                  <a:gd name="connsiteX7" fmla="*/ 23250 w 39493"/>
                  <a:gd name="connsiteY7" fmla="*/ 18678 h 45153"/>
                  <a:gd name="connsiteX8" fmla="*/ 39493 w 39493"/>
                  <a:gd name="connsiteY8" fmla="*/ 18678 h 45153"/>
                  <a:gd name="connsiteX9" fmla="*/ 39493 w 39493"/>
                  <a:gd name="connsiteY9" fmla="*/ 26476 h 45153"/>
                  <a:gd name="connsiteX10" fmla="*/ 23250 w 39493"/>
                  <a:gd name="connsiteY10" fmla="*/ 26476 h 45153"/>
                  <a:gd name="connsiteX11" fmla="*/ 23250 w 39493"/>
                  <a:gd name="connsiteY11" fmla="*/ 45154 h 45153"/>
                  <a:gd name="connsiteX12" fmla="*/ 16243 w 39493"/>
                  <a:gd name="connsiteY12" fmla="*/ 45154 h 45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93" h="45153">
                    <a:moveTo>
                      <a:pt x="16243" y="45154"/>
                    </a:moveTo>
                    <a:lnTo>
                      <a:pt x="16243" y="26476"/>
                    </a:lnTo>
                    <a:lnTo>
                      <a:pt x="0" y="26476"/>
                    </a:lnTo>
                    <a:lnTo>
                      <a:pt x="0" y="18678"/>
                    </a:lnTo>
                    <a:lnTo>
                      <a:pt x="16243" y="18678"/>
                    </a:lnTo>
                    <a:lnTo>
                      <a:pt x="16243" y="0"/>
                    </a:lnTo>
                    <a:lnTo>
                      <a:pt x="23250" y="0"/>
                    </a:lnTo>
                    <a:lnTo>
                      <a:pt x="23250" y="18678"/>
                    </a:lnTo>
                    <a:lnTo>
                      <a:pt x="39493" y="18678"/>
                    </a:lnTo>
                    <a:lnTo>
                      <a:pt x="39493" y="26476"/>
                    </a:lnTo>
                    <a:lnTo>
                      <a:pt x="23250" y="26476"/>
                    </a:lnTo>
                    <a:lnTo>
                      <a:pt x="23250" y="45154"/>
                    </a:lnTo>
                    <a:lnTo>
                      <a:pt x="16243" y="45154"/>
                    </a:lnTo>
                  </a:path>
                </a:pathLst>
              </a:custGeom>
              <a:grpFill/>
              <a:ln w="158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5" name="Freihandform: Form 124">
                <a:extLst>
                  <a:ext uri="{FF2B5EF4-FFF2-40B4-BE49-F238E27FC236}">
                    <a16:creationId xmlns:a16="http://schemas.microsoft.com/office/drawing/2014/main" id="{32CCC98F-3899-629C-66A5-3718D38A1679}"/>
                  </a:ext>
                </a:extLst>
              </p:cNvPr>
              <p:cNvSpPr/>
              <p:nvPr/>
            </p:nvSpPr>
            <p:spPr>
              <a:xfrm>
                <a:off x="6938256" y="2953395"/>
                <a:ext cx="39651" cy="45153"/>
              </a:xfrm>
              <a:custGeom>
                <a:avLst/>
                <a:gdLst>
                  <a:gd name="connsiteX0" fmla="*/ 16402 w 39651"/>
                  <a:gd name="connsiteY0" fmla="*/ 45154 h 45153"/>
                  <a:gd name="connsiteX1" fmla="*/ 16402 w 39651"/>
                  <a:gd name="connsiteY1" fmla="*/ 26476 h 45153"/>
                  <a:gd name="connsiteX2" fmla="*/ 0 w 39651"/>
                  <a:gd name="connsiteY2" fmla="*/ 26476 h 45153"/>
                  <a:gd name="connsiteX3" fmla="*/ 0 w 39651"/>
                  <a:gd name="connsiteY3" fmla="*/ 18678 h 45153"/>
                  <a:gd name="connsiteX4" fmla="*/ 16402 w 39651"/>
                  <a:gd name="connsiteY4" fmla="*/ 18678 h 45153"/>
                  <a:gd name="connsiteX5" fmla="*/ 16402 w 39651"/>
                  <a:gd name="connsiteY5" fmla="*/ 0 h 45153"/>
                  <a:gd name="connsiteX6" fmla="*/ 23250 w 39651"/>
                  <a:gd name="connsiteY6" fmla="*/ 0 h 45153"/>
                  <a:gd name="connsiteX7" fmla="*/ 23250 w 39651"/>
                  <a:gd name="connsiteY7" fmla="*/ 18678 h 45153"/>
                  <a:gd name="connsiteX8" fmla="*/ 39652 w 39651"/>
                  <a:gd name="connsiteY8" fmla="*/ 18678 h 45153"/>
                  <a:gd name="connsiteX9" fmla="*/ 39652 w 39651"/>
                  <a:gd name="connsiteY9" fmla="*/ 26476 h 45153"/>
                  <a:gd name="connsiteX10" fmla="*/ 23250 w 39651"/>
                  <a:gd name="connsiteY10" fmla="*/ 26476 h 45153"/>
                  <a:gd name="connsiteX11" fmla="*/ 23250 w 39651"/>
                  <a:gd name="connsiteY11" fmla="*/ 45154 h 45153"/>
                  <a:gd name="connsiteX12" fmla="*/ 16402 w 39651"/>
                  <a:gd name="connsiteY12" fmla="*/ 45154 h 45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651" h="45153">
                    <a:moveTo>
                      <a:pt x="16402" y="45154"/>
                    </a:moveTo>
                    <a:lnTo>
                      <a:pt x="16402" y="26476"/>
                    </a:lnTo>
                    <a:lnTo>
                      <a:pt x="0" y="26476"/>
                    </a:lnTo>
                    <a:lnTo>
                      <a:pt x="0" y="18678"/>
                    </a:lnTo>
                    <a:lnTo>
                      <a:pt x="16402" y="18678"/>
                    </a:lnTo>
                    <a:lnTo>
                      <a:pt x="16402" y="0"/>
                    </a:lnTo>
                    <a:lnTo>
                      <a:pt x="23250" y="0"/>
                    </a:lnTo>
                    <a:lnTo>
                      <a:pt x="23250" y="18678"/>
                    </a:lnTo>
                    <a:lnTo>
                      <a:pt x="39652" y="18678"/>
                    </a:lnTo>
                    <a:lnTo>
                      <a:pt x="39652" y="26476"/>
                    </a:lnTo>
                    <a:lnTo>
                      <a:pt x="23250" y="26476"/>
                    </a:lnTo>
                    <a:lnTo>
                      <a:pt x="23250" y="45154"/>
                    </a:lnTo>
                    <a:lnTo>
                      <a:pt x="16402" y="45154"/>
                    </a:lnTo>
                  </a:path>
                </a:pathLst>
              </a:custGeom>
              <a:grpFill/>
              <a:ln w="158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6" name="Freihandform: Form 125">
                <a:extLst>
                  <a:ext uri="{FF2B5EF4-FFF2-40B4-BE49-F238E27FC236}">
                    <a16:creationId xmlns:a16="http://schemas.microsoft.com/office/drawing/2014/main" id="{B4167303-079D-1994-71AC-8E5B0AB5CAC3}"/>
                  </a:ext>
                </a:extLst>
              </p:cNvPr>
              <p:cNvSpPr/>
              <p:nvPr/>
            </p:nvSpPr>
            <p:spPr>
              <a:xfrm>
                <a:off x="7033963" y="2953395"/>
                <a:ext cx="39652" cy="45153"/>
              </a:xfrm>
              <a:custGeom>
                <a:avLst/>
                <a:gdLst>
                  <a:gd name="connsiteX0" fmla="*/ 16402 w 39652"/>
                  <a:gd name="connsiteY0" fmla="*/ 45154 h 45153"/>
                  <a:gd name="connsiteX1" fmla="*/ 16402 w 39652"/>
                  <a:gd name="connsiteY1" fmla="*/ 26476 h 45153"/>
                  <a:gd name="connsiteX2" fmla="*/ 0 w 39652"/>
                  <a:gd name="connsiteY2" fmla="*/ 26476 h 45153"/>
                  <a:gd name="connsiteX3" fmla="*/ 0 w 39652"/>
                  <a:gd name="connsiteY3" fmla="*/ 18678 h 45153"/>
                  <a:gd name="connsiteX4" fmla="*/ 16402 w 39652"/>
                  <a:gd name="connsiteY4" fmla="*/ 18678 h 45153"/>
                  <a:gd name="connsiteX5" fmla="*/ 16402 w 39652"/>
                  <a:gd name="connsiteY5" fmla="*/ 0 h 45153"/>
                  <a:gd name="connsiteX6" fmla="*/ 23409 w 39652"/>
                  <a:gd name="connsiteY6" fmla="*/ 0 h 45153"/>
                  <a:gd name="connsiteX7" fmla="*/ 23409 w 39652"/>
                  <a:gd name="connsiteY7" fmla="*/ 18678 h 45153"/>
                  <a:gd name="connsiteX8" fmla="*/ 39652 w 39652"/>
                  <a:gd name="connsiteY8" fmla="*/ 18678 h 45153"/>
                  <a:gd name="connsiteX9" fmla="*/ 39652 w 39652"/>
                  <a:gd name="connsiteY9" fmla="*/ 26476 h 45153"/>
                  <a:gd name="connsiteX10" fmla="*/ 23409 w 39652"/>
                  <a:gd name="connsiteY10" fmla="*/ 26476 h 45153"/>
                  <a:gd name="connsiteX11" fmla="*/ 23409 w 39652"/>
                  <a:gd name="connsiteY11" fmla="*/ 45154 h 45153"/>
                  <a:gd name="connsiteX12" fmla="*/ 16402 w 39652"/>
                  <a:gd name="connsiteY12" fmla="*/ 45154 h 45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652" h="45153">
                    <a:moveTo>
                      <a:pt x="16402" y="45154"/>
                    </a:moveTo>
                    <a:lnTo>
                      <a:pt x="16402" y="26476"/>
                    </a:lnTo>
                    <a:lnTo>
                      <a:pt x="0" y="26476"/>
                    </a:lnTo>
                    <a:lnTo>
                      <a:pt x="0" y="18678"/>
                    </a:lnTo>
                    <a:lnTo>
                      <a:pt x="16402" y="18678"/>
                    </a:lnTo>
                    <a:lnTo>
                      <a:pt x="16402" y="0"/>
                    </a:lnTo>
                    <a:lnTo>
                      <a:pt x="23409" y="0"/>
                    </a:lnTo>
                    <a:lnTo>
                      <a:pt x="23409" y="18678"/>
                    </a:lnTo>
                    <a:lnTo>
                      <a:pt x="39652" y="18678"/>
                    </a:lnTo>
                    <a:lnTo>
                      <a:pt x="39652" y="26476"/>
                    </a:lnTo>
                    <a:lnTo>
                      <a:pt x="23409" y="26476"/>
                    </a:lnTo>
                    <a:lnTo>
                      <a:pt x="23409" y="45154"/>
                    </a:lnTo>
                    <a:lnTo>
                      <a:pt x="16402" y="45154"/>
                    </a:lnTo>
                  </a:path>
                </a:pathLst>
              </a:custGeom>
              <a:grpFill/>
              <a:ln w="158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7" name="Freihandform: Form 126">
                <a:extLst>
                  <a:ext uri="{FF2B5EF4-FFF2-40B4-BE49-F238E27FC236}">
                    <a16:creationId xmlns:a16="http://schemas.microsoft.com/office/drawing/2014/main" id="{8EF07644-3FA1-55BD-B1B9-78D45B4CD31E}"/>
                  </a:ext>
                </a:extLst>
              </p:cNvPr>
              <p:cNvSpPr/>
              <p:nvPr/>
            </p:nvSpPr>
            <p:spPr>
              <a:xfrm>
                <a:off x="7046065" y="2953395"/>
                <a:ext cx="39493" cy="45153"/>
              </a:xfrm>
              <a:custGeom>
                <a:avLst/>
                <a:gdLst>
                  <a:gd name="connsiteX0" fmla="*/ 16243 w 39493"/>
                  <a:gd name="connsiteY0" fmla="*/ 45154 h 45153"/>
                  <a:gd name="connsiteX1" fmla="*/ 16243 w 39493"/>
                  <a:gd name="connsiteY1" fmla="*/ 26476 h 45153"/>
                  <a:gd name="connsiteX2" fmla="*/ 0 w 39493"/>
                  <a:gd name="connsiteY2" fmla="*/ 26476 h 45153"/>
                  <a:gd name="connsiteX3" fmla="*/ 0 w 39493"/>
                  <a:gd name="connsiteY3" fmla="*/ 18678 h 45153"/>
                  <a:gd name="connsiteX4" fmla="*/ 16243 w 39493"/>
                  <a:gd name="connsiteY4" fmla="*/ 18678 h 45153"/>
                  <a:gd name="connsiteX5" fmla="*/ 16243 w 39493"/>
                  <a:gd name="connsiteY5" fmla="*/ 0 h 45153"/>
                  <a:gd name="connsiteX6" fmla="*/ 23250 w 39493"/>
                  <a:gd name="connsiteY6" fmla="*/ 0 h 45153"/>
                  <a:gd name="connsiteX7" fmla="*/ 23250 w 39493"/>
                  <a:gd name="connsiteY7" fmla="*/ 18678 h 45153"/>
                  <a:gd name="connsiteX8" fmla="*/ 39493 w 39493"/>
                  <a:gd name="connsiteY8" fmla="*/ 18678 h 45153"/>
                  <a:gd name="connsiteX9" fmla="*/ 39493 w 39493"/>
                  <a:gd name="connsiteY9" fmla="*/ 26476 h 45153"/>
                  <a:gd name="connsiteX10" fmla="*/ 23250 w 39493"/>
                  <a:gd name="connsiteY10" fmla="*/ 26476 h 45153"/>
                  <a:gd name="connsiteX11" fmla="*/ 23250 w 39493"/>
                  <a:gd name="connsiteY11" fmla="*/ 45154 h 45153"/>
                  <a:gd name="connsiteX12" fmla="*/ 16243 w 39493"/>
                  <a:gd name="connsiteY12" fmla="*/ 45154 h 45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93" h="45153">
                    <a:moveTo>
                      <a:pt x="16243" y="45154"/>
                    </a:moveTo>
                    <a:lnTo>
                      <a:pt x="16243" y="26476"/>
                    </a:lnTo>
                    <a:lnTo>
                      <a:pt x="0" y="26476"/>
                    </a:lnTo>
                    <a:lnTo>
                      <a:pt x="0" y="18678"/>
                    </a:lnTo>
                    <a:lnTo>
                      <a:pt x="16243" y="18678"/>
                    </a:lnTo>
                    <a:lnTo>
                      <a:pt x="16243" y="0"/>
                    </a:lnTo>
                    <a:lnTo>
                      <a:pt x="23250" y="0"/>
                    </a:lnTo>
                    <a:lnTo>
                      <a:pt x="23250" y="18678"/>
                    </a:lnTo>
                    <a:lnTo>
                      <a:pt x="39493" y="18678"/>
                    </a:lnTo>
                    <a:lnTo>
                      <a:pt x="39493" y="26476"/>
                    </a:lnTo>
                    <a:lnTo>
                      <a:pt x="23250" y="26476"/>
                    </a:lnTo>
                    <a:lnTo>
                      <a:pt x="23250" y="45154"/>
                    </a:lnTo>
                    <a:lnTo>
                      <a:pt x="16243" y="45154"/>
                    </a:lnTo>
                  </a:path>
                </a:pathLst>
              </a:custGeom>
              <a:grpFill/>
              <a:ln w="158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8" name="Freihandform: Form 127">
                <a:extLst>
                  <a:ext uri="{FF2B5EF4-FFF2-40B4-BE49-F238E27FC236}">
                    <a16:creationId xmlns:a16="http://schemas.microsoft.com/office/drawing/2014/main" id="{9A14333D-A088-532C-6E26-A319BD2EBE21}"/>
                  </a:ext>
                </a:extLst>
              </p:cNvPr>
              <p:cNvSpPr/>
              <p:nvPr/>
            </p:nvSpPr>
            <p:spPr>
              <a:xfrm>
                <a:off x="7078870" y="2953395"/>
                <a:ext cx="39652" cy="45153"/>
              </a:xfrm>
              <a:custGeom>
                <a:avLst/>
                <a:gdLst>
                  <a:gd name="connsiteX0" fmla="*/ 16402 w 39652"/>
                  <a:gd name="connsiteY0" fmla="*/ 45154 h 45153"/>
                  <a:gd name="connsiteX1" fmla="*/ 16402 w 39652"/>
                  <a:gd name="connsiteY1" fmla="*/ 26476 h 45153"/>
                  <a:gd name="connsiteX2" fmla="*/ 0 w 39652"/>
                  <a:gd name="connsiteY2" fmla="*/ 26476 h 45153"/>
                  <a:gd name="connsiteX3" fmla="*/ 0 w 39652"/>
                  <a:gd name="connsiteY3" fmla="*/ 18678 h 45153"/>
                  <a:gd name="connsiteX4" fmla="*/ 16402 w 39652"/>
                  <a:gd name="connsiteY4" fmla="*/ 18678 h 45153"/>
                  <a:gd name="connsiteX5" fmla="*/ 16402 w 39652"/>
                  <a:gd name="connsiteY5" fmla="*/ 0 h 45153"/>
                  <a:gd name="connsiteX6" fmla="*/ 23250 w 39652"/>
                  <a:gd name="connsiteY6" fmla="*/ 0 h 45153"/>
                  <a:gd name="connsiteX7" fmla="*/ 23250 w 39652"/>
                  <a:gd name="connsiteY7" fmla="*/ 18678 h 45153"/>
                  <a:gd name="connsiteX8" fmla="*/ 39652 w 39652"/>
                  <a:gd name="connsiteY8" fmla="*/ 18678 h 45153"/>
                  <a:gd name="connsiteX9" fmla="*/ 39652 w 39652"/>
                  <a:gd name="connsiteY9" fmla="*/ 26476 h 45153"/>
                  <a:gd name="connsiteX10" fmla="*/ 23250 w 39652"/>
                  <a:gd name="connsiteY10" fmla="*/ 26476 h 45153"/>
                  <a:gd name="connsiteX11" fmla="*/ 23250 w 39652"/>
                  <a:gd name="connsiteY11" fmla="*/ 45154 h 45153"/>
                  <a:gd name="connsiteX12" fmla="*/ 16402 w 39652"/>
                  <a:gd name="connsiteY12" fmla="*/ 45154 h 45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652" h="45153">
                    <a:moveTo>
                      <a:pt x="16402" y="45154"/>
                    </a:moveTo>
                    <a:lnTo>
                      <a:pt x="16402" y="26476"/>
                    </a:lnTo>
                    <a:lnTo>
                      <a:pt x="0" y="26476"/>
                    </a:lnTo>
                    <a:lnTo>
                      <a:pt x="0" y="18678"/>
                    </a:lnTo>
                    <a:lnTo>
                      <a:pt x="16402" y="18678"/>
                    </a:lnTo>
                    <a:lnTo>
                      <a:pt x="16402" y="0"/>
                    </a:lnTo>
                    <a:lnTo>
                      <a:pt x="23250" y="0"/>
                    </a:lnTo>
                    <a:lnTo>
                      <a:pt x="23250" y="18678"/>
                    </a:lnTo>
                    <a:lnTo>
                      <a:pt x="39652" y="18678"/>
                    </a:lnTo>
                    <a:lnTo>
                      <a:pt x="39652" y="26476"/>
                    </a:lnTo>
                    <a:lnTo>
                      <a:pt x="23250" y="26476"/>
                    </a:lnTo>
                    <a:lnTo>
                      <a:pt x="23250" y="45154"/>
                    </a:lnTo>
                    <a:lnTo>
                      <a:pt x="16402" y="45154"/>
                    </a:lnTo>
                  </a:path>
                </a:pathLst>
              </a:custGeom>
              <a:grpFill/>
              <a:ln w="158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9" name="Freihandform: Form 128">
                <a:extLst>
                  <a:ext uri="{FF2B5EF4-FFF2-40B4-BE49-F238E27FC236}">
                    <a16:creationId xmlns:a16="http://schemas.microsoft.com/office/drawing/2014/main" id="{51676327-9B5E-AEC5-86C7-EE7A99E35E1C}"/>
                  </a:ext>
                </a:extLst>
              </p:cNvPr>
              <p:cNvSpPr/>
              <p:nvPr/>
            </p:nvSpPr>
            <p:spPr>
              <a:xfrm>
                <a:off x="7114860" y="2953395"/>
                <a:ext cx="26593" cy="45153"/>
              </a:xfrm>
              <a:custGeom>
                <a:avLst/>
                <a:gdLst>
                  <a:gd name="connsiteX0" fmla="*/ 16243 w 26593"/>
                  <a:gd name="connsiteY0" fmla="*/ 45154 h 45153"/>
                  <a:gd name="connsiteX1" fmla="*/ 16243 w 26593"/>
                  <a:gd name="connsiteY1" fmla="*/ 26476 h 45153"/>
                  <a:gd name="connsiteX2" fmla="*/ 0 w 26593"/>
                  <a:gd name="connsiteY2" fmla="*/ 26476 h 45153"/>
                  <a:gd name="connsiteX3" fmla="*/ 0 w 26593"/>
                  <a:gd name="connsiteY3" fmla="*/ 18678 h 45153"/>
                  <a:gd name="connsiteX4" fmla="*/ 16243 w 26593"/>
                  <a:gd name="connsiteY4" fmla="*/ 18678 h 45153"/>
                  <a:gd name="connsiteX5" fmla="*/ 16243 w 26593"/>
                  <a:gd name="connsiteY5" fmla="*/ 0 h 45153"/>
                  <a:gd name="connsiteX6" fmla="*/ 23250 w 26593"/>
                  <a:gd name="connsiteY6" fmla="*/ 0 h 45153"/>
                  <a:gd name="connsiteX7" fmla="*/ 23250 w 26593"/>
                  <a:gd name="connsiteY7" fmla="*/ 18678 h 45153"/>
                  <a:gd name="connsiteX8" fmla="*/ 26594 w 26593"/>
                  <a:gd name="connsiteY8" fmla="*/ 18678 h 45153"/>
                  <a:gd name="connsiteX9" fmla="*/ 26594 w 26593"/>
                  <a:gd name="connsiteY9" fmla="*/ 26476 h 45153"/>
                  <a:gd name="connsiteX10" fmla="*/ 23250 w 26593"/>
                  <a:gd name="connsiteY10" fmla="*/ 26476 h 45153"/>
                  <a:gd name="connsiteX11" fmla="*/ 23250 w 26593"/>
                  <a:gd name="connsiteY11" fmla="*/ 45154 h 45153"/>
                  <a:gd name="connsiteX12" fmla="*/ 16243 w 26593"/>
                  <a:gd name="connsiteY12" fmla="*/ 45154 h 45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6593" h="45153">
                    <a:moveTo>
                      <a:pt x="16243" y="45154"/>
                    </a:moveTo>
                    <a:lnTo>
                      <a:pt x="16243" y="26476"/>
                    </a:lnTo>
                    <a:lnTo>
                      <a:pt x="0" y="26476"/>
                    </a:lnTo>
                    <a:lnTo>
                      <a:pt x="0" y="18678"/>
                    </a:lnTo>
                    <a:lnTo>
                      <a:pt x="16243" y="18678"/>
                    </a:lnTo>
                    <a:lnTo>
                      <a:pt x="16243" y="0"/>
                    </a:lnTo>
                    <a:lnTo>
                      <a:pt x="23250" y="0"/>
                    </a:lnTo>
                    <a:lnTo>
                      <a:pt x="23250" y="18678"/>
                    </a:lnTo>
                    <a:lnTo>
                      <a:pt x="26594" y="18678"/>
                    </a:lnTo>
                    <a:lnTo>
                      <a:pt x="26594" y="26476"/>
                    </a:lnTo>
                    <a:lnTo>
                      <a:pt x="23250" y="26476"/>
                    </a:lnTo>
                    <a:lnTo>
                      <a:pt x="23250" y="45154"/>
                    </a:lnTo>
                    <a:lnTo>
                      <a:pt x="16243" y="45154"/>
                    </a:lnTo>
                  </a:path>
                </a:pathLst>
              </a:custGeom>
              <a:grpFill/>
              <a:ln w="158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2" name="Grafik 300">
              <a:extLst>
                <a:ext uri="{FF2B5EF4-FFF2-40B4-BE49-F238E27FC236}">
                  <a16:creationId xmlns:a16="http://schemas.microsoft.com/office/drawing/2014/main" id="{FB1DDCA6-E7B0-9A76-632E-918FC58F5DBA}"/>
                </a:ext>
              </a:extLst>
            </p:cNvPr>
            <p:cNvGrpSpPr/>
            <p:nvPr/>
          </p:nvGrpSpPr>
          <p:grpSpPr>
            <a:xfrm>
              <a:off x="2573814" y="1761983"/>
              <a:ext cx="4567639" cy="1016417"/>
              <a:chOff x="2573814" y="1761983"/>
              <a:chExt cx="4567639" cy="1016417"/>
            </a:xfrm>
            <a:solidFill>
              <a:schemeClr val="accent6"/>
            </a:solidFill>
          </p:grpSpPr>
          <p:sp>
            <p:nvSpPr>
              <p:cNvPr id="36" name="Freihandform: Form 35">
                <a:extLst>
                  <a:ext uri="{FF2B5EF4-FFF2-40B4-BE49-F238E27FC236}">
                    <a16:creationId xmlns:a16="http://schemas.microsoft.com/office/drawing/2014/main" id="{CE900AB0-1921-A927-E18C-0EB147234E14}"/>
                  </a:ext>
                </a:extLst>
              </p:cNvPr>
              <p:cNvSpPr/>
              <p:nvPr/>
            </p:nvSpPr>
            <p:spPr>
              <a:xfrm>
                <a:off x="2573814" y="1761983"/>
                <a:ext cx="39652" cy="45153"/>
              </a:xfrm>
              <a:custGeom>
                <a:avLst/>
                <a:gdLst>
                  <a:gd name="connsiteX0" fmla="*/ 16243 w 39652"/>
                  <a:gd name="connsiteY0" fmla="*/ 45154 h 45153"/>
                  <a:gd name="connsiteX1" fmla="*/ 16243 w 39652"/>
                  <a:gd name="connsiteY1" fmla="*/ 26476 h 45153"/>
                  <a:gd name="connsiteX2" fmla="*/ 0 w 39652"/>
                  <a:gd name="connsiteY2" fmla="*/ 26476 h 45153"/>
                  <a:gd name="connsiteX3" fmla="*/ 0 w 39652"/>
                  <a:gd name="connsiteY3" fmla="*/ 18678 h 45153"/>
                  <a:gd name="connsiteX4" fmla="*/ 16243 w 39652"/>
                  <a:gd name="connsiteY4" fmla="*/ 18678 h 45153"/>
                  <a:gd name="connsiteX5" fmla="*/ 16243 w 39652"/>
                  <a:gd name="connsiteY5" fmla="*/ 0 h 45153"/>
                  <a:gd name="connsiteX6" fmla="*/ 23250 w 39652"/>
                  <a:gd name="connsiteY6" fmla="*/ 0 h 45153"/>
                  <a:gd name="connsiteX7" fmla="*/ 23250 w 39652"/>
                  <a:gd name="connsiteY7" fmla="*/ 18678 h 45153"/>
                  <a:gd name="connsiteX8" fmla="*/ 39652 w 39652"/>
                  <a:gd name="connsiteY8" fmla="*/ 18678 h 45153"/>
                  <a:gd name="connsiteX9" fmla="*/ 39652 w 39652"/>
                  <a:gd name="connsiteY9" fmla="*/ 26476 h 45153"/>
                  <a:gd name="connsiteX10" fmla="*/ 23250 w 39652"/>
                  <a:gd name="connsiteY10" fmla="*/ 26476 h 45153"/>
                  <a:gd name="connsiteX11" fmla="*/ 23250 w 39652"/>
                  <a:gd name="connsiteY11" fmla="*/ 45154 h 45153"/>
                  <a:gd name="connsiteX12" fmla="*/ 16243 w 39652"/>
                  <a:gd name="connsiteY12" fmla="*/ 45154 h 45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652" h="45153">
                    <a:moveTo>
                      <a:pt x="16243" y="45154"/>
                    </a:moveTo>
                    <a:lnTo>
                      <a:pt x="16243" y="26476"/>
                    </a:lnTo>
                    <a:lnTo>
                      <a:pt x="0" y="26476"/>
                    </a:lnTo>
                    <a:lnTo>
                      <a:pt x="0" y="18678"/>
                    </a:lnTo>
                    <a:lnTo>
                      <a:pt x="16243" y="18678"/>
                    </a:lnTo>
                    <a:lnTo>
                      <a:pt x="16243" y="0"/>
                    </a:lnTo>
                    <a:lnTo>
                      <a:pt x="23250" y="0"/>
                    </a:lnTo>
                    <a:lnTo>
                      <a:pt x="23250" y="18678"/>
                    </a:lnTo>
                    <a:lnTo>
                      <a:pt x="39652" y="18678"/>
                    </a:lnTo>
                    <a:lnTo>
                      <a:pt x="39652" y="26476"/>
                    </a:lnTo>
                    <a:lnTo>
                      <a:pt x="23250" y="26476"/>
                    </a:lnTo>
                    <a:lnTo>
                      <a:pt x="23250" y="45154"/>
                    </a:lnTo>
                    <a:lnTo>
                      <a:pt x="16243" y="45154"/>
                    </a:lnTo>
                  </a:path>
                </a:pathLst>
              </a:custGeom>
              <a:grpFill/>
              <a:ln w="158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" name="Freihandform: Form 36">
                <a:extLst>
                  <a:ext uri="{FF2B5EF4-FFF2-40B4-BE49-F238E27FC236}">
                    <a16:creationId xmlns:a16="http://schemas.microsoft.com/office/drawing/2014/main" id="{494EA565-88CE-C205-5AF4-373E06BC2D53}"/>
                  </a:ext>
                </a:extLst>
              </p:cNvPr>
              <p:cNvSpPr/>
              <p:nvPr/>
            </p:nvSpPr>
            <p:spPr>
              <a:xfrm>
                <a:off x="3100280" y="1840323"/>
                <a:ext cx="39652" cy="45153"/>
              </a:xfrm>
              <a:custGeom>
                <a:avLst/>
                <a:gdLst>
                  <a:gd name="connsiteX0" fmla="*/ 16402 w 39652"/>
                  <a:gd name="connsiteY0" fmla="*/ 45154 h 45153"/>
                  <a:gd name="connsiteX1" fmla="*/ 16402 w 39652"/>
                  <a:gd name="connsiteY1" fmla="*/ 26476 h 45153"/>
                  <a:gd name="connsiteX2" fmla="*/ 0 w 39652"/>
                  <a:gd name="connsiteY2" fmla="*/ 26476 h 45153"/>
                  <a:gd name="connsiteX3" fmla="*/ 0 w 39652"/>
                  <a:gd name="connsiteY3" fmla="*/ 18497 h 45153"/>
                  <a:gd name="connsiteX4" fmla="*/ 16402 w 39652"/>
                  <a:gd name="connsiteY4" fmla="*/ 18497 h 45153"/>
                  <a:gd name="connsiteX5" fmla="*/ 16402 w 39652"/>
                  <a:gd name="connsiteY5" fmla="*/ 0 h 45153"/>
                  <a:gd name="connsiteX6" fmla="*/ 23250 w 39652"/>
                  <a:gd name="connsiteY6" fmla="*/ 0 h 45153"/>
                  <a:gd name="connsiteX7" fmla="*/ 23250 w 39652"/>
                  <a:gd name="connsiteY7" fmla="*/ 18497 h 45153"/>
                  <a:gd name="connsiteX8" fmla="*/ 39652 w 39652"/>
                  <a:gd name="connsiteY8" fmla="*/ 18497 h 45153"/>
                  <a:gd name="connsiteX9" fmla="*/ 39652 w 39652"/>
                  <a:gd name="connsiteY9" fmla="*/ 26476 h 45153"/>
                  <a:gd name="connsiteX10" fmla="*/ 23250 w 39652"/>
                  <a:gd name="connsiteY10" fmla="*/ 26476 h 45153"/>
                  <a:gd name="connsiteX11" fmla="*/ 23250 w 39652"/>
                  <a:gd name="connsiteY11" fmla="*/ 45154 h 45153"/>
                  <a:gd name="connsiteX12" fmla="*/ 16402 w 39652"/>
                  <a:gd name="connsiteY12" fmla="*/ 45154 h 45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652" h="45153">
                    <a:moveTo>
                      <a:pt x="16402" y="45154"/>
                    </a:moveTo>
                    <a:lnTo>
                      <a:pt x="16402" y="26476"/>
                    </a:lnTo>
                    <a:lnTo>
                      <a:pt x="0" y="26476"/>
                    </a:lnTo>
                    <a:lnTo>
                      <a:pt x="0" y="18497"/>
                    </a:lnTo>
                    <a:lnTo>
                      <a:pt x="16402" y="18497"/>
                    </a:lnTo>
                    <a:lnTo>
                      <a:pt x="16402" y="0"/>
                    </a:lnTo>
                    <a:lnTo>
                      <a:pt x="23250" y="0"/>
                    </a:lnTo>
                    <a:lnTo>
                      <a:pt x="23250" y="18497"/>
                    </a:lnTo>
                    <a:lnTo>
                      <a:pt x="39652" y="18497"/>
                    </a:lnTo>
                    <a:lnTo>
                      <a:pt x="39652" y="26476"/>
                    </a:lnTo>
                    <a:lnTo>
                      <a:pt x="23250" y="26476"/>
                    </a:lnTo>
                    <a:lnTo>
                      <a:pt x="23250" y="45154"/>
                    </a:lnTo>
                    <a:lnTo>
                      <a:pt x="16402" y="45154"/>
                    </a:lnTo>
                  </a:path>
                </a:pathLst>
              </a:custGeom>
              <a:grpFill/>
              <a:ln w="158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8" name="Freihandform: Form 37">
                <a:extLst>
                  <a:ext uri="{FF2B5EF4-FFF2-40B4-BE49-F238E27FC236}">
                    <a16:creationId xmlns:a16="http://schemas.microsoft.com/office/drawing/2014/main" id="{D8CD88CA-72D4-3C5C-5AC9-67F2278F09BE}"/>
                  </a:ext>
                </a:extLst>
              </p:cNvPr>
              <p:cNvSpPr/>
              <p:nvPr/>
            </p:nvSpPr>
            <p:spPr>
              <a:xfrm>
                <a:off x="3300610" y="1968168"/>
                <a:ext cx="39652" cy="45153"/>
              </a:xfrm>
              <a:custGeom>
                <a:avLst/>
                <a:gdLst>
                  <a:gd name="connsiteX0" fmla="*/ 16402 w 39652"/>
                  <a:gd name="connsiteY0" fmla="*/ 45154 h 45153"/>
                  <a:gd name="connsiteX1" fmla="*/ 16402 w 39652"/>
                  <a:gd name="connsiteY1" fmla="*/ 26295 h 45153"/>
                  <a:gd name="connsiteX2" fmla="*/ 0 w 39652"/>
                  <a:gd name="connsiteY2" fmla="*/ 26295 h 45153"/>
                  <a:gd name="connsiteX3" fmla="*/ 0 w 39652"/>
                  <a:gd name="connsiteY3" fmla="*/ 18497 h 45153"/>
                  <a:gd name="connsiteX4" fmla="*/ 16402 w 39652"/>
                  <a:gd name="connsiteY4" fmla="*/ 18497 h 45153"/>
                  <a:gd name="connsiteX5" fmla="*/ 16402 w 39652"/>
                  <a:gd name="connsiteY5" fmla="*/ 0 h 45153"/>
                  <a:gd name="connsiteX6" fmla="*/ 23409 w 39652"/>
                  <a:gd name="connsiteY6" fmla="*/ 0 h 45153"/>
                  <a:gd name="connsiteX7" fmla="*/ 23409 w 39652"/>
                  <a:gd name="connsiteY7" fmla="*/ 18497 h 45153"/>
                  <a:gd name="connsiteX8" fmla="*/ 39652 w 39652"/>
                  <a:gd name="connsiteY8" fmla="*/ 18497 h 45153"/>
                  <a:gd name="connsiteX9" fmla="*/ 39652 w 39652"/>
                  <a:gd name="connsiteY9" fmla="*/ 26295 h 45153"/>
                  <a:gd name="connsiteX10" fmla="*/ 23409 w 39652"/>
                  <a:gd name="connsiteY10" fmla="*/ 26295 h 45153"/>
                  <a:gd name="connsiteX11" fmla="*/ 23409 w 39652"/>
                  <a:gd name="connsiteY11" fmla="*/ 45154 h 45153"/>
                  <a:gd name="connsiteX12" fmla="*/ 16402 w 39652"/>
                  <a:gd name="connsiteY12" fmla="*/ 45154 h 45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652" h="45153">
                    <a:moveTo>
                      <a:pt x="16402" y="45154"/>
                    </a:moveTo>
                    <a:lnTo>
                      <a:pt x="16402" y="26295"/>
                    </a:lnTo>
                    <a:lnTo>
                      <a:pt x="0" y="26295"/>
                    </a:lnTo>
                    <a:lnTo>
                      <a:pt x="0" y="18497"/>
                    </a:lnTo>
                    <a:lnTo>
                      <a:pt x="16402" y="18497"/>
                    </a:lnTo>
                    <a:lnTo>
                      <a:pt x="16402" y="0"/>
                    </a:lnTo>
                    <a:lnTo>
                      <a:pt x="23409" y="0"/>
                    </a:lnTo>
                    <a:lnTo>
                      <a:pt x="23409" y="18497"/>
                    </a:lnTo>
                    <a:lnTo>
                      <a:pt x="39652" y="18497"/>
                    </a:lnTo>
                    <a:lnTo>
                      <a:pt x="39652" y="26295"/>
                    </a:lnTo>
                    <a:lnTo>
                      <a:pt x="23409" y="26295"/>
                    </a:lnTo>
                    <a:lnTo>
                      <a:pt x="23409" y="45154"/>
                    </a:lnTo>
                    <a:lnTo>
                      <a:pt x="16402" y="45154"/>
                    </a:lnTo>
                  </a:path>
                </a:pathLst>
              </a:custGeom>
              <a:grpFill/>
              <a:ln w="158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9" name="Freihandform: Form 38">
                <a:extLst>
                  <a:ext uri="{FF2B5EF4-FFF2-40B4-BE49-F238E27FC236}">
                    <a16:creationId xmlns:a16="http://schemas.microsoft.com/office/drawing/2014/main" id="{6A93A1A6-F250-16C7-6FA4-6F91E8B5BC94}"/>
                  </a:ext>
                </a:extLst>
              </p:cNvPr>
              <p:cNvSpPr/>
              <p:nvPr/>
            </p:nvSpPr>
            <p:spPr>
              <a:xfrm>
                <a:off x="3761308" y="2248159"/>
                <a:ext cx="39652" cy="45153"/>
              </a:xfrm>
              <a:custGeom>
                <a:avLst/>
                <a:gdLst>
                  <a:gd name="connsiteX0" fmla="*/ 16402 w 39652"/>
                  <a:gd name="connsiteY0" fmla="*/ 45154 h 45153"/>
                  <a:gd name="connsiteX1" fmla="*/ 16402 w 39652"/>
                  <a:gd name="connsiteY1" fmla="*/ 26476 h 45153"/>
                  <a:gd name="connsiteX2" fmla="*/ 0 w 39652"/>
                  <a:gd name="connsiteY2" fmla="*/ 26476 h 45153"/>
                  <a:gd name="connsiteX3" fmla="*/ 0 w 39652"/>
                  <a:gd name="connsiteY3" fmla="*/ 18497 h 45153"/>
                  <a:gd name="connsiteX4" fmla="*/ 16402 w 39652"/>
                  <a:gd name="connsiteY4" fmla="*/ 18497 h 45153"/>
                  <a:gd name="connsiteX5" fmla="*/ 16402 w 39652"/>
                  <a:gd name="connsiteY5" fmla="*/ 0 h 45153"/>
                  <a:gd name="connsiteX6" fmla="*/ 23409 w 39652"/>
                  <a:gd name="connsiteY6" fmla="*/ 0 h 45153"/>
                  <a:gd name="connsiteX7" fmla="*/ 23409 w 39652"/>
                  <a:gd name="connsiteY7" fmla="*/ 18497 h 45153"/>
                  <a:gd name="connsiteX8" fmla="*/ 39652 w 39652"/>
                  <a:gd name="connsiteY8" fmla="*/ 18497 h 45153"/>
                  <a:gd name="connsiteX9" fmla="*/ 39652 w 39652"/>
                  <a:gd name="connsiteY9" fmla="*/ 26476 h 45153"/>
                  <a:gd name="connsiteX10" fmla="*/ 23409 w 39652"/>
                  <a:gd name="connsiteY10" fmla="*/ 26476 h 45153"/>
                  <a:gd name="connsiteX11" fmla="*/ 23409 w 39652"/>
                  <a:gd name="connsiteY11" fmla="*/ 45154 h 45153"/>
                  <a:gd name="connsiteX12" fmla="*/ 16402 w 39652"/>
                  <a:gd name="connsiteY12" fmla="*/ 45154 h 45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652" h="45153">
                    <a:moveTo>
                      <a:pt x="16402" y="45154"/>
                    </a:moveTo>
                    <a:lnTo>
                      <a:pt x="16402" y="26476"/>
                    </a:lnTo>
                    <a:lnTo>
                      <a:pt x="0" y="26476"/>
                    </a:lnTo>
                    <a:lnTo>
                      <a:pt x="0" y="18497"/>
                    </a:lnTo>
                    <a:lnTo>
                      <a:pt x="16402" y="18497"/>
                    </a:lnTo>
                    <a:lnTo>
                      <a:pt x="16402" y="0"/>
                    </a:lnTo>
                    <a:lnTo>
                      <a:pt x="23409" y="0"/>
                    </a:lnTo>
                    <a:lnTo>
                      <a:pt x="23409" y="18497"/>
                    </a:lnTo>
                    <a:lnTo>
                      <a:pt x="39652" y="18497"/>
                    </a:lnTo>
                    <a:lnTo>
                      <a:pt x="39652" y="26476"/>
                    </a:lnTo>
                    <a:lnTo>
                      <a:pt x="23409" y="26476"/>
                    </a:lnTo>
                    <a:lnTo>
                      <a:pt x="23409" y="45154"/>
                    </a:lnTo>
                    <a:lnTo>
                      <a:pt x="16402" y="45154"/>
                    </a:lnTo>
                  </a:path>
                </a:pathLst>
              </a:custGeom>
              <a:grpFill/>
              <a:ln w="158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0" name="Freihandform: Form 39">
                <a:extLst>
                  <a:ext uri="{FF2B5EF4-FFF2-40B4-BE49-F238E27FC236}">
                    <a16:creationId xmlns:a16="http://schemas.microsoft.com/office/drawing/2014/main" id="{E40D95BF-A332-3BC8-8ECA-D1CAB2FDEC11}"/>
                  </a:ext>
                </a:extLst>
              </p:cNvPr>
              <p:cNvSpPr/>
              <p:nvPr/>
            </p:nvSpPr>
            <p:spPr>
              <a:xfrm>
                <a:off x="4646872" y="2454707"/>
                <a:ext cx="39493" cy="45154"/>
              </a:xfrm>
              <a:custGeom>
                <a:avLst/>
                <a:gdLst>
                  <a:gd name="connsiteX0" fmla="*/ 16243 w 39493"/>
                  <a:gd name="connsiteY0" fmla="*/ 45154 h 45154"/>
                  <a:gd name="connsiteX1" fmla="*/ 16243 w 39493"/>
                  <a:gd name="connsiteY1" fmla="*/ 26295 h 45154"/>
                  <a:gd name="connsiteX2" fmla="*/ 0 w 39493"/>
                  <a:gd name="connsiteY2" fmla="*/ 26295 h 45154"/>
                  <a:gd name="connsiteX3" fmla="*/ 0 w 39493"/>
                  <a:gd name="connsiteY3" fmla="*/ 18497 h 45154"/>
                  <a:gd name="connsiteX4" fmla="*/ 16243 w 39493"/>
                  <a:gd name="connsiteY4" fmla="*/ 18497 h 45154"/>
                  <a:gd name="connsiteX5" fmla="*/ 16243 w 39493"/>
                  <a:gd name="connsiteY5" fmla="*/ 0 h 45154"/>
                  <a:gd name="connsiteX6" fmla="*/ 23250 w 39493"/>
                  <a:gd name="connsiteY6" fmla="*/ 0 h 45154"/>
                  <a:gd name="connsiteX7" fmla="*/ 23250 w 39493"/>
                  <a:gd name="connsiteY7" fmla="*/ 18497 h 45154"/>
                  <a:gd name="connsiteX8" fmla="*/ 39493 w 39493"/>
                  <a:gd name="connsiteY8" fmla="*/ 18497 h 45154"/>
                  <a:gd name="connsiteX9" fmla="*/ 39493 w 39493"/>
                  <a:gd name="connsiteY9" fmla="*/ 26295 h 45154"/>
                  <a:gd name="connsiteX10" fmla="*/ 23250 w 39493"/>
                  <a:gd name="connsiteY10" fmla="*/ 26295 h 45154"/>
                  <a:gd name="connsiteX11" fmla="*/ 23250 w 39493"/>
                  <a:gd name="connsiteY11" fmla="*/ 45154 h 45154"/>
                  <a:gd name="connsiteX12" fmla="*/ 16243 w 39493"/>
                  <a:gd name="connsiteY12" fmla="*/ 45154 h 45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93" h="45154">
                    <a:moveTo>
                      <a:pt x="16243" y="45154"/>
                    </a:moveTo>
                    <a:lnTo>
                      <a:pt x="16243" y="26295"/>
                    </a:lnTo>
                    <a:lnTo>
                      <a:pt x="0" y="26295"/>
                    </a:lnTo>
                    <a:lnTo>
                      <a:pt x="0" y="18497"/>
                    </a:lnTo>
                    <a:lnTo>
                      <a:pt x="16243" y="18497"/>
                    </a:lnTo>
                    <a:lnTo>
                      <a:pt x="16243" y="0"/>
                    </a:lnTo>
                    <a:lnTo>
                      <a:pt x="23250" y="0"/>
                    </a:lnTo>
                    <a:lnTo>
                      <a:pt x="23250" y="18497"/>
                    </a:lnTo>
                    <a:lnTo>
                      <a:pt x="39493" y="18497"/>
                    </a:lnTo>
                    <a:lnTo>
                      <a:pt x="39493" y="26295"/>
                    </a:lnTo>
                    <a:lnTo>
                      <a:pt x="23250" y="26295"/>
                    </a:lnTo>
                    <a:lnTo>
                      <a:pt x="23250" y="45154"/>
                    </a:lnTo>
                    <a:lnTo>
                      <a:pt x="16243" y="45154"/>
                    </a:lnTo>
                  </a:path>
                </a:pathLst>
              </a:custGeom>
              <a:grpFill/>
              <a:ln w="158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1" name="Freihandform: Form 40">
                <a:extLst>
                  <a:ext uri="{FF2B5EF4-FFF2-40B4-BE49-F238E27FC236}">
                    <a16:creationId xmlns:a16="http://schemas.microsoft.com/office/drawing/2014/main" id="{2D9377A3-CC2C-984C-4741-A1D33DF76622}"/>
                  </a:ext>
                </a:extLst>
              </p:cNvPr>
              <p:cNvSpPr/>
              <p:nvPr/>
            </p:nvSpPr>
            <p:spPr>
              <a:xfrm>
                <a:off x="4670759" y="2454707"/>
                <a:ext cx="39652" cy="45154"/>
              </a:xfrm>
              <a:custGeom>
                <a:avLst/>
                <a:gdLst>
                  <a:gd name="connsiteX0" fmla="*/ 16403 w 39652"/>
                  <a:gd name="connsiteY0" fmla="*/ 45154 h 45154"/>
                  <a:gd name="connsiteX1" fmla="*/ 16403 w 39652"/>
                  <a:gd name="connsiteY1" fmla="*/ 26295 h 45154"/>
                  <a:gd name="connsiteX2" fmla="*/ 0 w 39652"/>
                  <a:gd name="connsiteY2" fmla="*/ 26295 h 45154"/>
                  <a:gd name="connsiteX3" fmla="*/ 0 w 39652"/>
                  <a:gd name="connsiteY3" fmla="*/ 18497 h 45154"/>
                  <a:gd name="connsiteX4" fmla="*/ 16403 w 39652"/>
                  <a:gd name="connsiteY4" fmla="*/ 18497 h 45154"/>
                  <a:gd name="connsiteX5" fmla="*/ 16403 w 39652"/>
                  <a:gd name="connsiteY5" fmla="*/ 0 h 45154"/>
                  <a:gd name="connsiteX6" fmla="*/ 23250 w 39652"/>
                  <a:gd name="connsiteY6" fmla="*/ 0 h 45154"/>
                  <a:gd name="connsiteX7" fmla="*/ 23250 w 39652"/>
                  <a:gd name="connsiteY7" fmla="*/ 18497 h 45154"/>
                  <a:gd name="connsiteX8" fmla="*/ 39652 w 39652"/>
                  <a:gd name="connsiteY8" fmla="*/ 18497 h 45154"/>
                  <a:gd name="connsiteX9" fmla="*/ 39652 w 39652"/>
                  <a:gd name="connsiteY9" fmla="*/ 26295 h 45154"/>
                  <a:gd name="connsiteX10" fmla="*/ 23250 w 39652"/>
                  <a:gd name="connsiteY10" fmla="*/ 26295 h 45154"/>
                  <a:gd name="connsiteX11" fmla="*/ 23250 w 39652"/>
                  <a:gd name="connsiteY11" fmla="*/ 45154 h 45154"/>
                  <a:gd name="connsiteX12" fmla="*/ 16403 w 39652"/>
                  <a:gd name="connsiteY12" fmla="*/ 45154 h 45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652" h="45154">
                    <a:moveTo>
                      <a:pt x="16403" y="45154"/>
                    </a:moveTo>
                    <a:lnTo>
                      <a:pt x="16403" y="26295"/>
                    </a:lnTo>
                    <a:lnTo>
                      <a:pt x="0" y="26295"/>
                    </a:lnTo>
                    <a:lnTo>
                      <a:pt x="0" y="18497"/>
                    </a:lnTo>
                    <a:lnTo>
                      <a:pt x="16403" y="18497"/>
                    </a:lnTo>
                    <a:lnTo>
                      <a:pt x="16403" y="0"/>
                    </a:lnTo>
                    <a:lnTo>
                      <a:pt x="23250" y="0"/>
                    </a:lnTo>
                    <a:lnTo>
                      <a:pt x="23250" y="18497"/>
                    </a:lnTo>
                    <a:lnTo>
                      <a:pt x="39652" y="18497"/>
                    </a:lnTo>
                    <a:lnTo>
                      <a:pt x="39652" y="26295"/>
                    </a:lnTo>
                    <a:lnTo>
                      <a:pt x="23250" y="26295"/>
                    </a:lnTo>
                    <a:lnTo>
                      <a:pt x="23250" y="45154"/>
                    </a:lnTo>
                    <a:lnTo>
                      <a:pt x="16403" y="45154"/>
                    </a:lnTo>
                  </a:path>
                </a:pathLst>
              </a:custGeom>
              <a:grpFill/>
              <a:ln w="158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2" name="Freihandform: Form 41">
                <a:extLst>
                  <a:ext uri="{FF2B5EF4-FFF2-40B4-BE49-F238E27FC236}">
                    <a16:creationId xmlns:a16="http://schemas.microsoft.com/office/drawing/2014/main" id="{E7F6854D-EDB8-1291-7D28-3CCA3E403A41}"/>
                  </a:ext>
                </a:extLst>
              </p:cNvPr>
              <p:cNvSpPr/>
              <p:nvPr/>
            </p:nvSpPr>
            <p:spPr>
              <a:xfrm>
                <a:off x="4787486" y="2454707"/>
                <a:ext cx="39493" cy="45154"/>
              </a:xfrm>
              <a:custGeom>
                <a:avLst/>
                <a:gdLst>
                  <a:gd name="connsiteX0" fmla="*/ 16243 w 39493"/>
                  <a:gd name="connsiteY0" fmla="*/ 45154 h 45154"/>
                  <a:gd name="connsiteX1" fmla="*/ 16243 w 39493"/>
                  <a:gd name="connsiteY1" fmla="*/ 26295 h 45154"/>
                  <a:gd name="connsiteX2" fmla="*/ 0 w 39493"/>
                  <a:gd name="connsiteY2" fmla="*/ 26295 h 45154"/>
                  <a:gd name="connsiteX3" fmla="*/ 0 w 39493"/>
                  <a:gd name="connsiteY3" fmla="*/ 18497 h 45154"/>
                  <a:gd name="connsiteX4" fmla="*/ 16243 w 39493"/>
                  <a:gd name="connsiteY4" fmla="*/ 18497 h 45154"/>
                  <a:gd name="connsiteX5" fmla="*/ 16243 w 39493"/>
                  <a:gd name="connsiteY5" fmla="*/ 0 h 45154"/>
                  <a:gd name="connsiteX6" fmla="*/ 23250 w 39493"/>
                  <a:gd name="connsiteY6" fmla="*/ 0 h 45154"/>
                  <a:gd name="connsiteX7" fmla="*/ 23250 w 39493"/>
                  <a:gd name="connsiteY7" fmla="*/ 18497 h 45154"/>
                  <a:gd name="connsiteX8" fmla="*/ 39493 w 39493"/>
                  <a:gd name="connsiteY8" fmla="*/ 18497 h 45154"/>
                  <a:gd name="connsiteX9" fmla="*/ 39493 w 39493"/>
                  <a:gd name="connsiteY9" fmla="*/ 26295 h 45154"/>
                  <a:gd name="connsiteX10" fmla="*/ 23250 w 39493"/>
                  <a:gd name="connsiteY10" fmla="*/ 26295 h 45154"/>
                  <a:gd name="connsiteX11" fmla="*/ 23250 w 39493"/>
                  <a:gd name="connsiteY11" fmla="*/ 45154 h 45154"/>
                  <a:gd name="connsiteX12" fmla="*/ 16243 w 39493"/>
                  <a:gd name="connsiteY12" fmla="*/ 45154 h 45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93" h="45154">
                    <a:moveTo>
                      <a:pt x="16243" y="45154"/>
                    </a:moveTo>
                    <a:lnTo>
                      <a:pt x="16243" y="26295"/>
                    </a:lnTo>
                    <a:lnTo>
                      <a:pt x="0" y="26295"/>
                    </a:lnTo>
                    <a:lnTo>
                      <a:pt x="0" y="18497"/>
                    </a:lnTo>
                    <a:lnTo>
                      <a:pt x="16243" y="18497"/>
                    </a:lnTo>
                    <a:lnTo>
                      <a:pt x="16243" y="0"/>
                    </a:lnTo>
                    <a:lnTo>
                      <a:pt x="23250" y="0"/>
                    </a:lnTo>
                    <a:lnTo>
                      <a:pt x="23250" y="18497"/>
                    </a:lnTo>
                    <a:lnTo>
                      <a:pt x="39493" y="18497"/>
                    </a:lnTo>
                    <a:lnTo>
                      <a:pt x="39493" y="26295"/>
                    </a:lnTo>
                    <a:lnTo>
                      <a:pt x="23250" y="26295"/>
                    </a:lnTo>
                    <a:lnTo>
                      <a:pt x="23250" y="45154"/>
                    </a:lnTo>
                    <a:lnTo>
                      <a:pt x="16243" y="45154"/>
                    </a:lnTo>
                  </a:path>
                </a:pathLst>
              </a:custGeom>
              <a:grpFill/>
              <a:ln w="158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3" name="Freihandform: Form 42">
                <a:extLst>
                  <a:ext uri="{FF2B5EF4-FFF2-40B4-BE49-F238E27FC236}">
                    <a16:creationId xmlns:a16="http://schemas.microsoft.com/office/drawing/2014/main" id="{1CD4821D-8FD5-ABE4-8A2A-E7F8751A7FE3}"/>
                  </a:ext>
                </a:extLst>
              </p:cNvPr>
              <p:cNvSpPr/>
              <p:nvPr/>
            </p:nvSpPr>
            <p:spPr>
              <a:xfrm>
                <a:off x="4793378" y="2454707"/>
                <a:ext cx="39651" cy="45154"/>
              </a:xfrm>
              <a:custGeom>
                <a:avLst/>
                <a:gdLst>
                  <a:gd name="connsiteX0" fmla="*/ 16402 w 39651"/>
                  <a:gd name="connsiteY0" fmla="*/ 45154 h 45154"/>
                  <a:gd name="connsiteX1" fmla="*/ 16402 w 39651"/>
                  <a:gd name="connsiteY1" fmla="*/ 26295 h 45154"/>
                  <a:gd name="connsiteX2" fmla="*/ 0 w 39651"/>
                  <a:gd name="connsiteY2" fmla="*/ 26295 h 45154"/>
                  <a:gd name="connsiteX3" fmla="*/ 0 w 39651"/>
                  <a:gd name="connsiteY3" fmla="*/ 18497 h 45154"/>
                  <a:gd name="connsiteX4" fmla="*/ 16402 w 39651"/>
                  <a:gd name="connsiteY4" fmla="*/ 18497 h 45154"/>
                  <a:gd name="connsiteX5" fmla="*/ 16402 w 39651"/>
                  <a:gd name="connsiteY5" fmla="*/ 0 h 45154"/>
                  <a:gd name="connsiteX6" fmla="*/ 23409 w 39651"/>
                  <a:gd name="connsiteY6" fmla="*/ 0 h 45154"/>
                  <a:gd name="connsiteX7" fmla="*/ 23409 w 39651"/>
                  <a:gd name="connsiteY7" fmla="*/ 18497 h 45154"/>
                  <a:gd name="connsiteX8" fmla="*/ 39652 w 39651"/>
                  <a:gd name="connsiteY8" fmla="*/ 18497 h 45154"/>
                  <a:gd name="connsiteX9" fmla="*/ 39652 w 39651"/>
                  <a:gd name="connsiteY9" fmla="*/ 26295 h 45154"/>
                  <a:gd name="connsiteX10" fmla="*/ 23409 w 39651"/>
                  <a:gd name="connsiteY10" fmla="*/ 26295 h 45154"/>
                  <a:gd name="connsiteX11" fmla="*/ 23409 w 39651"/>
                  <a:gd name="connsiteY11" fmla="*/ 45154 h 45154"/>
                  <a:gd name="connsiteX12" fmla="*/ 16402 w 39651"/>
                  <a:gd name="connsiteY12" fmla="*/ 45154 h 45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651" h="45154">
                    <a:moveTo>
                      <a:pt x="16402" y="45154"/>
                    </a:moveTo>
                    <a:lnTo>
                      <a:pt x="16402" y="26295"/>
                    </a:lnTo>
                    <a:lnTo>
                      <a:pt x="0" y="26295"/>
                    </a:lnTo>
                    <a:lnTo>
                      <a:pt x="0" y="18497"/>
                    </a:lnTo>
                    <a:lnTo>
                      <a:pt x="16402" y="18497"/>
                    </a:lnTo>
                    <a:lnTo>
                      <a:pt x="16402" y="0"/>
                    </a:lnTo>
                    <a:lnTo>
                      <a:pt x="23409" y="0"/>
                    </a:lnTo>
                    <a:lnTo>
                      <a:pt x="23409" y="18497"/>
                    </a:lnTo>
                    <a:lnTo>
                      <a:pt x="39652" y="18497"/>
                    </a:lnTo>
                    <a:lnTo>
                      <a:pt x="39652" y="26295"/>
                    </a:lnTo>
                    <a:lnTo>
                      <a:pt x="23409" y="26295"/>
                    </a:lnTo>
                    <a:lnTo>
                      <a:pt x="23409" y="45154"/>
                    </a:lnTo>
                    <a:lnTo>
                      <a:pt x="16402" y="45154"/>
                    </a:lnTo>
                  </a:path>
                </a:pathLst>
              </a:custGeom>
              <a:grpFill/>
              <a:ln w="158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4" name="Freihandform: Form 43">
                <a:extLst>
                  <a:ext uri="{FF2B5EF4-FFF2-40B4-BE49-F238E27FC236}">
                    <a16:creationId xmlns:a16="http://schemas.microsoft.com/office/drawing/2014/main" id="{99AD9FA9-566E-CB88-CB3A-23B8E677B947}"/>
                  </a:ext>
                </a:extLst>
              </p:cNvPr>
              <p:cNvSpPr/>
              <p:nvPr/>
            </p:nvSpPr>
            <p:spPr>
              <a:xfrm>
                <a:off x="5272070" y="2585998"/>
                <a:ext cx="39651" cy="45153"/>
              </a:xfrm>
              <a:custGeom>
                <a:avLst/>
                <a:gdLst>
                  <a:gd name="connsiteX0" fmla="*/ 16402 w 39651"/>
                  <a:gd name="connsiteY0" fmla="*/ 45154 h 45153"/>
                  <a:gd name="connsiteX1" fmla="*/ 16402 w 39651"/>
                  <a:gd name="connsiteY1" fmla="*/ 26476 h 45153"/>
                  <a:gd name="connsiteX2" fmla="*/ 0 w 39651"/>
                  <a:gd name="connsiteY2" fmla="*/ 26476 h 45153"/>
                  <a:gd name="connsiteX3" fmla="*/ 0 w 39651"/>
                  <a:gd name="connsiteY3" fmla="*/ 18497 h 45153"/>
                  <a:gd name="connsiteX4" fmla="*/ 16402 w 39651"/>
                  <a:gd name="connsiteY4" fmla="*/ 18497 h 45153"/>
                  <a:gd name="connsiteX5" fmla="*/ 16402 w 39651"/>
                  <a:gd name="connsiteY5" fmla="*/ 0 h 45153"/>
                  <a:gd name="connsiteX6" fmla="*/ 23250 w 39651"/>
                  <a:gd name="connsiteY6" fmla="*/ 0 h 45153"/>
                  <a:gd name="connsiteX7" fmla="*/ 23250 w 39651"/>
                  <a:gd name="connsiteY7" fmla="*/ 18497 h 45153"/>
                  <a:gd name="connsiteX8" fmla="*/ 39652 w 39651"/>
                  <a:gd name="connsiteY8" fmla="*/ 18497 h 45153"/>
                  <a:gd name="connsiteX9" fmla="*/ 39652 w 39651"/>
                  <a:gd name="connsiteY9" fmla="*/ 26476 h 45153"/>
                  <a:gd name="connsiteX10" fmla="*/ 23250 w 39651"/>
                  <a:gd name="connsiteY10" fmla="*/ 26476 h 45153"/>
                  <a:gd name="connsiteX11" fmla="*/ 23250 w 39651"/>
                  <a:gd name="connsiteY11" fmla="*/ 45154 h 45153"/>
                  <a:gd name="connsiteX12" fmla="*/ 16402 w 39651"/>
                  <a:gd name="connsiteY12" fmla="*/ 45154 h 45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651" h="45153">
                    <a:moveTo>
                      <a:pt x="16402" y="45154"/>
                    </a:moveTo>
                    <a:lnTo>
                      <a:pt x="16402" y="26476"/>
                    </a:lnTo>
                    <a:lnTo>
                      <a:pt x="0" y="26476"/>
                    </a:lnTo>
                    <a:lnTo>
                      <a:pt x="0" y="18497"/>
                    </a:lnTo>
                    <a:lnTo>
                      <a:pt x="16402" y="18497"/>
                    </a:lnTo>
                    <a:lnTo>
                      <a:pt x="16402" y="0"/>
                    </a:lnTo>
                    <a:lnTo>
                      <a:pt x="23250" y="0"/>
                    </a:lnTo>
                    <a:lnTo>
                      <a:pt x="23250" y="18497"/>
                    </a:lnTo>
                    <a:lnTo>
                      <a:pt x="39652" y="18497"/>
                    </a:lnTo>
                    <a:lnTo>
                      <a:pt x="39652" y="26476"/>
                    </a:lnTo>
                    <a:lnTo>
                      <a:pt x="23250" y="26476"/>
                    </a:lnTo>
                    <a:lnTo>
                      <a:pt x="23250" y="45154"/>
                    </a:lnTo>
                    <a:lnTo>
                      <a:pt x="16402" y="45154"/>
                    </a:lnTo>
                  </a:path>
                </a:pathLst>
              </a:custGeom>
              <a:grpFill/>
              <a:ln w="158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5" name="Freihandform: Form 44">
                <a:extLst>
                  <a:ext uri="{FF2B5EF4-FFF2-40B4-BE49-F238E27FC236}">
                    <a16:creationId xmlns:a16="http://schemas.microsoft.com/office/drawing/2014/main" id="{5BDEC1B1-D12F-6E87-0CB2-D1B8BCB3A98A}"/>
                  </a:ext>
                </a:extLst>
              </p:cNvPr>
              <p:cNvSpPr/>
              <p:nvPr/>
            </p:nvSpPr>
            <p:spPr>
              <a:xfrm>
                <a:off x="5334813" y="2606671"/>
                <a:ext cx="39651" cy="45153"/>
              </a:xfrm>
              <a:custGeom>
                <a:avLst/>
                <a:gdLst>
                  <a:gd name="connsiteX0" fmla="*/ 16402 w 39651"/>
                  <a:gd name="connsiteY0" fmla="*/ 45154 h 45153"/>
                  <a:gd name="connsiteX1" fmla="*/ 16402 w 39651"/>
                  <a:gd name="connsiteY1" fmla="*/ 26476 h 45153"/>
                  <a:gd name="connsiteX2" fmla="*/ 0 w 39651"/>
                  <a:gd name="connsiteY2" fmla="*/ 26476 h 45153"/>
                  <a:gd name="connsiteX3" fmla="*/ 0 w 39651"/>
                  <a:gd name="connsiteY3" fmla="*/ 18678 h 45153"/>
                  <a:gd name="connsiteX4" fmla="*/ 16402 w 39651"/>
                  <a:gd name="connsiteY4" fmla="*/ 18678 h 45153"/>
                  <a:gd name="connsiteX5" fmla="*/ 16402 w 39651"/>
                  <a:gd name="connsiteY5" fmla="*/ 0 h 45153"/>
                  <a:gd name="connsiteX6" fmla="*/ 23409 w 39651"/>
                  <a:gd name="connsiteY6" fmla="*/ 0 h 45153"/>
                  <a:gd name="connsiteX7" fmla="*/ 23409 w 39651"/>
                  <a:gd name="connsiteY7" fmla="*/ 18678 h 45153"/>
                  <a:gd name="connsiteX8" fmla="*/ 39652 w 39651"/>
                  <a:gd name="connsiteY8" fmla="*/ 18678 h 45153"/>
                  <a:gd name="connsiteX9" fmla="*/ 39652 w 39651"/>
                  <a:gd name="connsiteY9" fmla="*/ 26476 h 45153"/>
                  <a:gd name="connsiteX10" fmla="*/ 23409 w 39651"/>
                  <a:gd name="connsiteY10" fmla="*/ 26476 h 45153"/>
                  <a:gd name="connsiteX11" fmla="*/ 23409 w 39651"/>
                  <a:gd name="connsiteY11" fmla="*/ 45154 h 45153"/>
                  <a:gd name="connsiteX12" fmla="*/ 16402 w 39651"/>
                  <a:gd name="connsiteY12" fmla="*/ 45154 h 45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651" h="45153">
                    <a:moveTo>
                      <a:pt x="16402" y="45154"/>
                    </a:moveTo>
                    <a:lnTo>
                      <a:pt x="16402" y="26476"/>
                    </a:lnTo>
                    <a:lnTo>
                      <a:pt x="0" y="26476"/>
                    </a:lnTo>
                    <a:lnTo>
                      <a:pt x="0" y="18678"/>
                    </a:lnTo>
                    <a:lnTo>
                      <a:pt x="16402" y="18678"/>
                    </a:lnTo>
                    <a:lnTo>
                      <a:pt x="16402" y="0"/>
                    </a:lnTo>
                    <a:lnTo>
                      <a:pt x="23409" y="0"/>
                    </a:lnTo>
                    <a:lnTo>
                      <a:pt x="23409" y="18678"/>
                    </a:lnTo>
                    <a:lnTo>
                      <a:pt x="39652" y="18678"/>
                    </a:lnTo>
                    <a:lnTo>
                      <a:pt x="39652" y="26476"/>
                    </a:lnTo>
                    <a:lnTo>
                      <a:pt x="23409" y="26476"/>
                    </a:lnTo>
                    <a:lnTo>
                      <a:pt x="23409" y="45154"/>
                    </a:lnTo>
                    <a:lnTo>
                      <a:pt x="16402" y="45154"/>
                    </a:lnTo>
                  </a:path>
                </a:pathLst>
              </a:custGeom>
              <a:grpFill/>
              <a:ln w="158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6" name="Freihandform: Form 45">
                <a:extLst>
                  <a:ext uri="{FF2B5EF4-FFF2-40B4-BE49-F238E27FC236}">
                    <a16:creationId xmlns:a16="http://schemas.microsoft.com/office/drawing/2014/main" id="{4BD80C16-52F6-7677-2DB0-6D8827633947}"/>
                  </a:ext>
                </a:extLst>
              </p:cNvPr>
              <p:cNvSpPr/>
              <p:nvPr/>
            </p:nvSpPr>
            <p:spPr>
              <a:xfrm>
                <a:off x="5349782" y="2606671"/>
                <a:ext cx="39651" cy="45153"/>
              </a:xfrm>
              <a:custGeom>
                <a:avLst/>
                <a:gdLst>
                  <a:gd name="connsiteX0" fmla="*/ 16402 w 39651"/>
                  <a:gd name="connsiteY0" fmla="*/ 45154 h 45153"/>
                  <a:gd name="connsiteX1" fmla="*/ 16402 w 39651"/>
                  <a:gd name="connsiteY1" fmla="*/ 26476 h 45153"/>
                  <a:gd name="connsiteX2" fmla="*/ 0 w 39651"/>
                  <a:gd name="connsiteY2" fmla="*/ 26476 h 45153"/>
                  <a:gd name="connsiteX3" fmla="*/ 0 w 39651"/>
                  <a:gd name="connsiteY3" fmla="*/ 18678 h 45153"/>
                  <a:gd name="connsiteX4" fmla="*/ 16402 w 39651"/>
                  <a:gd name="connsiteY4" fmla="*/ 18678 h 45153"/>
                  <a:gd name="connsiteX5" fmla="*/ 16402 w 39651"/>
                  <a:gd name="connsiteY5" fmla="*/ 0 h 45153"/>
                  <a:gd name="connsiteX6" fmla="*/ 23409 w 39651"/>
                  <a:gd name="connsiteY6" fmla="*/ 0 h 45153"/>
                  <a:gd name="connsiteX7" fmla="*/ 23409 w 39651"/>
                  <a:gd name="connsiteY7" fmla="*/ 18678 h 45153"/>
                  <a:gd name="connsiteX8" fmla="*/ 39652 w 39651"/>
                  <a:gd name="connsiteY8" fmla="*/ 18678 h 45153"/>
                  <a:gd name="connsiteX9" fmla="*/ 39652 w 39651"/>
                  <a:gd name="connsiteY9" fmla="*/ 26476 h 45153"/>
                  <a:gd name="connsiteX10" fmla="*/ 23409 w 39651"/>
                  <a:gd name="connsiteY10" fmla="*/ 26476 h 45153"/>
                  <a:gd name="connsiteX11" fmla="*/ 23409 w 39651"/>
                  <a:gd name="connsiteY11" fmla="*/ 45154 h 45153"/>
                  <a:gd name="connsiteX12" fmla="*/ 16402 w 39651"/>
                  <a:gd name="connsiteY12" fmla="*/ 45154 h 45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651" h="45153">
                    <a:moveTo>
                      <a:pt x="16402" y="45154"/>
                    </a:moveTo>
                    <a:lnTo>
                      <a:pt x="16402" y="26476"/>
                    </a:lnTo>
                    <a:lnTo>
                      <a:pt x="0" y="26476"/>
                    </a:lnTo>
                    <a:lnTo>
                      <a:pt x="0" y="18678"/>
                    </a:lnTo>
                    <a:lnTo>
                      <a:pt x="16402" y="18678"/>
                    </a:lnTo>
                    <a:lnTo>
                      <a:pt x="16402" y="0"/>
                    </a:lnTo>
                    <a:lnTo>
                      <a:pt x="23409" y="0"/>
                    </a:lnTo>
                    <a:lnTo>
                      <a:pt x="23409" y="18678"/>
                    </a:lnTo>
                    <a:lnTo>
                      <a:pt x="39652" y="18678"/>
                    </a:lnTo>
                    <a:lnTo>
                      <a:pt x="39652" y="26476"/>
                    </a:lnTo>
                    <a:lnTo>
                      <a:pt x="23409" y="26476"/>
                    </a:lnTo>
                    <a:lnTo>
                      <a:pt x="23409" y="45154"/>
                    </a:lnTo>
                    <a:lnTo>
                      <a:pt x="16402" y="45154"/>
                    </a:lnTo>
                  </a:path>
                </a:pathLst>
              </a:custGeom>
              <a:grpFill/>
              <a:ln w="158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7" name="Freihandform: Form 46">
                <a:extLst>
                  <a:ext uri="{FF2B5EF4-FFF2-40B4-BE49-F238E27FC236}">
                    <a16:creationId xmlns:a16="http://schemas.microsoft.com/office/drawing/2014/main" id="{A01BDB58-5CCA-CD3F-9C38-8595DB74F5B9}"/>
                  </a:ext>
                </a:extLst>
              </p:cNvPr>
              <p:cNvSpPr/>
              <p:nvPr/>
            </p:nvSpPr>
            <p:spPr>
              <a:xfrm>
                <a:off x="5433545" y="2654001"/>
                <a:ext cx="39652" cy="45153"/>
              </a:xfrm>
              <a:custGeom>
                <a:avLst/>
                <a:gdLst>
                  <a:gd name="connsiteX0" fmla="*/ 16402 w 39652"/>
                  <a:gd name="connsiteY0" fmla="*/ 45154 h 45153"/>
                  <a:gd name="connsiteX1" fmla="*/ 16402 w 39652"/>
                  <a:gd name="connsiteY1" fmla="*/ 26476 h 45153"/>
                  <a:gd name="connsiteX2" fmla="*/ 0 w 39652"/>
                  <a:gd name="connsiteY2" fmla="*/ 26476 h 45153"/>
                  <a:gd name="connsiteX3" fmla="*/ 0 w 39652"/>
                  <a:gd name="connsiteY3" fmla="*/ 18497 h 45153"/>
                  <a:gd name="connsiteX4" fmla="*/ 16402 w 39652"/>
                  <a:gd name="connsiteY4" fmla="*/ 18497 h 45153"/>
                  <a:gd name="connsiteX5" fmla="*/ 16402 w 39652"/>
                  <a:gd name="connsiteY5" fmla="*/ 0 h 45153"/>
                  <a:gd name="connsiteX6" fmla="*/ 23250 w 39652"/>
                  <a:gd name="connsiteY6" fmla="*/ 0 h 45153"/>
                  <a:gd name="connsiteX7" fmla="*/ 23250 w 39652"/>
                  <a:gd name="connsiteY7" fmla="*/ 18497 h 45153"/>
                  <a:gd name="connsiteX8" fmla="*/ 39652 w 39652"/>
                  <a:gd name="connsiteY8" fmla="*/ 18497 h 45153"/>
                  <a:gd name="connsiteX9" fmla="*/ 39652 w 39652"/>
                  <a:gd name="connsiteY9" fmla="*/ 26476 h 45153"/>
                  <a:gd name="connsiteX10" fmla="*/ 23250 w 39652"/>
                  <a:gd name="connsiteY10" fmla="*/ 26476 h 45153"/>
                  <a:gd name="connsiteX11" fmla="*/ 23250 w 39652"/>
                  <a:gd name="connsiteY11" fmla="*/ 45154 h 45153"/>
                  <a:gd name="connsiteX12" fmla="*/ 16402 w 39652"/>
                  <a:gd name="connsiteY12" fmla="*/ 45154 h 45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652" h="45153">
                    <a:moveTo>
                      <a:pt x="16402" y="45154"/>
                    </a:moveTo>
                    <a:lnTo>
                      <a:pt x="16402" y="26476"/>
                    </a:lnTo>
                    <a:lnTo>
                      <a:pt x="0" y="26476"/>
                    </a:lnTo>
                    <a:lnTo>
                      <a:pt x="0" y="18497"/>
                    </a:lnTo>
                    <a:lnTo>
                      <a:pt x="16402" y="18497"/>
                    </a:lnTo>
                    <a:lnTo>
                      <a:pt x="16402" y="0"/>
                    </a:lnTo>
                    <a:lnTo>
                      <a:pt x="23250" y="0"/>
                    </a:lnTo>
                    <a:lnTo>
                      <a:pt x="23250" y="18497"/>
                    </a:lnTo>
                    <a:lnTo>
                      <a:pt x="39652" y="18497"/>
                    </a:lnTo>
                    <a:lnTo>
                      <a:pt x="39652" y="26476"/>
                    </a:lnTo>
                    <a:lnTo>
                      <a:pt x="23250" y="26476"/>
                    </a:lnTo>
                    <a:lnTo>
                      <a:pt x="23250" y="45154"/>
                    </a:lnTo>
                    <a:lnTo>
                      <a:pt x="16402" y="45154"/>
                    </a:lnTo>
                  </a:path>
                </a:pathLst>
              </a:custGeom>
              <a:grpFill/>
              <a:ln w="158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8" name="Freihandform: Form 47">
                <a:extLst>
                  <a:ext uri="{FF2B5EF4-FFF2-40B4-BE49-F238E27FC236}">
                    <a16:creationId xmlns:a16="http://schemas.microsoft.com/office/drawing/2014/main" id="{302315F8-D9CC-29F1-EE4D-E5D91C693DA4}"/>
                  </a:ext>
                </a:extLst>
              </p:cNvPr>
              <p:cNvSpPr/>
              <p:nvPr/>
            </p:nvSpPr>
            <p:spPr>
              <a:xfrm>
                <a:off x="5705855" y="2681021"/>
                <a:ext cx="39652" cy="45154"/>
              </a:xfrm>
              <a:custGeom>
                <a:avLst/>
                <a:gdLst>
                  <a:gd name="connsiteX0" fmla="*/ 16243 w 39652"/>
                  <a:gd name="connsiteY0" fmla="*/ 45154 h 45154"/>
                  <a:gd name="connsiteX1" fmla="*/ 16243 w 39652"/>
                  <a:gd name="connsiteY1" fmla="*/ 26476 h 45154"/>
                  <a:gd name="connsiteX2" fmla="*/ 0 w 39652"/>
                  <a:gd name="connsiteY2" fmla="*/ 26476 h 45154"/>
                  <a:gd name="connsiteX3" fmla="*/ 0 w 39652"/>
                  <a:gd name="connsiteY3" fmla="*/ 18678 h 45154"/>
                  <a:gd name="connsiteX4" fmla="*/ 16243 w 39652"/>
                  <a:gd name="connsiteY4" fmla="*/ 18678 h 45154"/>
                  <a:gd name="connsiteX5" fmla="*/ 16243 w 39652"/>
                  <a:gd name="connsiteY5" fmla="*/ 0 h 45154"/>
                  <a:gd name="connsiteX6" fmla="*/ 23250 w 39652"/>
                  <a:gd name="connsiteY6" fmla="*/ 0 h 45154"/>
                  <a:gd name="connsiteX7" fmla="*/ 23250 w 39652"/>
                  <a:gd name="connsiteY7" fmla="*/ 18678 h 45154"/>
                  <a:gd name="connsiteX8" fmla="*/ 39652 w 39652"/>
                  <a:gd name="connsiteY8" fmla="*/ 18678 h 45154"/>
                  <a:gd name="connsiteX9" fmla="*/ 39652 w 39652"/>
                  <a:gd name="connsiteY9" fmla="*/ 26476 h 45154"/>
                  <a:gd name="connsiteX10" fmla="*/ 23250 w 39652"/>
                  <a:gd name="connsiteY10" fmla="*/ 26476 h 45154"/>
                  <a:gd name="connsiteX11" fmla="*/ 23250 w 39652"/>
                  <a:gd name="connsiteY11" fmla="*/ 45154 h 45154"/>
                  <a:gd name="connsiteX12" fmla="*/ 16243 w 39652"/>
                  <a:gd name="connsiteY12" fmla="*/ 45154 h 45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652" h="45154">
                    <a:moveTo>
                      <a:pt x="16243" y="45154"/>
                    </a:moveTo>
                    <a:lnTo>
                      <a:pt x="16243" y="26476"/>
                    </a:lnTo>
                    <a:lnTo>
                      <a:pt x="0" y="26476"/>
                    </a:lnTo>
                    <a:lnTo>
                      <a:pt x="0" y="18678"/>
                    </a:lnTo>
                    <a:lnTo>
                      <a:pt x="16243" y="18678"/>
                    </a:lnTo>
                    <a:lnTo>
                      <a:pt x="16243" y="0"/>
                    </a:lnTo>
                    <a:lnTo>
                      <a:pt x="23250" y="0"/>
                    </a:lnTo>
                    <a:lnTo>
                      <a:pt x="23250" y="18678"/>
                    </a:lnTo>
                    <a:lnTo>
                      <a:pt x="39652" y="18678"/>
                    </a:lnTo>
                    <a:lnTo>
                      <a:pt x="39652" y="26476"/>
                    </a:lnTo>
                    <a:lnTo>
                      <a:pt x="23250" y="26476"/>
                    </a:lnTo>
                    <a:lnTo>
                      <a:pt x="23250" y="45154"/>
                    </a:lnTo>
                    <a:lnTo>
                      <a:pt x="16243" y="45154"/>
                    </a:lnTo>
                  </a:path>
                </a:pathLst>
              </a:custGeom>
              <a:grpFill/>
              <a:ln w="158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9" name="Freihandform: Form 48">
                <a:extLst>
                  <a:ext uri="{FF2B5EF4-FFF2-40B4-BE49-F238E27FC236}">
                    <a16:creationId xmlns:a16="http://schemas.microsoft.com/office/drawing/2014/main" id="{A0D60A0F-EB8E-70EB-3667-6C8CD42D2276}"/>
                  </a:ext>
                </a:extLst>
              </p:cNvPr>
              <p:cNvSpPr/>
              <p:nvPr/>
            </p:nvSpPr>
            <p:spPr>
              <a:xfrm>
                <a:off x="5720824" y="2681021"/>
                <a:ext cx="39652" cy="45154"/>
              </a:xfrm>
              <a:custGeom>
                <a:avLst/>
                <a:gdLst>
                  <a:gd name="connsiteX0" fmla="*/ 16243 w 39652"/>
                  <a:gd name="connsiteY0" fmla="*/ 45154 h 45154"/>
                  <a:gd name="connsiteX1" fmla="*/ 16243 w 39652"/>
                  <a:gd name="connsiteY1" fmla="*/ 26476 h 45154"/>
                  <a:gd name="connsiteX2" fmla="*/ 0 w 39652"/>
                  <a:gd name="connsiteY2" fmla="*/ 26476 h 45154"/>
                  <a:gd name="connsiteX3" fmla="*/ 0 w 39652"/>
                  <a:gd name="connsiteY3" fmla="*/ 18678 h 45154"/>
                  <a:gd name="connsiteX4" fmla="*/ 16243 w 39652"/>
                  <a:gd name="connsiteY4" fmla="*/ 18678 h 45154"/>
                  <a:gd name="connsiteX5" fmla="*/ 16243 w 39652"/>
                  <a:gd name="connsiteY5" fmla="*/ 0 h 45154"/>
                  <a:gd name="connsiteX6" fmla="*/ 23250 w 39652"/>
                  <a:gd name="connsiteY6" fmla="*/ 0 h 45154"/>
                  <a:gd name="connsiteX7" fmla="*/ 23250 w 39652"/>
                  <a:gd name="connsiteY7" fmla="*/ 18678 h 45154"/>
                  <a:gd name="connsiteX8" fmla="*/ 39652 w 39652"/>
                  <a:gd name="connsiteY8" fmla="*/ 18678 h 45154"/>
                  <a:gd name="connsiteX9" fmla="*/ 39652 w 39652"/>
                  <a:gd name="connsiteY9" fmla="*/ 26476 h 45154"/>
                  <a:gd name="connsiteX10" fmla="*/ 23250 w 39652"/>
                  <a:gd name="connsiteY10" fmla="*/ 26476 h 45154"/>
                  <a:gd name="connsiteX11" fmla="*/ 23250 w 39652"/>
                  <a:gd name="connsiteY11" fmla="*/ 45154 h 45154"/>
                  <a:gd name="connsiteX12" fmla="*/ 16243 w 39652"/>
                  <a:gd name="connsiteY12" fmla="*/ 45154 h 45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652" h="45154">
                    <a:moveTo>
                      <a:pt x="16243" y="45154"/>
                    </a:moveTo>
                    <a:lnTo>
                      <a:pt x="16243" y="26476"/>
                    </a:lnTo>
                    <a:lnTo>
                      <a:pt x="0" y="26476"/>
                    </a:lnTo>
                    <a:lnTo>
                      <a:pt x="0" y="18678"/>
                    </a:lnTo>
                    <a:lnTo>
                      <a:pt x="16243" y="18678"/>
                    </a:lnTo>
                    <a:lnTo>
                      <a:pt x="16243" y="0"/>
                    </a:lnTo>
                    <a:lnTo>
                      <a:pt x="23250" y="0"/>
                    </a:lnTo>
                    <a:lnTo>
                      <a:pt x="23250" y="18678"/>
                    </a:lnTo>
                    <a:lnTo>
                      <a:pt x="39652" y="18678"/>
                    </a:lnTo>
                    <a:lnTo>
                      <a:pt x="39652" y="26476"/>
                    </a:lnTo>
                    <a:lnTo>
                      <a:pt x="23250" y="26476"/>
                    </a:lnTo>
                    <a:lnTo>
                      <a:pt x="23250" y="45154"/>
                    </a:lnTo>
                    <a:lnTo>
                      <a:pt x="16243" y="45154"/>
                    </a:lnTo>
                  </a:path>
                </a:pathLst>
              </a:custGeom>
              <a:grpFill/>
              <a:ln w="158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0" name="Freihandform: Form 49">
                <a:extLst>
                  <a:ext uri="{FF2B5EF4-FFF2-40B4-BE49-F238E27FC236}">
                    <a16:creationId xmlns:a16="http://schemas.microsoft.com/office/drawing/2014/main" id="{51F5EDCA-096A-F306-312A-92817F9A20BB}"/>
                  </a:ext>
                </a:extLst>
              </p:cNvPr>
              <p:cNvSpPr/>
              <p:nvPr/>
            </p:nvSpPr>
            <p:spPr>
              <a:xfrm>
                <a:off x="5732767" y="2681021"/>
                <a:ext cx="39493" cy="45154"/>
              </a:xfrm>
              <a:custGeom>
                <a:avLst/>
                <a:gdLst>
                  <a:gd name="connsiteX0" fmla="*/ 16243 w 39493"/>
                  <a:gd name="connsiteY0" fmla="*/ 45154 h 45154"/>
                  <a:gd name="connsiteX1" fmla="*/ 16243 w 39493"/>
                  <a:gd name="connsiteY1" fmla="*/ 26476 h 45154"/>
                  <a:gd name="connsiteX2" fmla="*/ 0 w 39493"/>
                  <a:gd name="connsiteY2" fmla="*/ 26476 h 45154"/>
                  <a:gd name="connsiteX3" fmla="*/ 0 w 39493"/>
                  <a:gd name="connsiteY3" fmla="*/ 18678 h 45154"/>
                  <a:gd name="connsiteX4" fmla="*/ 16243 w 39493"/>
                  <a:gd name="connsiteY4" fmla="*/ 18678 h 45154"/>
                  <a:gd name="connsiteX5" fmla="*/ 16243 w 39493"/>
                  <a:gd name="connsiteY5" fmla="*/ 0 h 45154"/>
                  <a:gd name="connsiteX6" fmla="*/ 23250 w 39493"/>
                  <a:gd name="connsiteY6" fmla="*/ 0 h 45154"/>
                  <a:gd name="connsiteX7" fmla="*/ 23250 w 39493"/>
                  <a:gd name="connsiteY7" fmla="*/ 18678 h 45154"/>
                  <a:gd name="connsiteX8" fmla="*/ 39493 w 39493"/>
                  <a:gd name="connsiteY8" fmla="*/ 18678 h 45154"/>
                  <a:gd name="connsiteX9" fmla="*/ 39493 w 39493"/>
                  <a:gd name="connsiteY9" fmla="*/ 26476 h 45154"/>
                  <a:gd name="connsiteX10" fmla="*/ 23250 w 39493"/>
                  <a:gd name="connsiteY10" fmla="*/ 26476 h 45154"/>
                  <a:gd name="connsiteX11" fmla="*/ 23250 w 39493"/>
                  <a:gd name="connsiteY11" fmla="*/ 45154 h 45154"/>
                  <a:gd name="connsiteX12" fmla="*/ 16243 w 39493"/>
                  <a:gd name="connsiteY12" fmla="*/ 45154 h 45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93" h="45154">
                    <a:moveTo>
                      <a:pt x="16243" y="45154"/>
                    </a:moveTo>
                    <a:lnTo>
                      <a:pt x="16243" y="26476"/>
                    </a:lnTo>
                    <a:lnTo>
                      <a:pt x="0" y="26476"/>
                    </a:lnTo>
                    <a:lnTo>
                      <a:pt x="0" y="18678"/>
                    </a:lnTo>
                    <a:lnTo>
                      <a:pt x="16243" y="18678"/>
                    </a:lnTo>
                    <a:lnTo>
                      <a:pt x="16243" y="0"/>
                    </a:lnTo>
                    <a:lnTo>
                      <a:pt x="23250" y="0"/>
                    </a:lnTo>
                    <a:lnTo>
                      <a:pt x="23250" y="18678"/>
                    </a:lnTo>
                    <a:lnTo>
                      <a:pt x="39493" y="18678"/>
                    </a:lnTo>
                    <a:lnTo>
                      <a:pt x="39493" y="26476"/>
                    </a:lnTo>
                    <a:lnTo>
                      <a:pt x="23250" y="26476"/>
                    </a:lnTo>
                    <a:lnTo>
                      <a:pt x="23250" y="45154"/>
                    </a:lnTo>
                    <a:lnTo>
                      <a:pt x="16243" y="45154"/>
                    </a:lnTo>
                  </a:path>
                </a:pathLst>
              </a:custGeom>
              <a:grpFill/>
              <a:ln w="158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1" name="Freihandform: Form 50">
                <a:extLst>
                  <a:ext uri="{FF2B5EF4-FFF2-40B4-BE49-F238E27FC236}">
                    <a16:creationId xmlns:a16="http://schemas.microsoft.com/office/drawing/2014/main" id="{6342D6DF-24DE-7DC5-9BA9-B55F277F71E7}"/>
                  </a:ext>
                </a:extLst>
              </p:cNvPr>
              <p:cNvSpPr/>
              <p:nvPr/>
            </p:nvSpPr>
            <p:spPr>
              <a:xfrm>
                <a:off x="5846469" y="2681021"/>
                <a:ext cx="39493" cy="45154"/>
              </a:xfrm>
              <a:custGeom>
                <a:avLst/>
                <a:gdLst>
                  <a:gd name="connsiteX0" fmla="*/ 16243 w 39493"/>
                  <a:gd name="connsiteY0" fmla="*/ 45154 h 45154"/>
                  <a:gd name="connsiteX1" fmla="*/ 16243 w 39493"/>
                  <a:gd name="connsiteY1" fmla="*/ 26476 h 45154"/>
                  <a:gd name="connsiteX2" fmla="*/ 0 w 39493"/>
                  <a:gd name="connsiteY2" fmla="*/ 26476 h 45154"/>
                  <a:gd name="connsiteX3" fmla="*/ 0 w 39493"/>
                  <a:gd name="connsiteY3" fmla="*/ 18678 h 45154"/>
                  <a:gd name="connsiteX4" fmla="*/ 16243 w 39493"/>
                  <a:gd name="connsiteY4" fmla="*/ 18678 h 45154"/>
                  <a:gd name="connsiteX5" fmla="*/ 16243 w 39493"/>
                  <a:gd name="connsiteY5" fmla="*/ 0 h 45154"/>
                  <a:gd name="connsiteX6" fmla="*/ 23250 w 39493"/>
                  <a:gd name="connsiteY6" fmla="*/ 0 h 45154"/>
                  <a:gd name="connsiteX7" fmla="*/ 23250 w 39493"/>
                  <a:gd name="connsiteY7" fmla="*/ 18678 h 45154"/>
                  <a:gd name="connsiteX8" fmla="*/ 39493 w 39493"/>
                  <a:gd name="connsiteY8" fmla="*/ 18678 h 45154"/>
                  <a:gd name="connsiteX9" fmla="*/ 39493 w 39493"/>
                  <a:gd name="connsiteY9" fmla="*/ 26476 h 45154"/>
                  <a:gd name="connsiteX10" fmla="*/ 23250 w 39493"/>
                  <a:gd name="connsiteY10" fmla="*/ 26476 h 45154"/>
                  <a:gd name="connsiteX11" fmla="*/ 23250 w 39493"/>
                  <a:gd name="connsiteY11" fmla="*/ 45154 h 45154"/>
                  <a:gd name="connsiteX12" fmla="*/ 16243 w 39493"/>
                  <a:gd name="connsiteY12" fmla="*/ 45154 h 45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93" h="45154">
                    <a:moveTo>
                      <a:pt x="16243" y="45154"/>
                    </a:moveTo>
                    <a:lnTo>
                      <a:pt x="16243" y="26476"/>
                    </a:lnTo>
                    <a:lnTo>
                      <a:pt x="0" y="26476"/>
                    </a:lnTo>
                    <a:lnTo>
                      <a:pt x="0" y="18678"/>
                    </a:lnTo>
                    <a:lnTo>
                      <a:pt x="16243" y="18678"/>
                    </a:lnTo>
                    <a:lnTo>
                      <a:pt x="16243" y="0"/>
                    </a:lnTo>
                    <a:lnTo>
                      <a:pt x="23250" y="0"/>
                    </a:lnTo>
                    <a:lnTo>
                      <a:pt x="23250" y="18678"/>
                    </a:lnTo>
                    <a:lnTo>
                      <a:pt x="39493" y="18678"/>
                    </a:lnTo>
                    <a:lnTo>
                      <a:pt x="39493" y="26476"/>
                    </a:lnTo>
                    <a:lnTo>
                      <a:pt x="23250" y="26476"/>
                    </a:lnTo>
                    <a:lnTo>
                      <a:pt x="23250" y="45154"/>
                    </a:lnTo>
                    <a:lnTo>
                      <a:pt x="16243" y="45154"/>
                    </a:lnTo>
                  </a:path>
                </a:pathLst>
              </a:custGeom>
              <a:grpFill/>
              <a:ln w="158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2" name="Freihandform: Form 51">
                <a:extLst>
                  <a:ext uri="{FF2B5EF4-FFF2-40B4-BE49-F238E27FC236}">
                    <a16:creationId xmlns:a16="http://schemas.microsoft.com/office/drawing/2014/main" id="{924FC2C9-8E47-899E-CF86-879DA843A1D5}"/>
                  </a:ext>
                </a:extLst>
              </p:cNvPr>
              <p:cNvSpPr/>
              <p:nvPr/>
            </p:nvSpPr>
            <p:spPr>
              <a:xfrm>
                <a:off x="5927206" y="2681021"/>
                <a:ext cx="39652" cy="45154"/>
              </a:xfrm>
              <a:custGeom>
                <a:avLst/>
                <a:gdLst>
                  <a:gd name="connsiteX0" fmla="*/ 16243 w 39652"/>
                  <a:gd name="connsiteY0" fmla="*/ 45154 h 45154"/>
                  <a:gd name="connsiteX1" fmla="*/ 16243 w 39652"/>
                  <a:gd name="connsiteY1" fmla="*/ 26476 h 45154"/>
                  <a:gd name="connsiteX2" fmla="*/ 0 w 39652"/>
                  <a:gd name="connsiteY2" fmla="*/ 26476 h 45154"/>
                  <a:gd name="connsiteX3" fmla="*/ 0 w 39652"/>
                  <a:gd name="connsiteY3" fmla="*/ 18678 h 45154"/>
                  <a:gd name="connsiteX4" fmla="*/ 16243 w 39652"/>
                  <a:gd name="connsiteY4" fmla="*/ 18678 h 45154"/>
                  <a:gd name="connsiteX5" fmla="*/ 16243 w 39652"/>
                  <a:gd name="connsiteY5" fmla="*/ 0 h 45154"/>
                  <a:gd name="connsiteX6" fmla="*/ 23250 w 39652"/>
                  <a:gd name="connsiteY6" fmla="*/ 0 h 45154"/>
                  <a:gd name="connsiteX7" fmla="*/ 23250 w 39652"/>
                  <a:gd name="connsiteY7" fmla="*/ 18678 h 45154"/>
                  <a:gd name="connsiteX8" fmla="*/ 39652 w 39652"/>
                  <a:gd name="connsiteY8" fmla="*/ 18678 h 45154"/>
                  <a:gd name="connsiteX9" fmla="*/ 39652 w 39652"/>
                  <a:gd name="connsiteY9" fmla="*/ 26476 h 45154"/>
                  <a:gd name="connsiteX10" fmla="*/ 23250 w 39652"/>
                  <a:gd name="connsiteY10" fmla="*/ 26476 h 45154"/>
                  <a:gd name="connsiteX11" fmla="*/ 23250 w 39652"/>
                  <a:gd name="connsiteY11" fmla="*/ 45154 h 45154"/>
                  <a:gd name="connsiteX12" fmla="*/ 16243 w 39652"/>
                  <a:gd name="connsiteY12" fmla="*/ 45154 h 45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652" h="45154">
                    <a:moveTo>
                      <a:pt x="16243" y="45154"/>
                    </a:moveTo>
                    <a:lnTo>
                      <a:pt x="16243" y="26476"/>
                    </a:lnTo>
                    <a:lnTo>
                      <a:pt x="0" y="26476"/>
                    </a:lnTo>
                    <a:lnTo>
                      <a:pt x="0" y="18678"/>
                    </a:lnTo>
                    <a:lnTo>
                      <a:pt x="16243" y="18678"/>
                    </a:lnTo>
                    <a:lnTo>
                      <a:pt x="16243" y="0"/>
                    </a:lnTo>
                    <a:lnTo>
                      <a:pt x="23250" y="0"/>
                    </a:lnTo>
                    <a:lnTo>
                      <a:pt x="23250" y="18678"/>
                    </a:lnTo>
                    <a:lnTo>
                      <a:pt x="39652" y="18678"/>
                    </a:lnTo>
                    <a:lnTo>
                      <a:pt x="39652" y="26476"/>
                    </a:lnTo>
                    <a:lnTo>
                      <a:pt x="23250" y="26476"/>
                    </a:lnTo>
                    <a:lnTo>
                      <a:pt x="23250" y="45154"/>
                    </a:lnTo>
                    <a:lnTo>
                      <a:pt x="16243" y="45154"/>
                    </a:lnTo>
                  </a:path>
                </a:pathLst>
              </a:custGeom>
              <a:grpFill/>
              <a:ln w="158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3" name="Freihandform: Form 52">
                <a:extLst>
                  <a:ext uri="{FF2B5EF4-FFF2-40B4-BE49-F238E27FC236}">
                    <a16:creationId xmlns:a16="http://schemas.microsoft.com/office/drawing/2014/main" id="{6657020F-D42E-4533-7DEA-990A444066E1}"/>
                  </a:ext>
                </a:extLst>
              </p:cNvPr>
              <p:cNvSpPr/>
              <p:nvPr/>
            </p:nvSpPr>
            <p:spPr>
              <a:xfrm>
                <a:off x="5969088" y="2681021"/>
                <a:ext cx="39492" cy="45154"/>
              </a:xfrm>
              <a:custGeom>
                <a:avLst/>
                <a:gdLst>
                  <a:gd name="connsiteX0" fmla="*/ 16243 w 39492"/>
                  <a:gd name="connsiteY0" fmla="*/ 45154 h 45154"/>
                  <a:gd name="connsiteX1" fmla="*/ 16243 w 39492"/>
                  <a:gd name="connsiteY1" fmla="*/ 26476 h 45154"/>
                  <a:gd name="connsiteX2" fmla="*/ 0 w 39492"/>
                  <a:gd name="connsiteY2" fmla="*/ 26476 h 45154"/>
                  <a:gd name="connsiteX3" fmla="*/ 0 w 39492"/>
                  <a:gd name="connsiteY3" fmla="*/ 18678 h 45154"/>
                  <a:gd name="connsiteX4" fmla="*/ 16243 w 39492"/>
                  <a:gd name="connsiteY4" fmla="*/ 18678 h 45154"/>
                  <a:gd name="connsiteX5" fmla="*/ 16243 w 39492"/>
                  <a:gd name="connsiteY5" fmla="*/ 0 h 45154"/>
                  <a:gd name="connsiteX6" fmla="*/ 23250 w 39492"/>
                  <a:gd name="connsiteY6" fmla="*/ 0 h 45154"/>
                  <a:gd name="connsiteX7" fmla="*/ 23250 w 39492"/>
                  <a:gd name="connsiteY7" fmla="*/ 18678 h 45154"/>
                  <a:gd name="connsiteX8" fmla="*/ 39493 w 39492"/>
                  <a:gd name="connsiteY8" fmla="*/ 18678 h 45154"/>
                  <a:gd name="connsiteX9" fmla="*/ 39493 w 39492"/>
                  <a:gd name="connsiteY9" fmla="*/ 26476 h 45154"/>
                  <a:gd name="connsiteX10" fmla="*/ 23250 w 39492"/>
                  <a:gd name="connsiteY10" fmla="*/ 26476 h 45154"/>
                  <a:gd name="connsiteX11" fmla="*/ 23250 w 39492"/>
                  <a:gd name="connsiteY11" fmla="*/ 45154 h 45154"/>
                  <a:gd name="connsiteX12" fmla="*/ 16243 w 39492"/>
                  <a:gd name="connsiteY12" fmla="*/ 45154 h 45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92" h="45154">
                    <a:moveTo>
                      <a:pt x="16243" y="45154"/>
                    </a:moveTo>
                    <a:lnTo>
                      <a:pt x="16243" y="26476"/>
                    </a:lnTo>
                    <a:lnTo>
                      <a:pt x="0" y="26476"/>
                    </a:lnTo>
                    <a:lnTo>
                      <a:pt x="0" y="18678"/>
                    </a:lnTo>
                    <a:lnTo>
                      <a:pt x="16243" y="18678"/>
                    </a:lnTo>
                    <a:lnTo>
                      <a:pt x="16243" y="0"/>
                    </a:lnTo>
                    <a:lnTo>
                      <a:pt x="23250" y="0"/>
                    </a:lnTo>
                    <a:lnTo>
                      <a:pt x="23250" y="18678"/>
                    </a:lnTo>
                    <a:lnTo>
                      <a:pt x="39493" y="18678"/>
                    </a:lnTo>
                    <a:lnTo>
                      <a:pt x="39493" y="26476"/>
                    </a:lnTo>
                    <a:lnTo>
                      <a:pt x="23250" y="26476"/>
                    </a:lnTo>
                    <a:lnTo>
                      <a:pt x="23250" y="45154"/>
                    </a:lnTo>
                    <a:lnTo>
                      <a:pt x="16243" y="45154"/>
                    </a:lnTo>
                  </a:path>
                </a:pathLst>
              </a:custGeom>
              <a:grpFill/>
              <a:ln w="158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4" name="Freihandform: Form 53">
                <a:extLst>
                  <a:ext uri="{FF2B5EF4-FFF2-40B4-BE49-F238E27FC236}">
                    <a16:creationId xmlns:a16="http://schemas.microsoft.com/office/drawing/2014/main" id="{031FDB96-C6CE-76A7-FDFC-7E72C2BC3C2D}"/>
                  </a:ext>
                </a:extLst>
              </p:cNvPr>
              <p:cNvSpPr/>
              <p:nvPr/>
            </p:nvSpPr>
            <p:spPr>
              <a:xfrm>
                <a:off x="6154609" y="2706953"/>
                <a:ext cx="39492" cy="45154"/>
              </a:xfrm>
              <a:custGeom>
                <a:avLst/>
                <a:gdLst>
                  <a:gd name="connsiteX0" fmla="*/ 16243 w 39492"/>
                  <a:gd name="connsiteY0" fmla="*/ 45154 h 45154"/>
                  <a:gd name="connsiteX1" fmla="*/ 16243 w 39492"/>
                  <a:gd name="connsiteY1" fmla="*/ 26295 h 45154"/>
                  <a:gd name="connsiteX2" fmla="*/ 0 w 39492"/>
                  <a:gd name="connsiteY2" fmla="*/ 26295 h 45154"/>
                  <a:gd name="connsiteX3" fmla="*/ 0 w 39492"/>
                  <a:gd name="connsiteY3" fmla="*/ 18497 h 45154"/>
                  <a:gd name="connsiteX4" fmla="*/ 16243 w 39492"/>
                  <a:gd name="connsiteY4" fmla="*/ 18497 h 45154"/>
                  <a:gd name="connsiteX5" fmla="*/ 16243 w 39492"/>
                  <a:gd name="connsiteY5" fmla="*/ 0 h 45154"/>
                  <a:gd name="connsiteX6" fmla="*/ 23250 w 39492"/>
                  <a:gd name="connsiteY6" fmla="*/ 0 h 45154"/>
                  <a:gd name="connsiteX7" fmla="*/ 23250 w 39492"/>
                  <a:gd name="connsiteY7" fmla="*/ 18497 h 45154"/>
                  <a:gd name="connsiteX8" fmla="*/ 39493 w 39492"/>
                  <a:gd name="connsiteY8" fmla="*/ 18497 h 45154"/>
                  <a:gd name="connsiteX9" fmla="*/ 39493 w 39492"/>
                  <a:gd name="connsiteY9" fmla="*/ 26295 h 45154"/>
                  <a:gd name="connsiteX10" fmla="*/ 23250 w 39492"/>
                  <a:gd name="connsiteY10" fmla="*/ 26295 h 45154"/>
                  <a:gd name="connsiteX11" fmla="*/ 23250 w 39492"/>
                  <a:gd name="connsiteY11" fmla="*/ 45154 h 45154"/>
                  <a:gd name="connsiteX12" fmla="*/ 16243 w 39492"/>
                  <a:gd name="connsiteY12" fmla="*/ 45154 h 45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92" h="45154">
                    <a:moveTo>
                      <a:pt x="16243" y="45154"/>
                    </a:moveTo>
                    <a:lnTo>
                      <a:pt x="16243" y="26295"/>
                    </a:lnTo>
                    <a:lnTo>
                      <a:pt x="0" y="26295"/>
                    </a:lnTo>
                    <a:lnTo>
                      <a:pt x="0" y="18497"/>
                    </a:lnTo>
                    <a:lnTo>
                      <a:pt x="16243" y="18497"/>
                    </a:lnTo>
                    <a:lnTo>
                      <a:pt x="16243" y="0"/>
                    </a:lnTo>
                    <a:lnTo>
                      <a:pt x="23250" y="0"/>
                    </a:lnTo>
                    <a:lnTo>
                      <a:pt x="23250" y="18497"/>
                    </a:lnTo>
                    <a:lnTo>
                      <a:pt x="39493" y="18497"/>
                    </a:lnTo>
                    <a:lnTo>
                      <a:pt x="39493" y="26295"/>
                    </a:lnTo>
                    <a:lnTo>
                      <a:pt x="23250" y="26295"/>
                    </a:lnTo>
                    <a:lnTo>
                      <a:pt x="23250" y="45154"/>
                    </a:lnTo>
                    <a:lnTo>
                      <a:pt x="16243" y="45154"/>
                    </a:lnTo>
                  </a:path>
                </a:pathLst>
              </a:custGeom>
              <a:grpFill/>
              <a:ln w="158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5" name="Freihandform: Form 54">
                <a:extLst>
                  <a:ext uri="{FF2B5EF4-FFF2-40B4-BE49-F238E27FC236}">
                    <a16:creationId xmlns:a16="http://schemas.microsoft.com/office/drawing/2014/main" id="{6D31B7E1-3544-01DF-C81F-848AE865CA7A}"/>
                  </a:ext>
                </a:extLst>
              </p:cNvPr>
              <p:cNvSpPr/>
              <p:nvPr/>
            </p:nvSpPr>
            <p:spPr>
              <a:xfrm>
                <a:off x="6184388" y="2706953"/>
                <a:ext cx="39652" cy="45154"/>
              </a:xfrm>
              <a:custGeom>
                <a:avLst/>
                <a:gdLst>
                  <a:gd name="connsiteX0" fmla="*/ 16402 w 39652"/>
                  <a:gd name="connsiteY0" fmla="*/ 45154 h 45154"/>
                  <a:gd name="connsiteX1" fmla="*/ 16402 w 39652"/>
                  <a:gd name="connsiteY1" fmla="*/ 26295 h 45154"/>
                  <a:gd name="connsiteX2" fmla="*/ 0 w 39652"/>
                  <a:gd name="connsiteY2" fmla="*/ 26295 h 45154"/>
                  <a:gd name="connsiteX3" fmla="*/ 0 w 39652"/>
                  <a:gd name="connsiteY3" fmla="*/ 18497 h 45154"/>
                  <a:gd name="connsiteX4" fmla="*/ 16402 w 39652"/>
                  <a:gd name="connsiteY4" fmla="*/ 18497 h 45154"/>
                  <a:gd name="connsiteX5" fmla="*/ 16402 w 39652"/>
                  <a:gd name="connsiteY5" fmla="*/ 0 h 45154"/>
                  <a:gd name="connsiteX6" fmla="*/ 23250 w 39652"/>
                  <a:gd name="connsiteY6" fmla="*/ 0 h 45154"/>
                  <a:gd name="connsiteX7" fmla="*/ 23250 w 39652"/>
                  <a:gd name="connsiteY7" fmla="*/ 18497 h 45154"/>
                  <a:gd name="connsiteX8" fmla="*/ 39652 w 39652"/>
                  <a:gd name="connsiteY8" fmla="*/ 18497 h 45154"/>
                  <a:gd name="connsiteX9" fmla="*/ 39652 w 39652"/>
                  <a:gd name="connsiteY9" fmla="*/ 26295 h 45154"/>
                  <a:gd name="connsiteX10" fmla="*/ 23250 w 39652"/>
                  <a:gd name="connsiteY10" fmla="*/ 26295 h 45154"/>
                  <a:gd name="connsiteX11" fmla="*/ 23250 w 39652"/>
                  <a:gd name="connsiteY11" fmla="*/ 45154 h 45154"/>
                  <a:gd name="connsiteX12" fmla="*/ 16402 w 39652"/>
                  <a:gd name="connsiteY12" fmla="*/ 45154 h 45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652" h="45154">
                    <a:moveTo>
                      <a:pt x="16402" y="45154"/>
                    </a:moveTo>
                    <a:lnTo>
                      <a:pt x="16402" y="26295"/>
                    </a:lnTo>
                    <a:lnTo>
                      <a:pt x="0" y="26295"/>
                    </a:lnTo>
                    <a:lnTo>
                      <a:pt x="0" y="18497"/>
                    </a:lnTo>
                    <a:lnTo>
                      <a:pt x="16402" y="18497"/>
                    </a:lnTo>
                    <a:lnTo>
                      <a:pt x="16402" y="0"/>
                    </a:lnTo>
                    <a:lnTo>
                      <a:pt x="23250" y="0"/>
                    </a:lnTo>
                    <a:lnTo>
                      <a:pt x="23250" y="18497"/>
                    </a:lnTo>
                    <a:lnTo>
                      <a:pt x="39652" y="18497"/>
                    </a:lnTo>
                    <a:lnTo>
                      <a:pt x="39652" y="26295"/>
                    </a:lnTo>
                    <a:lnTo>
                      <a:pt x="23250" y="26295"/>
                    </a:lnTo>
                    <a:lnTo>
                      <a:pt x="23250" y="45154"/>
                    </a:lnTo>
                    <a:lnTo>
                      <a:pt x="16402" y="45154"/>
                    </a:lnTo>
                  </a:path>
                </a:pathLst>
              </a:custGeom>
              <a:grpFill/>
              <a:ln w="158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6" name="Freihandform: Form 55">
                <a:extLst>
                  <a:ext uri="{FF2B5EF4-FFF2-40B4-BE49-F238E27FC236}">
                    <a16:creationId xmlns:a16="http://schemas.microsoft.com/office/drawing/2014/main" id="{AD61B35F-8FE4-863A-8574-59E129184B64}"/>
                  </a:ext>
                </a:extLst>
              </p:cNvPr>
              <p:cNvSpPr/>
              <p:nvPr/>
            </p:nvSpPr>
            <p:spPr>
              <a:xfrm>
                <a:off x="6208434" y="2706953"/>
                <a:ext cx="39492" cy="45154"/>
              </a:xfrm>
              <a:custGeom>
                <a:avLst/>
                <a:gdLst>
                  <a:gd name="connsiteX0" fmla="*/ 16243 w 39492"/>
                  <a:gd name="connsiteY0" fmla="*/ 45154 h 45154"/>
                  <a:gd name="connsiteX1" fmla="*/ 16243 w 39492"/>
                  <a:gd name="connsiteY1" fmla="*/ 26295 h 45154"/>
                  <a:gd name="connsiteX2" fmla="*/ 0 w 39492"/>
                  <a:gd name="connsiteY2" fmla="*/ 26295 h 45154"/>
                  <a:gd name="connsiteX3" fmla="*/ 0 w 39492"/>
                  <a:gd name="connsiteY3" fmla="*/ 18497 h 45154"/>
                  <a:gd name="connsiteX4" fmla="*/ 16243 w 39492"/>
                  <a:gd name="connsiteY4" fmla="*/ 18497 h 45154"/>
                  <a:gd name="connsiteX5" fmla="*/ 16243 w 39492"/>
                  <a:gd name="connsiteY5" fmla="*/ 0 h 45154"/>
                  <a:gd name="connsiteX6" fmla="*/ 23250 w 39492"/>
                  <a:gd name="connsiteY6" fmla="*/ 0 h 45154"/>
                  <a:gd name="connsiteX7" fmla="*/ 23250 w 39492"/>
                  <a:gd name="connsiteY7" fmla="*/ 18497 h 45154"/>
                  <a:gd name="connsiteX8" fmla="*/ 39493 w 39492"/>
                  <a:gd name="connsiteY8" fmla="*/ 18497 h 45154"/>
                  <a:gd name="connsiteX9" fmla="*/ 39493 w 39492"/>
                  <a:gd name="connsiteY9" fmla="*/ 26295 h 45154"/>
                  <a:gd name="connsiteX10" fmla="*/ 23250 w 39492"/>
                  <a:gd name="connsiteY10" fmla="*/ 26295 h 45154"/>
                  <a:gd name="connsiteX11" fmla="*/ 23250 w 39492"/>
                  <a:gd name="connsiteY11" fmla="*/ 45154 h 45154"/>
                  <a:gd name="connsiteX12" fmla="*/ 16243 w 39492"/>
                  <a:gd name="connsiteY12" fmla="*/ 45154 h 45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92" h="45154">
                    <a:moveTo>
                      <a:pt x="16243" y="45154"/>
                    </a:moveTo>
                    <a:lnTo>
                      <a:pt x="16243" y="26295"/>
                    </a:lnTo>
                    <a:lnTo>
                      <a:pt x="0" y="26295"/>
                    </a:lnTo>
                    <a:lnTo>
                      <a:pt x="0" y="18497"/>
                    </a:lnTo>
                    <a:lnTo>
                      <a:pt x="16243" y="18497"/>
                    </a:lnTo>
                    <a:lnTo>
                      <a:pt x="16243" y="0"/>
                    </a:lnTo>
                    <a:lnTo>
                      <a:pt x="23250" y="0"/>
                    </a:lnTo>
                    <a:lnTo>
                      <a:pt x="23250" y="18497"/>
                    </a:lnTo>
                    <a:lnTo>
                      <a:pt x="39493" y="18497"/>
                    </a:lnTo>
                    <a:lnTo>
                      <a:pt x="39493" y="26295"/>
                    </a:lnTo>
                    <a:lnTo>
                      <a:pt x="23250" y="26295"/>
                    </a:lnTo>
                    <a:lnTo>
                      <a:pt x="23250" y="45154"/>
                    </a:lnTo>
                    <a:lnTo>
                      <a:pt x="16243" y="45154"/>
                    </a:lnTo>
                  </a:path>
                </a:pathLst>
              </a:custGeom>
              <a:grpFill/>
              <a:ln w="158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7" name="Freihandform: Form 56">
                <a:extLst>
                  <a:ext uri="{FF2B5EF4-FFF2-40B4-BE49-F238E27FC236}">
                    <a16:creationId xmlns:a16="http://schemas.microsoft.com/office/drawing/2014/main" id="{3F11D0BC-81E1-DBB1-27E2-1E210B959C88}"/>
                  </a:ext>
                </a:extLst>
              </p:cNvPr>
              <p:cNvSpPr/>
              <p:nvPr/>
            </p:nvSpPr>
            <p:spPr>
              <a:xfrm>
                <a:off x="6244264" y="2706953"/>
                <a:ext cx="39652" cy="45154"/>
              </a:xfrm>
              <a:custGeom>
                <a:avLst/>
                <a:gdLst>
                  <a:gd name="connsiteX0" fmla="*/ 16402 w 39652"/>
                  <a:gd name="connsiteY0" fmla="*/ 45154 h 45154"/>
                  <a:gd name="connsiteX1" fmla="*/ 16402 w 39652"/>
                  <a:gd name="connsiteY1" fmla="*/ 26295 h 45154"/>
                  <a:gd name="connsiteX2" fmla="*/ 0 w 39652"/>
                  <a:gd name="connsiteY2" fmla="*/ 26295 h 45154"/>
                  <a:gd name="connsiteX3" fmla="*/ 0 w 39652"/>
                  <a:gd name="connsiteY3" fmla="*/ 18497 h 45154"/>
                  <a:gd name="connsiteX4" fmla="*/ 16402 w 39652"/>
                  <a:gd name="connsiteY4" fmla="*/ 18497 h 45154"/>
                  <a:gd name="connsiteX5" fmla="*/ 16402 w 39652"/>
                  <a:gd name="connsiteY5" fmla="*/ 0 h 45154"/>
                  <a:gd name="connsiteX6" fmla="*/ 23409 w 39652"/>
                  <a:gd name="connsiteY6" fmla="*/ 0 h 45154"/>
                  <a:gd name="connsiteX7" fmla="*/ 23409 w 39652"/>
                  <a:gd name="connsiteY7" fmla="*/ 18497 h 45154"/>
                  <a:gd name="connsiteX8" fmla="*/ 39652 w 39652"/>
                  <a:gd name="connsiteY8" fmla="*/ 18497 h 45154"/>
                  <a:gd name="connsiteX9" fmla="*/ 39652 w 39652"/>
                  <a:gd name="connsiteY9" fmla="*/ 26295 h 45154"/>
                  <a:gd name="connsiteX10" fmla="*/ 23409 w 39652"/>
                  <a:gd name="connsiteY10" fmla="*/ 26295 h 45154"/>
                  <a:gd name="connsiteX11" fmla="*/ 23409 w 39652"/>
                  <a:gd name="connsiteY11" fmla="*/ 45154 h 45154"/>
                  <a:gd name="connsiteX12" fmla="*/ 16402 w 39652"/>
                  <a:gd name="connsiteY12" fmla="*/ 45154 h 45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652" h="45154">
                    <a:moveTo>
                      <a:pt x="16402" y="45154"/>
                    </a:moveTo>
                    <a:lnTo>
                      <a:pt x="16402" y="26295"/>
                    </a:lnTo>
                    <a:lnTo>
                      <a:pt x="0" y="26295"/>
                    </a:lnTo>
                    <a:lnTo>
                      <a:pt x="0" y="18497"/>
                    </a:lnTo>
                    <a:lnTo>
                      <a:pt x="16402" y="18497"/>
                    </a:lnTo>
                    <a:lnTo>
                      <a:pt x="16402" y="0"/>
                    </a:lnTo>
                    <a:lnTo>
                      <a:pt x="23409" y="0"/>
                    </a:lnTo>
                    <a:lnTo>
                      <a:pt x="23409" y="18497"/>
                    </a:lnTo>
                    <a:lnTo>
                      <a:pt x="39652" y="18497"/>
                    </a:lnTo>
                    <a:lnTo>
                      <a:pt x="39652" y="26295"/>
                    </a:lnTo>
                    <a:lnTo>
                      <a:pt x="23409" y="26295"/>
                    </a:lnTo>
                    <a:lnTo>
                      <a:pt x="23409" y="45154"/>
                    </a:lnTo>
                    <a:lnTo>
                      <a:pt x="16402" y="45154"/>
                    </a:lnTo>
                  </a:path>
                </a:pathLst>
              </a:custGeom>
              <a:grpFill/>
              <a:ln w="158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8" name="Freihandform: Form 57">
                <a:extLst>
                  <a:ext uri="{FF2B5EF4-FFF2-40B4-BE49-F238E27FC236}">
                    <a16:creationId xmlns:a16="http://schemas.microsoft.com/office/drawing/2014/main" id="{F9DCEF7A-B592-1DD7-0D4E-B517AB804A02}"/>
                  </a:ext>
                </a:extLst>
              </p:cNvPr>
              <p:cNvSpPr/>
              <p:nvPr/>
            </p:nvSpPr>
            <p:spPr>
              <a:xfrm>
                <a:off x="6268151" y="2706953"/>
                <a:ext cx="39652" cy="45154"/>
              </a:xfrm>
              <a:custGeom>
                <a:avLst/>
                <a:gdLst>
                  <a:gd name="connsiteX0" fmla="*/ 16402 w 39652"/>
                  <a:gd name="connsiteY0" fmla="*/ 45154 h 45154"/>
                  <a:gd name="connsiteX1" fmla="*/ 16402 w 39652"/>
                  <a:gd name="connsiteY1" fmla="*/ 26295 h 45154"/>
                  <a:gd name="connsiteX2" fmla="*/ 0 w 39652"/>
                  <a:gd name="connsiteY2" fmla="*/ 26295 h 45154"/>
                  <a:gd name="connsiteX3" fmla="*/ 0 w 39652"/>
                  <a:gd name="connsiteY3" fmla="*/ 18497 h 45154"/>
                  <a:gd name="connsiteX4" fmla="*/ 16402 w 39652"/>
                  <a:gd name="connsiteY4" fmla="*/ 18497 h 45154"/>
                  <a:gd name="connsiteX5" fmla="*/ 16402 w 39652"/>
                  <a:gd name="connsiteY5" fmla="*/ 0 h 45154"/>
                  <a:gd name="connsiteX6" fmla="*/ 23409 w 39652"/>
                  <a:gd name="connsiteY6" fmla="*/ 0 h 45154"/>
                  <a:gd name="connsiteX7" fmla="*/ 23409 w 39652"/>
                  <a:gd name="connsiteY7" fmla="*/ 18497 h 45154"/>
                  <a:gd name="connsiteX8" fmla="*/ 39652 w 39652"/>
                  <a:gd name="connsiteY8" fmla="*/ 18497 h 45154"/>
                  <a:gd name="connsiteX9" fmla="*/ 39652 w 39652"/>
                  <a:gd name="connsiteY9" fmla="*/ 26295 h 45154"/>
                  <a:gd name="connsiteX10" fmla="*/ 23409 w 39652"/>
                  <a:gd name="connsiteY10" fmla="*/ 26295 h 45154"/>
                  <a:gd name="connsiteX11" fmla="*/ 23409 w 39652"/>
                  <a:gd name="connsiteY11" fmla="*/ 45154 h 45154"/>
                  <a:gd name="connsiteX12" fmla="*/ 16402 w 39652"/>
                  <a:gd name="connsiteY12" fmla="*/ 45154 h 45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652" h="45154">
                    <a:moveTo>
                      <a:pt x="16402" y="45154"/>
                    </a:moveTo>
                    <a:lnTo>
                      <a:pt x="16402" y="26295"/>
                    </a:lnTo>
                    <a:lnTo>
                      <a:pt x="0" y="26295"/>
                    </a:lnTo>
                    <a:lnTo>
                      <a:pt x="0" y="18497"/>
                    </a:lnTo>
                    <a:lnTo>
                      <a:pt x="16402" y="18497"/>
                    </a:lnTo>
                    <a:lnTo>
                      <a:pt x="16402" y="0"/>
                    </a:lnTo>
                    <a:lnTo>
                      <a:pt x="23409" y="0"/>
                    </a:lnTo>
                    <a:lnTo>
                      <a:pt x="23409" y="18497"/>
                    </a:lnTo>
                    <a:lnTo>
                      <a:pt x="39652" y="18497"/>
                    </a:lnTo>
                    <a:lnTo>
                      <a:pt x="39652" y="26295"/>
                    </a:lnTo>
                    <a:lnTo>
                      <a:pt x="23409" y="26295"/>
                    </a:lnTo>
                    <a:lnTo>
                      <a:pt x="23409" y="45154"/>
                    </a:lnTo>
                    <a:lnTo>
                      <a:pt x="16402" y="45154"/>
                    </a:lnTo>
                  </a:path>
                </a:pathLst>
              </a:custGeom>
              <a:grpFill/>
              <a:ln w="158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9" name="Freihandform: Form 58">
                <a:extLst>
                  <a:ext uri="{FF2B5EF4-FFF2-40B4-BE49-F238E27FC236}">
                    <a16:creationId xmlns:a16="http://schemas.microsoft.com/office/drawing/2014/main" id="{2D9B31A4-0117-BFCE-9028-C73F90B60D1B}"/>
                  </a:ext>
                </a:extLst>
              </p:cNvPr>
              <p:cNvSpPr/>
              <p:nvPr/>
            </p:nvSpPr>
            <p:spPr>
              <a:xfrm>
                <a:off x="6298089" y="2733247"/>
                <a:ext cx="39651" cy="45154"/>
              </a:xfrm>
              <a:custGeom>
                <a:avLst/>
                <a:gdLst>
                  <a:gd name="connsiteX0" fmla="*/ 16402 w 39651"/>
                  <a:gd name="connsiteY0" fmla="*/ 45154 h 45154"/>
                  <a:gd name="connsiteX1" fmla="*/ 16402 w 39651"/>
                  <a:gd name="connsiteY1" fmla="*/ 26476 h 45154"/>
                  <a:gd name="connsiteX2" fmla="*/ 0 w 39651"/>
                  <a:gd name="connsiteY2" fmla="*/ 26476 h 45154"/>
                  <a:gd name="connsiteX3" fmla="*/ 0 w 39651"/>
                  <a:gd name="connsiteY3" fmla="*/ 18678 h 45154"/>
                  <a:gd name="connsiteX4" fmla="*/ 16402 w 39651"/>
                  <a:gd name="connsiteY4" fmla="*/ 18678 h 45154"/>
                  <a:gd name="connsiteX5" fmla="*/ 16402 w 39651"/>
                  <a:gd name="connsiteY5" fmla="*/ 0 h 45154"/>
                  <a:gd name="connsiteX6" fmla="*/ 23409 w 39651"/>
                  <a:gd name="connsiteY6" fmla="*/ 0 h 45154"/>
                  <a:gd name="connsiteX7" fmla="*/ 23409 w 39651"/>
                  <a:gd name="connsiteY7" fmla="*/ 18678 h 45154"/>
                  <a:gd name="connsiteX8" fmla="*/ 39652 w 39651"/>
                  <a:gd name="connsiteY8" fmla="*/ 18678 h 45154"/>
                  <a:gd name="connsiteX9" fmla="*/ 39652 w 39651"/>
                  <a:gd name="connsiteY9" fmla="*/ 26476 h 45154"/>
                  <a:gd name="connsiteX10" fmla="*/ 23409 w 39651"/>
                  <a:gd name="connsiteY10" fmla="*/ 26476 h 45154"/>
                  <a:gd name="connsiteX11" fmla="*/ 23409 w 39651"/>
                  <a:gd name="connsiteY11" fmla="*/ 45154 h 45154"/>
                  <a:gd name="connsiteX12" fmla="*/ 16402 w 39651"/>
                  <a:gd name="connsiteY12" fmla="*/ 45154 h 45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651" h="45154">
                    <a:moveTo>
                      <a:pt x="16402" y="45154"/>
                    </a:moveTo>
                    <a:lnTo>
                      <a:pt x="16402" y="26476"/>
                    </a:lnTo>
                    <a:lnTo>
                      <a:pt x="0" y="26476"/>
                    </a:lnTo>
                    <a:lnTo>
                      <a:pt x="0" y="18678"/>
                    </a:lnTo>
                    <a:lnTo>
                      <a:pt x="16402" y="18678"/>
                    </a:lnTo>
                    <a:lnTo>
                      <a:pt x="16402" y="0"/>
                    </a:lnTo>
                    <a:lnTo>
                      <a:pt x="23409" y="0"/>
                    </a:lnTo>
                    <a:lnTo>
                      <a:pt x="23409" y="18678"/>
                    </a:lnTo>
                    <a:lnTo>
                      <a:pt x="39652" y="18678"/>
                    </a:lnTo>
                    <a:lnTo>
                      <a:pt x="39652" y="26476"/>
                    </a:lnTo>
                    <a:lnTo>
                      <a:pt x="23409" y="26476"/>
                    </a:lnTo>
                    <a:lnTo>
                      <a:pt x="23409" y="45154"/>
                    </a:lnTo>
                    <a:lnTo>
                      <a:pt x="16402" y="45154"/>
                    </a:lnTo>
                  </a:path>
                </a:pathLst>
              </a:custGeom>
              <a:grpFill/>
              <a:ln w="158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0" name="Freihandform: Form 59">
                <a:extLst>
                  <a:ext uri="{FF2B5EF4-FFF2-40B4-BE49-F238E27FC236}">
                    <a16:creationId xmlns:a16="http://schemas.microsoft.com/office/drawing/2014/main" id="{DF594376-A1BE-C301-6F7B-A1FB9F81A008}"/>
                  </a:ext>
                </a:extLst>
              </p:cNvPr>
              <p:cNvSpPr/>
              <p:nvPr/>
            </p:nvSpPr>
            <p:spPr>
              <a:xfrm>
                <a:off x="6304141" y="2733247"/>
                <a:ext cx="39651" cy="45154"/>
              </a:xfrm>
              <a:custGeom>
                <a:avLst/>
                <a:gdLst>
                  <a:gd name="connsiteX0" fmla="*/ 16243 w 39651"/>
                  <a:gd name="connsiteY0" fmla="*/ 45154 h 45154"/>
                  <a:gd name="connsiteX1" fmla="*/ 16243 w 39651"/>
                  <a:gd name="connsiteY1" fmla="*/ 26476 h 45154"/>
                  <a:gd name="connsiteX2" fmla="*/ 0 w 39651"/>
                  <a:gd name="connsiteY2" fmla="*/ 26476 h 45154"/>
                  <a:gd name="connsiteX3" fmla="*/ 0 w 39651"/>
                  <a:gd name="connsiteY3" fmla="*/ 18678 h 45154"/>
                  <a:gd name="connsiteX4" fmla="*/ 16243 w 39651"/>
                  <a:gd name="connsiteY4" fmla="*/ 18678 h 45154"/>
                  <a:gd name="connsiteX5" fmla="*/ 16243 w 39651"/>
                  <a:gd name="connsiteY5" fmla="*/ 0 h 45154"/>
                  <a:gd name="connsiteX6" fmla="*/ 23250 w 39651"/>
                  <a:gd name="connsiteY6" fmla="*/ 0 h 45154"/>
                  <a:gd name="connsiteX7" fmla="*/ 23250 w 39651"/>
                  <a:gd name="connsiteY7" fmla="*/ 18678 h 45154"/>
                  <a:gd name="connsiteX8" fmla="*/ 39652 w 39651"/>
                  <a:gd name="connsiteY8" fmla="*/ 18678 h 45154"/>
                  <a:gd name="connsiteX9" fmla="*/ 39652 w 39651"/>
                  <a:gd name="connsiteY9" fmla="*/ 26476 h 45154"/>
                  <a:gd name="connsiteX10" fmla="*/ 23250 w 39651"/>
                  <a:gd name="connsiteY10" fmla="*/ 26476 h 45154"/>
                  <a:gd name="connsiteX11" fmla="*/ 23250 w 39651"/>
                  <a:gd name="connsiteY11" fmla="*/ 45154 h 45154"/>
                  <a:gd name="connsiteX12" fmla="*/ 16243 w 39651"/>
                  <a:gd name="connsiteY12" fmla="*/ 45154 h 45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651" h="45154">
                    <a:moveTo>
                      <a:pt x="16243" y="45154"/>
                    </a:moveTo>
                    <a:lnTo>
                      <a:pt x="16243" y="26476"/>
                    </a:lnTo>
                    <a:lnTo>
                      <a:pt x="0" y="26476"/>
                    </a:lnTo>
                    <a:lnTo>
                      <a:pt x="0" y="18678"/>
                    </a:lnTo>
                    <a:lnTo>
                      <a:pt x="16243" y="18678"/>
                    </a:lnTo>
                    <a:lnTo>
                      <a:pt x="16243" y="0"/>
                    </a:lnTo>
                    <a:lnTo>
                      <a:pt x="23250" y="0"/>
                    </a:lnTo>
                    <a:lnTo>
                      <a:pt x="23250" y="18678"/>
                    </a:lnTo>
                    <a:lnTo>
                      <a:pt x="39652" y="18678"/>
                    </a:lnTo>
                    <a:lnTo>
                      <a:pt x="39652" y="26476"/>
                    </a:lnTo>
                    <a:lnTo>
                      <a:pt x="23250" y="26476"/>
                    </a:lnTo>
                    <a:lnTo>
                      <a:pt x="23250" y="45154"/>
                    </a:lnTo>
                    <a:lnTo>
                      <a:pt x="16243" y="45154"/>
                    </a:lnTo>
                  </a:path>
                </a:pathLst>
              </a:custGeom>
              <a:grpFill/>
              <a:ln w="158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1" name="Freihandform: Form 60">
                <a:extLst>
                  <a:ext uri="{FF2B5EF4-FFF2-40B4-BE49-F238E27FC236}">
                    <a16:creationId xmlns:a16="http://schemas.microsoft.com/office/drawing/2014/main" id="{47D27A40-48A6-D863-C81C-A1895E9D028C}"/>
                  </a:ext>
                </a:extLst>
              </p:cNvPr>
              <p:cNvSpPr/>
              <p:nvPr/>
            </p:nvSpPr>
            <p:spPr>
              <a:xfrm>
                <a:off x="6319110" y="2733247"/>
                <a:ext cx="39493" cy="45154"/>
              </a:xfrm>
              <a:custGeom>
                <a:avLst/>
                <a:gdLst>
                  <a:gd name="connsiteX0" fmla="*/ 16243 w 39493"/>
                  <a:gd name="connsiteY0" fmla="*/ 45154 h 45154"/>
                  <a:gd name="connsiteX1" fmla="*/ 16243 w 39493"/>
                  <a:gd name="connsiteY1" fmla="*/ 26476 h 45154"/>
                  <a:gd name="connsiteX2" fmla="*/ 0 w 39493"/>
                  <a:gd name="connsiteY2" fmla="*/ 26476 h 45154"/>
                  <a:gd name="connsiteX3" fmla="*/ 0 w 39493"/>
                  <a:gd name="connsiteY3" fmla="*/ 18678 h 45154"/>
                  <a:gd name="connsiteX4" fmla="*/ 16243 w 39493"/>
                  <a:gd name="connsiteY4" fmla="*/ 18678 h 45154"/>
                  <a:gd name="connsiteX5" fmla="*/ 16243 w 39493"/>
                  <a:gd name="connsiteY5" fmla="*/ 0 h 45154"/>
                  <a:gd name="connsiteX6" fmla="*/ 23250 w 39493"/>
                  <a:gd name="connsiteY6" fmla="*/ 0 h 45154"/>
                  <a:gd name="connsiteX7" fmla="*/ 23250 w 39493"/>
                  <a:gd name="connsiteY7" fmla="*/ 18678 h 45154"/>
                  <a:gd name="connsiteX8" fmla="*/ 39493 w 39493"/>
                  <a:gd name="connsiteY8" fmla="*/ 18678 h 45154"/>
                  <a:gd name="connsiteX9" fmla="*/ 39493 w 39493"/>
                  <a:gd name="connsiteY9" fmla="*/ 26476 h 45154"/>
                  <a:gd name="connsiteX10" fmla="*/ 23250 w 39493"/>
                  <a:gd name="connsiteY10" fmla="*/ 26476 h 45154"/>
                  <a:gd name="connsiteX11" fmla="*/ 23250 w 39493"/>
                  <a:gd name="connsiteY11" fmla="*/ 45154 h 45154"/>
                  <a:gd name="connsiteX12" fmla="*/ 16243 w 39493"/>
                  <a:gd name="connsiteY12" fmla="*/ 45154 h 45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93" h="45154">
                    <a:moveTo>
                      <a:pt x="16243" y="45154"/>
                    </a:moveTo>
                    <a:lnTo>
                      <a:pt x="16243" y="26476"/>
                    </a:lnTo>
                    <a:lnTo>
                      <a:pt x="0" y="26476"/>
                    </a:lnTo>
                    <a:lnTo>
                      <a:pt x="0" y="18678"/>
                    </a:lnTo>
                    <a:lnTo>
                      <a:pt x="16243" y="18678"/>
                    </a:lnTo>
                    <a:lnTo>
                      <a:pt x="16243" y="0"/>
                    </a:lnTo>
                    <a:lnTo>
                      <a:pt x="23250" y="0"/>
                    </a:lnTo>
                    <a:lnTo>
                      <a:pt x="23250" y="18678"/>
                    </a:lnTo>
                    <a:lnTo>
                      <a:pt x="39493" y="18678"/>
                    </a:lnTo>
                    <a:lnTo>
                      <a:pt x="39493" y="26476"/>
                    </a:lnTo>
                    <a:lnTo>
                      <a:pt x="23250" y="26476"/>
                    </a:lnTo>
                    <a:lnTo>
                      <a:pt x="23250" y="45154"/>
                    </a:lnTo>
                    <a:lnTo>
                      <a:pt x="16243" y="45154"/>
                    </a:lnTo>
                  </a:path>
                </a:pathLst>
              </a:custGeom>
              <a:grpFill/>
              <a:ln w="158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2" name="Freihandform: Form 61">
                <a:extLst>
                  <a:ext uri="{FF2B5EF4-FFF2-40B4-BE49-F238E27FC236}">
                    <a16:creationId xmlns:a16="http://schemas.microsoft.com/office/drawing/2014/main" id="{AA60F8C7-1F73-DFBC-F9D3-8CCE9D496E91}"/>
                  </a:ext>
                </a:extLst>
              </p:cNvPr>
              <p:cNvSpPr/>
              <p:nvPr/>
            </p:nvSpPr>
            <p:spPr>
              <a:xfrm>
                <a:off x="6346022" y="2733247"/>
                <a:ext cx="39651" cy="45154"/>
              </a:xfrm>
              <a:custGeom>
                <a:avLst/>
                <a:gdLst>
                  <a:gd name="connsiteX0" fmla="*/ 16243 w 39651"/>
                  <a:gd name="connsiteY0" fmla="*/ 45154 h 45154"/>
                  <a:gd name="connsiteX1" fmla="*/ 16243 w 39651"/>
                  <a:gd name="connsiteY1" fmla="*/ 26476 h 45154"/>
                  <a:gd name="connsiteX2" fmla="*/ 0 w 39651"/>
                  <a:gd name="connsiteY2" fmla="*/ 26476 h 45154"/>
                  <a:gd name="connsiteX3" fmla="*/ 0 w 39651"/>
                  <a:gd name="connsiteY3" fmla="*/ 18678 h 45154"/>
                  <a:gd name="connsiteX4" fmla="*/ 16243 w 39651"/>
                  <a:gd name="connsiteY4" fmla="*/ 18678 h 45154"/>
                  <a:gd name="connsiteX5" fmla="*/ 16243 w 39651"/>
                  <a:gd name="connsiteY5" fmla="*/ 0 h 45154"/>
                  <a:gd name="connsiteX6" fmla="*/ 23250 w 39651"/>
                  <a:gd name="connsiteY6" fmla="*/ 0 h 45154"/>
                  <a:gd name="connsiteX7" fmla="*/ 23250 w 39651"/>
                  <a:gd name="connsiteY7" fmla="*/ 18678 h 45154"/>
                  <a:gd name="connsiteX8" fmla="*/ 39652 w 39651"/>
                  <a:gd name="connsiteY8" fmla="*/ 18678 h 45154"/>
                  <a:gd name="connsiteX9" fmla="*/ 39652 w 39651"/>
                  <a:gd name="connsiteY9" fmla="*/ 26476 h 45154"/>
                  <a:gd name="connsiteX10" fmla="*/ 23250 w 39651"/>
                  <a:gd name="connsiteY10" fmla="*/ 26476 h 45154"/>
                  <a:gd name="connsiteX11" fmla="*/ 23250 w 39651"/>
                  <a:gd name="connsiteY11" fmla="*/ 45154 h 45154"/>
                  <a:gd name="connsiteX12" fmla="*/ 16243 w 39651"/>
                  <a:gd name="connsiteY12" fmla="*/ 45154 h 45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651" h="45154">
                    <a:moveTo>
                      <a:pt x="16243" y="45154"/>
                    </a:moveTo>
                    <a:lnTo>
                      <a:pt x="16243" y="26476"/>
                    </a:lnTo>
                    <a:lnTo>
                      <a:pt x="0" y="26476"/>
                    </a:lnTo>
                    <a:lnTo>
                      <a:pt x="0" y="18678"/>
                    </a:lnTo>
                    <a:lnTo>
                      <a:pt x="16243" y="18678"/>
                    </a:lnTo>
                    <a:lnTo>
                      <a:pt x="16243" y="0"/>
                    </a:lnTo>
                    <a:lnTo>
                      <a:pt x="23250" y="0"/>
                    </a:lnTo>
                    <a:lnTo>
                      <a:pt x="23250" y="18678"/>
                    </a:lnTo>
                    <a:lnTo>
                      <a:pt x="39652" y="18678"/>
                    </a:lnTo>
                    <a:lnTo>
                      <a:pt x="39652" y="26476"/>
                    </a:lnTo>
                    <a:lnTo>
                      <a:pt x="23250" y="26476"/>
                    </a:lnTo>
                    <a:lnTo>
                      <a:pt x="23250" y="45154"/>
                    </a:lnTo>
                    <a:lnTo>
                      <a:pt x="16243" y="45154"/>
                    </a:lnTo>
                  </a:path>
                </a:pathLst>
              </a:custGeom>
              <a:grpFill/>
              <a:ln w="158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3" name="Freihandform: Form 62">
                <a:extLst>
                  <a:ext uri="{FF2B5EF4-FFF2-40B4-BE49-F238E27FC236}">
                    <a16:creationId xmlns:a16="http://schemas.microsoft.com/office/drawing/2014/main" id="{0596853C-F5DF-A124-0A3E-6E9B0CDAE913}"/>
                  </a:ext>
                </a:extLst>
              </p:cNvPr>
              <p:cNvSpPr/>
              <p:nvPr/>
            </p:nvSpPr>
            <p:spPr>
              <a:xfrm>
                <a:off x="6364017" y="2733247"/>
                <a:ext cx="39492" cy="45154"/>
              </a:xfrm>
              <a:custGeom>
                <a:avLst/>
                <a:gdLst>
                  <a:gd name="connsiteX0" fmla="*/ 16243 w 39492"/>
                  <a:gd name="connsiteY0" fmla="*/ 45154 h 45154"/>
                  <a:gd name="connsiteX1" fmla="*/ 16243 w 39492"/>
                  <a:gd name="connsiteY1" fmla="*/ 26476 h 45154"/>
                  <a:gd name="connsiteX2" fmla="*/ 0 w 39492"/>
                  <a:gd name="connsiteY2" fmla="*/ 26476 h 45154"/>
                  <a:gd name="connsiteX3" fmla="*/ 0 w 39492"/>
                  <a:gd name="connsiteY3" fmla="*/ 18678 h 45154"/>
                  <a:gd name="connsiteX4" fmla="*/ 16243 w 39492"/>
                  <a:gd name="connsiteY4" fmla="*/ 18678 h 45154"/>
                  <a:gd name="connsiteX5" fmla="*/ 16243 w 39492"/>
                  <a:gd name="connsiteY5" fmla="*/ 0 h 45154"/>
                  <a:gd name="connsiteX6" fmla="*/ 23250 w 39492"/>
                  <a:gd name="connsiteY6" fmla="*/ 0 h 45154"/>
                  <a:gd name="connsiteX7" fmla="*/ 23250 w 39492"/>
                  <a:gd name="connsiteY7" fmla="*/ 18678 h 45154"/>
                  <a:gd name="connsiteX8" fmla="*/ 39493 w 39492"/>
                  <a:gd name="connsiteY8" fmla="*/ 18678 h 45154"/>
                  <a:gd name="connsiteX9" fmla="*/ 39493 w 39492"/>
                  <a:gd name="connsiteY9" fmla="*/ 26476 h 45154"/>
                  <a:gd name="connsiteX10" fmla="*/ 23250 w 39492"/>
                  <a:gd name="connsiteY10" fmla="*/ 26476 h 45154"/>
                  <a:gd name="connsiteX11" fmla="*/ 23250 w 39492"/>
                  <a:gd name="connsiteY11" fmla="*/ 45154 h 45154"/>
                  <a:gd name="connsiteX12" fmla="*/ 16243 w 39492"/>
                  <a:gd name="connsiteY12" fmla="*/ 45154 h 45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92" h="45154">
                    <a:moveTo>
                      <a:pt x="16243" y="45154"/>
                    </a:moveTo>
                    <a:lnTo>
                      <a:pt x="16243" y="26476"/>
                    </a:lnTo>
                    <a:lnTo>
                      <a:pt x="0" y="26476"/>
                    </a:lnTo>
                    <a:lnTo>
                      <a:pt x="0" y="18678"/>
                    </a:lnTo>
                    <a:lnTo>
                      <a:pt x="16243" y="18678"/>
                    </a:lnTo>
                    <a:lnTo>
                      <a:pt x="16243" y="0"/>
                    </a:lnTo>
                    <a:lnTo>
                      <a:pt x="23250" y="0"/>
                    </a:lnTo>
                    <a:lnTo>
                      <a:pt x="23250" y="18678"/>
                    </a:lnTo>
                    <a:lnTo>
                      <a:pt x="39493" y="18678"/>
                    </a:lnTo>
                    <a:lnTo>
                      <a:pt x="39493" y="26476"/>
                    </a:lnTo>
                    <a:lnTo>
                      <a:pt x="23250" y="26476"/>
                    </a:lnTo>
                    <a:lnTo>
                      <a:pt x="23250" y="45154"/>
                    </a:lnTo>
                    <a:lnTo>
                      <a:pt x="16243" y="45154"/>
                    </a:lnTo>
                  </a:path>
                </a:pathLst>
              </a:custGeom>
              <a:grpFill/>
              <a:ln w="158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4" name="Freihandform: Form 63">
                <a:extLst>
                  <a:ext uri="{FF2B5EF4-FFF2-40B4-BE49-F238E27FC236}">
                    <a16:creationId xmlns:a16="http://schemas.microsoft.com/office/drawing/2014/main" id="{356123F5-6D1D-F34E-D31A-656450614433}"/>
                  </a:ext>
                </a:extLst>
              </p:cNvPr>
              <p:cNvSpPr/>
              <p:nvPr/>
            </p:nvSpPr>
            <p:spPr>
              <a:xfrm>
                <a:off x="6384878" y="2733247"/>
                <a:ext cx="39651" cy="45154"/>
              </a:xfrm>
              <a:custGeom>
                <a:avLst/>
                <a:gdLst>
                  <a:gd name="connsiteX0" fmla="*/ 16402 w 39651"/>
                  <a:gd name="connsiteY0" fmla="*/ 45154 h 45154"/>
                  <a:gd name="connsiteX1" fmla="*/ 16402 w 39651"/>
                  <a:gd name="connsiteY1" fmla="*/ 26476 h 45154"/>
                  <a:gd name="connsiteX2" fmla="*/ 0 w 39651"/>
                  <a:gd name="connsiteY2" fmla="*/ 26476 h 45154"/>
                  <a:gd name="connsiteX3" fmla="*/ 0 w 39651"/>
                  <a:gd name="connsiteY3" fmla="*/ 18678 h 45154"/>
                  <a:gd name="connsiteX4" fmla="*/ 16402 w 39651"/>
                  <a:gd name="connsiteY4" fmla="*/ 18678 h 45154"/>
                  <a:gd name="connsiteX5" fmla="*/ 16402 w 39651"/>
                  <a:gd name="connsiteY5" fmla="*/ 0 h 45154"/>
                  <a:gd name="connsiteX6" fmla="*/ 23250 w 39651"/>
                  <a:gd name="connsiteY6" fmla="*/ 0 h 45154"/>
                  <a:gd name="connsiteX7" fmla="*/ 23250 w 39651"/>
                  <a:gd name="connsiteY7" fmla="*/ 18678 h 45154"/>
                  <a:gd name="connsiteX8" fmla="*/ 39652 w 39651"/>
                  <a:gd name="connsiteY8" fmla="*/ 18678 h 45154"/>
                  <a:gd name="connsiteX9" fmla="*/ 39652 w 39651"/>
                  <a:gd name="connsiteY9" fmla="*/ 26476 h 45154"/>
                  <a:gd name="connsiteX10" fmla="*/ 23250 w 39651"/>
                  <a:gd name="connsiteY10" fmla="*/ 26476 h 45154"/>
                  <a:gd name="connsiteX11" fmla="*/ 23250 w 39651"/>
                  <a:gd name="connsiteY11" fmla="*/ 45154 h 45154"/>
                  <a:gd name="connsiteX12" fmla="*/ 16402 w 39651"/>
                  <a:gd name="connsiteY12" fmla="*/ 45154 h 45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651" h="45154">
                    <a:moveTo>
                      <a:pt x="16402" y="45154"/>
                    </a:moveTo>
                    <a:lnTo>
                      <a:pt x="16402" y="26476"/>
                    </a:lnTo>
                    <a:lnTo>
                      <a:pt x="0" y="26476"/>
                    </a:lnTo>
                    <a:lnTo>
                      <a:pt x="0" y="18678"/>
                    </a:lnTo>
                    <a:lnTo>
                      <a:pt x="16402" y="18678"/>
                    </a:lnTo>
                    <a:lnTo>
                      <a:pt x="16402" y="0"/>
                    </a:lnTo>
                    <a:lnTo>
                      <a:pt x="23250" y="0"/>
                    </a:lnTo>
                    <a:lnTo>
                      <a:pt x="23250" y="18678"/>
                    </a:lnTo>
                    <a:lnTo>
                      <a:pt x="39652" y="18678"/>
                    </a:lnTo>
                    <a:lnTo>
                      <a:pt x="39652" y="26476"/>
                    </a:lnTo>
                    <a:lnTo>
                      <a:pt x="23250" y="26476"/>
                    </a:lnTo>
                    <a:lnTo>
                      <a:pt x="23250" y="45154"/>
                    </a:lnTo>
                    <a:lnTo>
                      <a:pt x="16402" y="45154"/>
                    </a:lnTo>
                  </a:path>
                </a:pathLst>
              </a:custGeom>
              <a:grpFill/>
              <a:ln w="158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5" name="Freihandform: Form 64">
                <a:extLst>
                  <a:ext uri="{FF2B5EF4-FFF2-40B4-BE49-F238E27FC236}">
                    <a16:creationId xmlns:a16="http://schemas.microsoft.com/office/drawing/2014/main" id="{59E427C9-842B-45A5-A7A7-346587C2B6D9}"/>
                  </a:ext>
                </a:extLst>
              </p:cNvPr>
              <p:cNvSpPr/>
              <p:nvPr/>
            </p:nvSpPr>
            <p:spPr>
              <a:xfrm>
                <a:off x="6387904" y="2733247"/>
                <a:ext cx="39651" cy="45154"/>
              </a:xfrm>
              <a:custGeom>
                <a:avLst/>
                <a:gdLst>
                  <a:gd name="connsiteX0" fmla="*/ 16243 w 39651"/>
                  <a:gd name="connsiteY0" fmla="*/ 45154 h 45154"/>
                  <a:gd name="connsiteX1" fmla="*/ 16243 w 39651"/>
                  <a:gd name="connsiteY1" fmla="*/ 26476 h 45154"/>
                  <a:gd name="connsiteX2" fmla="*/ 0 w 39651"/>
                  <a:gd name="connsiteY2" fmla="*/ 26476 h 45154"/>
                  <a:gd name="connsiteX3" fmla="*/ 0 w 39651"/>
                  <a:gd name="connsiteY3" fmla="*/ 18678 h 45154"/>
                  <a:gd name="connsiteX4" fmla="*/ 16243 w 39651"/>
                  <a:gd name="connsiteY4" fmla="*/ 18678 h 45154"/>
                  <a:gd name="connsiteX5" fmla="*/ 16243 w 39651"/>
                  <a:gd name="connsiteY5" fmla="*/ 0 h 45154"/>
                  <a:gd name="connsiteX6" fmla="*/ 23250 w 39651"/>
                  <a:gd name="connsiteY6" fmla="*/ 0 h 45154"/>
                  <a:gd name="connsiteX7" fmla="*/ 23250 w 39651"/>
                  <a:gd name="connsiteY7" fmla="*/ 18678 h 45154"/>
                  <a:gd name="connsiteX8" fmla="*/ 39652 w 39651"/>
                  <a:gd name="connsiteY8" fmla="*/ 18678 h 45154"/>
                  <a:gd name="connsiteX9" fmla="*/ 39652 w 39651"/>
                  <a:gd name="connsiteY9" fmla="*/ 26476 h 45154"/>
                  <a:gd name="connsiteX10" fmla="*/ 23250 w 39651"/>
                  <a:gd name="connsiteY10" fmla="*/ 26476 h 45154"/>
                  <a:gd name="connsiteX11" fmla="*/ 23250 w 39651"/>
                  <a:gd name="connsiteY11" fmla="*/ 45154 h 45154"/>
                  <a:gd name="connsiteX12" fmla="*/ 16243 w 39651"/>
                  <a:gd name="connsiteY12" fmla="*/ 45154 h 45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651" h="45154">
                    <a:moveTo>
                      <a:pt x="16243" y="45154"/>
                    </a:moveTo>
                    <a:lnTo>
                      <a:pt x="16243" y="26476"/>
                    </a:lnTo>
                    <a:lnTo>
                      <a:pt x="0" y="26476"/>
                    </a:lnTo>
                    <a:lnTo>
                      <a:pt x="0" y="18678"/>
                    </a:lnTo>
                    <a:lnTo>
                      <a:pt x="16243" y="18678"/>
                    </a:lnTo>
                    <a:lnTo>
                      <a:pt x="16243" y="0"/>
                    </a:lnTo>
                    <a:lnTo>
                      <a:pt x="23250" y="0"/>
                    </a:lnTo>
                    <a:lnTo>
                      <a:pt x="23250" y="18678"/>
                    </a:lnTo>
                    <a:lnTo>
                      <a:pt x="39652" y="18678"/>
                    </a:lnTo>
                    <a:lnTo>
                      <a:pt x="39652" y="26476"/>
                    </a:lnTo>
                    <a:lnTo>
                      <a:pt x="23250" y="26476"/>
                    </a:lnTo>
                    <a:lnTo>
                      <a:pt x="23250" y="45154"/>
                    </a:lnTo>
                    <a:lnTo>
                      <a:pt x="16243" y="45154"/>
                    </a:lnTo>
                  </a:path>
                </a:pathLst>
              </a:custGeom>
              <a:grpFill/>
              <a:ln w="158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6" name="Freihandform: Form 65">
                <a:extLst>
                  <a:ext uri="{FF2B5EF4-FFF2-40B4-BE49-F238E27FC236}">
                    <a16:creationId xmlns:a16="http://schemas.microsoft.com/office/drawing/2014/main" id="{E002AE4D-92C4-71D5-593C-02A943FFA223}"/>
                  </a:ext>
                </a:extLst>
              </p:cNvPr>
              <p:cNvSpPr/>
              <p:nvPr/>
            </p:nvSpPr>
            <p:spPr>
              <a:xfrm>
                <a:off x="6393796" y="2733247"/>
                <a:ext cx="39651" cy="45154"/>
              </a:xfrm>
              <a:custGeom>
                <a:avLst/>
                <a:gdLst>
                  <a:gd name="connsiteX0" fmla="*/ 16402 w 39651"/>
                  <a:gd name="connsiteY0" fmla="*/ 45154 h 45154"/>
                  <a:gd name="connsiteX1" fmla="*/ 16402 w 39651"/>
                  <a:gd name="connsiteY1" fmla="*/ 26476 h 45154"/>
                  <a:gd name="connsiteX2" fmla="*/ 0 w 39651"/>
                  <a:gd name="connsiteY2" fmla="*/ 26476 h 45154"/>
                  <a:gd name="connsiteX3" fmla="*/ 0 w 39651"/>
                  <a:gd name="connsiteY3" fmla="*/ 18678 h 45154"/>
                  <a:gd name="connsiteX4" fmla="*/ 16402 w 39651"/>
                  <a:gd name="connsiteY4" fmla="*/ 18678 h 45154"/>
                  <a:gd name="connsiteX5" fmla="*/ 16402 w 39651"/>
                  <a:gd name="connsiteY5" fmla="*/ 0 h 45154"/>
                  <a:gd name="connsiteX6" fmla="*/ 23250 w 39651"/>
                  <a:gd name="connsiteY6" fmla="*/ 0 h 45154"/>
                  <a:gd name="connsiteX7" fmla="*/ 23250 w 39651"/>
                  <a:gd name="connsiteY7" fmla="*/ 18678 h 45154"/>
                  <a:gd name="connsiteX8" fmla="*/ 39652 w 39651"/>
                  <a:gd name="connsiteY8" fmla="*/ 18678 h 45154"/>
                  <a:gd name="connsiteX9" fmla="*/ 39652 w 39651"/>
                  <a:gd name="connsiteY9" fmla="*/ 26476 h 45154"/>
                  <a:gd name="connsiteX10" fmla="*/ 23250 w 39651"/>
                  <a:gd name="connsiteY10" fmla="*/ 26476 h 45154"/>
                  <a:gd name="connsiteX11" fmla="*/ 23250 w 39651"/>
                  <a:gd name="connsiteY11" fmla="*/ 45154 h 45154"/>
                  <a:gd name="connsiteX12" fmla="*/ 16402 w 39651"/>
                  <a:gd name="connsiteY12" fmla="*/ 45154 h 45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651" h="45154">
                    <a:moveTo>
                      <a:pt x="16402" y="45154"/>
                    </a:moveTo>
                    <a:lnTo>
                      <a:pt x="16402" y="26476"/>
                    </a:lnTo>
                    <a:lnTo>
                      <a:pt x="0" y="26476"/>
                    </a:lnTo>
                    <a:lnTo>
                      <a:pt x="0" y="18678"/>
                    </a:lnTo>
                    <a:lnTo>
                      <a:pt x="16402" y="18678"/>
                    </a:lnTo>
                    <a:lnTo>
                      <a:pt x="16402" y="0"/>
                    </a:lnTo>
                    <a:lnTo>
                      <a:pt x="23250" y="0"/>
                    </a:lnTo>
                    <a:lnTo>
                      <a:pt x="23250" y="18678"/>
                    </a:lnTo>
                    <a:lnTo>
                      <a:pt x="39652" y="18678"/>
                    </a:lnTo>
                    <a:lnTo>
                      <a:pt x="39652" y="26476"/>
                    </a:lnTo>
                    <a:lnTo>
                      <a:pt x="23250" y="26476"/>
                    </a:lnTo>
                    <a:lnTo>
                      <a:pt x="23250" y="45154"/>
                    </a:lnTo>
                    <a:lnTo>
                      <a:pt x="16402" y="45154"/>
                    </a:lnTo>
                  </a:path>
                </a:pathLst>
              </a:custGeom>
              <a:grpFill/>
              <a:ln w="158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7" name="Freihandform: Form 66">
                <a:extLst>
                  <a:ext uri="{FF2B5EF4-FFF2-40B4-BE49-F238E27FC236}">
                    <a16:creationId xmlns:a16="http://schemas.microsoft.com/office/drawing/2014/main" id="{F6BA3C77-97AD-3C77-5226-3F695FD0A4C3}"/>
                  </a:ext>
                </a:extLst>
              </p:cNvPr>
              <p:cNvSpPr/>
              <p:nvPr/>
            </p:nvSpPr>
            <p:spPr>
              <a:xfrm>
                <a:off x="6498579" y="2733247"/>
                <a:ext cx="39493" cy="45154"/>
              </a:xfrm>
              <a:custGeom>
                <a:avLst/>
                <a:gdLst>
                  <a:gd name="connsiteX0" fmla="*/ 16243 w 39493"/>
                  <a:gd name="connsiteY0" fmla="*/ 45154 h 45154"/>
                  <a:gd name="connsiteX1" fmla="*/ 16243 w 39493"/>
                  <a:gd name="connsiteY1" fmla="*/ 26476 h 45154"/>
                  <a:gd name="connsiteX2" fmla="*/ 0 w 39493"/>
                  <a:gd name="connsiteY2" fmla="*/ 26476 h 45154"/>
                  <a:gd name="connsiteX3" fmla="*/ 0 w 39493"/>
                  <a:gd name="connsiteY3" fmla="*/ 18678 h 45154"/>
                  <a:gd name="connsiteX4" fmla="*/ 16243 w 39493"/>
                  <a:gd name="connsiteY4" fmla="*/ 18678 h 45154"/>
                  <a:gd name="connsiteX5" fmla="*/ 16243 w 39493"/>
                  <a:gd name="connsiteY5" fmla="*/ 0 h 45154"/>
                  <a:gd name="connsiteX6" fmla="*/ 23250 w 39493"/>
                  <a:gd name="connsiteY6" fmla="*/ 0 h 45154"/>
                  <a:gd name="connsiteX7" fmla="*/ 23250 w 39493"/>
                  <a:gd name="connsiteY7" fmla="*/ 18678 h 45154"/>
                  <a:gd name="connsiteX8" fmla="*/ 39493 w 39493"/>
                  <a:gd name="connsiteY8" fmla="*/ 18678 h 45154"/>
                  <a:gd name="connsiteX9" fmla="*/ 39493 w 39493"/>
                  <a:gd name="connsiteY9" fmla="*/ 26476 h 45154"/>
                  <a:gd name="connsiteX10" fmla="*/ 23250 w 39493"/>
                  <a:gd name="connsiteY10" fmla="*/ 26476 h 45154"/>
                  <a:gd name="connsiteX11" fmla="*/ 23250 w 39493"/>
                  <a:gd name="connsiteY11" fmla="*/ 45154 h 45154"/>
                  <a:gd name="connsiteX12" fmla="*/ 16243 w 39493"/>
                  <a:gd name="connsiteY12" fmla="*/ 45154 h 45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93" h="45154">
                    <a:moveTo>
                      <a:pt x="16243" y="45154"/>
                    </a:moveTo>
                    <a:lnTo>
                      <a:pt x="16243" y="26476"/>
                    </a:lnTo>
                    <a:lnTo>
                      <a:pt x="0" y="26476"/>
                    </a:lnTo>
                    <a:lnTo>
                      <a:pt x="0" y="18678"/>
                    </a:lnTo>
                    <a:lnTo>
                      <a:pt x="16243" y="18678"/>
                    </a:lnTo>
                    <a:lnTo>
                      <a:pt x="16243" y="0"/>
                    </a:lnTo>
                    <a:lnTo>
                      <a:pt x="23250" y="0"/>
                    </a:lnTo>
                    <a:lnTo>
                      <a:pt x="23250" y="18678"/>
                    </a:lnTo>
                    <a:lnTo>
                      <a:pt x="39493" y="18678"/>
                    </a:lnTo>
                    <a:lnTo>
                      <a:pt x="39493" y="26476"/>
                    </a:lnTo>
                    <a:lnTo>
                      <a:pt x="23250" y="26476"/>
                    </a:lnTo>
                    <a:lnTo>
                      <a:pt x="23250" y="45154"/>
                    </a:lnTo>
                    <a:lnTo>
                      <a:pt x="16243" y="45154"/>
                    </a:lnTo>
                  </a:path>
                </a:pathLst>
              </a:custGeom>
              <a:grpFill/>
              <a:ln w="158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8" name="Freihandform: Form 67">
                <a:extLst>
                  <a:ext uri="{FF2B5EF4-FFF2-40B4-BE49-F238E27FC236}">
                    <a16:creationId xmlns:a16="http://schemas.microsoft.com/office/drawing/2014/main" id="{967CE126-4B6B-7C87-9ED9-5CAC6BCA5B6B}"/>
                  </a:ext>
                </a:extLst>
              </p:cNvPr>
              <p:cNvSpPr/>
              <p:nvPr/>
            </p:nvSpPr>
            <p:spPr>
              <a:xfrm>
                <a:off x="6510523" y="2733247"/>
                <a:ext cx="39652" cy="45154"/>
              </a:xfrm>
              <a:custGeom>
                <a:avLst/>
                <a:gdLst>
                  <a:gd name="connsiteX0" fmla="*/ 16402 w 39652"/>
                  <a:gd name="connsiteY0" fmla="*/ 45154 h 45154"/>
                  <a:gd name="connsiteX1" fmla="*/ 16402 w 39652"/>
                  <a:gd name="connsiteY1" fmla="*/ 26476 h 45154"/>
                  <a:gd name="connsiteX2" fmla="*/ 0 w 39652"/>
                  <a:gd name="connsiteY2" fmla="*/ 26476 h 45154"/>
                  <a:gd name="connsiteX3" fmla="*/ 0 w 39652"/>
                  <a:gd name="connsiteY3" fmla="*/ 18678 h 45154"/>
                  <a:gd name="connsiteX4" fmla="*/ 16402 w 39652"/>
                  <a:gd name="connsiteY4" fmla="*/ 18678 h 45154"/>
                  <a:gd name="connsiteX5" fmla="*/ 16402 w 39652"/>
                  <a:gd name="connsiteY5" fmla="*/ 0 h 45154"/>
                  <a:gd name="connsiteX6" fmla="*/ 23250 w 39652"/>
                  <a:gd name="connsiteY6" fmla="*/ 0 h 45154"/>
                  <a:gd name="connsiteX7" fmla="*/ 23250 w 39652"/>
                  <a:gd name="connsiteY7" fmla="*/ 18678 h 45154"/>
                  <a:gd name="connsiteX8" fmla="*/ 39652 w 39652"/>
                  <a:gd name="connsiteY8" fmla="*/ 18678 h 45154"/>
                  <a:gd name="connsiteX9" fmla="*/ 39652 w 39652"/>
                  <a:gd name="connsiteY9" fmla="*/ 26476 h 45154"/>
                  <a:gd name="connsiteX10" fmla="*/ 23250 w 39652"/>
                  <a:gd name="connsiteY10" fmla="*/ 26476 h 45154"/>
                  <a:gd name="connsiteX11" fmla="*/ 23250 w 39652"/>
                  <a:gd name="connsiteY11" fmla="*/ 45154 h 45154"/>
                  <a:gd name="connsiteX12" fmla="*/ 16402 w 39652"/>
                  <a:gd name="connsiteY12" fmla="*/ 45154 h 45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652" h="45154">
                    <a:moveTo>
                      <a:pt x="16402" y="45154"/>
                    </a:moveTo>
                    <a:lnTo>
                      <a:pt x="16402" y="26476"/>
                    </a:lnTo>
                    <a:lnTo>
                      <a:pt x="0" y="26476"/>
                    </a:lnTo>
                    <a:lnTo>
                      <a:pt x="0" y="18678"/>
                    </a:lnTo>
                    <a:lnTo>
                      <a:pt x="16402" y="18678"/>
                    </a:lnTo>
                    <a:lnTo>
                      <a:pt x="16402" y="0"/>
                    </a:lnTo>
                    <a:lnTo>
                      <a:pt x="23250" y="0"/>
                    </a:lnTo>
                    <a:lnTo>
                      <a:pt x="23250" y="18678"/>
                    </a:lnTo>
                    <a:lnTo>
                      <a:pt x="39652" y="18678"/>
                    </a:lnTo>
                    <a:lnTo>
                      <a:pt x="39652" y="26476"/>
                    </a:lnTo>
                    <a:lnTo>
                      <a:pt x="23250" y="26476"/>
                    </a:lnTo>
                    <a:lnTo>
                      <a:pt x="23250" y="45154"/>
                    </a:lnTo>
                    <a:lnTo>
                      <a:pt x="16402" y="45154"/>
                    </a:lnTo>
                  </a:path>
                </a:pathLst>
              </a:custGeom>
              <a:grpFill/>
              <a:ln w="158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9" name="Freihandform: Form 68">
                <a:extLst>
                  <a:ext uri="{FF2B5EF4-FFF2-40B4-BE49-F238E27FC236}">
                    <a16:creationId xmlns:a16="http://schemas.microsoft.com/office/drawing/2014/main" id="{ED49C52C-30CA-F1C2-B76A-0FE75A796E38}"/>
                  </a:ext>
                </a:extLst>
              </p:cNvPr>
              <p:cNvSpPr/>
              <p:nvPr/>
            </p:nvSpPr>
            <p:spPr>
              <a:xfrm>
                <a:off x="6588235" y="2733247"/>
                <a:ext cx="39651" cy="45154"/>
              </a:xfrm>
              <a:custGeom>
                <a:avLst/>
                <a:gdLst>
                  <a:gd name="connsiteX0" fmla="*/ 16402 w 39651"/>
                  <a:gd name="connsiteY0" fmla="*/ 45154 h 45154"/>
                  <a:gd name="connsiteX1" fmla="*/ 16402 w 39651"/>
                  <a:gd name="connsiteY1" fmla="*/ 26476 h 45154"/>
                  <a:gd name="connsiteX2" fmla="*/ 0 w 39651"/>
                  <a:gd name="connsiteY2" fmla="*/ 26476 h 45154"/>
                  <a:gd name="connsiteX3" fmla="*/ 0 w 39651"/>
                  <a:gd name="connsiteY3" fmla="*/ 18678 h 45154"/>
                  <a:gd name="connsiteX4" fmla="*/ 16402 w 39651"/>
                  <a:gd name="connsiteY4" fmla="*/ 18678 h 45154"/>
                  <a:gd name="connsiteX5" fmla="*/ 16402 w 39651"/>
                  <a:gd name="connsiteY5" fmla="*/ 0 h 45154"/>
                  <a:gd name="connsiteX6" fmla="*/ 23409 w 39651"/>
                  <a:gd name="connsiteY6" fmla="*/ 0 h 45154"/>
                  <a:gd name="connsiteX7" fmla="*/ 23409 w 39651"/>
                  <a:gd name="connsiteY7" fmla="*/ 18678 h 45154"/>
                  <a:gd name="connsiteX8" fmla="*/ 39652 w 39651"/>
                  <a:gd name="connsiteY8" fmla="*/ 18678 h 45154"/>
                  <a:gd name="connsiteX9" fmla="*/ 39652 w 39651"/>
                  <a:gd name="connsiteY9" fmla="*/ 26476 h 45154"/>
                  <a:gd name="connsiteX10" fmla="*/ 23409 w 39651"/>
                  <a:gd name="connsiteY10" fmla="*/ 26476 h 45154"/>
                  <a:gd name="connsiteX11" fmla="*/ 23409 w 39651"/>
                  <a:gd name="connsiteY11" fmla="*/ 45154 h 45154"/>
                  <a:gd name="connsiteX12" fmla="*/ 16402 w 39651"/>
                  <a:gd name="connsiteY12" fmla="*/ 45154 h 45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651" h="45154">
                    <a:moveTo>
                      <a:pt x="16402" y="45154"/>
                    </a:moveTo>
                    <a:lnTo>
                      <a:pt x="16402" y="26476"/>
                    </a:lnTo>
                    <a:lnTo>
                      <a:pt x="0" y="26476"/>
                    </a:lnTo>
                    <a:lnTo>
                      <a:pt x="0" y="18678"/>
                    </a:lnTo>
                    <a:lnTo>
                      <a:pt x="16402" y="18678"/>
                    </a:lnTo>
                    <a:lnTo>
                      <a:pt x="16402" y="0"/>
                    </a:lnTo>
                    <a:lnTo>
                      <a:pt x="23409" y="0"/>
                    </a:lnTo>
                    <a:lnTo>
                      <a:pt x="23409" y="18678"/>
                    </a:lnTo>
                    <a:lnTo>
                      <a:pt x="39652" y="18678"/>
                    </a:lnTo>
                    <a:lnTo>
                      <a:pt x="39652" y="26476"/>
                    </a:lnTo>
                    <a:lnTo>
                      <a:pt x="23409" y="26476"/>
                    </a:lnTo>
                    <a:lnTo>
                      <a:pt x="23409" y="45154"/>
                    </a:lnTo>
                    <a:lnTo>
                      <a:pt x="16402" y="45154"/>
                    </a:lnTo>
                  </a:path>
                </a:pathLst>
              </a:custGeom>
              <a:grpFill/>
              <a:ln w="158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0" name="Freihandform: Form 69">
                <a:extLst>
                  <a:ext uri="{FF2B5EF4-FFF2-40B4-BE49-F238E27FC236}">
                    <a16:creationId xmlns:a16="http://schemas.microsoft.com/office/drawing/2014/main" id="{39E5B511-7E1D-3933-616B-E6151AD94E2B}"/>
                  </a:ext>
                </a:extLst>
              </p:cNvPr>
              <p:cNvSpPr/>
              <p:nvPr/>
            </p:nvSpPr>
            <p:spPr>
              <a:xfrm>
                <a:off x="6660054" y="2733247"/>
                <a:ext cx="39651" cy="45154"/>
              </a:xfrm>
              <a:custGeom>
                <a:avLst/>
                <a:gdLst>
                  <a:gd name="connsiteX0" fmla="*/ 16402 w 39651"/>
                  <a:gd name="connsiteY0" fmla="*/ 45154 h 45154"/>
                  <a:gd name="connsiteX1" fmla="*/ 16402 w 39651"/>
                  <a:gd name="connsiteY1" fmla="*/ 26476 h 45154"/>
                  <a:gd name="connsiteX2" fmla="*/ 0 w 39651"/>
                  <a:gd name="connsiteY2" fmla="*/ 26476 h 45154"/>
                  <a:gd name="connsiteX3" fmla="*/ 0 w 39651"/>
                  <a:gd name="connsiteY3" fmla="*/ 18678 h 45154"/>
                  <a:gd name="connsiteX4" fmla="*/ 16402 w 39651"/>
                  <a:gd name="connsiteY4" fmla="*/ 18678 h 45154"/>
                  <a:gd name="connsiteX5" fmla="*/ 16402 w 39651"/>
                  <a:gd name="connsiteY5" fmla="*/ 0 h 45154"/>
                  <a:gd name="connsiteX6" fmla="*/ 23250 w 39651"/>
                  <a:gd name="connsiteY6" fmla="*/ 0 h 45154"/>
                  <a:gd name="connsiteX7" fmla="*/ 23250 w 39651"/>
                  <a:gd name="connsiteY7" fmla="*/ 18678 h 45154"/>
                  <a:gd name="connsiteX8" fmla="*/ 39652 w 39651"/>
                  <a:gd name="connsiteY8" fmla="*/ 18678 h 45154"/>
                  <a:gd name="connsiteX9" fmla="*/ 39652 w 39651"/>
                  <a:gd name="connsiteY9" fmla="*/ 26476 h 45154"/>
                  <a:gd name="connsiteX10" fmla="*/ 23250 w 39651"/>
                  <a:gd name="connsiteY10" fmla="*/ 26476 h 45154"/>
                  <a:gd name="connsiteX11" fmla="*/ 23250 w 39651"/>
                  <a:gd name="connsiteY11" fmla="*/ 45154 h 45154"/>
                  <a:gd name="connsiteX12" fmla="*/ 16402 w 39651"/>
                  <a:gd name="connsiteY12" fmla="*/ 45154 h 45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651" h="45154">
                    <a:moveTo>
                      <a:pt x="16402" y="45154"/>
                    </a:moveTo>
                    <a:lnTo>
                      <a:pt x="16402" y="26476"/>
                    </a:lnTo>
                    <a:lnTo>
                      <a:pt x="0" y="26476"/>
                    </a:lnTo>
                    <a:lnTo>
                      <a:pt x="0" y="18678"/>
                    </a:lnTo>
                    <a:lnTo>
                      <a:pt x="16402" y="18678"/>
                    </a:lnTo>
                    <a:lnTo>
                      <a:pt x="16402" y="0"/>
                    </a:lnTo>
                    <a:lnTo>
                      <a:pt x="23250" y="0"/>
                    </a:lnTo>
                    <a:lnTo>
                      <a:pt x="23250" y="18678"/>
                    </a:lnTo>
                    <a:lnTo>
                      <a:pt x="39652" y="18678"/>
                    </a:lnTo>
                    <a:lnTo>
                      <a:pt x="39652" y="26476"/>
                    </a:lnTo>
                    <a:lnTo>
                      <a:pt x="23250" y="26476"/>
                    </a:lnTo>
                    <a:lnTo>
                      <a:pt x="23250" y="45154"/>
                    </a:lnTo>
                    <a:lnTo>
                      <a:pt x="16402" y="45154"/>
                    </a:lnTo>
                  </a:path>
                </a:pathLst>
              </a:custGeom>
              <a:grpFill/>
              <a:ln w="158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1" name="Freihandform: Form 70">
                <a:extLst>
                  <a:ext uri="{FF2B5EF4-FFF2-40B4-BE49-F238E27FC236}">
                    <a16:creationId xmlns:a16="http://schemas.microsoft.com/office/drawing/2014/main" id="{B39639C3-BEBA-B86D-9AE6-559477B59DD2}"/>
                  </a:ext>
                </a:extLst>
              </p:cNvPr>
              <p:cNvSpPr/>
              <p:nvPr/>
            </p:nvSpPr>
            <p:spPr>
              <a:xfrm>
                <a:off x="6698910" y="2733247"/>
                <a:ext cx="39651" cy="45154"/>
              </a:xfrm>
              <a:custGeom>
                <a:avLst/>
                <a:gdLst>
                  <a:gd name="connsiteX0" fmla="*/ 16402 w 39651"/>
                  <a:gd name="connsiteY0" fmla="*/ 45154 h 45154"/>
                  <a:gd name="connsiteX1" fmla="*/ 16402 w 39651"/>
                  <a:gd name="connsiteY1" fmla="*/ 26476 h 45154"/>
                  <a:gd name="connsiteX2" fmla="*/ 0 w 39651"/>
                  <a:gd name="connsiteY2" fmla="*/ 26476 h 45154"/>
                  <a:gd name="connsiteX3" fmla="*/ 0 w 39651"/>
                  <a:gd name="connsiteY3" fmla="*/ 18678 h 45154"/>
                  <a:gd name="connsiteX4" fmla="*/ 16402 w 39651"/>
                  <a:gd name="connsiteY4" fmla="*/ 18678 h 45154"/>
                  <a:gd name="connsiteX5" fmla="*/ 16402 w 39651"/>
                  <a:gd name="connsiteY5" fmla="*/ 0 h 45154"/>
                  <a:gd name="connsiteX6" fmla="*/ 23409 w 39651"/>
                  <a:gd name="connsiteY6" fmla="*/ 0 h 45154"/>
                  <a:gd name="connsiteX7" fmla="*/ 23409 w 39651"/>
                  <a:gd name="connsiteY7" fmla="*/ 18678 h 45154"/>
                  <a:gd name="connsiteX8" fmla="*/ 39652 w 39651"/>
                  <a:gd name="connsiteY8" fmla="*/ 18678 h 45154"/>
                  <a:gd name="connsiteX9" fmla="*/ 39652 w 39651"/>
                  <a:gd name="connsiteY9" fmla="*/ 26476 h 45154"/>
                  <a:gd name="connsiteX10" fmla="*/ 23409 w 39651"/>
                  <a:gd name="connsiteY10" fmla="*/ 26476 h 45154"/>
                  <a:gd name="connsiteX11" fmla="*/ 23409 w 39651"/>
                  <a:gd name="connsiteY11" fmla="*/ 45154 h 45154"/>
                  <a:gd name="connsiteX12" fmla="*/ 16402 w 39651"/>
                  <a:gd name="connsiteY12" fmla="*/ 45154 h 45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651" h="45154">
                    <a:moveTo>
                      <a:pt x="16402" y="45154"/>
                    </a:moveTo>
                    <a:lnTo>
                      <a:pt x="16402" y="26476"/>
                    </a:lnTo>
                    <a:lnTo>
                      <a:pt x="0" y="26476"/>
                    </a:lnTo>
                    <a:lnTo>
                      <a:pt x="0" y="18678"/>
                    </a:lnTo>
                    <a:lnTo>
                      <a:pt x="16402" y="18678"/>
                    </a:lnTo>
                    <a:lnTo>
                      <a:pt x="16402" y="0"/>
                    </a:lnTo>
                    <a:lnTo>
                      <a:pt x="23409" y="0"/>
                    </a:lnTo>
                    <a:lnTo>
                      <a:pt x="23409" y="18678"/>
                    </a:lnTo>
                    <a:lnTo>
                      <a:pt x="39652" y="18678"/>
                    </a:lnTo>
                    <a:lnTo>
                      <a:pt x="39652" y="26476"/>
                    </a:lnTo>
                    <a:lnTo>
                      <a:pt x="23409" y="26476"/>
                    </a:lnTo>
                    <a:lnTo>
                      <a:pt x="23409" y="45154"/>
                    </a:lnTo>
                    <a:lnTo>
                      <a:pt x="16402" y="45154"/>
                    </a:lnTo>
                  </a:path>
                </a:pathLst>
              </a:custGeom>
              <a:grpFill/>
              <a:ln w="158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2" name="Freihandform: Form 71">
                <a:extLst>
                  <a:ext uri="{FF2B5EF4-FFF2-40B4-BE49-F238E27FC236}">
                    <a16:creationId xmlns:a16="http://schemas.microsoft.com/office/drawing/2014/main" id="{D7B7AC97-07F1-64AB-D0CD-723987305D00}"/>
                  </a:ext>
                </a:extLst>
              </p:cNvPr>
              <p:cNvSpPr/>
              <p:nvPr/>
            </p:nvSpPr>
            <p:spPr>
              <a:xfrm>
                <a:off x="6722956" y="2733247"/>
                <a:ext cx="39493" cy="45154"/>
              </a:xfrm>
              <a:custGeom>
                <a:avLst/>
                <a:gdLst>
                  <a:gd name="connsiteX0" fmla="*/ 16243 w 39493"/>
                  <a:gd name="connsiteY0" fmla="*/ 45154 h 45154"/>
                  <a:gd name="connsiteX1" fmla="*/ 16243 w 39493"/>
                  <a:gd name="connsiteY1" fmla="*/ 26476 h 45154"/>
                  <a:gd name="connsiteX2" fmla="*/ 0 w 39493"/>
                  <a:gd name="connsiteY2" fmla="*/ 26476 h 45154"/>
                  <a:gd name="connsiteX3" fmla="*/ 0 w 39493"/>
                  <a:gd name="connsiteY3" fmla="*/ 18678 h 45154"/>
                  <a:gd name="connsiteX4" fmla="*/ 16243 w 39493"/>
                  <a:gd name="connsiteY4" fmla="*/ 18678 h 45154"/>
                  <a:gd name="connsiteX5" fmla="*/ 16243 w 39493"/>
                  <a:gd name="connsiteY5" fmla="*/ 0 h 45154"/>
                  <a:gd name="connsiteX6" fmla="*/ 23250 w 39493"/>
                  <a:gd name="connsiteY6" fmla="*/ 0 h 45154"/>
                  <a:gd name="connsiteX7" fmla="*/ 23250 w 39493"/>
                  <a:gd name="connsiteY7" fmla="*/ 18678 h 45154"/>
                  <a:gd name="connsiteX8" fmla="*/ 39493 w 39493"/>
                  <a:gd name="connsiteY8" fmla="*/ 18678 h 45154"/>
                  <a:gd name="connsiteX9" fmla="*/ 39493 w 39493"/>
                  <a:gd name="connsiteY9" fmla="*/ 26476 h 45154"/>
                  <a:gd name="connsiteX10" fmla="*/ 23250 w 39493"/>
                  <a:gd name="connsiteY10" fmla="*/ 26476 h 45154"/>
                  <a:gd name="connsiteX11" fmla="*/ 23250 w 39493"/>
                  <a:gd name="connsiteY11" fmla="*/ 45154 h 45154"/>
                  <a:gd name="connsiteX12" fmla="*/ 16243 w 39493"/>
                  <a:gd name="connsiteY12" fmla="*/ 45154 h 45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93" h="45154">
                    <a:moveTo>
                      <a:pt x="16243" y="45154"/>
                    </a:moveTo>
                    <a:lnTo>
                      <a:pt x="16243" y="26476"/>
                    </a:lnTo>
                    <a:lnTo>
                      <a:pt x="0" y="26476"/>
                    </a:lnTo>
                    <a:lnTo>
                      <a:pt x="0" y="18678"/>
                    </a:lnTo>
                    <a:lnTo>
                      <a:pt x="16243" y="18678"/>
                    </a:lnTo>
                    <a:lnTo>
                      <a:pt x="16243" y="0"/>
                    </a:lnTo>
                    <a:lnTo>
                      <a:pt x="23250" y="0"/>
                    </a:lnTo>
                    <a:lnTo>
                      <a:pt x="23250" y="18678"/>
                    </a:lnTo>
                    <a:lnTo>
                      <a:pt x="39493" y="18678"/>
                    </a:lnTo>
                    <a:lnTo>
                      <a:pt x="39493" y="26476"/>
                    </a:lnTo>
                    <a:lnTo>
                      <a:pt x="23250" y="26476"/>
                    </a:lnTo>
                    <a:lnTo>
                      <a:pt x="23250" y="45154"/>
                    </a:lnTo>
                    <a:lnTo>
                      <a:pt x="16243" y="45154"/>
                    </a:lnTo>
                  </a:path>
                </a:pathLst>
              </a:custGeom>
              <a:grpFill/>
              <a:ln w="158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3" name="Freihandform: Form 72">
                <a:extLst>
                  <a:ext uri="{FF2B5EF4-FFF2-40B4-BE49-F238E27FC236}">
                    <a16:creationId xmlns:a16="http://schemas.microsoft.com/office/drawing/2014/main" id="{BB8D2D23-CA69-B603-6032-DB226C79A754}"/>
                  </a:ext>
                </a:extLst>
              </p:cNvPr>
              <p:cNvSpPr/>
              <p:nvPr/>
            </p:nvSpPr>
            <p:spPr>
              <a:xfrm>
                <a:off x="6764838" y="2733247"/>
                <a:ext cx="39493" cy="45154"/>
              </a:xfrm>
              <a:custGeom>
                <a:avLst/>
                <a:gdLst>
                  <a:gd name="connsiteX0" fmla="*/ 16243 w 39493"/>
                  <a:gd name="connsiteY0" fmla="*/ 45154 h 45154"/>
                  <a:gd name="connsiteX1" fmla="*/ 16243 w 39493"/>
                  <a:gd name="connsiteY1" fmla="*/ 26476 h 45154"/>
                  <a:gd name="connsiteX2" fmla="*/ 0 w 39493"/>
                  <a:gd name="connsiteY2" fmla="*/ 26476 h 45154"/>
                  <a:gd name="connsiteX3" fmla="*/ 0 w 39493"/>
                  <a:gd name="connsiteY3" fmla="*/ 18678 h 45154"/>
                  <a:gd name="connsiteX4" fmla="*/ 16243 w 39493"/>
                  <a:gd name="connsiteY4" fmla="*/ 18678 h 45154"/>
                  <a:gd name="connsiteX5" fmla="*/ 16243 w 39493"/>
                  <a:gd name="connsiteY5" fmla="*/ 0 h 45154"/>
                  <a:gd name="connsiteX6" fmla="*/ 23250 w 39493"/>
                  <a:gd name="connsiteY6" fmla="*/ 0 h 45154"/>
                  <a:gd name="connsiteX7" fmla="*/ 23250 w 39493"/>
                  <a:gd name="connsiteY7" fmla="*/ 18678 h 45154"/>
                  <a:gd name="connsiteX8" fmla="*/ 39493 w 39493"/>
                  <a:gd name="connsiteY8" fmla="*/ 18678 h 45154"/>
                  <a:gd name="connsiteX9" fmla="*/ 39493 w 39493"/>
                  <a:gd name="connsiteY9" fmla="*/ 26476 h 45154"/>
                  <a:gd name="connsiteX10" fmla="*/ 23250 w 39493"/>
                  <a:gd name="connsiteY10" fmla="*/ 26476 h 45154"/>
                  <a:gd name="connsiteX11" fmla="*/ 23250 w 39493"/>
                  <a:gd name="connsiteY11" fmla="*/ 45154 h 45154"/>
                  <a:gd name="connsiteX12" fmla="*/ 16243 w 39493"/>
                  <a:gd name="connsiteY12" fmla="*/ 45154 h 45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93" h="45154">
                    <a:moveTo>
                      <a:pt x="16243" y="45154"/>
                    </a:moveTo>
                    <a:lnTo>
                      <a:pt x="16243" y="26476"/>
                    </a:lnTo>
                    <a:lnTo>
                      <a:pt x="0" y="26476"/>
                    </a:lnTo>
                    <a:lnTo>
                      <a:pt x="0" y="18678"/>
                    </a:lnTo>
                    <a:lnTo>
                      <a:pt x="16243" y="18678"/>
                    </a:lnTo>
                    <a:lnTo>
                      <a:pt x="16243" y="0"/>
                    </a:lnTo>
                    <a:lnTo>
                      <a:pt x="23250" y="0"/>
                    </a:lnTo>
                    <a:lnTo>
                      <a:pt x="23250" y="18678"/>
                    </a:lnTo>
                    <a:lnTo>
                      <a:pt x="39493" y="18678"/>
                    </a:lnTo>
                    <a:lnTo>
                      <a:pt x="39493" y="26476"/>
                    </a:lnTo>
                    <a:lnTo>
                      <a:pt x="23250" y="26476"/>
                    </a:lnTo>
                    <a:lnTo>
                      <a:pt x="23250" y="45154"/>
                    </a:lnTo>
                    <a:lnTo>
                      <a:pt x="16243" y="45154"/>
                    </a:lnTo>
                  </a:path>
                </a:pathLst>
              </a:custGeom>
              <a:grpFill/>
              <a:ln w="158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4" name="Freihandform: Form 73">
                <a:extLst>
                  <a:ext uri="{FF2B5EF4-FFF2-40B4-BE49-F238E27FC236}">
                    <a16:creationId xmlns:a16="http://schemas.microsoft.com/office/drawing/2014/main" id="{B54CE9F4-E1A5-7B79-AB6C-6D075AFEDFDD}"/>
                  </a:ext>
                </a:extLst>
              </p:cNvPr>
              <p:cNvSpPr/>
              <p:nvPr/>
            </p:nvSpPr>
            <p:spPr>
              <a:xfrm>
                <a:off x="6791750" y="2733247"/>
                <a:ext cx="39493" cy="45154"/>
              </a:xfrm>
              <a:custGeom>
                <a:avLst/>
                <a:gdLst>
                  <a:gd name="connsiteX0" fmla="*/ 16243 w 39493"/>
                  <a:gd name="connsiteY0" fmla="*/ 45154 h 45154"/>
                  <a:gd name="connsiteX1" fmla="*/ 16243 w 39493"/>
                  <a:gd name="connsiteY1" fmla="*/ 26476 h 45154"/>
                  <a:gd name="connsiteX2" fmla="*/ 0 w 39493"/>
                  <a:gd name="connsiteY2" fmla="*/ 26476 h 45154"/>
                  <a:gd name="connsiteX3" fmla="*/ 0 w 39493"/>
                  <a:gd name="connsiteY3" fmla="*/ 18678 h 45154"/>
                  <a:gd name="connsiteX4" fmla="*/ 16243 w 39493"/>
                  <a:gd name="connsiteY4" fmla="*/ 18678 h 45154"/>
                  <a:gd name="connsiteX5" fmla="*/ 16243 w 39493"/>
                  <a:gd name="connsiteY5" fmla="*/ 0 h 45154"/>
                  <a:gd name="connsiteX6" fmla="*/ 23250 w 39493"/>
                  <a:gd name="connsiteY6" fmla="*/ 0 h 45154"/>
                  <a:gd name="connsiteX7" fmla="*/ 23250 w 39493"/>
                  <a:gd name="connsiteY7" fmla="*/ 18678 h 45154"/>
                  <a:gd name="connsiteX8" fmla="*/ 39493 w 39493"/>
                  <a:gd name="connsiteY8" fmla="*/ 18678 h 45154"/>
                  <a:gd name="connsiteX9" fmla="*/ 39493 w 39493"/>
                  <a:gd name="connsiteY9" fmla="*/ 26476 h 45154"/>
                  <a:gd name="connsiteX10" fmla="*/ 23250 w 39493"/>
                  <a:gd name="connsiteY10" fmla="*/ 26476 h 45154"/>
                  <a:gd name="connsiteX11" fmla="*/ 23250 w 39493"/>
                  <a:gd name="connsiteY11" fmla="*/ 45154 h 45154"/>
                  <a:gd name="connsiteX12" fmla="*/ 16243 w 39493"/>
                  <a:gd name="connsiteY12" fmla="*/ 45154 h 45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93" h="45154">
                    <a:moveTo>
                      <a:pt x="16243" y="45154"/>
                    </a:moveTo>
                    <a:lnTo>
                      <a:pt x="16243" y="26476"/>
                    </a:lnTo>
                    <a:lnTo>
                      <a:pt x="0" y="26476"/>
                    </a:lnTo>
                    <a:lnTo>
                      <a:pt x="0" y="18678"/>
                    </a:lnTo>
                    <a:lnTo>
                      <a:pt x="16243" y="18678"/>
                    </a:lnTo>
                    <a:lnTo>
                      <a:pt x="16243" y="0"/>
                    </a:lnTo>
                    <a:lnTo>
                      <a:pt x="23250" y="0"/>
                    </a:lnTo>
                    <a:lnTo>
                      <a:pt x="23250" y="18678"/>
                    </a:lnTo>
                    <a:lnTo>
                      <a:pt x="39493" y="18678"/>
                    </a:lnTo>
                    <a:lnTo>
                      <a:pt x="39493" y="26476"/>
                    </a:lnTo>
                    <a:lnTo>
                      <a:pt x="23250" y="26476"/>
                    </a:lnTo>
                    <a:lnTo>
                      <a:pt x="23250" y="45154"/>
                    </a:lnTo>
                    <a:lnTo>
                      <a:pt x="16243" y="45154"/>
                    </a:lnTo>
                  </a:path>
                </a:pathLst>
              </a:custGeom>
              <a:grpFill/>
              <a:ln w="158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5" name="Freihandform: Form 74">
                <a:extLst>
                  <a:ext uri="{FF2B5EF4-FFF2-40B4-BE49-F238E27FC236}">
                    <a16:creationId xmlns:a16="http://schemas.microsoft.com/office/drawing/2014/main" id="{3A6B5B55-9AFB-2569-C4F2-A44C86DD823B}"/>
                  </a:ext>
                </a:extLst>
              </p:cNvPr>
              <p:cNvSpPr/>
              <p:nvPr/>
            </p:nvSpPr>
            <p:spPr>
              <a:xfrm>
                <a:off x="6821689" y="2733247"/>
                <a:ext cx="39493" cy="45154"/>
              </a:xfrm>
              <a:custGeom>
                <a:avLst/>
                <a:gdLst>
                  <a:gd name="connsiteX0" fmla="*/ 16243 w 39493"/>
                  <a:gd name="connsiteY0" fmla="*/ 45154 h 45154"/>
                  <a:gd name="connsiteX1" fmla="*/ 16243 w 39493"/>
                  <a:gd name="connsiteY1" fmla="*/ 26476 h 45154"/>
                  <a:gd name="connsiteX2" fmla="*/ 0 w 39493"/>
                  <a:gd name="connsiteY2" fmla="*/ 26476 h 45154"/>
                  <a:gd name="connsiteX3" fmla="*/ 0 w 39493"/>
                  <a:gd name="connsiteY3" fmla="*/ 18678 h 45154"/>
                  <a:gd name="connsiteX4" fmla="*/ 16243 w 39493"/>
                  <a:gd name="connsiteY4" fmla="*/ 18678 h 45154"/>
                  <a:gd name="connsiteX5" fmla="*/ 16243 w 39493"/>
                  <a:gd name="connsiteY5" fmla="*/ 0 h 45154"/>
                  <a:gd name="connsiteX6" fmla="*/ 23250 w 39493"/>
                  <a:gd name="connsiteY6" fmla="*/ 0 h 45154"/>
                  <a:gd name="connsiteX7" fmla="*/ 23250 w 39493"/>
                  <a:gd name="connsiteY7" fmla="*/ 18678 h 45154"/>
                  <a:gd name="connsiteX8" fmla="*/ 39493 w 39493"/>
                  <a:gd name="connsiteY8" fmla="*/ 18678 h 45154"/>
                  <a:gd name="connsiteX9" fmla="*/ 39493 w 39493"/>
                  <a:gd name="connsiteY9" fmla="*/ 26476 h 45154"/>
                  <a:gd name="connsiteX10" fmla="*/ 23250 w 39493"/>
                  <a:gd name="connsiteY10" fmla="*/ 26476 h 45154"/>
                  <a:gd name="connsiteX11" fmla="*/ 23250 w 39493"/>
                  <a:gd name="connsiteY11" fmla="*/ 45154 h 45154"/>
                  <a:gd name="connsiteX12" fmla="*/ 16243 w 39493"/>
                  <a:gd name="connsiteY12" fmla="*/ 45154 h 45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93" h="45154">
                    <a:moveTo>
                      <a:pt x="16243" y="45154"/>
                    </a:moveTo>
                    <a:lnTo>
                      <a:pt x="16243" y="26476"/>
                    </a:lnTo>
                    <a:lnTo>
                      <a:pt x="0" y="26476"/>
                    </a:lnTo>
                    <a:lnTo>
                      <a:pt x="0" y="18678"/>
                    </a:lnTo>
                    <a:lnTo>
                      <a:pt x="16243" y="18678"/>
                    </a:lnTo>
                    <a:lnTo>
                      <a:pt x="16243" y="0"/>
                    </a:lnTo>
                    <a:lnTo>
                      <a:pt x="23250" y="0"/>
                    </a:lnTo>
                    <a:lnTo>
                      <a:pt x="23250" y="18678"/>
                    </a:lnTo>
                    <a:lnTo>
                      <a:pt x="39493" y="18678"/>
                    </a:lnTo>
                    <a:lnTo>
                      <a:pt x="39493" y="26476"/>
                    </a:lnTo>
                    <a:lnTo>
                      <a:pt x="23250" y="26476"/>
                    </a:lnTo>
                    <a:lnTo>
                      <a:pt x="23250" y="45154"/>
                    </a:lnTo>
                    <a:lnTo>
                      <a:pt x="16243" y="45154"/>
                    </a:lnTo>
                  </a:path>
                </a:pathLst>
              </a:custGeom>
              <a:grpFill/>
              <a:ln w="158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6" name="Freihandform: Form 75">
                <a:extLst>
                  <a:ext uri="{FF2B5EF4-FFF2-40B4-BE49-F238E27FC236}">
                    <a16:creationId xmlns:a16="http://schemas.microsoft.com/office/drawing/2014/main" id="{F99D40A4-7F12-51F5-F756-F04248EBC237}"/>
                  </a:ext>
                </a:extLst>
              </p:cNvPr>
              <p:cNvSpPr/>
              <p:nvPr/>
            </p:nvSpPr>
            <p:spPr>
              <a:xfrm>
                <a:off x="6827581" y="2733247"/>
                <a:ext cx="39651" cy="45154"/>
              </a:xfrm>
              <a:custGeom>
                <a:avLst/>
                <a:gdLst>
                  <a:gd name="connsiteX0" fmla="*/ 16402 w 39651"/>
                  <a:gd name="connsiteY0" fmla="*/ 45154 h 45154"/>
                  <a:gd name="connsiteX1" fmla="*/ 16402 w 39651"/>
                  <a:gd name="connsiteY1" fmla="*/ 26476 h 45154"/>
                  <a:gd name="connsiteX2" fmla="*/ 0 w 39651"/>
                  <a:gd name="connsiteY2" fmla="*/ 26476 h 45154"/>
                  <a:gd name="connsiteX3" fmla="*/ 0 w 39651"/>
                  <a:gd name="connsiteY3" fmla="*/ 18678 h 45154"/>
                  <a:gd name="connsiteX4" fmla="*/ 16402 w 39651"/>
                  <a:gd name="connsiteY4" fmla="*/ 18678 h 45154"/>
                  <a:gd name="connsiteX5" fmla="*/ 16402 w 39651"/>
                  <a:gd name="connsiteY5" fmla="*/ 0 h 45154"/>
                  <a:gd name="connsiteX6" fmla="*/ 23409 w 39651"/>
                  <a:gd name="connsiteY6" fmla="*/ 0 h 45154"/>
                  <a:gd name="connsiteX7" fmla="*/ 23409 w 39651"/>
                  <a:gd name="connsiteY7" fmla="*/ 18678 h 45154"/>
                  <a:gd name="connsiteX8" fmla="*/ 39652 w 39651"/>
                  <a:gd name="connsiteY8" fmla="*/ 18678 h 45154"/>
                  <a:gd name="connsiteX9" fmla="*/ 39652 w 39651"/>
                  <a:gd name="connsiteY9" fmla="*/ 26476 h 45154"/>
                  <a:gd name="connsiteX10" fmla="*/ 23409 w 39651"/>
                  <a:gd name="connsiteY10" fmla="*/ 26476 h 45154"/>
                  <a:gd name="connsiteX11" fmla="*/ 23409 w 39651"/>
                  <a:gd name="connsiteY11" fmla="*/ 45154 h 45154"/>
                  <a:gd name="connsiteX12" fmla="*/ 16402 w 39651"/>
                  <a:gd name="connsiteY12" fmla="*/ 45154 h 45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651" h="45154">
                    <a:moveTo>
                      <a:pt x="16402" y="45154"/>
                    </a:moveTo>
                    <a:lnTo>
                      <a:pt x="16402" y="26476"/>
                    </a:lnTo>
                    <a:lnTo>
                      <a:pt x="0" y="26476"/>
                    </a:lnTo>
                    <a:lnTo>
                      <a:pt x="0" y="18678"/>
                    </a:lnTo>
                    <a:lnTo>
                      <a:pt x="16402" y="18678"/>
                    </a:lnTo>
                    <a:lnTo>
                      <a:pt x="16402" y="0"/>
                    </a:lnTo>
                    <a:lnTo>
                      <a:pt x="23409" y="0"/>
                    </a:lnTo>
                    <a:lnTo>
                      <a:pt x="23409" y="18678"/>
                    </a:lnTo>
                    <a:lnTo>
                      <a:pt x="39652" y="18678"/>
                    </a:lnTo>
                    <a:lnTo>
                      <a:pt x="39652" y="26476"/>
                    </a:lnTo>
                    <a:lnTo>
                      <a:pt x="23409" y="26476"/>
                    </a:lnTo>
                    <a:lnTo>
                      <a:pt x="23409" y="45154"/>
                    </a:lnTo>
                    <a:lnTo>
                      <a:pt x="16402" y="45154"/>
                    </a:lnTo>
                  </a:path>
                </a:pathLst>
              </a:custGeom>
              <a:grpFill/>
              <a:ln w="158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7" name="Freihandform: Form 76">
                <a:extLst>
                  <a:ext uri="{FF2B5EF4-FFF2-40B4-BE49-F238E27FC236}">
                    <a16:creationId xmlns:a16="http://schemas.microsoft.com/office/drawing/2014/main" id="{4E0FEFC6-D73E-2A63-9854-E149121ED6B0}"/>
                  </a:ext>
                </a:extLst>
              </p:cNvPr>
              <p:cNvSpPr/>
              <p:nvPr/>
            </p:nvSpPr>
            <p:spPr>
              <a:xfrm>
                <a:off x="6839524" y="2733247"/>
                <a:ext cx="39651" cy="45154"/>
              </a:xfrm>
              <a:custGeom>
                <a:avLst/>
                <a:gdLst>
                  <a:gd name="connsiteX0" fmla="*/ 16402 w 39651"/>
                  <a:gd name="connsiteY0" fmla="*/ 45154 h 45154"/>
                  <a:gd name="connsiteX1" fmla="*/ 16402 w 39651"/>
                  <a:gd name="connsiteY1" fmla="*/ 26476 h 45154"/>
                  <a:gd name="connsiteX2" fmla="*/ 0 w 39651"/>
                  <a:gd name="connsiteY2" fmla="*/ 26476 h 45154"/>
                  <a:gd name="connsiteX3" fmla="*/ 0 w 39651"/>
                  <a:gd name="connsiteY3" fmla="*/ 18678 h 45154"/>
                  <a:gd name="connsiteX4" fmla="*/ 16402 w 39651"/>
                  <a:gd name="connsiteY4" fmla="*/ 18678 h 45154"/>
                  <a:gd name="connsiteX5" fmla="*/ 16402 w 39651"/>
                  <a:gd name="connsiteY5" fmla="*/ 0 h 45154"/>
                  <a:gd name="connsiteX6" fmla="*/ 23250 w 39651"/>
                  <a:gd name="connsiteY6" fmla="*/ 0 h 45154"/>
                  <a:gd name="connsiteX7" fmla="*/ 23250 w 39651"/>
                  <a:gd name="connsiteY7" fmla="*/ 18678 h 45154"/>
                  <a:gd name="connsiteX8" fmla="*/ 39652 w 39651"/>
                  <a:gd name="connsiteY8" fmla="*/ 18678 h 45154"/>
                  <a:gd name="connsiteX9" fmla="*/ 39652 w 39651"/>
                  <a:gd name="connsiteY9" fmla="*/ 26476 h 45154"/>
                  <a:gd name="connsiteX10" fmla="*/ 23250 w 39651"/>
                  <a:gd name="connsiteY10" fmla="*/ 26476 h 45154"/>
                  <a:gd name="connsiteX11" fmla="*/ 23250 w 39651"/>
                  <a:gd name="connsiteY11" fmla="*/ 45154 h 45154"/>
                  <a:gd name="connsiteX12" fmla="*/ 16402 w 39651"/>
                  <a:gd name="connsiteY12" fmla="*/ 45154 h 45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651" h="45154">
                    <a:moveTo>
                      <a:pt x="16402" y="45154"/>
                    </a:moveTo>
                    <a:lnTo>
                      <a:pt x="16402" y="26476"/>
                    </a:lnTo>
                    <a:lnTo>
                      <a:pt x="0" y="26476"/>
                    </a:lnTo>
                    <a:lnTo>
                      <a:pt x="0" y="18678"/>
                    </a:lnTo>
                    <a:lnTo>
                      <a:pt x="16402" y="18678"/>
                    </a:lnTo>
                    <a:lnTo>
                      <a:pt x="16402" y="0"/>
                    </a:lnTo>
                    <a:lnTo>
                      <a:pt x="23250" y="0"/>
                    </a:lnTo>
                    <a:lnTo>
                      <a:pt x="23250" y="18678"/>
                    </a:lnTo>
                    <a:lnTo>
                      <a:pt x="39652" y="18678"/>
                    </a:lnTo>
                    <a:lnTo>
                      <a:pt x="39652" y="26476"/>
                    </a:lnTo>
                    <a:lnTo>
                      <a:pt x="23250" y="26476"/>
                    </a:lnTo>
                    <a:lnTo>
                      <a:pt x="23250" y="45154"/>
                    </a:lnTo>
                    <a:lnTo>
                      <a:pt x="16402" y="45154"/>
                    </a:lnTo>
                  </a:path>
                </a:pathLst>
              </a:custGeom>
              <a:grpFill/>
              <a:ln w="158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8" name="Freihandform: Form 77">
                <a:extLst>
                  <a:ext uri="{FF2B5EF4-FFF2-40B4-BE49-F238E27FC236}">
                    <a16:creationId xmlns:a16="http://schemas.microsoft.com/office/drawing/2014/main" id="{9B15232C-06B8-0243-715D-B0FA66BD39FC}"/>
                  </a:ext>
                </a:extLst>
              </p:cNvPr>
              <p:cNvSpPr/>
              <p:nvPr/>
            </p:nvSpPr>
            <p:spPr>
              <a:xfrm>
                <a:off x="6887457" y="2733247"/>
                <a:ext cx="39651" cy="45154"/>
              </a:xfrm>
              <a:custGeom>
                <a:avLst/>
                <a:gdLst>
                  <a:gd name="connsiteX0" fmla="*/ 16243 w 39651"/>
                  <a:gd name="connsiteY0" fmla="*/ 45154 h 45154"/>
                  <a:gd name="connsiteX1" fmla="*/ 16243 w 39651"/>
                  <a:gd name="connsiteY1" fmla="*/ 26476 h 45154"/>
                  <a:gd name="connsiteX2" fmla="*/ 0 w 39651"/>
                  <a:gd name="connsiteY2" fmla="*/ 26476 h 45154"/>
                  <a:gd name="connsiteX3" fmla="*/ 0 w 39651"/>
                  <a:gd name="connsiteY3" fmla="*/ 18678 h 45154"/>
                  <a:gd name="connsiteX4" fmla="*/ 16243 w 39651"/>
                  <a:gd name="connsiteY4" fmla="*/ 18678 h 45154"/>
                  <a:gd name="connsiteX5" fmla="*/ 16243 w 39651"/>
                  <a:gd name="connsiteY5" fmla="*/ 0 h 45154"/>
                  <a:gd name="connsiteX6" fmla="*/ 23250 w 39651"/>
                  <a:gd name="connsiteY6" fmla="*/ 0 h 45154"/>
                  <a:gd name="connsiteX7" fmla="*/ 23250 w 39651"/>
                  <a:gd name="connsiteY7" fmla="*/ 18678 h 45154"/>
                  <a:gd name="connsiteX8" fmla="*/ 39652 w 39651"/>
                  <a:gd name="connsiteY8" fmla="*/ 18678 h 45154"/>
                  <a:gd name="connsiteX9" fmla="*/ 39652 w 39651"/>
                  <a:gd name="connsiteY9" fmla="*/ 26476 h 45154"/>
                  <a:gd name="connsiteX10" fmla="*/ 23250 w 39651"/>
                  <a:gd name="connsiteY10" fmla="*/ 26476 h 45154"/>
                  <a:gd name="connsiteX11" fmla="*/ 23250 w 39651"/>
                  <a:gd name="connsiteY11" fmla="*/ 45154 h 45154"/>
                  <a:gd name="connsiteX12" fmla="*/ 16243 w 39651"/>
                  <a:gd name="connsiteY12" fmla="*/ 45154 h 45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651" h="45154">
                    <a:moveTo>
                      <a:pt x="16243" y="45154"/>
                    </a:moveTo>
                    <a:lnTo>
                      <a:pt x="16243" y="26476"/>
                    </a:lnTo>
                    <a:lnTo>
                      <a:pt x="0" y="26476"/>
                    </a:lnTo>
                    <a:lnTo>
                      <a:pt x="0" y="18678"/>
                    </a:lnTo>
                    <a:lnTo>
                      <a:pt x="16243" y="18678"/>
                    </a:lnTo>
                    <a:lnTo>
                      <a:pt x="16243" y="0"/>
                    </a:lnTo>
                    <a:lnTo>
                      <a:pt x="23250" y="0"/>
                    </a:lnTo>
                    <a:lnTo>
                      <a:pt x="23250" y="18678"/>
                    </a:lnTo>
                    <a:lnTo>
                      <a:pt x="39652" y="18678"/>
                    </a:lnTo>
                    <a:lnTo>
                      <a:pt x="39652" y="26476"/>
                    </a:lnTo>
                    <a:lnTo>
                      <a:pt x="23250" y="26476"/>
                    </a:lnTo>
                    <a:lnTo>
                      <a:pt x="23250" y="45154"/>
                    </a:lnTo>
                    <a:lnTo>
                      <a:pt x="16243" y="45154"/>
                    </a:lnTo>
                  </a:path>
                </a:pathLst>
              </a:custGeom>
              <a:grpFill/>
              <a:ln w="158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9" name="Freihandform: Form 78">
                <a:extLst>
                  <a:ext uri="{FF2B5EF4-FFF2-40B4-BE49-F238E27FC236}">
                    <a16:creationId xmlns:a16="http://schemas.microsoft.com/office/drawing/2014/main" id="{73C02A73-3E43-B664-75CB-5470F9B737C4}"/>
                  </a:ext>
                </a:extLst>
              </p:cNvPr>
              <p:cNvSpPr/>
              <p:nvPr/>
            </p:nvSpPr>
            <p:spPr>
              <a:xfrm>
                <a:off x="6905452" y="2733247"/>
                <a:ext cx="39651" cy="45154"/>
              </a:xfrm>
              <a:custGeom>
                <a:avLst/>
                <a:gdLst>
                  <a:gd name="connsiteX0" fmla="*/ 16243 w 39651"/>
                  <a:gd name="connsiteY0" fmla="*/ 45154 h 45154"/>
                  <a:gd name="connsiteX1" fmla="*/ 16243 w 39651"/>
                  <a:gd name="connsiteY1" fmla="*/ 26476 h 45154"/>
                  <a:gd name="connsiteX2" fmla="*/ 0 w 39651"/>
                  <a:gd name="connsiteY2" fmla="*/ 26476 h 45154"/>
                  <a:gd name="connsiteX3" fmla="*/ 0 w 39651"/>
                  <a:gd name="connsiteY3" fmla="*/ 18678 h 45154"/>
                  <a:gd name="connsiteX4" fmla="*/ 16243 w 39651"/>
                  <a:gd name="connsiteY4" fmla="*/ 18678 h 45154"/>
                  <a:gd name="connsiteX5" fmla="*/ 16243 w 39651"/>
                  <a:gd name="connsiteY5" fmla="*/ 0 h 45154"/>
                  <a:gd name="connsiteX6" fmla="*/ 23250 w 39651"/>
                  <a:gd name="connsiteY6" fmla="*/ 0 h 45154"/>
                  <a:gd name="connsiteX7" fmla="*/ 23250 w 39651"/>
                  <a:gd name="connsiteY7" fmla="*/ 18678 h 45154"/>
                  <a:gd name="connsiteX8" fmla="*/ 39652 w 39651"/>
                  <a:gd name="connsiteY8" fmla="*/ 18678 h 45154"/>
                  <a:gd name="connsiteX9" fmla="*/ 39652 w 39651"/>
                  <a:gd name="connsiteY9" fmla="*/ 26476 h 45154"/>
                  <a:gd name="connsiteX10" fmla="*/ 23250 w 39651"/>
                  <a:gd name="connsiteY10" fmla="*/ 26476 h 45154"/>
                  <a:gd name="connsiteX11" fmla="*/ 23250 w 39651"/>
                  <a:gd name="connsiteY11" fmla="*/ 45154 h 45154"/>
                  <a:gd name="connsiteX12" fmla="*/ 16243 w 39651"/>
                  <a:gd name="connsiteY12" fmla="*/ 45154 h 45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651" h="45154">
                    <a:moveTo>
                      <a:pt x="16243" y="45154"/>
                    </a:moveTo>
                    <a:lnTo>
                      <a:pt x="16243" y="26476"/>
                    </a:lnTo>
                    <a:lnTo>
                      <a:pt x="0" y="26476"/>
                    </a:lnTo>
                    <a:lnTo>
                      <a:pt x="0" y="18678"/>
                    </a:lnTo>
                    <a:lnTo>
                      <a:pt x="16243" y="18678"/>
                    </a:lnTo>
                    <a:lnTo>
                      <a:pt x="16243" y="0"/>
                    </a:lnTo>
                    <a:lnTo>
                      <a:pt x="23250" y="0"/>
                    </a:lnTo>
                    <a:lnTo>
                      <a:pt x="23250" y="18678"/>
                    </a:lnTo>
                    <a:lnTo>
                      <a:pt x="39652" y="18678"/>
                    </a:lnTo>
                    <a:lnTo>
                      <a:pt x="39652" y="26476"/>
                    </a:lnTo>
                    <a:lnTo>
                      <a:pt x="23250" y="26476"/>
                    </a:lnTo>
                    <a:lnTo>
                      <a:pt x="23250" y="45154"/>
                    </a:lnTo>
                    <a:lnTo>
                      <a:pt x="16243" y="45154"/>
                    </a:lnTo>
                  </a:path>
                </a:pathLst>
              </a:custGeom>
              <a:grpFill/>
              <a:ln w="158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0" name="Freihandform: Form 79">
                <a:extLst>
                  <a:ext uri="{FF2B5EF4-FFF2-40B4-BE49-F238E27FC236}">
                    <a16:creationId xmlns:a16="http://schemas.microsoft.com/office/drawing/2014/main" id="{D343B6D3-B77E-2356-21BF-90239C984731}"/>
                  </a:ext>
                </a:extLst>
              </p:cNvPr>
              <p:cNvSpPr/>
              <p:nvPr/>
            </p:nvSpPr>
            <p:spPr>
              <a:xfrm>
                <a:off x="6917395" y="2733247"/>
                <a:ext cx="39492" cy="45154"/>
              </a:xfrm>
              <a:custGeom>
                <a:avLst/>
                <a:gdLst>
                  <a:gd name="connsiteX0" fmla="*/ 16243 w 39492"/>
                  <a:gd name="connsiteY0" fmla="*/ 45154 h 45154"/>
                  <a:gd name="connsiteX1" fmla="*/ 16243 w 39492"/>
                  <a:gd name="connsiteY1" fmla="*/ 26476 h 45154"/>
                  <a:gd name="connsiteX2" fmla="*/ 0 w 39492"/>
                  <a:gd name="connsiteY2" fmla="*/ 26476 h 45154"/>
                  <a:gd name="connsiteX3" fmla="*/ 0 w 39492"/>
                  <a:gd name="connsiteY3" fmla="*/ 18678 h 45154"/>
                  <a:gd name="connsiteX4" fmla="*/ 16243 w 39492"/>
                  <a:gd name="connsiteY4" fmla="*/ 18678 h 45154"/>
                  <a:gd name="connsiteX5" fmla="*/ 16243 w 39492"/>
                  <a:gd name="connsiteY5" fmla="*/ 0 h 45154"/>
                  <a:gd name="connsiteX6" fmla="*/ 23250 w 39492"/>
                  <a:gd name="connsiteY6" fmla="*/ 0 h 45154"/>
                  <a:gd name="connsiteX7" fmla="*/ 23250 w 39492"/>
                  <a:gd name="connsiteY7" fmla="*/ 18678 h 45154"/>
                  <a:gd name="connsiteX8" fmla="*/ 39493 w 39492"/>
                  <a:gd name="connsiteY8" fmla="*/ 18678 h 45154"/>
                  <a:gd name="connsiteX9" fmla="*/ 39493 w 39492"/>
                  <a:gd name="connsiteY9" fmla="*/ 26476 h 45154"/>
                  <a:gd name="connsiteX10" fmla="*/ 23250 w 39492"/>
                  <a:gd name="connsiteY10" fmla="*/ 26476 h 45154"/>
                  <a:gd name="connsiteX11" fmla="*/ 23250 w 39492"/>
                  <a:gd name="connsiteY11" fmla="*/ 45154 h 45154"/>
                  <a:gd name="connsiteX12" fmla="*/ 16243 w 39492"/>
                  <a:gd name="connsiteY12" fmla="*/ 45154 h 45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92" h="45154">
                    <a:moveTo>
                      <a:pt x="16243" y="45154"/>
                    </a:moveTo>
                    <a:lnTo>
                      <a:pt x="16243" y="26476"/>
                    </a:lnTo>
                    <a:lnTo>
                      <a:pt x="0" y="26476"/>
                    </a:lnTo>
                    <a:lnTo>
                      <a:pt x="0" y="18678"/>
                    </a:lnTo>
                    <a:lnTo>
                      <a:pt x="16243" y="18678"/>
                    </a:lnTo>
                    <a:lnTo>
                      <a:pt x="16243" y="0"/>
                    </a:lnTo>
                    <a:lnTo>
                      <a:pt x="23250" y="0"/>
                    </a:lnTo>
                    <a:lnTo>
                      <a:pt x="23250" y="18678"/>
                    </a:lnTo>
                    <a:lnTo>
                      <a:pt x="39493" y="18678"/>
                    </a:lnTo>
                    <a:lnTo>
                      <a:pt x="39493" y="26476"/>
                    </a:lnTo>
                    <a:lnTo>
                      <a:pt x="23250" y="26476"/>
                    </a:lnTo>
                    <a:lnTo>
                      <a:pt x="23250" y="45154"/>
                    </a:lnTo>
                    <a:lnTo>
                      <a:pt x="16243" y="45154"/>
                    </a:lnTo>
                  </a:path>
                </a:pathLst>
              </a:custGeom>
              <a:grpFill/>
              <a:ln w="158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1" name="Freihandform: Form 80">
                <a:extLst>
                  <a:ext uri="{FF2B5EF4-FFF2-40B4-BE49-F238E27FC236}">
                    <a16:creationId xmlns:a16="http://schemas.microsoft.com/office/drawing/2014/main" id="{4984F531-AB61-02BF-0DDE-D693901A578C}"/>
                  </a:ext>
                </a:extLst>
              </p:cNvPr>
              <p:cNvSpPr/>
              <p:nvPr/>
            </p:nvSpPr>
            <p:spPr>
              <a:xfrm>
                <a:off x="6977271" y="2733247"/>
                <a:ext cx="39493" cy="45154"/>
              </a:xfrm>
              <a:custGeom>
                <a:avLst/>
                <a:gdLst>
                  <a:gd name="connsiteX0" fmla="*/ 16243 w 39493"/>
                  <a:gd name="connsiteY0" fmla="*/ 45154 h 45154"/>
                  <a:gd name="connsiteX1" fmla="*/ 16243 w 39493"/>
                  <a:gd name="connsiteY1" fmla="*/ 26476 h 45154"/>
                  <a:gd name="connsiteX2" fmla="*/ 0 w 39493"/>
                  <a:gd name="connsiteY2" fmla="*/ 26476 h 45154"/>
                  <a:gd name="connsiteX3" fmla="*/ 0 w 39493"/>
                  <a:gd name="connsiteY3" fmla="*/ 18678 h 45154"/>
                  <a:gd name="connsiteX4" fmla="*/ 16243 w 39493"/>
                  <a:gd name="connsiteY4" fmla="*/ 18678 h 45154"/>
                  <a:gd name="connsiteX5" fmla="*/ 16243 w 39493"/>
                  <a:gd name="connsiteY5" fmla="*/ 0 h 45154"/>
                  <a:gd name="connsiteX6" fmla="*/ 23250 w 39493"/>
                  <a:gd name="connsiteY6" fmla="*/ 0 h 45154"/>
                  <a:gd name="connsiteX7" fmla="*/ 23250 w 39493"/>
                  <a:gd name="connsiteY7" fmla="*/ 18678 h 45154"/>
                  <a:gd name="connsiteX8" fmla="*/ 39493 w 39493"/>
                  <a:gd name="connsiteY8" fmla="*/ 18678 h 45154"/>
                  <a:gd name="connsiteX9" fmla="*/ 39493 w 39493"/>
                  <a:gd name="connsiteY9" fmla="*/ 26476 h 45154"/>
                  <a:gd name="connsiteX10" fmla="*/ 23250 w 39493"/>
                  <a:gd name="connsiteY10" fmla="*/ 26476 h 45154"/>
                  <a:gd name="connsiteX11" fmla="*/ 23250 w 39493"/>
                  <a:gd name="connsiteY11" fmla="*/ 45154 h 45154"/>
                  <a:gd name="connsiteX12" fmla="*/ 16243 w 39493"/>
                  <a:gd name="connsiteY12" fmla="*/ 45154 h 45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93" h="45154">
                    <a:moveTo>
                      <a:pt x="16243" y="45154"/>
                    </a:moveTo>
                    <a:lnTo>
                      <a:pt x="16243" y="26476"/>
                    </a:lnTo>
                    <a:lnTo>
                      <a:pt x="0" y="26476"/>
                    </a:lnTo>
                    <a:lnTo>
                      <a:pt x="0" y="18678"/>
                    </a:lnTo>
                    <a:lnTo>
                      <a:pt x="16243" y="18678"/>
                    </a:lnTo>
                    <a:lnTo>
                      <a:pt x="16243" y="0"/>
                    </a:lnTo>
                    <a:lnTo>
                      <a:pt x="23250" y="0"/>
                    </a:lnTo>
                    <a:lnTo>
                      <a:pt x="23250" y="18678"/>
                    </a:lnTo>
                    <a:lnTo>
                      <a:pt x="39493" y="18678"/>
                    </a:lnTo>
                    <a:lnTo>
                      <a:pt x="39493" y="26476"/>
                    </a:lnTo>
                    <a:lnTo>
                      <a:pt x="23250" y="26476"/>
                    </a:lnTo>
                    <a:lnTo>
                      <a:pt x="23250" y="45154"/>
                    </a:lnTo>
                    <a:lnTo>
                      <a:pt x="16243" y="45154"/>
                    </a:lnTo>
                  </a:path>
                </a:pathLst>
              </a:custGeom>
              <a:grpFill/>
              <a:ln w="158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2" name="Freihandform: Form 81">
                <a:extLst>
                  <a:ext uri="{FF2B5EF4-FFF2-40B4-BE49-F238E27FC236}">
                    <a16:creationId xmlns:a16="http://schemas.microsoft.com/office/drawing/2014/main" id="{883ABB32-730E-5924-8970-419C3EC6FE04}"/>
                  </a:ext>
                </a:extLst>
              </p:cNvPr>
              <p:cNvSpPr/>
              <p:nvPr/>
            </p:nvSpPr>
            <p:spPr>
              <a:xfrm>
                <a:off x="7013102" y="2733247"/>
                <a:ext cx="39652" cy="45154"/>
              </a:xfrm>
              <a:custGeom>
                <a:avLst/>
                <a:gdLst>
                  <a:gd name="connsiteX0" fmla="*/ 16243 w 39652"/>
                  <a:gd name="connsiteY0" fmla="*/ 45154 h 45154"/>
                  <a:gd name="connsiteX1" fmla="*/ 16243 w 39652"/>
                  <a:gd name="connsiteY1" fmla="*/ 26476 h 45154"/>
                  <a:gd name="connsiteX2" fmla="*/ 0 w 39652"/>
                  <a:gd name="connsiteY2" fmla="*/ 26476 h 45154"/>
                  <a:gd name="connsiteX3" fmla="*/ 0 w 39652"/>
                  <a:gd name="connsiteY3" fmla="*/ 18678 h 45154"/>
                  <a:gd name="connsiteX4" fmla="*/ 16243 w 39652"/>
                  <a:gd name="connsiteY4" fmla="*/ 18678 h 45154"/>
                  <a:gd name="connsiteX5" fmla="*/ 16243 w 39652"/>
                  <a:gd name="connsiteY5" fmla="*/ 0 h 45154"/>
                  <a:gd name="connsiteX6" fmla="*/ 23250 w 39652"/>
                  <a:gd name="connsiteY6" fmla="*/ 0 h 45154"/>
                  <a:gd name="connsiteX7" fmla="*/ 23250 w 39652"/>
                  <a:gd name="connsiteY7" fmla="*/ 18678 h 45154"/>
                  <a:gd name="connsiteX8" fmla="*/ 39652 w 39652"/>
                  <a:gd name="connsiteY8" fmla="*/ 18678 h 45154"/>
                  <a:gd name="connsiteX9" fmla="*/ 39652 w 39652"/>
                  <a:gd name="connsiteY9" fmla="*/ 26476 h 45154"/>
                  <a:gd name="connsiteX10" fmla="*/ 23250 w 39652"/>
                  <a:gd name="connsiteY10" fmla="*/ 26476 h 45154"/>
                  <a:gd name="connsiteX11" fmla="*/ 23250 w 39652"/>
                  <a:gd name="connsiteY11" fmla="*/ 45154 h 45154"/>
                  <a:gd name="connsiteX12" fmla="*/ 16243 w 39652"/>
                  <a:gd name="connsiteY12" fmla="*/ 45154 h 45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652" h="45154">
                    <a:moveTo>
                      <a:pt x="16243" y="45154"/>
                    </a:moveTo>
                    <a:lnTo>
                      <a:pt x="16243" y="26476"/>
                    </a:lnTo>
                    <a:lnTo>
                      <a:pt x="0" y="26476"/>
                    </a:lnTo>
                    <a:lnTo>
                      <a:pt x="0" y="18678"/>
                    </a:lnTo>
                    <a:lnTo>
                      <a:pt x="16243" y="18678"/>
                    </a:lnTo>
                    <a:lnTo>
                      <a:pt x="16243" y="0"/>
                    </a:lnTo>
                    <a:lnTo>
                      <a:pt x="23250" y="0"/>
                    </a:lnTo>
                    <a:lnTo>
                      <a:pt x="23250" y="18678"/>
                    </a:lnTo>
                    <a:lnTo>
                      <a:pt x="39652" y="18678"/>
                    </a:lnTo>
                    <a:lnTo>
                      <a:pt x="39652" y="26476"/>
                    </a:lnTo>
                    <a:lnTo>
                      <a:pt x="23250" y="26476"/>
                    </a:lnTo>
                    <a:lnTo>
                      <a:pt x="23250" y="45154"/>
                    </a:lnTo>
                    <a:lnTo>
                      <a:pt x="16243" y="45154"/>
                    </a:lnTo>
                  </a:path>
                </a:pathLst>
              </a:custGeom>
              <a:grpFill/>
              <a:ln w="158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3" name="Freihandform: Form 82">
                <a:extLst>
                  <a:ext uri="{FF2B5EF4-FFF2-40B4-BE49-F238E27FC236}">
                    <a16:creationId xmlns:a16="http://schemas.microsoft.com/office/drawing/2014/main" id="{40CD7721-2669-B9D5-A936-EEF312CCC3CE}"/>
                  </a:ext>
                </a:extLst>
              </p:cNvPr>
              <p:cNvSpPr/>
              <p:nvPr/>
            </p:nvSpPr>
            <p:spPr>
              <a:xfrm>
                <a:off x="7048932" y="2733247"/>
                <a:ext cx="39652" cy="45154"/>
              </a:xfrm>
              <a:custGeom>
                <a:avLst/>
                <a:gdLst>
                  <a:gd name="connsiteX0" fmla="*/ 16402 w 39652"/>
                  <a:gd name="connsiteY0" fmla="*/ 45154 h 45154"/>
                  <a:gd name="connsiteX1" fmla="*/ 16402 w 39652"/>
                  <a:gd name="connsiteY1" fmla="*/ 26476 h 45154"/>
                  <a:gd name="connsiteX2" fmla="*/ 0 w 39652"/>
                  <a:gd name="connsiteY2" fmla="*/ 26476 h 45154"/>
                  <a:gd name="connsiteX3" fmla="*/ 0 w 39652"/>
                  <a:gd name="connsiteY3" fmla="*/ 18678 h 45154"/>
                  <a:gd name="connsiteX4" fmla="*/ 16402 w 39652"/>
                  <a:gd name="connsiteY4" fmla="*/ 18678 h 45154"/>
                  <a:gd name="connsiteX5" fmla="*/ 16402 w 39652"/>
                  <a:gd name="connsiteY5" fmla="*/ 0 h 45154"/>
                  <a:gd name="connsiteX6" fmla="*/ 23409 w 39652"/>
                  <a:gd name="connsiteY6" fmla="*/ 0 h 45154"/>
                  <a:gd name="connsiteX7" fmla="*/ 23409 w 39652"/>
                  <a:gd name="connsiteY7" fmla="*/ 18678 h 45154"/>
                  <a:gd name="connsiteX8" fmla="*/ 39652 w 39652"/>
                  <a:gd name="connsiteY8" fmla="*/ 18678 h 45154"/>
                  <a:gd name="connsiteX9" fmla="*/ 39652 w 39652"/>
                  <a:gd name="connsiteY9" fmla="*/ 26476 h 45154"/>
                  <a:gd name="connsiteX10" fmla="*/ 23409 w 39652"/>
                  <a:gd name="connsiteY10" fmla="*/ 26476 h 45154"/>
                  <a:gd name="connsiteX11" fmla="*/ 23409 w 39652"/>
                  <a:gd name="connsiteY11" fmla="*/ 45154 h 45154"/>
                  <a:gd name="connsiteX12" fmla="*/ 16402 w 39652"/>
                  <a:gd name="connsiteY12" fmla="*/ 45154 h 45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652" h="45154">
                    <a:moveTo>
                      <a:pt x="16402" y="45154"/>
                    </a:moveTo>
                    <a:lnTo>
                      <a:pt x="16402" y="26476"/>
                    </a:lnTo>
                    <a:lnTo>
                      <a:pt x="0" y="26476"/>
                    </a:lnTo>
                    <a:lnTo>
                      <a:pt x="0" y="18678"/>
                    </a:lnTo>
                    <a:lnTo>
                      <a:pt x="16402" y="18678"/>
                    </a:lnTo>
                    <a:lnTo>
                      <a:pt x="16402" y="0"/>
                    </a:lnTo>
                    <a:lnTo>
                      <a:pt x="23409" y="0"/>
                    </a:lnTo>
                    <a:lnTo>
                      <a:pt x="23409" y="18678"/>
                    </a:lnTo>
                    <a:lnTo>
                      <a:pt x="39652" y="18678"/>
                    </a:lnTo>
                    <a:lnTo>
                      <a:pt x="39652" y="26476"/>
                    </a:lnTo>
                    <a:lnTo>
                      <a:pt x="23409" y="26476"/>
                    </a:lnTo>
                    <a:lnTo>
                      <a:pt x="23409" y="45154"/>
                    </a:lnTo>
                    <a:lnTo>
                      <a:pt x="16402" y="45154"/>
                    </a:lnTo>
                  </a:path>
                </a:pathLst>
              </a:custGeom>
              <a:grpFill/>
              <a:ln w="158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4" name="Freihandform: Form 83">
                <a:extLst>
                  <a:ext uri="{FF2B5EF4-FFF2-40B4-BE49-F238E27FC236}">
                    <a16:creationId xmlns:a16="http://schemas.microsoft.com/office/drawing/2014/main" id="{C80BA85A-FA37-2BFC-8429-1F87261413D8}"/>
                  </a:ext>
                </a:extLst>
              </p:cNvPr>
              <p:cNvSpPr/>
              <p:nvPr/>
            </p:nvSpPr>
            <p:spPr>
              <a:xfrm>
                <a:off x="7072819" y="2733247"/>
                <a:ext cx="39652" cy="45154"/>
              </a:xfrm>
              <a:custGeom>
                <a:avLst/>
                <a:gdLst>
                  <a:gd name="connsiteX0" fmla="*/ 16402 w 39652"/>
                  <a:gd name="connsiteY0" fmla="*/ 45154 h 45154"/>
                  <a:gd name="connsiteX1" fmla="*/ 16402 w 39652"/>
                  <a:gd name="connsiteY1" fmla="*/ 26476 h 45154"/>
                  <a:gd name="connsiteX2" fmla="*/ 0 w 39652"/>
                  <a:gd name="connsiteY2" fmla="*/ 26476 h 45154"/>
                  <a:gd name="connsiteX3" fmla="*/ 0 w 39652"/>
                  <a:gd name="connsiteY3" fmla="*/ 18678 h 45154"/>
                  <a:gd name="connsiteX4" fmla="*/ 16402 w 39652"/>
                  <a:gd name="connsiteY4" fmla="*/ 18678 h 45154"/>
                  <a:gd name="connsiteX5" fmla="*/ 16402 w 39652"/>
                  <a:gd name="connsiteY5" fmla="*/ 0 h 45154"/>
                  <a:gd name="connsiteX6" fmla="*/ 23409 w 39652"/>
                  <a:gd name="connsiteY6" fmla="*/ 0 h 45154"/>
                  <a:gd name="connsiteX7" fmla="*/ 23409 w 39652"/>
                  <a:gd name="connsiteY7" fmla="*/ 18678 h 45154"/>
                  <a:gd name="connsiteX8" fmla="*/ 39652 w 39652"/>
                  <a:gd name="connsiteY8" fmla="*/ 18678 h 45154"/>
                  <a:gd name="connsiteX9" fmla="*/ 39652 w 39652"/>
                  <a:gd name="connsiteY9" fmla="*/ 26476 h 45154"/>
                  <a:gd name="connsiteX10" fmla="*/ 23409 w 39652"/>
                  <a:gd name="connsiteY10" fmla="*/ 26476 h 45154"/>
                  <a:gd name="connsiteX11" fmla="*/ 23409 w 39652"/>
                  <a:gd name="connsiteY11" fmla="*/ 45154 h 45154"/>
                  <a:gd name="connsiteX12" fmla="*/ 16402 w 39652"/>
                  <a:gd name="connsiteY12" fmla="*/ 45154 h 45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652" h="45154">
                    <a:moveTo>
                      <a:pt x="16402" y="45154"/>
                    </a:moveTo>
                    <a:lnTo>
                      <a:pt x="16402" y="26476"/>
                    </a:lnTo>
                    <a:lnTo>
                      <a:pt x="0" y="26476"/>
                    </a:lnTo>
                    <a:lnTo>
                      <a:pt x="0" y="18678"/>
                    </a:lnTo>
                    <a:lnTo>
                      <a:pt x="16402" y="18678"/>
                    </a:lnTo>
                    <a:lnTo>
                      <a:pt x="16402" y="0"/>
                    </a:lnTo>
                    <a:lnTo>
                      <a:pt x="23409" y="0"/>
                    </a:lnTo>
                    <a:lnTo>
                      <a:pt x="23409" y="18678"/>
                    </a:lnTo>
                    <a:lnTo>
                      <a:pt x="39652" y="18678"/>
                    </a:lnTo>
                    <a:lnTo>
                      <a:pt x="39652" y="26476"/>
                    </a:lnTo>
                    <a:lnTo>
                      <a:pt x="23409" y="26476"/>
                    </a:lnTo>
                    <a:lnTo>
                      <a:pt x="23409" y="45154"/>
                    </a:lnTo>
                    <a:lnTo>
                      <a:pt x="16402" y="45154"/>
                    </a:lnTo>
                  </a:path>
                </a:pathLst>
              </a:custGeom>
              <a:grpFill/>
              <a:ln w="158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5" name="Freihandform: Form 84">
                <a:extLst>
                  <a:ext uri="{FF2B5EF4-FFF2-40B4-BE49-F238E27FC236}">
                    <a16:creationId xmlns:a16="http://schemas.microsoft.com/office/drawing/2014/main" id="{D40EB7A7-4BAB-AFFA-4B69-DE23AA48888A}"/>
                  </a:ext>
                </a:extLst>
              </p:cNvPr>
              <p:cNvSpPr/>
              <p:nvPr/>
            </p:nvSpPr>
            <p:spPr>
              <a:xfrm>
                <a:off x="7084921" y="2733247"/>
                <a:ext cx="39493" cy="45154"/>
              </a:xfrm>
              <a:custGeom>
                <a:avLst/>
                <a:gdLst>
                  <a:gd name="connsiteX0" fmla="*/ 16243 w 39493"/>
                  <a:gd name="connsiteY0" fmla="*/ 45154 h 45154"/>
                  <a:gd name="connsiteX1" fmla="*/ 16243 w 39493"/>
                  <a:gd name="connsiteY1" fmla="*/ 26476 h 45154"/>
                  <a:gd name="connsiteX2" fmla="*/ 0 w 39493"/>
                  <a:gd name="connsiteY2" fmla="*/ 26476 h 45154"/>
                  <a:gd name="connsiteX3" fmla="*/ 0 w 39493"/>
                  <a:gd name="connsiteY3" fmla="*/ 18678 h 45154"/>
                  <a:gd name="connsiteX4" fmla="*/ 16243 w 39493"/>
                  <a:gd name="connsiteY4" fmla="*/ 18678 h 45154"/>
                  <a:gd name="connsiteX5" fmla="*/ 16243 w 39493"/>
                  <a:gd name="connsiteY5" fmla="*/ 0 h 45154"/>
                  <a:gd name="connsiteX6" fmla="*/ 23250 w 39493"/>
                  <a:gd name="connsiteY6" fmla="*/ 0 h 45154"/>
                  <a:gd name="connsiteX7" fmla="*/ 23250 w 39493"/>
                  <a:gd name="connsiteY7" fmla="*/ 18678 h 45154"/>
                  <a:gd name="connsiteX8" fmla="*/ 39493 w 39493"/>
                  <a:gd name="connsiteY8" fmla="*/ 18678 h 45154"/>
                  <a:gd name="connsiteX9" fmla="*/ 39493 w 39493"/>
                  <a:gd name="connsiteY9" fmla="*/ 26476 h 45154"/>
                  <a:gd name="connsiteX10" fmla="*/ 23250 w 39493"/>
                  <a:gd name="connsiteY10" fmla="*/ 26476 h 45154"/>
                  <a:gd name="connsiteX11" fmla="*/ 23250 w 39493"/>
                  <a:gd name="connsiteY11" fmla="*/ 45154 h 45154"/>
                  <a:gd name="connsiteX12" fmla="*/ 16243 w 39493"/>
                  <a:gd name="connsiteY12" fmla="*/ 45154 h 45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93" h="45154">
                    <a:moveTo>
                      <a:pt x="16243" y="45154"/>
                    </a:moveTo>
                    <a:lnTo>
                      <a:pt x="16243" y="26476"/>
                    </a:lnTo>
                    <a:lnTo>
                      <a:pt x="0" y="26476"/>
                    </a:lnTo>
                    <a:lnTo>
                      <a:pt x="0" y="18678"/>
                    </a:lnTo>
                    <a:lnTo>
                      <a:pt x="16243" y="18678"/>
                    </a:lnTo>
                    <a:lnTo>
                      <a:pt x="16243" y="0"/>
                    </a:lnTo>
                    <a:lnTo>
                      <a:pt x="23250" y="0"/>
                    </a:lnTo>
                    <a:lnTo>
                      <a:pt x="23250" y="18678"/>
                    </a:lnTo>
                    <a:lnTo>
                      <a:pt x="39493" y="18678"/>
                    </a:lnTo>
                    <a:lnTo>
                      <a:pt x="39493" y="26476"/>
                    </a:lnTo>
                    <a:lnTo>
                      <a:pt x="23250" y="26476"/>
                    </a:lnTo>
                    <a:lnTo>
                      <a:pt x="23250" y="45154"/>
                    </a:lnTo>
                    <a:lnTo>
                      <a:pt x="16243" y="45154"/>
                    </a:lnTo>
                  </a:path>
                </a:pathLst>
              </a:custGeom>
              <a:grpFill/>
              <a:ln w="158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6" name="Freihandform: Form 85">
                <a:extLst>
                  <a:ext uri="{FF2B5EF4-FFF2-40B4-BE49-F238E27FC236}">
                    <a16:creationId xmlns:a16="http://schemas.microsoft.com/office/drawing/2014/main" id="{AFA083B4-72C1-BFBE-BAC9-EBF6DBCE8858}"/>
                  </a:ext>
                </a:extLst>
              </p:cNvPr>
              <p:cNvSpPr/>
              <p:nvPr/>
            </p:nvSpPr>
            <p:spPr>
              <a:xfrm>
                <a:off x="7102757" y="2733247"/>
                <a:ext cx="38696" cy="45154"/>
              </a:xfrm>
              <a:custGeom>
                <a:avLst/>
                <a:gdLst>
                  <a:gd name="connsiteX0" fmla="*/ 16402 w 38696"/>
                  <a:gd name="connsiteY0" fmla="*/ 45154 h 45154"/>
                  <a:gd name="connsiteX1" fmla="*/ 16402 w 38696"/>
                  <a:gd name="connsiteY1" fmla="*/ 26476 h 45154"/>
                  <a:gd name="connsiteX2" fmla="*/ 0 w 38696"/>
                  <a:gd name="connsiteY2" fmla="*/ 26476 h 45154"/>
                  <a:gd name="connsiteX3" fmla="*/ 0 w 38696"/>
                  <a:gd name="connsiteY3" fmla="*/ 18678 h 45154"/>
                  <a:gd name="connsiteX4" fmla="*/ 16402 w 38696"/>
                  <a:gd name="connsiteY4" fmla="*/ 18678 h 45154"/>
                  <a:gd name="connsiteX5" fmla="*/ 16402 w 38696"/>
                  <a:gd name="connsiteY5" fmla="*/ 0 h 45154"/>
                  <a:gd name="connsiteX6" fmla="*/ 23409 w 38696"/>
                  <a:gd name="connsiteY6" fmla="*/ 0 h 45154"/>
                  <a:gd name="connsiteX7" fmla="*/ 23409 w 38696"/>
                  <a:gd name="connsiteY7" fmla="*/ 18678 h 45154"/>
                  <a:gd name="connsiteX8" fmla="*/ 38697 w 38696"/>
                  <a:gd name="connsiteY8" fmla="*/ 18678 h 45154"/>
                  <a:gd name="connsiteX9" fmla="*/ 38697 w 38696"/>
                  <a:gd name="connsiteY9" fmla="*/ 26476 h 45154"/>
                  <a:gd name="connsiteX10" fmla="*/ 23409 w 38696"/>
                  <a:gd name="connsiteY10" fmla="*/ 26476 h 45154"/>
                  <a:gd name="connsiteX11" fmla="*/ 23409 w 38696"/>
                  <a:gd name="connsiteY11" fmla="*/ 45154 h 45154"/>
                  <a:gd name="connsiteX12" fmla="*/ 16402 w 38696"/>
                  <a:gd name="connsiteY12" fmla="*/ 45154 h 45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8696" h="45154">
                    <a:moveTo>
                      <a:pt x="16402" y="45154"/>
                    </a:moveTo>
                    <a:lnTo>
                      <a:pt x="16402" y="26476"/>
                    </a:lnTo>
                    <a:lnTo>
                      <a:pt x="0" y="26476"/>
                    </a:lnTo>
                    <a:lnTo>
                      <a:pt x="0" y="18678"/>
                    </a:lnTo>
                    <a:lnTo>
                      <a:pt x="16402" y="18678"/>
                    </a:lnTo>
                    <a:lnTo>
                      <a:pt x="16402" y="0"/>
                    </a:lnTo>
                    <a:lnTo>
                      <a:pt x="23409" y="0"/>
                    </a:lnTo>
                    <a:lnTo>
                      <a:pt x="23409" y="18678"/>
                    </a:lnTo>
                    <a:lnTo>
                      <a:pt x="38697" y="18678"/>
                    </a:lnTo>
                    <a:lnTo>
                      <a:pt x="38697" y="26476"/>
                    </a:lnTo>
                    <a:lnTo>
                      <a:pt x="23409" y="26476"/>
                    </a:lnTo>
                    <a:lnTo>
                      <a:pt x="23409" y="45154"/>
                    </a:lnTo>
                    <a:lnTo>
                      <a:pt x="16402" y="45154"/>
                    </a:lnTo>
                  </a:path>
                </a:pathLst>
              </a:custGeom>
              <a:grpFill/>
              <a:ln w="158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7" name="Freihandform: Form 86">
                <a:extLst>
                  <a:ext uri="{FF2B5EF4-FFF2-40B4-BE49-F238E27FC236}">
                    <a16:creationId xmlns:a16="http://schemas.microsoft.com/office/drawing/2014/main" id="{ED91EF15-6768-D0AB-8AE6-BECC71A4EB46}"/>
                  </a:ext>
                </a:extLst>
              </p:cNvPr>
              <p:cNvSpPr/>
              <p:nvPr/>
            </p:nvSpPr>
            <p:spPr>
              <a:xfrm>
                <a:off x="7105783" y="2733247"/>
                <a:ext cx="35670" cy="45154"/>
              </a:xfrm>
              <a:custGeom>
                <a:avLst/>
                <a:gdLst>
                  <a:gd name="connsiteX0" fmla="*/ 16402 w 35670"/>
                  <a:gd name="connsiteY0" fmla="*/ 45154 h 45154"/>
                  <a:gd name="connsiteX1" fmla="*/ 16402 w 35670"/>
                  <a:gd name="connsiteY1" fmla="*/ 26476 h 45154"/>
                  <a:gd name="connsiteX2" fmla="*/ 0 w 35670"/>
                  <a:gd name="connsiteY2" fmla="*/ 26476 h 45154"/>
                  <a:gd name="connsiteX3" fmla="*/ 0 w 35670"/>
                  <a:gd name="connsiteY3" fmla="*/ 18678 h 45154"/>
                  <a:gd name="connsiteX4" fmla="*/ 16402 w 35670"/>
                  <a:gd name="connsiteY4" fmla="*/ 18678 h 45154"/>
                  <a:gd name="connsiteX5" fmla="*/ 16402 w 35670"/>
                  <a:gd name="connsiteY5" fmla="*/ 0 h 45154"/>
                  <a:gd name="connsiteX6" fmla="*/ 23409 w 35670"/>
                  <a:gd name="connsiteY6" fmla="*/ 0 h 45154"/>
                  <a:gd name="connsiteX7" fmla="*/ 23409 w 35670"/>
                  <a:gd name="connsiteY7" fmla="*/ 18678 h 45154"/>
                  <a:gd name="connsiteX8" fmla="*/ 35671 w 35670"/>
                  <a:gd name="connsiteY8" fmla="*/ 18678 h 45154"/>
                  <a:gd name="connsiteX9" fmla="*/ 35671 w 35670"/>
                  <a:gd name="connsiteY9" fmla="*/ 26476 h 45154"/>
                  <a:gd name="connsiteX10" fmla="*/ 23409 w 35670"/>
                  <a:gd name="connsiteY10" fmla="*/ 26476 h 45154"/>
                  <a:gd name="connsiteX11" fmla="*/ 23409 w 35670"/>
                  <a:gd name="connsiteY11" fmla="*/ 45154 h 45154"/>
                  <a:gd name="connsiteX12" fmla="*/ 16402 w 35670"/>
                  <a:gd name="connsiteY12" fmla="*/ 45154 h 45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5670" h="45154">
                    <a:moveTo>
                      <a:pt x="16402" y="45154"/>
                    </a:moveTo>
                    <a:lnTo>
                      <a:pt x="16402" y="26476"/>
                    </a:lnTo>
                    <a:lnTo>
                      <a:pt x="0" y="26476"/>
                    </a:lnTo>
                    <a:lnTo>
                      <a:pt x="0" y="18678"/>
                    </a:lnTo>
                    <a:lnTo>
                      <a:pt x="16402" y="18678"/>
                    </a:lnTo>
                    <a:lnTo>
                      <a:pt x="16402" y="0"/>
                    </a:lnTo>
                    <a:lnTo>
                      <a:pt x="23409" y="0"/>
                    </a:lnTo>
                    <a:lnTo>
                      <a:pt x="23409" y="18678"/>
                    </a:lnTo>
                    <a:lnTo>
                      <a:pt x="35671" y="18678"/>
                    </a:lnTo>
                    <a:lnTo>
                      <a:pt x="35671" y="26476"/>
                    </a:lnTo>
                    <a:lnTo>
                      <a:pt x="23409" y="26476"/>
                    </a:lnTo>
                    <a:lnTo>
                      <a:pt x="23409" y="45154"/>
                    </a:lnTo>
                    <a:lnTo>
                      <a:pt x="16402" y="45154"/>
                    </a:lnTo>
                  </a:path>
                </a:pathLst>
              </a:custGeom>
              <a:grpFill/>
              <a:ln w="158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8" name="Freihandform: Form 87">
                <a:extLst>
                  <a:ext uri="{FF2B5EF4-FFF2-40B4-BE49-F238E27FC236}">
                    <a16:creationId xmlns:a16="http://schemas.microsoft.com/office/drawing/2014/main" id="{9630B815-BD9C-1FF0-169A-37A9E1392AD3}"/>
                  </a:ext>
                </a:extLst>
              </p:cNvPr>
              <p:cNvSpPr/>
              <p:nvPr/>
            </p:nvSpPr>
            <p:spPr>
              <a:xfrm>
                <a:off x="7114860" y="2733247"/>
                <a:ext cx="26593" cy="45154"/>
              </a:xfrm>
              <a:custGeom>
                <a:avLst/>
                <a:gdLst>
                  <a:gd name="connsiteX0" fmla="*/ 16243 w 26593"/>
                  <a:gd name="connsiteY0" fmla="*/ 45154 h 45154"/>
                  <a:gd name="connsiteX1" fmla="*/ 16243 w 26593"/>
                  <a:gd name="connsiteY1" fmla="*/ 26476 h 45154"/>
                  <a:gd name="connsiteX2" fmla="*/ 0 w 26593"/>
                  <a:gd name="connsiteY2" fmla="*/ 26476 h 45154"/>
                  <a:gd name="connsiteX3" fmla="*/ 0 w 26593"/>
                  <a:gd name="connsiteY3" fmla="*/ 18678 h 45154"/>
                  <a:gd name="connsiteX4" fmla="*/ 16243 w 26593"/>
                  <a:gd name="connsiteY4" fmla="*/ 18678 h 45154"/>
                  <a:gd name="connsiteX5" fmla="*/ 16243 w 26593"/>
                  <a:gd name="connsiteY5" fmla="*/ 0 h 45154"/>
                  <a:gd name="connsiteX6" fmla="*/ 23250 w 26593"/>
                  <a:gd name="connsiteY6" fmla="*/ 0 h 45154"/>
                  <a:gd name="connsiteX7" fmla="*/ 23250 w 26593"/>
                  <a:gd name="connsiteY7" fmla="*/ 18678 h 45154"/>
                  <a:gd name="connsiteX8" fmla="*/ 26594 w 26593"/>
                  <a:gd name="connsiteY8" fmla="*/ 18678 h 45154"/>
                  <a:gd name="connsiteX9" fmla="*/ 26594 w 26593"/>
                  <a:gd name="connsiteY9" fmla="*/ 26476 h 45154"/>
                  <a:gd name="connsiteX10" fmla="*/ 23250 w 26593"/>
                  <a:gd name="connsiteY10" fmla="*/ 26476 h 45154"/>
                  <a:gd name="connsiteX11" fmla="*/ 23250 w 26593"/>
                  <a:gd name="connsiteY11" fmla="*/ 45154 h 45154"/>
                  <a:gd name="connsiteX12" fmla="*/ 16243 w 26593"/>
                  <a:gd name="connsiteY12" fmla="*/ 45154 h 45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6593" h="45154">
                    <a:moveTo>
                      <a:pt x="16243" y="45154"/>
                    </a:moveTo>
                    <a:lnTo>
                      <a:pt x="16243" y="26476"/>
                    </a:lnTo>
                    <a:lnTo>
                      <a:pt x="0" y="26476"/>
                    </a:lnTo>
                    <a:lnTo>
                      <a:pt x="0" y="18678"/>
                    </a:lnTo>
                    <a:lnTo>
                      <a:pt x="16243" y="18678"/>
                    </a:lnTo>
                    <a:lnTo>
                      <a:pt x="16243" y="0"/>
                    </a:lnTo>
                    <a:lnTo>
                      <a:pt x="23250" y="0"/>
                    </a:lnTo>
                    <a:lnTo>
                      <a:pt x="23250" y="18678"/>
                    </a:lnTo>
                    <a:lnTo>
                      <a:pt x="26594" y="18678"/>
                    </a:lnTo>
                    <a:lnTo>
                      <a:pt x="26594" y="26476"/>
                    </a:lnTo>
                    <a:lnTo>
                      <a:pt x="23250" y="26476"/>
                    </a:lnTo>
                    <a:lnTo>
                      <a:pt x="23250" y="45154"/>
                    </a:lnTo>
                    <a:lnTo>
                      <a:pt x="16243" y="45154"/>
                    </a:lnTo>
                  </a:path>
                </a:pathLst>
              </a:custGeom>
              <a:grpFill/>
              <a:ln w="158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3" name="Gruppieren 32">
              <a:extLst>
                <a:ext uri="{FF2B5EF4-FFF2-40B4-BE49-F238E27FC236}">
                  <a16:creationId xmlns:a16="http://schemas.microsoft.com/office/drawing/2014/main" id="{0E19EB5B-D111-D31F-9D74-3D5B497BC347}"/>
                </a:ext>
              </a:extLst>
            </p:cNvPr>
            <p:cNvGrpSpPr/>
            <p:nvPr/>
          </p:nvGrpSpPr>
          <p:grpSpPr>
            <a:xfrm>
              <a:off x="2177929" y="1762164"/>
              <a:ext cx="4963524" cy="1406845"/>
              <a:chOff x="2177929" y="1762164"/>
              <a:chExt cx="4963524" cy="1406845"/>
            </a:xfrm>
            <a:solidFill>
              <a:schemeClr val="accent2">
                <a:alpha val="30000"/>
              </a:schemeClr>
            </a:solidFill>
          </p:grpSpPr>
          <p:sp>
            <p:nvSpPr>
              <p:cNvPr id="34" name="Freihandform: Form 33">
                <a:extLst>
                  <a:ext uri="{FF2B5EF4-FFF2-40B4-BE49-F238E27FC236}">
                    <a16:creationId xmlns:a16="http://schemas.microsoft.com/office/drawing/2014/main" id="{2F37BF1D-B331-0D0A-9AD8-9C0659AD0855}"/>
                  </a:ext>
                </a:extLst>
              </p:cNvPr>
              <p:cNvSpPr/>
              <p:nvPr/>
            </p:nvSpPr>
            <p:spPr>
              <a:xfrm>
                <a:off x="2177929" y="1762164"/>
                <a:ext cx="4963524" cy="1406845"/>
              </a:xfrm>
              <a:custGeom>
                <a:avLst/>
                <a:gdLst>
                  <a:gd name="connsiteX0" fmla="*/ 34716 w 4963524"/>
                  <a:gd name="connsiteY0" fmla="*/ 56760 h 1406845"/>
                  <a:gd name="connsiteX1" fmla="*/ 0 w 4963524"/>
                  <a:gd name="connsiteY1" fmla="*/ 56760 h 1406845"/>
                  <a:gd name="connsiteX2" fmla="*/ 0 w 4963524"/>
                  <a:gd name="connsiteY2" fmla="*/ 21942 h 1406845"/>
                  <a:gd name="connsiteX3" fmla="*/ 29460 w 4963524"/>
                  <a:gd name="connsiteY3" fmla="*/ 21942 h 1406845"/>
                  <a:gd name="connsiteX4" fmla="*/ 29460 w 4963524"/>
                  <a:gd name="connsiteY4" fmla="*/ 49506 h 1406845"/>
                  <a:gd name="connsiteX5" fmla="*/ 31371 w 4963524"/>
                  <a:gd name="connsiteY5" fmla="*/ 54584 h 1406845"/>
                  <a:gd name="connsiteX6" fmla="*/ 34875 w 4963524"/>
                  <a:gd name="connsiteY6" fmla="*/ 56578 h 1406845"/>
                  <a:gd name="connsiteX7" fmla="*/ 4963524 w 4963524"/>
                  <a:gd name="connsiteY7" fmla="*/ 1406846 h 1406845"/>
                  <a:gd name="connsiteX8" fmla="*/ 3685260 w 4963524"/>
                  <a:gd name="connsiteY8" fmla="*/ 1406846 h 1406845"/>
                  <a:gd name="connsiteX9" fmla="*/ 3685260 w 4963524"/>
                  <a:gd name="connsiteY9" fmla="*/ 1387442 h 1406845"/>
                  <a:gd name="connsiteX10" fmla="*/ 3577451 w 4963524"/>
                  <a:gd name="connsiteY10" fmla="*/ 1387442 h 1406845"/>
                  <a:gd name="connsiteX11" fmla="*/ 3577451 w 4963524"/>
                  <a:gd name="connsiteY11" fmla="*/ 1365863 h 1406845"/>
                  <a:gd name="connsiteX12" fmla="*/ 2703989 w 4963524"/>
                  <a:gd name="connsiteY12" fmla="*/ 1365863 h 1406845"/>
                  <a:gd name="connsiteX13" fmla="*/ 2703989 w 4963524"/>
                  <a:gd name="connsiteY13" fmla="*/ 1347366 h 1406845"/>
                  <a:gd name="connsiteX14" fmla="*/ 2189467 w 4963524"/>
                  <a:gd name="connsiteY14" fmla="*/ 1347366 h 1406845"/>
                  <a:gd name="connsiteX15" fmla="*/ 2189467 w 4963524"/>
                  <a:gd name="connsiteY15" fmla="*/ 1327962 h 1406845"/>
                  <a:gd name="connsiteX16" fmla="*/ 1983085 w 4963524"/>
                  <a:gd name="connsiteY16" fmla="*/ 1327962 h 1406845"/>
                  <a:gd name="connsiteX17" fmla="*/ 1983085 w 4963524"/>
                  <a:gd name="connsiteY17" fmla="*/ 1308559 h 1406845"/>
                  <a:gd name="connsiteX18" fmla="*/ 1836420 w 4963524"/>
                  <a:gd name="connsiteY18" fmla="*/ 1308559 h 1406845"/>
                  <a:gd name="connsiteX19" fmla="*/ 1836420 w 4963524"/>
                  <a:gd name="connsiteY19" fmla="*/ 1285528 h 1406845"/>
                  <a:gd name="connsiteX20" fmla="*/ 1650899 w 4963524"/>
                  <a:gd name="connsiteY20" fmla="*/ 1285528 h 1406845"/>
                  <a:gd name="connsiteX21" fmla="*/ 1650899 w 4963524"/>
                  <a:gd name="connsiteY21" fmla="*/ 1266125 h 1406845"/>
                  <a:gd name="connsiteX22" fmla="*/ 1633063 w 4963524"/>
                  <a:gd name="connsiteY22" fmla="*/ 1266125 h 1406845"/>
                  <a:gd name="connsiteX23" fmla="*/ 1633063 w 4963524"/>
                  <a:gd name="connsiteY23" fmla="*/ 1244727 h 1406845"/>
                  <a:gd name="connsiteX24" fmla="*/ 1609176 w 4963524"/>
                  <a:gd name="connsiteY24" fmla="*/ 1244727 h 1406845"/>
                  <a:gd name="connsiteX25" fmla="*/ 1609176 w 4963524"/>
                  <a:gd name="connsiteY25" fmla="*/ 1228043 h 1406845"/>
                  <a:gd name="connsiteX26" fmla="*/ 1594207 w 4963524"/>
                  <a:gd name="connsiteY26" fmla="*/ 1228043 h 1406845"/>
                  <a:gd name="connsiteX27" fmla="*/ 1594207 w 4963524"/>
                  <a:gd name="connsiteY27" fmla="*/ 1209909 h 1406845"/>
                  <a:gd name="connsiteX28" fmla="*/ 1474614 w 4963524"/>
                  <a:gd name="connsiteY28" fmla="*/ 1209909 h 1406845"/>
                  <a:gd name="connsiteX29" fmla="*/ 1474614 w 4963524"/>
                  <a:gd name="connsiteY29" fmla="*/ 1194132 h 1406845"/>
                  <a:gd name="connsiteX30" fmla="*/ 1396902 w 4963524"/>
                  <a:gd name="connsiteY30" fmla="*/ 1194132 h 1406845"/>
                  <a:gd name="connsiteX31" fmla="*/ 1396902 w 4963524"/>
                  <a:gd name="connsiteY31" fmla="*/ 1170739 h 1406845"/>
                  <a:gd name="connsiteX32" fmla="*/ 1328108 w 4963524"/>
                  <a:gd name="connsiteY32" fmla="*/ 1170739 h 1406845"/>
                  <a:gd name="connsiteX33" fmla="*/ 1328108 w 4963524"/>
                  <a:gd name="connsiteY33" fmla="*/ 1152424 h 1406845"/>
                  <a:gd name="connsiteX34" fmla="*/ 1256288 w 4963524"/>
                  <a:gd name="connsiteY34" fmla="*/ 1152424 h 1406845"/>
                  <a:gd name="connsiteX35" fmla="*/ 1256288 w 4963524"/>
                  <a:gd name="connsiteY35" fmla="*/ 1131388 h 1406845"/>
                  <a:gd name="connsiteX36" fmla="*/ 1139561 w 4963524"/>
                  <a:gd name="connsiteY36" fmla="*/ 1131388 h 1406845"/>
                  <a:gd name="connsiteX37" fmla="*/ 1139561 w 4963524"/>
                  <a:gd name="connsiteY37" fmla="*/ 1113436 h 1406845"/>
                  <a:gd name="connsiteX38" fmla="*/ 1094654 w 4963524"/>
                  <a:gd name="connsiteY38" fmla="*/ 1113436 h 1406845"/>
                  <a:gd name="connsiteX39" fmla="*/ 1094654 w 4963524"/>
                  <a:gd name="connsiteY39" fmla="*/ 1093488 h 1406845"/>
                  <a:gd name="connsiteX40" fmla="*/ 1004839 w 4963524"/>
                  <a:gd name="connsiteY40" fmla="*/ 1093488 h 1406845"/>
                  <a:gd name="connsiteX41" fmla="*/ 1004839 w 4963524"/>
                  <a:gd name="connsiteY41" fmla="*/ 1074810 h 1406845"/>
                  <a:gd name="connsiteX42" fmla="*/ 983819 w 4963524"/>
                  <a:gd name="connsiteY42" fmla="*/ 1074810 h 1406845"/>
                  <a:gd name="connsiteX43" fmla="*/ 983819 w 4963524"/>
                  <a:gd name="connsiteY43" fmla="*/ 1053412 h 1406845"/>
                  <a:gd name="connsiteX44" fmla="*/ 944963 w 4963524"/>
                  <a:gd name="connsiteY44" fmla="*/ 1053412 h 1406845"/>
                  <a:gd name="connsiteX45" fmla="*/ 944963 w 4963524"/>
                  <a:gd name="connsiteY45" fmla="*/ 1034915 h 1406845"/>
                  <a:gd name="connsiteX46" fmla="*/ 941937 w 4963524"/>
                  <a:gd name="connsiteY46" fmla="*/ 1034915 h 1406845"/>
                  <a:gd name="connsiteX47" fmla="*/ 941937 w 4963524"/>
                  <a:gd name="connsiteY47" fmla="*/ 1015149 h 1406845"/>
                  <a:gd name="connsiteX48" fmla="*/ 885087 w 4963524"/>
                  <a:gd name="connsiteY48" fmla="*/ 1015149 h 1406845"/>
                  <a:gd name="connsiteX49" fmla="*/ 885087 w 4963524"/>
                  <a:gd name="connsiteY49" fmla="*/ 998646 h 1406845"/>
                  <a:gd name="connsiteX50" fmla="*/ 864066 w 4963524"/>
                  <a:gd name="connsiteY50" fmla="*/ 998646 h 1406845"/>
                  <a:gd name="connsiteX51" fmla="*/ 864066 w 4963524"/>
                  <a:gd name="connsiteY51" fmla="*/ 978880 h 1406845"/>
                  <a:gd name="connsiteX52" fmla="*/ 852123 w 4963524"/>
                  <a:gd name="connsiteY52" fmla="*/ 978880 h 1406845"/>
                  <a:gd name="connsiteX53" fmla="*/ 852123 w 4963524"/>
                  <a:gd name="connsiteY53" fmla="*/ 958751 h 1406845"/>
                  <a:gd name="connsiteX54" fmla="*/ 774411 w 4963524"/>
                  <a:gd name="connsiteY54" fmla="*/ 958751 h 1406845"/>
                  <a:gd name="connsiteX55" fmla="*/ 774411 w 4963524"/>
                  <a:gd name="connsiteY55" fmla="*/ 900904 h 1406845"/>
                  <a:gd name="connsiteX56" fmla="*/ 771385 w 4963524"/>
                  <a:gd name="connsiteY56" fmla="*/ 900904 h 1406845"/>
                  <a:gd name="connsiteX57" fmla="*/ 771385 w 4963524"/>
                  <a:gd name="connsiteY57" fmla="*/ 879505 h 1406845"/>
                  <a:gd name="connsiteX58" fmla="*/ 708643 w 4963524"/>
                  <a:gd name="connsiteY58" fmla="*/ 879505 h 1406845"/>
                  <a:gd name="connsiteX59" fmla="*/ 708643 w 4963524"/>
                  <a:gd name="connsiteY59" fmla="*/ 861190 h 1406845"/>
                  <a:gd name="connsiteX60" fmla="*/ 684756 w 4963524"/>
                  <a:gd name="connsiteY60" fmla="*/ 861190 h 1406845"/>
                  <a:gd name="connsiteX61" fmla="*/ 684756 w 4963524"/>
                  <a:gd name="connsiteY61" fmla="*/ 841605 h 1406845"/>
                  <a:gd name="connsiteX62" fmla="*/ 657843 w 4963524"/>
                  <a:gd name="connsiteY62" fmla="*/ 841605 h 1406845"/>
                  <a:gd name="connsiteX63" fmla="*/ 657843 w 4963524"/>
                  <a:gd name="connsiteY63" fmla="*/ 825103 h 1406845"/>
                  <a:gd name="connsiteX64" fmla="*/ 645900 w 4963524"/>
                  <a:gd name="connsiteY64" fmla="*/ 825103 h 1406845"/>
                  <a:gd name="connsiteX65" fmla="*/ 645900 w 4963524"/>
                  <a:gd name="connsiteY65" fmla="*/ 804067 h 1406845"/>
                  <a:gd name="connsiteX66" fmla="*/ 642874 w 4963524"/>
                  <a:gd name="connsiteY66" fmla="*/ 804067 h 1406845"/>
                  <a:gd name="connsiteX67" fmla="*/ 642874 w 4963524"/>
                  <a:gd name="connsiteY67" fmla="*/ 783576 h 1406845"/>
                  <a:gd name="connsiteX68" fmla="*/ 639849 w 4963524"/>
                  <a:gd name="connsiteY68" fmla="*/ 783576 h 1406845"/>
                  <a:gd name="connsiteX69" fmla="*/ 639849 w 4963524"/>
                  <a:gd name="connsiteY69" fmla="*/ 764535 h 1406845"/>
                  <a:gd name="connsiteX70" fmla="*/ 603859 w 4963524"/>
                  <a:gd name="connsiteY70" fmla="*/ 764535 h 1406845"/>
                  <a:gd name="connsiteX71" fmla="*/ 603859 w 4963524"/>
                  <a:gd name="connsiteY71" fmla="*/ 745494 h 1406845"/>
                  <a:gd name="connsiteX72" fmla="*/ 591916 w 4963524"/>
                  <a:gd name="connsiteY72" fmla="*/ 745494 h 1406845"/>
                  <a:gd name="connsiteX73" fmla="*/ 591916 w 4963524"/>
                  <a:gd name="connsiteY73" fmla="*/ 728085 h 1406845"/>
                  <a:gd name="connsiteX74" fmla="*/ 582998 w 4963524"/>
                  <a:gd name="connsiteY74" fmla="*/ 728085 h 1406845"/>
                  <a:gd name="connsiteX75" fmla="*/ 582998 w 4963524"/>
                  <a:gd name="connsiteY75" fmla="*/ 708863 h 1406845"/>
                  <a:gd name="connsiteX76" fmla="*/ 550034 w 4963524"/>
                  <a:gd name="connsiteY76" fmla="*/ 708863 h 1406845"/>
                  <a:gd name="connsiteX77" fmla="*/ 550034 w 4963524"/>
                  <a:gd name="connsiteY77" fmla="*/ 690548 h 1406845"/>
                  <a:gd name="connsiteX78" fmla="*/ 547008 w 4963524"/>
                  <a:gd name="connsiteY78" fmla="*/ 690548 h 1406845"/>
                  <a:gd name="connsiteX79" fmla="*/ 547008 w 4963524"/>
                  <a:gd name="connsiteY79" fmla="*/ 672958 h 1406845"/>
                  <a:gd name="connsiteX80" fmla="*/ 508153 w 4963524"/>
                  <a:gd name="connsiteY80" fmla="*/ 672958 h 1406845"/>
                  <a:gd name="connsiteX81" fmla="*/ 508153 w 4963524"/>
                  <a:gd name="connsiteY81" fmla="*/ 653735 h 1406845"/>
                  <a:gd name="connsiteX82" fmla="*/ 502101 w 4963524"/>
                  <a:gd name="connsiteY82" fmla="*/ 653735 h 1406845"/>
                  <a:gd name="connsiteX83" fmla="*/ 502101 w 4963524"/>
                  <a:gd name="connsiteY83" fmla="*/ 626534 h 1406845"/>
                  <a:gd name="connsiteX84" fmla="*/ 499076 w 4963524"/>
                  <a:gd name="connsiteY84" fmla="*/ 626534 h 1406845"/>
                  <a:gd name="connsiteX85" fmla="*/ 499076 w 4963524"/>
                  <a:gd name="connsiteY85" fmla="*/ 604773 h 1406845"/>
                  <a:gd name="connsiteX86" fmla="*/ 481081 w 4963524"/>
                  <a:gd name="connsiteY86" fmla="*/ 604773 h 1406845"/>
                  <a:gd name="connsiteX87" fmla="*/ 481081 w 4963524"/>
                  <a:gd name="connsiteY87" fmla="*/ 580111 h 1406845"/>
                  <a:gd name="connsiteX88" fmla="*/ 478055 w 4963524"/>
                  <a:gd name="connsiteY88" fmla="*/ 580111 h 1406845"/>
                  <a:gd name="connsiteX89" fmla="*/ 478055 w 4963524"/>
                  <a:gd name="connsiteY89" fmla="*/ 555811 h 1406845"/>
                  <a:gd name="connsiteX90" fmla="*/ 472004 w 4963524"/>
                  <a:gd name="connsiteY90" fmla="*/ 555811 h 1406845"/>
                  <a:gd name="connsiteX91" fmla="*/ 472004 w 4963524"/>
                  <a:gd name="connsiteY91" fmla="*/ 534231 h 1406845"/>
                  <a:gd name="connsiteX92" fmla="*/ 415153 w 4963524"/>
                  <a:gd name="connsiteY92" fmla="*/ 534231 h 1406845"/>
                  <a:gd name="connsiteX93" fmla="*/ 415153 w 4963524"/>
                  <a:gd name="connsiteY93" fmla="*/ 510838 h 1406845"/>
                  <a:gd name="connsiteX94" fmla="*/ 412127 w 4963524"/>
                  <a:gd name="connsiteY94" fmla="*/ 510838 h 1406845"/>
                  <a:gd name="connsiteX95" fmla="*/ 412127 w 4963524"/>
                  <a:gd name="connsiteY95" fmla="*/ 485451 h 1406845"/>
                  <a:gd name="connsiteX96" fmla="*/ 406076 w 4963524"/>
                  <a:gd name="connsiteY96" fmla="*/ 485451 h 1406845"/>
                  <a:gd name="connsiteX97" fmla="*/ 406076 w 4963524"/>
                  <a:gd name="connsiteY97" fmla="*/ 462964 h 1406845"/>
                  <a:gd name="connsiteX98" fmla="*/ 376138 w 4963524"/>
                  <a:gd name="connsiteY98" fmla="*/ 462964 h 1406845"/>
                  <a:gd name="connsiteX99" fmla="*/ 376138 w 4963524"/>
                  <a:gd name="connsiteY99" fmla="*/ 434312 h 1406845"/>
                  <a:gd name="connsiteX100" fmla="*/ 364195 w 4963524"/>
                  <a:gd name="connsiteY100" fmla="*/ 434312 h 1406845"/>
                  <a:gd name="connsiteX101" fmla="*/ 364195 w 4963524"/>
                  <a:gd name="connsiteY101" fmla="*/ 412007 h 1406845"/>
                  <a:gd name="connsiteX102" fmla="*/ 322313 w 4963524"/>
                  <a:gd name="connsiteY102" fmla="*/ 412007 h 1406845"/>
                  <a:gd name="connsiteX103" fmla="*/ 322313 w 4963524"/>
                  <a:gd name="connsiteY103" fmla="*/ 391335 h 1406845"/>
                  <a:gd name="connsiteX104" fmla="*/ 316262 w 4963524"/>
                  <a:gd name="connsiteY104" fmla="*/ 391335 h 1406845"/>
                  <a:gd name="connsiteX105" fmla="*/ 316262 w 4963524"/>
                  <a:gd name="connsiteY105" fmla="*/ 367941 h 1406845"/>
                  <a:gd name="connsiteX106" fmla="*/ 283457 w 4963524"/>
                  <a:gd name="connsiteY106" fmla="*/ 367941 h 1406845"/>
                  <a:gd name="connsiteX107" fmla="*/ 283457 w 4963524"/>
                  <a:gd name="connsiteY107" fmla="*/ 344911 h 1406845"/>
                  <a:gd name="connsiteX108" fmla="*/ 271514 w 4963524"/>
                  <a:gd name="connsiteY108" fmla="*/ 344911 h 1406845"/>
                  <a:gd name="connsiteX109" fmla="*/ 271514 w 4963524"/>
                  <a:gd name="connsiteY109" fmla="*/ 322243 h 1406845"/>
                  <a:gd name="connsiteX110" fmla="*/ 247627 w 4963524"/>
                  <a:gd name="connsiteY110" fmla="*/ 322243 h 1406845"/>
                  <a:gd name="connsiteX111" fmla="*/ 247627 w 4963524"/>
                  <a:gd name="connsiteY111" fmla="*/ 300664 h 1406845"/>
                  <a:gd name="connsiteX112" fmla="*/ 217689 w 4963524"/>
                  <a:gd name="connsiteY112" fmla="*/ 300664 h 1406845"/>
                  <a:gd name="connsiteX113" fmla="*/ 217689 w 4963524"/>
                  <a:gd name="connsiteY113" fmla="*/ 277089 h 1406845"/>
                  <a:gd name="connsiteX114" fmla="*/ 190776 w 4963524"/>
                  <a:gd name="connsiteY114" fmla="*/ 277089 h 1406845"/>
                  <a:gd name="connsiteX115" fmla="*/ 190776 w 4963524"/>
                  <a:gd name="connsiteY115" fmla="*/ 253878 h 1406845"/>
                  <a:gd name="connsiteX116" fmla="*/ 175807 w 4963524"/>
                  <a:gd name="connsiteY116" fmla="*/ 253878 h 1406845"/>
                  <a:gd name="connsiteX117" fmla="*/ 175807 w 4963524"/>
                  <a:gd name="connsiteY117" fmla="*/ 233930 h 1406845"/>
                  <a:gd name="connsiteX118" fmla="*/ 151920 w 4963524"/>
                  <a:gd name="connsiteY118" fmla="*/ 233930 h 1406845"/>
                  <a:gd name="connsiteX119" fmla="*/ 151920 w 4963524"/>
                  <a:gd name="connsiteY119" fmla="*/ 201470 h 1406845"/>
                  <a:gd name="connsiteX120" fmla="*/ 128033 w 4963524"/>
                  <a:gd name="connsiteY120" fmla="*/ 201470 h 1406845"/>
                  <a:gd name="connsiteX121" fmla="*/ 128033 w 4963524"/>
                  <a:gd name="connsiteY121" fmla="*/ 165383 h 1406845"/>
                  <a:gd name="connsiteX122" fmla="*/ 65291 w 4963524"/>
                  <a:gd name="connsiteY122" fmla="*/ 165383 h 1406845"/>
                  <a:gd name="connsiteX123" fmla="*/ 65291 w 4963524"/>
                  <a:gd name="connsiteY123" fmla="*/ 139089 h 1406845"/>
                  <a:gd name="connsiteX124" fmla="*/ 62265 w 4963524"/>
                  <a:gd name="connsiteY124" fmla="*/ 139089 h 1406845"/>
                  <a:gd name="connsiteX125" fmla="*/ 62265 w 4963524"/>
                  <a:gd name="connsiteY125" fmla="*/ 112069 h 1406845"/>
                  <a:gd name="connsiteX126" fmla="*/ 35353 w 4963524"/>
                  <a:gd name="connsiteY126" fmla="*/ 112069 h 1406845"/>
                  <a:gd name="connsiteX127" fmla="*/ 35353 w 4963524"/>
                  <a:gd name="connsiteY127" fmla="*/ 56941 h 1406845"/>
                  <a:gd name="connsiteX128" fmla="*/ 55895 w 4963524"/>
                  <a:gd name="connsiteY128" fmla="*/ 56941 h 1406845"/>
                  <a:gd name="connsiteX129" fmla="*/ 55895 w 4963524"/>
                  <a:gd name="connsiteY129" fmla="*/ 68003 h 1406845"/>
                  <a:gd name="connsiteX130" fmla="*/ 57806 w 4963524"/>
                  <a:gd name="connsiteY130" fmla="*/ 73081 h 1406845"/>
                  <a:gd name="connsiteX131" fmla="*/ 58921 w 4963524"/>
                  <a:gd name="connsiteY131" fmla="*/ 74169 h 1406845"/>
                  <a:gd name="connsiteX132" fmla="*/ 58921 w 4963524"/>
                  <a:gd name="connsiteY132" fmla="*/ 86500 h 1406845"/>
                  <a:gd name="connsiteX133" fmla="*/ 60832 w 4963524"/>
                  <a:gd name="connsiteY133" fmla="*/ 91577 h 1406845"/>
                  <a:gd name="connsiteX134" fmla="*/ 65291 w 4963524"/>
                  <a:gd name="connsiteY134" fmla="*/ 93753 h 1406845"/>
                  <a:gd name="connsiteX135" fmla="*/ 121664 w 4963524"/>
                  <a:gd name="connsiteY135" fmla="*/ 93753 h 1406845"/>
                  <a:gd name="connsiteX136" fmla="*/ 121664 w 4963524"/>
                  <a:gd name="connsiteY136" fmla="*/ 110981 h 1406845"/>
                  <a:gd name="connsiteX137" fmla="*/ 123575 w 4963524"/>
                  <a:gd name="connsiteY137" fmla="*/ 116058 h 1406845"/>
                  <a:gd name="connsiteX138" fmla="*/ 128033 w 4963524"/>
                  <a:gd name="connsiteY138" fmla="*/ 118235 h 1406845"/>
                  <a:gd name="connsiteX139" fmla="*/ 145550 w 4963524"/>
                  <a:gd name="connsiteY139" fmla="*/ 118235 h 1406845"/>
                  <a:gd name="connsiteX140" fmla="*/ 145550 w 4963524"/>
                  <a:gd name="connsiteY140" fmla="*/ 134374 h 1406845"/>
                  <a:gd name="connsiteX141" fmla="*/ 147461 w 4963524"/>
                  <a:gd name="connsiteY141" fmla="*/ 139451 h 1406845"/>
                  <a:gd name="connsiteX142" fmla="*/ 151920 w 4963524"/>
                  <a:gd name="connsiteY142" fmla="*/ 141628 h 1406845"/>
                  <a:gd name="connsiteX143" fmla="*/ 169437 w 4963524"/>
                  <a:gd name="connsiteY143" fmla="*/ 141628 h 1406845"/>
                  <a:gd name="connsiteX144" fmla="*/ 169437 w 4963524"/>
                  <a:gd name="connsiteY144" fmla="*/ 150513 h 1406845"/>
                  <a:gd name="connsiteX145" fmla="*/ 171348 w 4963524"/>
                  <a:gd name="connsiteY145" fmla="*/ 155591 h 1406845"/>
                  <a:gd name="connsiteX146" fmla="*/ 175807 w 4963524"/>
                  <a:gd name="connsiteY146" fmla="*/ 157767 h 1406845"/>
                  <a:gd name="connsiteX147" fmla="*/ 184406 w 4963524"/>
                  <a:gd name="connsiteY147" fmla="*/ 157767 h 1406845"/>
                  <a:gd name="connsiteX148" fmla="*/ 184406 w 4963524"/>
                  <a:gd name="connsiteY148" fmla="*/ 168829 h 1406845"/>
                  <a:gd name="connsiteX149" fmla="*/ 186317 w 4963524"/>
                  <a:gd name="connsiteY149" fmla="*/ 173906 h 1406845"/>
                  <a:gd name="connsiteX150" fmla="*/ 190776 w 4963524"/>
                  <a:gd name="connsiteY150" fmla="*/ 176082 h 1406845"/>
                  <a:gd name="connsiteX151" fmla="*/ 211319 w 4963524"/>
                  <a:gd name="connsiteY151" fmla="*/ 176082 h 1406845"/>
                  <a:gd name="connsiteX152" fmla="*/ 211319 w 4963524"/>
                  <a:gd name="connsiteY152" fmla="*/ 187688 h 1406845"/>
                  <a:gd name="connsiteX153" fmla="*/ 213230 w 4963524"/>
                  <a:gd name="connsiteY153" fmla="*/ 192766 h 1406845"/>
                  <a:gd name="connsiteX154" fmla="*/ 217689 w 4963524"/>
                  <a:gd name="connsiteY154" fmla="*/ 194942 h 1406845"/>
                  <a:gd name="connsiteX155" fmla="*/ 241257 w 4963524"/>
                  <a:gd name="connsiteY155" fmla="*/ 194942 h 1406845"/>
                  <a:gd name="connsiteX156" fmla="*/ 241257 w 4963524"/>
                  <a:gd name="connsiteY156" fmla="*/ 205460 h 1406845"/>
                  <a:gd name="connsiteX157" fmla="*/ 243168 w 4963524"/>
                  <a:gd name="connsiteY157" fmla="*/ 210537 h 1406845"/>
                  <a:gd name="connsiteX158" fmla="*/ 247627 w 4963524"/>
                  <a:gd name="connsiteY158" fmla="*/ 212713 h 1406845"/>
                  <a:gd name="connsiteX159" fmla="*/ 265144 w 4963524"/>
                  <a:gd name="connsiteY159" fmla="*/ 212713 h 1406845"/>
                  <a:gd name="connsiteX160" fmla="*/ 265144 w 4963524"/>
                  <a:gd name="connsiteY160" fmla="*/ 224138 h 1406845"/>
                  <a:gd name="connsiteX161" fmla="*/ 267055 w 4963524"/>
                  <a:gd name="connsiteY161" fmla="*/ 229215 h 1406845"/>
                  <a:gd name="connsiteX162" fmla="*/ 271514 w 4963524"/>
                  <a:gd name="connsiteY162" fmla="*/ 231391 h 1406845"/>
                  <a:gd name="connsiteX163" fmla="*/ 277087 w 4963524"/>
                  <a:gd name="connsiteY163" fmla="*/ 231391 h 1406845"/>
                  <a:gd name="connsiteX164" fmla="*/ 277087 w 4963524"/>
                  <a:gd name="connsiteY164" fmla="*/ 243179 h 1406845"/>
                  <a:gd name="connsiteX165" fmla="*/ 278998 w 4963524"/>
                  <a:gd name="connsiteY165" fmla="*/ 248256 h 1406845"/>
                  <a:gd name="connsiteX166" fmla="*/ 283457 w 4963524"/>
                  <a:gd name="connsiteY166" fmla="*/ 250432 h 1406845"/>
                  <a:gd name="connsiteX167" fmla="*/ 309892 w 4963524"/>
                  <a:gd name="connsiteY167" fmla="*/ 250432 h 1406845"/>
                  <a:gd name="connsiteX168" fmla="*/ 309892 w 4963524"/>
                  <a:gd name="connsiteY168" fmla="*/ 262764 h 1406845"/>
                  <a:gd name="connsiteX169" fmla="*/ 311803 w 4963524"/>
                  <a:gd name="connsiteY169" fmla="*/ 267841 h 1406845"/>
                  <a:gd name="connsiteX170" fmla="*/ 315943 w 4963524"/>
                  <a:gd name="connsiteY170" fmla="*/ 270017 h 1406845"/>
                  <a:gd name="connsiteX171" fmla="*/ 315943 w 4963524"/>
                  <a:gd name="connsiteY171" fmla="*/ 280354 h 1406845"/>
                  <a:gd name="connsiteX172" fmla="*/ 317854 w 4963524"/>
                  <a:gd name="connsiteY172" fmla="*/ 285431 h 1406845"/>
                  <a:gd name="connsiteX173" fmla="*/ 322313 w 4963524"/>
                  <a:gd name="connsiteY173" fmla="*/ 287607 h 1406845"/>
                  <a:gd name="connsiteX174" fmla="*/ 357825 w 4963524"/>
                  <a:gd name="connsiteY174" fmla="*/ 287607 h 1406845"/>
                  <a:gd name="connsiteX175" fmla="*/ 357825 w 4963524"/>
                  <a:gd name="connsiteY175" fmla="*/ 299213 h 1406845"/>
                  <a:gd name="connsiteX176" fmla="*/ 359736 w 4963524"/>
                  <a:gd name="connsiteY176" fmla="*/ 304291 h 1406845"/>
                  <a:gd name="connsiteX177" fmla="*/ 364195 w 4963524"/>
                  <a:gd name="connsiteY177" fmla="*/ 306467 h 1406845"/>
                  <a:gd name="connsiteX178" fmla="*/ 369768 w 4963524"/>
                  <a:gd name="connsiteY178" fmla="*/ 306467 h 1406845"/>
                  <a:gd name="connsiteX179" fmla="*/ 369768 w 4963524"/>
                  <a:gd name="connsiteY179" fmla="*/ 322969 h 1406845"/>
                  <a:gd name="connsiteX180" fmla="*/ 371679 w 4963524"/>
                  <a:gd name="connsiteY180" fmla="*/ 328046 h 1406845"/>
                  <a:gd name="connsiteX181" fmla="*/ 376138 w 4963524"/>
                  <a:gd name="connsiteY181" fmla="*/ 330222 h 1406845"/>
                  <a:gd name="connsiteX182" fmla="*/ 399706 w 4963524"/>
                  <a:gd name="connsiteY182" fmla="*/ 330222 h 1406845"/>
                  <a:gd name="connsiteX183" fmla="*/ 399706 w 4963524"/>
                  <a:gd name="connsiteY183" fmla="*/ 342372 h 1406845"/>
                  <a:gd name="connsiteX184" fmla="*/ 401617 w 4963524"/>
                  <a:gd name="connsiteY184" fmla="*/ 347450 h 1406845"/>
                  <a:gd name="connsiteX185" fmla="*/ 405758 w 4963524"/>
                  <a:gd name="connsiteY185" fmla="*/ 349626 h 1406845"/>
                  <a:gd name="connsiteX186" fmla="*/ 405758 w 4963524"/>
                  <a:gd name="connsiteY186" fmla="*/ 364133 h 1406845"/>
                  <a:gd name="connsiteX187" fmla="*/ 407669 w 4963524"/>
                  <a:gd name="connsiteY187" fmla="*/ 369211 h 1406845"/>
                  <a:gd name="connsiteX188" fmla="*/ 408783 w 4963524"/>
                  <a:gd name="connsiteY188" fmla="*/ 370299 h 1406845"/>
                  <a:gd name="connsiteX189" fmla="*/ 408783 w 4963524"/>
                  <a:gd name="connsiteY189" fmla="*/ 384625 h 1406845"/>
                  <a:gd name="connsiteX190" fmla="*/ 410694 w 4963524"/>
                  <a:gd name="connsiteY190" fmla="*/ 389702 h 1406845"/>
                  <a:gd name="connsiteX191" fmla="*/ 415153 w 4963524"/>
                  <a:gd name="connsiteY191" fmla="*/ 391879 h 1406845"/>
                  <a:gd name="connsiteX192" fmla="*/ 465634 w 4963524"/>
                  <a:gd name="connsiteY192" fmla="*/ 391879 h 1406845"/>
                  <a:gd name="connsiteX193" fmla="*/ 465634 w 4963524"/>
                  <a:gd name="connsiteY193" fmla="*/ 403666 h 1406845"/>
                  <a:gd name="connsiteX194" fmla="*/ 467545 w 4963524"/>
                  <a:gd name="connsiteY194" fmla="*/ 408743 h 1406845"/>
                  <a:gd name="connsiteX195" fmla="*/ 471685 w 4963524"/>
                  <a:gd name="connsiteY195" fmla="*/ 410919 h 1406845"/>
                  <a:gd name="connsiteX196" fmla="*/ 471685 w 4963524"/>
                  <a:gd name="connsiteY196" fmla="*/ 425064 h 1406845"/>
                  <a:gd name="connsiteX197" fmla="*/ 473596 w 4963524"/>
                  <a:gd name="connsiteY197" fmla="*/ 430142 h 1406845"/>
                  <a:gd name="connsiteX198" fmla="*/ 474711 w 4963524"/>
                  <a:gd name="connsiteY198" fmla="*/ 431230 h 1406845"/>
                  <a:gd name="connsiteX199" fmla="*/ 474711 w 4963524"/>
                  <a:gd name="connsiteY199" fmla="*/ 446825 h 1406845"/>
                  <a:gd name="connsiteX200" fmla="*/ 476622 w 4963524"/>
                  <a:gd name="connsiteY200" fmla="*/ 451902 h 1406845"/>
                  <a:gd name="connsiteX201" fmla="*/ 481081 w 4963524"/>
                  <a:gd name="connsiteY201" fmla="*/ 454079 h 1406845"/>
                  <a:gd name="connsiteX202" fmla="*/ 492706 w 4963524"/>
                  <a:gd name="connsiteY202" fmla="*/ 454079 h 1406845"/>
                  <a:gd name="connsiteX203" fmla="*/ 492706 w 4963524"/>
                  <a:gd name="connsiteY203" fmla="*/ 466410 h 1406845"/>
                  <a:gd name="connsiteX204" fmla="*/ 494617 w 4963524"/>
                  <a:gd name="connsiteY204" fmla="*/ 471487 h 1406845"/>
                  <a:gd name="connsiteX205" fmla="*/ 495731 w 4963524"/>
                  <a:gd name="connsiteY205" fmla="*/ 472575 h 1406845"/>
                  <a:gd name="connsiteX206" fmla="*/ 495731 w 4963524"/>
                  <a:gd name="connsiteY206" fmla="*/ 490528 h 1406845"/>
                  <a:gd name="connsiteX207" fmla="*/ 497642 w 4963524"/>
                  <a:gd name="connsiteY207" fmla="*/ 495606 h 1406845"/>
                  <a:gd name="connsiteX208" fmla="*/ 501783 w 4963524"/>
                  <a:gd name="connsiteY208" fmla="*/ 497782 h 1406845"/>
                  <a:gd name="connsiteX209" fmla="*/ 501783 w 4963524"/>
                  <a:gd name="connsiteY209" fmla="*/ 508300 h 1406845"/>
                  <a:gd name="connsiteX210" fmla="*/ 503694 w 4963524"/>
                  <a:gd name="connsiteY210" fmla="*/ 513377 h 1406845"/>
                  <a:gd name="connsiteX211" fmla="*/ 508153 w 4963524"/>
                  <a:gd name="connsiteY211" fmla="*/ 515553 h 1406845"/>
                  <a:gd name="connsiteX212" fmla="*/ 540639 w 4963524"/>
                  <a:gd name="connsiteY212" fmla="*/ 515553 h 1406845"/>
                  <a:gd name="connsiteX213" fmla="*/ 540639 w 4963524"/>
                  <a:gd name="connsiteY213" fmla="*/ 524620 h 1406845"/>
                  <a:gd name="connsiteX214" fmla="*/ 542550 w 4963524"/>
                  <a:gd name="connsiteY214" fmla="*/ 529698 h 1406845"/>
                  <a:gd name="connsiteX215" fmla="*/ 543664 w 4963524"/>
                  <a:gd name="connsiteY215" fmla="*/ 530786 h 1406845"/>
                  <a:gd name="connsiteX216" fmla="*/ 543664 w 4963524"/>
                  <a:gd name="connsiteY216" fmla="*/ 541666 h 1406845"/>
                  <a:gd name="connsiteX217" fmla="*/ 545575 w 4963524"/>
                  <a:gd name="connsiteY217" fmla="*/ 546744 h 1406845"/>
                  <a:gd name="connsiteX218" fmla="*/ 550034 w 4963524"/>
                  <a:gd name="connsiteY218" fmla="*/ 548920 h 1406845"/>
                  <a:gd name="connsiteX219" fmla="*/ 576628 w 4963524"/>
                  <a:gd name="connsiteY219" fmla="*/ 548920 h 1406845"/>
                  <a:gd name="connsiteX220" fmla="*/ 576628 w 4963524"/>
                  <a:gd name="connsiteY220" fmla="*/ 559438 h 1406845"/>
                  <a:gd name="connsiteX221" fmla="*/ 578539 w 4963524"/>
                  <a:gd name="connsiteY221" fmla="*/ 564515 h 1406845"/>
                  <a:gd name="connsiteX222" fmla="*/ 582998 w 4963524"/>
                  <a:gd name="connsiteY222" fmla="*/ 566692 h 1406845"/>
                  <a:gd name="connsiteX223" fmla="*/ 585546 w 4963524"/>
                  <a:gd name="connsiteY223" fmla="*/ 566692 h 1406845"/>
                  <a:gd name="connsiteX224" fmla="*/ 585546 w 4963524"/>
                  <a:gd name="connsiteY224" fmla="*/ 575577 h 1406845"/>
                  <a:gd name="connsiteX225" fmla="*/ 587457 w 4963524"/>
                  <a:gd name="connsiteY225" fmla="*/ 580655 h 1406845"/>
                  <a:gd name="connsiteX226" fmla="*/ 591916 w 4963524"/>
                  <a:gd name="connsiteY226" fmla="*/ 582831 h 1406845"/>
                  <a:gd name="connsiteX227" fmla="*/ 597489 w 4963524"/>
                  <a:gd name="connsiteY227" fmla="*/ 582831 h 1406845"/>
                  <a:gd name="connsiteX228" fmla="*/ 597489 w 4963524"/>
                  <a:gd name="connsiteY228" fmla="*/ 593349 h 1406845"/>
                  <a:gd name="connsiteX229" fmla="*/ 599400 w 4963524"/>
                  <a:gd name="connsiteY229" fmla="*/ 598426 h 1406845"/>
                  <a:gd name="connsiteX230" fmla="*/ 603859 w 4963524"/>
                  <a:gd name="connsiteY230" fmla="*/ 600602 h 1406845"/>
                  <a:gd name="connsiteX231" fmla="*/ 633320 w 4963524"/>
                  <a:gd name="connsiteY231" fmla="*/ 600602 h 1406845"/>
                  <a:gd name="connsiteX232" fmla="*/ 633320 w 4963524"/>
                  <a:gd name="connsiteY232" fmla="*/ 611120 h 1406845"/>
                  <a:gd name="connsiteX233" fmla="*/ 635230 w 4963524"/>
                  <a:gd name="connsiteY233" fmla="*/ 616198 h 1406845"/>
                  <a:gd name="connsiteX234" fmla="*/ 636345 w 4963524"/>
                  <a:gd name="connsiteY234" fmla="*/ 617286 h 1406845"/>
                  <a:gd name="connsiteX235" fmla="*/ 636345 w 4963524"/>
                  <a:gd name="connsiteY235" fmla="*/ 630342 h 1406845"/>
                  <a:gd name="connsiteX236" fmla="*/ 638256 w 4963524"/>
                  <a:gd name="connsiteY236" fmla="*/ 635420 h 1406845"/>
                  <a:gd name="connsiteX237" fmla="*/ 639371 w 4963524"/>
                  <a:gd name="connsiteY237" fmla="*/ 636508 h 1406845"/>
                  <a:gd name="connsiteX238" fmla="*/ 639371 w 4963524"/>
                  <a:gd name="connsiteY238" fmla="*/ 649927 h 1406845"/>
                  <a:gd name="connsiteX239" fmla="*/ 641282 w 4963524"/>
                  <a:gd name="connsiteY239" fmla="*/ 655005 h 1406845"/>
                  <a:gd name="connsiteX240" fmla="*/ 645741 w 4963524"/>
                  <a:gd name="connsiteY240" fmla="*/ 657181 h 1406845"/>
                  <a:gd name="connsiteX241" fmla="*/ 651314 w 4963524"/>
                  <a:gd name="connsiteY241" fmla="*/ 657181 h 1406845"/>
                  <a:gd name="connsiteX242" fmla="*/ 651314 w 4963524"/>
                  <a:gd name="connsiteY242" fmla="*/ 665704 h 1406845"/>
                  <a:gd name="connsiteX243" fmla="*/ 653225 w 4963524"/>
                  <a:gd name="connsiteY243" fmla="*/ 670781 h 1406845"/>
                  <a:gd name="connsiteX244" fmla="*/ 657684 w 4963524"/>
                  <a:gd name="connsiteY244" fmla="*/ 672958 h 1406845"/>
                  <a:gd name="connsiteX245" fmla="*/ 678227 w 4963524"/>
                  <a:gd name="connsiteY245" fmla="*/ 672958 h 1406845"/>
                  <a:gd name="connsiteX246" fmla="*/ 678227 w 4963524"/>
                  <a:gd name="connsiteY246" fmla="*/ 684201 h 1406845"/>
                  <a:gd name="connsiteX247" fmla="*/ 680138 w 4963524"/>
                  <a:gd name="connsiteY247" fmla="*/ 689278 h 1406845"/>
                  <a:gd name="connsiteX248" fmla="*/ 684597 w 4963524"/>
                  <a:gd name="connsiteY248" fmla="*/ 691454 h 1406845"/>
                  <a:gd name="connsiteX249" fmla="*/ 702114 w 4963524"/>
                  <a:gd name="connsiteY249" fmla="*/ 691454 h 1406845"/>
                  <a:gd name="connsiteX250" fmla="*/ 702114 w 4963524"/>
                  <a:gd name="connsiteY250" fmla="*/ 701609 h 1406845"/>
                  <a:gd name="connsiteX251" fmla="*/ 704025 w 4963524"/>
                  <a:gd name="connsiteY251" fmla="*/ 706687 h 1406845"/>
                  <a:gd name="connsiteX252" fmla="*/ 708483 w 4963524"/>
                  <a:gd name="connsiteY252" fmla="*/ 708863 h 1406845"/>
                  <a:gd name="connsiteX253" fmla="*/ 764856 w 4963524"/>
                  <a:gd name="connsiteY253" fmla="*/ 708863 h 1406845"/>
                  <a:gd name="connsiteX254" fmla="*/ 764856 w 4963524"/>
                  <a:gd name="connsiteY254" fmla="*/ 721920 h 1406845"/>
                  <a:gd name="connsiteX255" fmla="*/ 766767 w 4963524"/>
                  <a:gd name="connsiteY255" fmla="*/ 726997 h 1406845"/>
                  <a:gd name="connsiteX256" fmla="*/ 767882 w 4963524"/>
                  <a:gd name="connsiteY256" fmla="*/ 728085 h 1406845"/>
                  <a:gd name="connsiteX257" fmla="*/ 767882 w 4963524"/>
                  <a:gd name="connsiteY257" fmla="*/ 777591 h 1406845"/>
                  <a:gd name="connsiteX258" fmla="*/ 769793 w 4963524"/>
                  <a:gd name="connsiteY258" fmla="*/ 782669 h 1406845"/>
                  <a:gd name="connsiteX259" fmla="*/ 774252 w 4963524"/>
                  <a:gd name="connsiteY259" fmla="*/ 784845 h 1406845"/>
                  <a:gd name="connsiteX260" fmla="*/ 845594 w 4963524"/>
                  <a:gd name="connsiteY260" fmla="*/ 784845 h 1406845"/>
                  <a:gd name="connsiteX261" fmla="*/ 845594 w 4963524"/>
                  <a:gd name="connsiteY261" fmla="*/ 796995 h 1406845"/>
                  <a:gd name="connsiteX262" fmla="*/ 847505 w 4963524"/>
                  <a:gd name="connsiteY262" fmla="*/ 802073 h 1406845"/>
                  <a:gd name="connsiteX263" fmla="*/ 851964 w 4963524"/>
                  <a:gd name="connsiteY263" fmla="*/ 804249 h 1406845"/>
                  <a:gd name="connsiteX264" fmla="*/ 857537 w 4963524"/>
                  <a:gd name="connsiteY264" fmla="*/ 804249 h 1406845"/>
                  <a:gd name="connsiteX265" fmla="*/ 857537 w 4963524"/>
                  <a:gd name="connsiteY265" fmla="*/ 816036 h 1406845"/>
                  <a:gd name="connsiteX266" fmla="*/ 859448 w 4963524"/>
                  <a:gd name="connsiteY266" fmla="*/ 821113 h 1406845"/>
                  <a:gd name="connsiteX267" fmla="*/ 863907 w 4963524"/>
                  <a:gd name="connsiteY267" fmla="*/ 823289 h 1406845"/>
                  <a:gd name="connsiteX268" fmla="*/ 878558 w 4963524"/>
                  <a:gd name="connsiteY268" fmla="*/ 823289 h 1406845"/>
                  <a:gd name="connsiteX269" fmla="*/ 878558 w 4963524"/>
                  <a:gd name="connsiteY269" fmla="*/ 832175 h 1406845"/>
                  <a:gd name="connsiteX270" fmla="*/ 880469 w 4963524"/>
                  <a:gd name="connsiteY270" fmla="*/ 837253 h 1406845"/>
                  <a:gd name="connsiteX271" fmla="*/ 884927 w 4963524"/>
                  <a:gd name="connsiteY271" fmla="*/ 839429 h 1406845"/>
                  <a:gd name="connsiteX272" fmla="*/ 935408 w 4963524"/>
                  <a:gd name="connsiteY272" fmla="*/ 839429 h 1406845"/>
                  <a:gd name="connsiteX273" fmla="*/ 935408 w 4963524"/>
                  <a:gd name="connsiteY273" fmla="*/ 851397 h 1406845"/>
                  <a:gd name="connsiteX274" fmla="*/ 937319 w 4963524"/>
                  <a:gd name="connsiteY274" fmla="*/ 856475 h 1406845"/>
                  <a:gd name="connsiteX275" fmla="*/ 938434 w 4963524"/>
                  <a:gd name="connsiteY275" fmla="*/ 857563 h 1406845"/>
                  <a:gd name="connsiteX276" fmla="*/ 938434 w 4963524"/>
                  <a:gd name="connsiteY276" fmla="*/ 869350 h 1406845"/>
                  <a:gd name="connsiteX277" fmla="*/ 940345 w 4963524"/>
                  <a:gd name="connsiteY277" fmla="*/ 874428 h 1406845"/>
                  <a:gd name="connsiteX278" fmla="*/ 944804 w 4963524"/>
                  <a:gd name="connsiteY278" fmla="*/ 876604 h 1406845"/>
                  <a:gd name="connsiteX279" fmla="*/ 977290 w 4963524"/>
                  <a:gd name="connsiteY279" fmla="*/ 876604 h 1406845"/>
                  <a:gd name="connsiteX280" fmla="*/ 977290 w 4963524"/>
                  <a:gd name="connsiteY280" fmla="*/ 890204 h 1406845"/>
                  <a:gd name="connsiteX281" fmla="*/ 979201 w 4963524"/>
                  <a:gd name="connsiteY281" fmla="*/ 895282 h 1406845"/>
                  <a:gd name="connsiteX282" fmla="*/ 983660 w 4963524"/>
                  <a:gd name="connsiteY282" fmla="*/ 897458 h 1406845"/>
                  <a:gd name="connsiteX283" fmla="*/ 998310 w 4963524"/>
                  <a:gd name="connsiteY283" fmla="*/ 897458 h 1406845"/>
                  <a:gd name="connsiteX284" fmla="*/ 998310 w 4963524"/>
                  <a:gd name="connsiteY284" fmla="*/ 908520 h 1406845"/>
                  <a:gd name="connsiteX285" fmla="*/ 1000221 w 4963524"/>
                  <a:gd name="connsiteY285" fmla="*/ 913597 h 1406845"/>
                  <a:gd name="connsiteX286" fmla="*/ 1004680 w 4963524"/>
                  <a:gd name="connsiteY286" fmla="*/ 915774 h 1406845"/>
                  <a:gd name="connsiteX287" fmla="*/ 1088125 w 4963524"/>
                  <a:gd name="connsiteY287" fmla="*/ 915774 h 1406845"/>
                  <a:gd name="connsiteX288" fmla="*/ 1088125 w 4963524"/>
                  <a:gd name="connsiteY288" fmla="*/ 928105 h 1406845"/>
                  <a:gd name="connsiteX289" fmla="*/ 1090036 w 4963524"/>
                  <a:gd name="connsiteY289" fmla="*/ 933182 h 1406845"/>
                  <a:gd name="connsiteX290" fmla="*/ 1094495 w 4963524"/>
                  <a:gd name="connsiteY290" fmla="*/ 935358 h 1406845"/>
                  <a:gd name="connsiteX291" fmla="*/ 1133032 w 4963524"/>
                  <a:gd name="connsiteY291" fmla="*/ 935358 h 1406845"/>
                  <a:gd name="connsiteX292" fmla="*/ 1133032 w 4963524"/>
                  <a:gd name="connsiteY292" fmla="*/ 945876 h 1406845"/>
                  <a:gd name="connsiteX293" fmla="*/ 1134943 w 4963524"/>
                  <a:gd name="connsiteY293" fmla="*/ 950954 h 1406845"/>
                  <a:gd name="connsiteX294" fmla="*/ 1139402 w 4963524"/>
                  <a:gd name="connsiteY294" fmla="*/ 953130 h 1406845"/>
                  <a:gd name="connsiteX295" fmla="*/ 1249759 w 4963524"/>
                  <a:gd name="connsiteY295" fmla="*/ 953130 h 1406845"/>
                  <a:gd name="connsiteX296" fmla="*/ 1249759 w 4963524"/>
                  <a:gd name="connsiteY296" fmla="*/ 966730 h 1406845"/>
                  <a:gd name="connsiteX297" fmla="*/ 1251670 w 4963524"/>
                  <a:gd name="connsiteY297" fmla="*/ 971808 h 1406845"/>
                  <a:gd name="connsiteX298" fmla="*/ 1256129 w 4963524"/>
                  <a:gd name="connsiteY298" fmla="*/ 973984 h 1406845"/>
                  <a:gd name="connsiteX299" fmla="*/ 1321579 w 4963524"/>
                  <a:gd name="connsiteY299" fmla="*/ 973984 h 1406845"/>
                  <a:gd name="connsiteX300" fmla="*/ 1321579 w 4963524"/>
                  <a:gd name="connsiteY300" fmla="*/ 984865 h 1406845"/>
                  <a:gd name="connsiteX301" fmla="*/ 1323490 w 4963524"/>
                  <a:gd name="connsiteY301" fmla="*/ 989942 h 1406845"/>
                  <a:gd name="connsiteX302" fmla="*/ 1327949 w 4963524"/>
                  <a:gd name="connsiteY302" fmla="*/ 992118 h 1406845"/>
                  <a:gd name="connsiteX303" fmla="*/ 1390373 w 4963524"/>
                  <a:gd name="connsiteY303" fmla="*/ 992118 h 1406845"/>
                  <a:gd name="connsiteX304" fmla="*/ 1390373 w 4963524"/>
                  <a:gd name="connsiteY304" fmla="*/ 1008076 h 1406845"/>
                  <a:gd name="connsiteX305" fmla="*/ 1392284 w 4963524"/>
                  <a:gd name="connsiteY305" fmla="*/ 1013154 h 1406845"/>
                  <a:gd name="connsiteX306" fmla="*/ 1396743 w 4963524"/>
                  <a:gd name="connsiteY306" fmla="*/ 1015330 h 1406845"/>
                  <a:gd name="connsiteX307" fmla="*/ 1468085 w 4963524"/>
                  <a:gd name="connsiteY307" fmla="*/ 1015330 h 1406845"/>
                  <a:gd name="connsiteX308" fmla="*/ 1468085 w 4963524"/>
                  <a:gd name="connsiteY308" fmla="*/ 1023853 h 1406845"/>
                  <a:gd name="connsiteX309" fmla="*/ 1469996 w 4963524"/>
                  <a:gd name="connsiteY309" fmla="*/ 1028930 h 1406845"/>
                  <a:gd name="connsiteX310" fmla="*/ 1474455 w 4963524"/>
                  <a:gd name="connsiteY310" fmla="*/ 1031107 h 1406845"/>
                  <a:gd name="connsiteX311" fmla="*/ 1587678 w 4963524"/>
                  <a:gd name="connsiteY311" fmla="*/ 1031107 h 1406845"/>
                  <a:gd name="connsiteX312" fmla="*/ 1587678 w 4963524"/>
                  <a:gd name="connsiteY312" fmla="*/ 1042168 h 1406845"/>
                  <a:gd name="connsiteX313" fmla="*/ 1589589 w 4963524"/>
                  <a:gd name="connsiteY313" fmla="*/ 1047246 h 1406845"/>
                  <a:gd name="connsiteX314" fmla="*/ 1594048 w 4963524"/>
                  <a:gd name="connsiteY314" fmla="*/ 1049422 h 1406845"/>
                  <a:gd name="connsiteX315" fmla="*/ 1602647 w 4963524"/>
                  <a:gd name="connsiteY315" fmla="*/ 1049422 h 1406845"/>
                  <a:gd name="connsiteX316" fmla="*/ 1602647 w 4963524"/>
                  <a:gd name="connsiteY316" fmla="*/ 1058852 h 1406845"/>
                  <a:gd name="connsiteX317" fmla="*/ 1604558 w 4963524"/>
                  <a:gd name="connsiteY317" fmla="*/ 1063929 h 1406845"/>
                  <a:gd name="connsiteX318" fmla="*/ 1609017 w 4963524"/>
                  <a:gd name="connsiteY318" fmla="*/ 1066105 h 1406845"/>
                  <a:gd name="connsiteX319" fmla="*/ 1626534 w 4963524"/>
                  <a:gd name="connsiteY319" fmla="*/ 1066105 h 1406845"/>
                  <a:gd name="connsiteX320" fmla="*/ 1626534 w 4963524"/>
                  <a:gd name="connsiteY320" fmla="*/ 1080431 h 1406845"/>
                  <a:gd name="connsiteX321" fmla="*/ 1628445 w 4963524"/>
                  <a:gd name="connsiteY321" fmla="*/ 1085509 h 1406845"/>
                  <a:gd name="connsiteX322" fmla="*/ 1632904 w 4963524"/>
                  <a:gd name="connsiteY322" fmla="*/ 1087685 h 1406845"/>
                  <a:gd name="connsiteX323" fmla="*/ 1644370 w 4963524"/>
                  <a:gd name="connsiteY323" fmla="*/ 1087685 h 1406845"/>
                  <a:gd name="connsiteX324" fmla="*/ 1644370 w 4963524"/>
                  <a:gd name="connsiteY324" fmla="*/ 1100016 h 1406845"/>
                  <a:gd name="connsiteX325" fmla="*/ 1646280 w 4963524"/>
                  <a:gd name="connsiteY325" fmla="*/ 1105094 h 1406845"/>
                  <a:gd name="connsiteX326" fmla="*/ 1650739 w 4963524"/>
                  <a:gd name="connsiteY326" fmla="*/ 1107270 h 1406845"/>
                  <a:gd name="connsiteX327" fmla="*/ 1829891 w 4963524"/>
                  <a:gd name="connsiteY327" fmla="*/ 1107270 h 1406845"/>
                  <a:gd name="connsiteX328" fmla="*/ 1829891 w 4963524"/>
                  <a:gd name="connsiteY328" fmla="*/ 1123228 h 1406845"/>
                  <a:gd name="connsiteX329" fmla="*/ 1831801 w 4963524"/>
                  <a:gd name="connsiteY329" fmla="*/ 1128305 h 1406845"/>
                  <a:gd name="connsiteX330" fmla="*/ 1836260 w 4963524"/>
                  <a:gd name="connsiteY330" fmla="*/ 1130482 h 1406845"/>
                  <a:gd name="connsiteX331" fmla="*/ 1976396 w 4963524"/>
                  <a:gd name="connsiteY331" fmla="*/ 1130482 h 1406845"/>
                  <a:gd name="connsiteX332" fmla="*/ 1976396 w 4963524"/>
                  <a:gd name="connsiteY332" fmla="*/ 1142813 h 1406845"/>
                  <a:gd name="connsiteX333" fmla="*/ 1978307 w 4963524"/>
                  <a:gd name="connsiteY333" fmla="*/ 1147890 h 1406845"/>
                  <a:gd name="connsiteX334" fmla="*/ 1982766 w 4963524"/>
                  <a:gd name="connsiteY334" fmla="*/ 1150066 h 1406845"/>
                  <a:gd name="connsiteX335" fmla="*/ 2182779 w 4963524"/>
                  <a:gd name="connsiteY335" fmla="*/ 1150066 h 1406845"/>
                  <a:gd name="connsiteX336" fmla="*/ 2182779 w 4963524"/>
                  <a:gd name="connsiteY336" fmla="*/ 1162579 h 1406845"/>
                  <a:gd name="connsiteX337" fmla="*/ 2184690 w 4963524"/>
                  <a:gd name="connsiteY337" fmla="*/ 1167657 h 1406845"/>
                  <a:gd name="connsiteX338" fmla="*/ 2189149 w 4963524"/>
                  <a:gd name="connsiteY338" fmla="*/ 1169833 h 1406845"/>
                  <a:gd name="connsiteX339" fmla="*/ 2697301 w 4963524"/>
                  <a:gd name="connsiteY339" fmla="*/ 1169833 h 1406845"/>
                  <a:gd name="connsiteX340" fmla="*/ 2697301 w 4963524"/>
                  <a:gd name="connsiteY340" fmla="*/ 1181439 h 1406845"/>
                  <a:gd name="connsiteX341" fmla="*/ 2699212 w 4963524"/>
                  <a:gd name="connsiteY341" fmla="*/ 1186516 h 1406845"/>
                  <a:gd name="connsiteX342" fmla="*/ 2703671 w 4963524"/>
                  <a:gd name="connsiteY342" fmla="*/ 1188692 h 1406845"/>
                  <a:gd name="connsiteX343" fmla="*/ 3570763 w 4963524"/>
                  <a:gd name="connsiteY343" fmla="*/ 1188692 h 1406845"/>
                  <a:gd name="connsiteX344" fmla="*/ 3570763 w 4963524"/>
                  <a:gd name="connsiteY344" fmla="*/ 1203018 h 1406845"/>
                  <a:gd name="connsiteX345" fmla="*/ 3572674 w 4963524"/>
                  <a:gd name="connsiteY345" fmla="*/ 1208096 h 1406845"/>
                  <a:gd name="connsiteX346" fmla="*/ 3577133 w 4963524"/>
                  <a:gd name="connsiteY346" fmla="*/ 1210272 h 1406845"/>
                  <a:gd name="connsiteX347" fmla="*/ 3678413 w 4963524"/>
                  <a:gd name="connsiteY347" fmla="*/ 1210272 h 1406845"/>
                  <a:gd name="connsiteX348" fmla="*/ 3678413 w 4963524"/>
                  <a:gd name="connsiteY348" fmla="*/ 1222784 h 1406845"/>
                  <a:gd name="connsiteX349" fmla="*/ 3680324 w 4963524"/>
                  <a:gd name="connsiteY349" fmla="*/ 1227862 h 1406845"/>
                  <a:gd name="connsiteX350" fmla="*/ 3684783 w 4963524"/>
                  <a:gd name="connsiteY350" fmla="*/ 1230038 h 1406845"/>
                  <a:gd name="connsiteX351" fmla="*/ 4963047 w 4963524"/>
                  <a:gd name="connsiteY351" fmla="*/ 1230038 h 1406845"/>
                  <a:gd name="connsiteX352" fmla="*/ 4963047 w 4963524"/>
                  <a:gd name="connsiteY352" fmla="*/ 1215531 h 1406845"/>
                  <a:gd name="connsiteX353" fmla="*/ 3691152 w 4963524"/>
                  <a:gd name="connsiteY353" fmla="*/ 1215531 h 1406845"/>
                  <a:gd name="connsiteX354" fmla="*/ 3691152 w 4963524"/>
                  <a:gd name="connsiteY354" fmla="*/ 1203018 h 1406845"/>
                  <a:gd name="connsiteX355" fmla="*/ 3689242 w 4963524"/>
                  <a:gd name="connsiteY355" fmla="*/ 1197941 h 1406845"/>
                  <a:gd name="connsiteX356" fmla="*/ 3684783 w 4963524"/>
                  <a:gd name="connsiteY356" fmla="*/ 1195765 h 1406845"/>
                  <a:gd name="connsiteX357" fmla="*/ 3583503 w 4963524"/>
                  <a:gd name="connsiteY357" fmla="*/ 1195765 h 1406845"/>
                  <a:gd name="connsiteX358" fmla="*/ 3583503 w 4963524"/>
                  <a:gd name="connsiteY358" fmla="*/ 1181439 h 1406845"/>
                  <a:gd name="connsiteX359" fmla="*/ 3581592 w 4963524"/>
                  <a:gd name="connsiteY359" fmla="*/ 1176361 h 1406845"/>
                  <a:gd name="connsiteX360" fmla="*/ 3577133 w 4963524"/>
                  <a:gd name="connsiteY360" fmla="*/ 1174185 h 1406845"/>
                  <a:gd name="connsiteX361" fmla="*/ 2710041 w 4963524"/>
                  <a:gd name="connsiteY361" fmla="*/ 1174185 h 1406845"/>
                  <a:gd name="connsiteX362" fmla="*/ 2710041 w 4963524"/>
                  <a:gd name="connsiteY362" fmla="*/ 1162579 h 1406845"/>
                  <a:gd name="connsiteX363" fmla="*/ 2708130 w 4963524"/>
                  <a:gd name="connsiteY363" fmla="*/ 1157502 h 1406845"/>
                  <a:gd name="connsiteX364" fmla="*/ 2703671 w 4963524"/>
                  <a:gd name="connsiteY364" fmla="*/ 1155325 h 1406845"/>
                  <a:gd name="connsiteX365" fmla="*/ 2195518 w 4963524"/>
                  <a:gd name="connsiteY365" fmla="*/ 1155325 h 1406845"/>
                  <a:gd name="connsiteX366" fmla="*/ 2195518 w 4963524"/>
                  <a:gd name="connsiteY366" fmla="*/ 1142813 h 1406845"/>
                  <a:gd name="connsiteX367" fmla="*/ 2193607 w 4963524"/>
                  <a:gd name="connsiteY367" fmla="*/ 1137735 h 1406845"/>
                  <a:gd name="connsiteX368" fmla="*/ 2189149 w 4963524"/>
                  <a:gd name="connsiteY368" fmla="*/ 1135559 h 1406845"/>
                  <a:gd name="connsiteX369" fmla="*/ 1989136 w 4963524"/>
                  <a:gd name="connsiteY369" fmla="*/ 1135559 h 1406845"/>
                  <a:gd name="connsiteX370" fmla="*/ 1989136 w 4963524"/>
                  <a:gd name="connsiteY370" fmla="*/ 1123228 h 1406845"/>
                  <a:gd name="connsiteX371" fmla="*/ 1987225 w 4963524"/>
                  <a:gd name="connsiteY371" fmla="*/ 1118150 h 1406845"/>
                  <a:gd name="connsiteX372" fmla="*/ 1982766 w 4963524"/>
                  <a:gd name="connsiteY372" fmla="*/ 1115974 h 1406845"/>
                  <a:gd name="connsiteX373" fmla="*/ 1842471 w 4963524"/>
                  <a:gd name="connsiteY373" fmla="*/ 1115974 h 1406845"/>
                  <a:gd name="connsiteX374" fmla="*/ 1842471 w 4963524"/>
                  <a:gd name="connsiteY374" fmla="*/ 1100016 h 1406845"/>
                  <a:gd name="connsiteX375" fmla="*/ 1840560 w 4963524"/>
                  <a:gd name="connsiteY375" fmla="*/ 1094939 h 1406845"/>
                  <a:gd name="connsiteX376" fmla="*/ 1836101 w 4963524"/>
                  <a:gd name="connsiteY376" fmla="*/ 1092763 h 1406845"/>
                  <a:gd name="connsiteX377" fmla="*/ 1656950 w 4963524"/>
                  <a:gd name="connsiteY377" fmla="*/ 1092763 h 1406845"/>
                  <a:gd name="connsiteX378" fmla="*/ 1656950 w 4963524"/>
                  <a:gd name="connsiteY378" fmla="*/ 1080431 h 1406845"/>
                  <a:gd name="connsiteX379" fmla="*/ 1655039 w 4963524"/>
                  <a:gd name="connsiteY379" fmla="*/ 1075354 h 1406845"/>
                  <a:gd name="connsiteX380" fmla="*/ 1650580 w 4963524"/>
                  <a:gd name="connsiteY380" fmla="*/ 1073178 h 1406845"/>
                  <a:gd name="connsiteX381" fmla="*/ 1639114 w 4963524"/>
                  <a:gd name="connsiteY381" fmla="*/ 1073178 h 1406845"/>
                  <a:gd name="connsiteX382" fmla="*/ 1639114 w 4963524"/>
                  <a:gd name="connsiteY382" fmla="*/ 1058852 h 1406845"/>
                  <a:gd name="connsiteX383" fmla="*/ 1637203 w 4963524"/>
                  <a:gd name="connsiteY383" fmla="*/ 1053774 h 1406845"/>
                  <a:gd name="connsiteX384" fmla="*/ 1632745 w 4963524"/>
                  <a:gd name="connsiteY384" fmla="*/ 1051598 h 1406845"/>
                  <a:gd name="connsiteX385" fmla="*/ 1615228 w 4963524"/>
                  <a:gd name="connsiteY385" fmla="*/ 1051598 h 1406845"/>
                  <a:gd name="connsiteX386" fmla="*/ 1615228 w 4963524"/>
                  <a:gd name="connsiteY386" fmla="*/ 1042168 h 1406845"/>
                  <a:gd name="connsiteX387" fmla="*/ 1613317 w 4963524"/>
                  <a:gd name="connsiteY387" fmla="*/ 1037091 h 1406845"/>
                  <a:gd name="connsiteX388" fmla="*/ 1608858 w 4963524"/>
                  <a:gd name="connsiteY388" fmla="*/ 1034915 h 1406845"/>
                  <a:gd name="connsiteX389" fmla="*/ 1600258 w 4963524"/>
                  <a:gd name="connsiteY389" fmla="*/ 1034915 h 1406845"/>
                  <a:gd name="connsiteX390" fmla="*/ 1600258 w 4963524"/>
                  <a:gd name="connsiteY390" fmla="*/ 1023853 h 1406845"/>
                  <a:gd name="connsiteX391" fmla="*/ 1598348 w 4963524"/>
                  <a:gd name="connsiteY391" fmla="*/ 1018775 h 1406845"/>
                  <a:gd name="connsiteX392" fmla="*/ 1593889 w 4963524"/>
                  <a:gd name="connsiteY392" fmla="*/ 1016599 h 1406845"/>
                  <a:gd name="connsiteX393" fmla="*/ 1480665 w 4963524"/>
                  <a:gd name="connsiteY393" fmla="*/ 1016599 h 1406845"/>
                  <a:gd name="connsiteX394" fmla="*/ 1480665 w 4963524"/>
                  <a:gd name="connsiteY394" fmla="*/ 1008076 h 1406845"/>
                  <a:gd name="connsiteX395" fmla="*/ 1478754 w 4963524"/>
                  <a:gd name="connsiteY395" fmla="*/ 1002999 h 1406845"/>
                  <a:gd name="connsiteX396" fmla="*/ 1474295 w 4963524"/>
                  <a:gd name="connsiteY396" fmla="*/ 1000823 h 1406845"/>
                  <a:gd name="connsiteX397" fmla="*/ 1402953 w 4963524"/>
                  <a:gd name="connsiteY397" fmla="*/ 1000823 h 1406845"/>
                  <a:gd name="connsiteX398" fmla="*/ 1402953 w 4963524"/>
                  <a:gd name="connsiteY398" fmla="*/ 984865 h 1406845"/>
                  <a:gd name="connsiteX399" fmla="*/ 1401042 w 4963524"/>
                  <a:gd name="connsiteY399" fmla="*/ 979787 h 1406845"/>
                  <a:gd name="connsiteX400" fmla="*/ 1396583 w 4963524"/>
                  <a:gd name="connsiteY400" fmla="*/ 977611 h 1406845"/>
                  <a:gd name="connsiteX401" fmla="*/ 1334159 w 4963524"/>
                  <a:gd name="connsiteY401" fmla="*/ 977611 h 1406845"/>
                  <a:gd name="connsiteX402" fmla="*/ 1334159 w 4963524"/>
                  <a:gd name="connsiteY402" fmla="*/ 966730 h 1406845"/>
                  <a:gd name="connsiteX403" fmla="*/ 1332248 w 4963524"/>
                  <a:gd name="connsiteY403" fmla="*/ 961653 h 1406845"/>
                  <a:gd name="connsiteX404" fmla="*/ 1327789 w 4963524"/>
                  <a:gd name="connsiteY404" fmla="*/ 959477 h 1406845"/>
                  <a:gd name="connsiteX405" fmla="*/ 1262340 w 4963524"/>
                  <a:gd name="connsiteY405" fmla="*/ 959477 h 1406845"/>
                  <a:gd name="connsiteX406" fmla="*/ 1262340 w 4963524"/>
                  <a:gd name="connsiteY406" fmla="*/ 945876 h 1406845"/>
                  <a:gd name="connsiteX407" fmla="*/ 1260429 w 4963524"/>
                  <a:gd name="connsiteY407" fmla="*/ 940799 h 1406845"/>
                  <a:gd name="connsiteX408" fmla="*/ 1255970 w 4963524"/>
                  <a:gd name="connsiteY408" fmla="*/ 938622 h 1406845"/>
                  <a:gd name="connsiteX409" fmla="*/ 1145613 w 4963524"/>
                  <a:gd name="connsiteY409" fmla="*/ 938622 h 1406845"/>
                  <a:gd name="connsiteX410" fmla="*/ 1145613 w 4963524"/>
                  <a:gd name="connsiteY410" fmla="*/ 928105 h 1406845"/>
                  <a:gd name="connsiteX411" fmla="*/ 1143702 w 4963524"/>
                  <a:gd name="connsiteY411" fmla="*/ 923027 h 1406845"/>
                  <a:gd name="connsiteX412" fmla="*/ 1139243 w 4963524"/>
                  <a:gd name="connsiteY412" fmla="*/ 920851 h 1406845"/>
                  <a:gd name="connsiteX413" fmla="*/ 1100705 w 4963524"/>
                  <a:gd name="connsiteY413" fmla="*/ 920851 h 1406845"/>
                  <a:gd name="connsiteX414" fmla="*/ 1100705 w 4963524"/>
                  <a:gd name="connsiteY414" fmla="*/ 908520 h 1406845"/>
                  <a:gd name="connsiteX415" fmla="*/ 1098794 w 4963524"/>
                  <a:gd name="connsiteY415" fmla="*/ 903442 h 1406845"/>
                  <a:gd name="connsiteX416" fmla="*/ 1094335 w 4963524"/>
                  <a:gd name="connsiteY416" fmla="*/ 901266 h 1406845"/>
                  <a:gd name="connsiteX417" fmla="*/ 1010891 w 4963524"/>
                  <a:gd name="connsiteY417" fmla="*/ 901266 h 1406845"/>
                  <a:gd name="connsiteX418" fmla="*/ 1010891 w 4963524"/>
                  <a:gd name="connsiteY418" fmla="*/ 890204 h 1406845"/>
                  <a:gd name="connsiteX419" fmla="*/ 1008980 w 4963524"/>
                  <a:gd name="connsiteY419" fmla="*/ 885127 h 1406845"/>
                  <a:gd name="connsiteX420" fmla="*/ 1004521 w 4963524"/>
                  <a:gd name="connsiteY420" fmla="*/ 882951 h 1406845"/>
                  <a:gd name="connsiteX421" fmla="*/ 990030 w 4963524"/>
                  <a:gd name="connsiteY421" fmla="*/ 882951 h 1406845"/>
                  <a:gd name="connsiteX422" fmla="*/ 990030 w 4963524"/>
                  <a:gd name="connsiteY422" fmla="*/ 869350 h 1406845"/>
                  <a:gd name="connsiteX423" fmla="*/ 988119 w 4963524"/>
                  <a:gd name="connsiteY423" fmla="*/ 864273 h 1406845"/>
                  <a:gd name="connsiteX424" fmla="*/ 983660 w 4963524"/>
                  <a:gd name="connsiteY424" fmla="*/ 862097 h 1406845"/>
                  <a:gd name="connsiteX425" fmla="*/ 951174 w 4963524"/>
                  <a:gd name="connsiteY425" fmla="*/ 862097 h 1406845"/>
                  <a:gd name="connsiteX426" fmla="*/ 951174 w 4963524"/>
                  <a:gd name="connsiteY426" fmla="*/ 851397 h 1406845"/>
                  <a:gd name="connsiteX427" fmla="*/ 949263 w 4963524"/>
                  <a:gd name="connsiteY427" fmla="*/ 846320 h 1406845"/>
                  <a:gd name="connsiteX428" fmla="*/ 948148 w 4963524"/>
                  <a:gd name="connsiteY428" fmla="*/ 845232 h 1406845"/>
                  <a:gd name="connsiteX429" fmla="*/ 948148 w 4963524"/>
                  <a:gd name="connsiteY429" fmla="*/ 831994 h 1406845"/>
                  <a:gd name="connsiteX430" fmla="*/ 946237 w 4963524"/>
                  <a:gd name="connsiteY430" fmla="*/ 826916 h 1406845"/>
                  <a:gd name="connsiteX431" fmla="*/ 941778 w 4963524"/>
                  <a:gd name="connsiteY431" fmla="*/ 824740 h 1406845"/>
                  <a:gd name="connsiteX432" fmla="*/ 891297 w 4963524"/>
                  <a:gd name="connsiteY432" fmla="*/ 824740 h 1406845"/>
                  <a:gd name="connsiteX433" fmla="*/ 891297 w 4963524"/>
                  <a:gd name="connsiteY433" fmla="*/ 815854 h 1406845"/>
                  <a:gd name="connsiteX434" fmla="*/ 889386 w 4963524"/>
                  <a:gd name="connsiteY434" fmla="*/ 810777 h 1406845"/>
                  <a:gd name="connsiteX435" fmla="*/ 884927 w 4963524"/>
                  <a:gd name="connsiteY435" fmla="*/ 808601 h 1406845"/>
                  <a:gd name="connsiteX436" fmla="*/ 870277 w 4963524"/>
                  <a:gd name="connsiteY436" fmla="*/ 808601 h 1406845"/>
                  <a:gd name="connsiteX437" fmla="*/ 870277 w 4963524"/>
                  <a:gd name="connsiteY437" fmla="*/ 796814 h 1406845"/>
                  <a:gd name="connsiteX438" fmla="*/ 868366 w 4963524"/>
                  <a:gd name="connsiteY438" fmla="*/ 791736 h 1406845"/>
                  <a:gd name="connsiteX439" fmla="*/ 863907 w 4963524"/>
                  <a:gd name="connsiteY439" fmla="*/ 789560 h 1406845"/>
                  <a:gd name="connsiteX440" fmla="*/ 858334 w 4963524"/>
                  <a:gd name="connsiteY440" fmla="*/ 789560 h 1406845"/>
                  <a:gd name="connsiteX441" fmla="*/ 858334 w 4963524"/>
                  <a:gd name="connsiteY441" fmla="*/ 777410 h 1406845"/>
                  <a:gd name="connsiteX442" fmla="*/ 856423 w 4963524"/>
                  <a:gd name="connsiteY442" fmla="*/ 772333 h 1406845"/>
                  <a:gd name="connsiteX443" fmla="*/ 851964 w 4963524"/>
                  <a:gd name="connsiteY443" fmla="*/ 770156 h 1406845"/>
                  <a:gd name="connsiteX444" fmla="*/ 780622 w 4963524"/>
                  <a:gd name="connsiteY444" fmla="*/ 770156 h 1406845"/>
                  <a:gd name="connsiteX445" fmla="*/ 780622 w 4963524"/>
                  <a:gd name="connsiteY445" fmla="*/ 721738 h 1406845"/>
                  <a:gd name="connsiteX446" fmla="*/ 778711 w 4963524"/>
                  <a:gd name="connsiteY446" fmla="*/ 716661 h 1406845"/>
                  <a:gd name="connsiteX447" fmla="*/ 777596 w 4963524"/>
                  <a:gd name="connsiteY447" fmla="*/ 715573 h 1406845"/>
                  <a:gd name="connsiteX448" fmla="*/ 777596 w 4963524"/>
                  <a:gd name="connsiteY448" fmla="*/ 701428 h 1406845"/>
                  <a:gd name="connsiteX449" fmla="*/ 775685 w 4963524"/>
                  <a:gd name="connsiteY449" fmla="*/ 696351 h 1406845"/>
                  <a:gd name="connsiteX450" fmla="*/ 771226 w 4963524"/>
                  <a:gd name="connsiteY450" fmla="*/ 694174 h 1406845"/>
                  <a:gd name="connsiteX451" fmla="*/ 714853 w 4963524"/>
                  <a:gd name="connsiteY451" fmla="*/ 694174 h 1406845"/>
                  <a:gd name="connsiteX452" fmla="*/ 714853 w 4963524"/>
                  <a:gd name="connsiteY452" fmla="*/ 684019 h 1406845"/>
                  <a:gd name="connsiteX453" fmla="*/ 712942 w 4963524"/>
                  <a:gd name="connsiteY453" fmla="*/ 678942 h 1406845"/>
                  <a:gd name="connsiteX454" fmla="*/ 708483 w 4963524"/>
                  <a:gd name="connsiteY454" fmla="*/ 676766 h 1406845"/>
                  <a:gd name="connsiteX455" fmla="*/ 690966 w 4963524"/>
                  <a:gd name="connsiteY455" fmla="*/ 676766 h 1406845"/>
                  <a:gd name="connsiteX456" fmla="*/ 690966 w 4963524"/>
                  <a:gd name="connsiteY456" fmla="*/ 665523 h 1406845"/>
                  <a:gd name="connsiteX457" fmla="*/ 689055 w 4963524"/>
                  <a:gd name="connsiteY457" fmla="*/ 660445 h 1406845"/>
                  <a:gd name="connsiteX458" fmla="*/ 684597 w 4963524"/>
                  <a:gd name="connsiteY458" fmla="*/ 658269 h 1406845"/>
                  <a:gd name="connsiteX459" fmla="*/ 664054 w 4963524"/>
                  <a:gd name="connsiteY459" fmla="*/ 658269 h 1406845"/>
                  <a:gd name="connsiteX460" fmla="*/ 664054 w 4963524"/>
                  <a:gd name="connsiteY460" fmla="*/ 649746 h 1406845"/>
                  <a:gd name="connsiteX461" fmla="*/ 662143 w 4963524"/>
                  <a:gd name="connsiteY461" fmla="*/ 644668 h 1406845"/>
                  <a:gd name="connsiteX462" fmla="*/ 657684 w 4963524"/>
                  <a:gd name="connsiteY462" fmla="*/ 642492 h 1406845"/>
                  <a:gd name="connsiteX463" fmla="*/ 652111 w 4963524"/>
                  <a:gd name="connsiteY463" fmla="*/ 642492 h 1406845"/>
                  <a:gd name="connsiteX464" fmla="*/ 652111 w 4963524"/>
                  <a:gd name="connsiteY464" fmla="*/ 630161 h 1406845"/>
                  <a:gd name="connsiteX465" fmla="*/ 650200 w 4963524"/>
                  <a:gd name="connsiteY465" fmla="*/ 625083 h 1406845"/>
                  <a:gd name="connsiteX466" fmla="*/ 649085 w 4963524"/>
                  <a:gd name="connsiteY466" fmla="*/ 623995 h 1406845"/>
                  <a:gd name="connsiteX467" fmla="*/ 649085 w 4963524"/>
                  <a:gd name="connsiteY467" fmla="*/ 610939 h 1406845"/>
                  <a:gd name="connsiteX468" fmla="*/ 647174 w 4963524"/>
                  <a:gd name="connsiteY468" fmla="*/ 605861 h 1406845"/>
                  <a:gd name="connsiteX469" fmla="*/ 646059 w 4963524"/>
                  <a:gd name="connsiteY469" fmla="*/ 604773 h 1406845"/>
                  <a:gd name="connsiteX470" fmla="*/ 646059 w 4963524"/>
                  <a:gd name="connsiteY470" fmla="*/ 593167 h 1406845"/>
                  <a:gd name="connsiteX471" fmla="*/ 644148 w 4963524"/>
                  <a:gd name="connsiteY471" fmla="*/ 588090 h 1406845"/>
                  <a:gd name="connsiteX472" fmla="*/ 639689 w 4963524"/>
                  <a:gd name="connsiteY472" fmla="*/ 585914 h 1406845"/>
                  <a:gd name="connsiteX473" fmla="*/ 610070 w 4963524"/>
                  <a:gd name="connsiteY473" fmla="*/ 585914 h 1406845"/>
                  <a:gd name="connsiteX474" fmla="*/ 610070 w 4963524"/>
                  <a:gd name="connsiteY474" fmla="*/ 575396 h 1406845"/>
                  <a:gd name="connsiteX475" fmla="*/ 608159 w 4963524"/>
                  <a:gd name="connsiteY475" fmla="*/ 570318 h 1406845"/>
                  <a:gd name="connsiteX476" fmla="*/ 603700 w 4963524"/>
                  <a:gd name="connsiteY476" fmla="*/ 568142 h 1406845"/>
                  <a:gd name="connsiteX477" fmla="*/ 598126 w 4963524"/>
                  <a:gd name="connsiteY477" fmla="*/ 568142 h 1406845"/>
                  <a:gd name="connsiteX478" fmla="*/ 598126 w 4963524"/>
                  <a:gd name="connsiteY478" fmla="*/ 559257 h 1406845"/>
                  <a:gd name="connsiteX479" fmla="*/ 596215 w 4963524"/>
                  <a:gd name="connsiteY479" fmla="*/ 554179 h 1406845"/>
                  <a:gd name="connsiteX480" fmla="*/ 591756 w 4963524"/>
                  <a:gd name="connsiteY480" fmla="*/ 552003 h 1406845"/>
                  <a:gd name="connsiteX481" fmla="*/ 589209 w 4963524"/>
                  <a:gd name="connsiteY481" fmla="*/ 552003 h 1406845"/>
                  <a:gd name="connsiteX482" fmla="*/ 589209 w 4963524"/>
                  <a:gd name="connsiteY482" fmla="*/ 541485 h 1406845"/>
                  <a:gd name="connsiteX483" fmla="*/ 587298 w 4963524"/>
                  <a:gd name="connsiteY483" fmla="*/ 536408 h 1406845"/>
                  <a:gd name="connsiteX484" fmla="*/ 582839 w 4963524"/>
                  <a:gd name="connsiteY484" fmla="*/ 534231 h 1406845"/>
                  <a:gd name="connsiteX485" fmla="*/ 556245 w 4963524"/>
                  <a:gd name="connsiteY485" fmla="*/ 534231 h 1406845"/>
                  <a:gd name="connsiteX486" fmla="*/ 556245 w 4963524"/>
                  <a:gd name="connsiteY486" fmla="*/ 524439 h 1406845"/>
                  <a:gd name="connsiteX487" fmla="*/ 554334 w 4963524"/>
                  <a:gd name="connsiteY487" fmla="*/ 519361 h 1406845"/>
                  <a:gd name="connsiteX488" fmla="*/ 553219 w 4963524"/>
                  <a:gd name="connsiteY488" fmla="*/ 518273 h 1406845"/>
                  <a:gd name="connsiteX489" fmla="*/ 553219 w 4963524"/>
                  <a:gd name="connsiteY489" fmla="*/ 508118 h 1406845"/>
                  <a:gd name="connsiteX490" fmla="*/ 551308 w 4963524"/>
                  <a:gd name="connsiteY490" fmla="*/ 503041 h 1406845"/>
                  <a:gd name="connsiteX491" fmla="*/ 546849 w 4963524"/>
                  <a:gd name="connsiteY491" fmla="*/ 500865 h 1406845"/>
                  <a:gd name="connsiteX492" fmla="*/ 514363 w 4963524"/>
                  <a:gd name="connsiteY492" fmla="*/ 500865 h 1406845"/>
                  <a:gd name="connsiteX493" fmla="*/ 514363 w 4963524"/>
                  <a:gd name="connsiteY493" fmla="*/ 490347 h 1406845"/>
                  <a:gd name="connsiteX494" fmla="*/ 512452 w 4963524"/>
                  <a:gd name="connsiteY494" fmla="*/ 485269 h 1406845"/>
                  <a:gd name="connsiteX495" fmla="*/ 508312 w 4963524"/>
                  <a:gd name="connsiteY495" fmla="*/ 483093 h 1406845"/>
                  <a:gd name="connsiteX496" fmla="*/ 508312 w 4963524"/>
                  <a:gd name="connsiteY496" fmla="*/ 466228 h 1406845"/>
                  <a:gd name="connsiteX497" fmla="*/ 506401 w 4963524"/>
                  <a:gd name="connsiteY497" fmla="*/ 461151 h 1406845"/>
                  <a:gd name="connsiteX498" fmla="*/ 505286 w 4963524"/>
                  <a:gd name="connsiteY498" fmla="*/ 460063 h 1406845"/>
                  <a:gd name="connsiteX499" fmla="*/ 505286 w 4963524"/>
                  <a:gd name="connsiteY499" fmla="*/ 446644 h 1406845"/>
                  <a:gd name="connsiteX500" fmla="*/ 503375 w 4963524"/>
                  <a:gd name="connsiteY500" fmla="*/ 441566 h 1406845"/>
                  <a:gd name="connsiteX501" fmla="*/ 498916 w 4963524"/>
                  <a:gd name="connsiteY501" fmla="*/ 439390 h 1406845"/>
                  <a:gd name="connsiteX502" fmla="*/ 487291 w 4963524"/>
                  <a:gd name="connsiteY502" fmla="*/ 439390 h 1406845"/>
                  <a:gd name="connsiteX503" fmla="*/ 487291 w 4963524"/>
                  <a:gd name="connsiteY503" fmla="*/ 424883 h 1406845"/>
                  <a:gd name="connsiteX504" fmla="*/ 485380 w 4963524"/>
                  <a:gd name="connsiteY504" fmla="*/ 419805 h 1406845"/>
                  <a:gd name="connsiteX505" fmla="*/ 484266 w 4963524"/>
                  <a:gd name="connsiteY505" fmla="*/ 418717 h 1406845"/>
                  <a:gd name="connsiteX506" fmla="*/ 484266 w 4963524"/>
                  <a:gd name="connsiteY506" fmla="*/ 403484 h 1406845"/>
                  <a:gd name="connsiteX507" fmla="*/ 482355 w 4963524"/>
                  <a:gd name="connsiteY507" fmla="*/ 398407 h 1406845"/>
                  <a:gd name="connsiteX508" fmla="*/ 478214 w 4963524"/>
                  <a:gd name="connsiteY508" fmla="*/ 396231 h 1406845"/>
                  <a:gd name="connsiteX509" fmla="*/ 478214 w 4963524"/>
                  <a:gd name="connsiteY509" fmla="*/ 384444 h 1406845"/>
                  <a:gd name="connsiteX510" fmla="*/ 476303 w 4963524"/>
                  <a:gd name="connsiteY510" fmla="*/ 379366 h 1406845"/>
                  <a:gd name="connsiteX511" fmla="*/ 471845 w 4963524"/>
                  <a:gd name="connsiteY511" fmla="*/ 377190 h 1406845"/>
                  <a:gd name="connsiteX512" fmla="*/ 421364 w 4963524"/>
                  <a:gd name="connsiteY512" fmla="*/ 377190 h 1406845"/>
                  <a:gd name="connsiteX513" fmla="*/ 421364 w 4963524"/>
                  <a:gd name="connsiteY513" fmla="*/ 364133 h 1406845"/>
                  <a:gd name="connsiteX514" fmla="*/ 419453 w 4963524"/>
                  <a:gd name="connsiteY514" fmla="*/ 359056 h 1406845"/>
                  <a:gd name="connsiteX515" fmla="*/ 418338 w 4963524"/>
                  <a:gd name="connsiteY515" fmla="*/ 357968 h 1406845"/>
                  <a:gd name="connsiteX516" fmla="*/ 418338 w 4963524"/>
                  <a:gd name="connsiteY516" fmla="*/ 342372 h 1406845"/>
                  <a:gd name="connsiteX517" fmla="*/ 416427 w 4963524"/>
                  <a:gd name="connsiteY517" fmla="*/ 337295 h 1406845"/>
                  <a:gd name="connsiteX518" fmla="*/ 412287 w 4963524"/>
                  <a:gd name="connsiteY518" fmla="*/ 335119 h 1406845"/>
                  <a:gd name="connsiteX519" fmla="*/ 412287 w 4963524"/>
                  <a:gd name="connsiteY519" fmla="*/ 322969 h 1406845"/>
                  <a:gd name="connsiteX520" fmla="*/ 410376 w 4963524"/>
                  <a:gd name="connsiteY520" fmla="*/ 317891 h 1406845"/>
                  <a:gd name="connsiteX521" fmla="*/ 405917 w 4963524"/>
                  <a:gd name="connsiteY521" fmla="*/ 315715 h 1406845"/>
                  <a:gd name="connsiteX522" fmla="*/ 382349 w 4963524"/>
                  <a:gd name="connsiteY522" fmla="*/ 315715 h 1406845"/>
                  <a:gd name="connsiteX523" fmla="*/ 382349 w 4963524"/>
                  <a:gd name="connsiteY523" fmla="*/ 299213 h 1406845"/>
                  <a:gd name="connsiteX524" fmla="*/ 380438 w 4963524"/>
                  <a:gd name="connsiteY524" fmla="*/ 294136 h 1406845"/>
                  <a:gd name="connsiteX525" fmla="*/ 375979 w 4963524"/>
                  <a:gd name="connsiteY525" fmla="*/ 291959 h 1406845"/>
                  <a:gd name="connsiteX526" fmla="*/ 370405 w 4963524"/>
                  <a:gd name="connsiteY526" fmla="*/ 291959 h 1406845"/>
                  <a:gd name="connsiteX527" fmla="*/ 370405 w 4963524"/>
                  <a:gd name="connsiteY527" fmla="*/ 280172 h 1406845"/>
                  <a:gd name="connsiteX528" fmla="*/ 368494 w 4963524"/>
                  <a:gd name="connsiteY528" fmla="*/ 275095 h 1406845"/>
                  <a:gd name="connsiteX529" fmla="*/ 364035 w 4963524"/>
                  <a:gd name="connsiteY529" fmla="*/ 272919 h 1406845"/>
                  <a:gd name="connsiteX530" fmla="*/ 328524 w 4963524"/>
                  <a:gd name="connsiteY530" fmla="*/ 272919 h 1406845"/>
                  <a:gd name="connsiteX531" fmla="*/ 328524 w 4963524"/>
                  <a:gd name="connsiteY531" fmla="*/ 262582 h 1406845"/>
                  <a:gd name="connsiteX532" fmla="*/ 326613 w 4963524"/>
                  <a:gd name="connsiteY532" fmla="*/ 257505 h 1406845"/>
                  <a:gd name="connsiteX533" fmla="*/ 322472 w 4963524"/>
                  <a:gd name="connsiteY533" fmla="*/ 255329 h 1406845"/>
                  <a:gd name="connsiteX534" fmla="*/ 322472 w 4963524"/>
                  <a:gd name="connsiteY534" fmla="*/ 242997 h 1406845"/>
                  <a:gd name="connsiteX535" fmla="*/ 320561 w 4963524"/>
                  <a:gd name="connsiteY535" fmla="*/ 237920 h 1406845"/>
                  <a:gd name="connsiteX536" fmla="*/ 316102 w 4963524"/>
                  <a:gd name="connsiteY536" fmla="*/ 235744 h 1406845"/>
                  <a:gd name="connsiteX537" fmla="*/ 289668 w 4963524"/>
                  <a:gd name="connsiteY537" fmla="*/ 235744 h 1406845"/>
                  <a:gd name="connsiteX538" fmla="*/ 289668 w 4963524"/>
                  <a:gd name="connsiteY538" fmla="*/ 223956 h 1406845"/>
                  <a:gd name="connsiteX539" fmla="*/ 287757 w 4963524"/>
                  <a:gd name="connsiteY539" fmla="*/ 218879 h 1406845"/>
                  <a:gd name="connsiteX540" fmla="*/ 283298 w 4963524"/>
                  <a:gd name="connsiteY540" fmla="*/ 216703 h 1406845"/>
                  <a:gd name="connsiteX541" fmla="*/ 277724 w 4963524"/>
                  <a:gd name="connsiteY541" fmla="*/ 216703 h 1406845"/>
                  <a:gd name="connsiteX542" fmla="*/ 277724 w 4963524"/>
                  <a:gd name="connsiteY542" fmla="*/ 205278 h 1406845"/>
                  <a:gd name="connsiteX543" fmla="*/ 275813 w 4963524"/>
                  <a:gd name="connsiteY543" fmla="*/ 200201 h 1406845"/>
                  <a:gd name="connsiteX544" fmla="*/ 271354 w 4963524"/>
                  <a:gd name="connsiteY544" fmla="*/ 198025 h 1406845"/>
                  <a:gd name="connsiteX545" fmla="*/ 253837 w 4963524"/>
                  <a:gd name="connsiteY545" fmla="*/ 198025 h 1406845"/>
                  <a:gd name="connsiteX546" fmla="*/ 253837 w 4963524"/>
                  <a:gd name="connsiteY546" fmla="*/ 187507 h 1406845"/>
                  <a:gd name="connsiteX547" fmla="*/ 251926 w 4963524"/>
                  <a:gd name="connsiteY547" fmla="*/ 182429 h 1406845"/>
                  <a:gd name="connsiteX548" fmla="*/ 247468 w 4963524"/>
                  <a:gd name="connsiteY548" fmla="*/ 180253 h 1406845"/>
                  <a:gd name="connsiteX549" fmla="*/ 223899 w 4963524"/>
                  <a:gd name="connsiteY549" fmla="*/ 180253 h 1406845"/>
                  <a:gd name="connsiteX550" fmla="*/ 223899 w 4963524"/>
                  <a:gd name="connsiteY550" fmla="*/ 168647 h 1406845"/>
                  <a:gd name="connsiteX551" fmla="*/ 221988 w 4963524"/>
                  <a:gd name="connsiteY551" fmla="*/ 163570 h 1406845"/>
                  <a:gd name="connsiteX552" fmla="*/ 217529 w 4963524"/>
                  <a:gd name="connsiteY552" fmla="*/ 161394 h 1406845"/>
                  <a:gd name="connsiteX553" fmla="*/ 196987 w 4963524"/>
                  <a:gd name="connsiteY553" fmla="*/ 161394 h 1406845"/>
                  <a:gd name="connsiteX554" fmla="*/ 196987 w 4963524"/>
                  <a:gd name="connsiteY554" fmla="*/ 150332 h 1406845"/>
                  <a:gd name="connsiteX555" fmla="*/ 195076 w 4963524"/>
                  <a:gd name="connsiteY555" fmla="*/ 145254 h 1406845"/>
                  <a:gd name="connsiteX556" fmla="*/ 190617 w 4963524"/>
                  <a:gd name="connsiteY556" fmla="*/ 143078 h 1406845"/>
                  <a:gd name="connsiteX557" fmla="*/ 182018 w 4963524"/>
                  <a:gd name="connsiteY557" fmla="*/ 143078 h 1406845"/>
                  <a:gd name="connsiteX558" fmla="*/ 182018 w 4963524"/>
                  <a:gd name="connsiteY558" fmla="*/ 134193 h 1406845"/>
                  <a:gd name="connsiteX559" fmla="*/ 180107 w 4963524"/>
                  <a:gd name="connsiteY559" fmla="*/ 129115 h 1406845"/>
                  <a:gd name="connsiteX560" fmla="*/ 175648 w 4963524"/>
                  <a:gd name="connsiteY560" fmla="*/ 126939 h 1406845"/>
                  <a:gd name="connsiteX561" fmla="*/ 158131 w 4963524"/>
                  <a:gd name="connsiteY561" fmla="*/ 126939 h 1406845"/>
                  <a:gd name="connsiteX562" fmla="*/ 158131 w 4963524"/>
                  <a:gd name="connsiteY562" fmla="*/ 110800 h 1406845"/>
                  <a:gd name="connsiteX563" fmla="*/ 156220 w 4963524"/>
                  <a:gd name="connsiteY563" fmla="*/ 105722 h 1406845"/>
                  <a:gd name="connsiteX564" fmla="*/ 151761 w 4963524"/>
                  <a:gd name="connsiteY564" fmla="*/ 103546 h 1406845"/>
                  <a:gd name="connsiteX565" fmla="*/ 134244 w 4963524"/>
                  <a:gd name="connsiteY565" fmla="*/ 103546 h 1406845"/>
                  <a:gd name="connsiteX566" fmla="*/ 134244 w 4963524"/>
                  <a:gd name="connsiteY566" fmla="*/ 86318 h 1406845"/>
                  <a:gd name="connsiteX567" fmla="*/ 132333 w 4963524"/>
                  <a:gd name="connsiteY567" fmla="*/ 81241 h 1406845"/>
                  <a:gd name="connsiteX568" fmla="*/ 127874 w 4963524"/>
                  <a:gd name="connsiteY568" fmla="*/ 79065 h 1406845"/>
                  <a:gd name="connsiteX569" fmla="*/ 71501 w 4963524"/>
                  <a:gd name="connsiteY569" fmla="*/ 79065 h 1406845"/>
                  <a:gd name="connsiteX570" fmla="*/ 71501 w 4963524"/>
                  <a:gd name="connsiteY570" fmla="*/ 67822 h 1406845"/>
                  <a:gd name="connsiteX571" fmla="*/ 69590 w 4963524"/>
                  <a:gd name="connsiteY571" fmla="*/ 62744 h 1406845"/>
                  <a:gd name="connsiteX572" fmla="*/ 68476 w 4963524"/>
                  <a:gd name="connsiteY572" fmla="*/ 61656 h 1406845"/>
                  <a:gd name="connsiteX573" fmla="*/ 68476 w 4963524"/>
                  <a:gd name="connsiteY573" fmla="*/ 49325 h 1406845"/>
                  <a:gd name="connsiteX574" fmla="*/ 66565 w 4963524"/>
                  <a:gd name="connsiteY574" fmla="*/ 44247 h 1406845"/>
                  <a:gd name="connsiteX575" fmla="*/ 62106 w 4963524"/>
                  <a:gd name="connsiteY575" fmla="*/ 42071 h 1406845"/>
                  <a:gd name="connsiteX576" fmla="*/ 41563 w 4963524"/>
                  <a:gd name="connsiteY576" fmla="*/ 42071 h 1406845"/>
                  <a:gd name="connsiteX577" fmla="*/ 41563 w 4963524"/>
                  <a:gd name="connsiteY577" fmla="*/ 14507 h 1406845"/>
                  <a:gd name="connsiteX578" fmla="*/ 39652 w 4963524"/>
                  <a:gd name="connsiteY578" fmla="*/ 9430 h 1406845"/>
                  <a:gd name="connsiteX579" fmla="*/ 35193 w 4963524"/>
                  <a:gd name="connsiteY579" fmla="*/ 7254 h 1406845"/>
                  <a:gd name="connsiteX580" fmla="*/ 5733 w 4963524"/>
                  <a:gd name="connsiteY580" fmla="*/ 7254 h 1406845"/>
                  <a:gd name="connsiteX581" fmla="*/ 5733 w 4963524"/>
                  <a:gd name="connsiteY581" fmla="*/ 0 h 1406845"/>
                  <a:gd name="connsiteX582" fmla="*/ 65131 w 4963524"/>
                  <a:gd name="connsiteY582" fmla="*/ 0 h 1406845"/>
                  <a:gd name="connsiteX583" fmla="*/ 65131 w 4963524"/>
                  <a:gd name="connsiteY583" fmla="*/ 4534 h 1406845"/>
                  <a:gd name="connsiteX584" fmla="*/ 127874 w 4963524"/>
                  <a:gd name="connsiteY584" fmla="*/ 4534 h 1406845"/>
                  <a:gd name="connsiteX585" fmla="*/ 127874 w 4963524"/>
                  <a:gd name="connsiteY585" fmla="*/ 16683 h 1406845"/>
                  <a:gd name="connsiteX586" fmla="*/ 151761 w 4963524"/>
                  <a:gd name="connsiteY586" fmla="*/ 16683 h 1406845"/>
                  <a:gd name="connsiteX587" fmla="*/ 151761 w 4963524"/>
                  <a:gd name="connsiteY587" fmla="*/ 30103 h 1406845"/>
                  <a:gd name="connsiteX588" fmla="*/ 175648 w 4963524"/>
                  <a:gd name="connsiteY588" fmla="*/ 30103 h 1406845"/>
                  <a:gd name="connsiteX589" fmla="*/ 175648 w 4963524"/>
                  <a:gd name="connsiteY589" fmla="*/ 41890 h 1406845"/>
                  <a:gd name="connsiteX590" fmla="*/ 190617 w 4963524"/>
                  <a:gd name="connsiteY590" fmla="*/ 41890 h 1406845"/>
                  <a:gd name="connsiteX591" fmla="*/ 190617 w 4963524"/>
                  <a:gd name="connsiteY591" fmla="*/ 54946 h 1406845"/>
                  <a:gd name="connsiteX592" fmla="*/ 217529 w 4963524"/>
                  <a:gd name="connsiteY592" fmla="*/ 54946 h 1406845"/>
                  <a:gd name="connsiteX593" fmla="*/ 217529 w 4963524"/>
                  <a:gd name="connsiteY593" fmla="*/ 68547 h 1406845"/>
                  <a:gd name="connsiteX594" fmla="*/ 247468 w 4963524"/>
                  <a:gd name="connsiteY594" fmla="*/ 68547 h 1406845"/>
                  <a:gd name="connsiteX595" fmla="*/ 247468 w 4963524"/>
                  <a:gd name="connsiteY595" fmla="*/ 81966 h 1406845"/>
                  <a:gd name="connsiteX596" fmla="*/ 271354 w 4963524"/>
                  <a:gd name="connsiteY596" fmla="*/ 81966 h 1406845"/>
                  <a:gd name="connsiteX597" fmla="*/ 271354 w 4963524"/>
                  <a:gd name="connsiteY597" fmla="*/ 95930 h 1406845"/>
                  <a:gd name="connsiteX598" fmla="*/ 283298 w 4963524"/>
                  <a:gd name="connsiteY598" fmla="*/ 95930 h 1406845"/>
                  <a:gd name="connsiteX599" fmla="*/ 283298 w 4963524"/>
                  <a:gd name="connsiteY599" fmla="*/ 110437 h 1406845"/>
                  <a:gd name="connsiteX600" fmla="*/ 316102 w 4963524"/>
                  <a:gd name="connsiteY600" fmla="*/ 110437 h 1406845"/>
                  <a:gd name="connsiteX601" fmla="*/ 316102 w 4963524"/>
                  <a:gd name="connsiteY601" fmla="*/ 125307 h 1406845"/>
                  <a:gd name="connsiteX602" fmla="*/ 322154 w 4963524"/>
                  <a:gd name="connsiteY602" fmla="*/ 125307 h 1406845"/>
                  <a:gd name="connsiteX603" fmla="*/ 322154 w 4963524"/>
                  <a:gd name="connsiteY603" fmla="*/ 139451 h 1406845"/>
                  <a:gd name="connsiteX604" fmla="*/ 364035 w 4963524"/>
                  <a:gd name="connsiteY604" fmla="*/ 139451 h 1406845"/>
                  <a:gd name="connsiteX605" fmla="*/ 364035 w 4963524"/>
                  <a:gd name="connsiteY605" fmla="*/ 154503 h 1406845"/>
                  <a:gd name="connsiteX606" fmla="*/ 375979 w 4963524"/>
                  <a:gd name="connsiteY606" fmla="*/ 154503 h 1406845"/>
                  <a:gd name="connsiteX607" fmla="*/ 375979 w 4963524"/>
                  <a:gd name="connsiteY607" fmla="*/ 172456 h 1406845"/>
                  <a:gd name="connsiteX608" fmla="*/ 405917 w 4963524"/>
                  <a:gd name="connsiteY608" fmla="*/ 172456 h 1406845"/>
                  <a:gd name="connsiteX609" fmla="*/ 405917 w 4963524"/>
                  <a:gd name="connsiteY609" fmla="*/ 188051 h 1406845"/>
                  <a:gd name="connsiteX610" fmla="*/ 411968 w 4963524"/>
                  <a:gd name="connsiteY610" fmla="*/ 188051 h 1406845"/>
                  <a:gd name="connsiteX611" fmla="*/ 411968 w 4963524"/>
                  <a:gd name="connsiteY611" fmla="*/ 205460 h 1406845"/>
                  <a:gd name="connsiteX612" fmla="*/ 414994 w 4963524"/>
                  <a:gd name="connsiteY612" fmla="*/ 205460 h 1406845"/>
                  <a:gd name="connsiteX613" fmla="*/ 414994 w 4963524"/>
                  <a:gd name="connsiteY613" fmla="*/ 222143 h 1406845"/>
                  <a:gd name="connsiteX614" fmla="*/ 471845 w 4963524"/>
                  <a:gd name="connsiteY614" fmla="*/ 222143 h 1406845"/>
                  <a:gd name="connsiteX615" fmla="*/ 471845 w 4963524"/>
                  <a:gd name="connsiteY615" fmla="*/ 238101 h 1406845"/>
                  <a:gd name="connsiteX616" fmla="*/ 477896 w 4963524"/>
                  <a:gd name="connsiteY616" fmla="*/ 238101 h 1406845"/>
                  <a:gd name="connsiteX617" fmla="*/ 477896 w 4963524"/>
                  <a:gd name="connsiteY617" fmla="*/ 255873 h 1406845"/>
                  <a:gd name="connsiteX618" fmla="*/ 480922 w 4963524"/>
                  <a:gd name="connsiteY618" fmla="*/ 255873 h 1406845"/>
                  <a:gd name="connsiteX619" fmla="*/ 480922 w 4963524"/>
                  <a:gd name="connsiteY619" fmla="*/ 274007 h 1406845"/>
                  <a:gd name="connsiteX620" fmla="*/ 498916 w 4963524"/>
                  <a:gd name="connsiteY620" fmla="*/ 274007 h 1406845"/>
                  <a:gd name="connsiteX621" fmla="*/ 498916 w 4963524"/>
                  <a:gd name="connsiteY621" fmla="*/ 290871 h 1406845"/>
                  <a:gd name="connsiteX622" fmla="*/ 501942 w 4963524"/>
                  <a:gd name="connsiteY622" fmla="*/ 290871 h 1406845"/>
                  <a:gd name="connsiteX623" fmla="*/ 501942 w 4963524"/>
                  <a:gd name="connsiteY623" fmla="*/ 311000 h 1406845"/>
                  <a:gd name="connsiteX624" fmla="*/ 507993 w 4963524"/>
                  <a:gd name="connsiteY624" fmla="*/ 311000 h 1406845"/>
                  <a:gd name="connsiteX625" fmla="*/ 507993 w 4963524"/>
                  <a:gd name="connsiteY625" fmla="*/ 326596 h 1406845"/>
                  <a:gd name="connsiteX626" fmla="*/ 546849 w 4963524"/>
                  <a:gd name="connsiteY626" fmla="*/ 326596 h 1406845"/>
                  <a:gd name="connsiteX627" fmla="*/ 546849 w 4963524"/>
                  <a:gd name="connsiteY627" fmla="*/ 341284 h 1406845"/>
                  <a:gd name="connsiteX628" fmla="*/ 549875 w 4963524"/>
                  <a:gd name="connsiteY628" fmla="*/ 341284 h 1406845"/>
                  <a:gd name="connsiteX629" fmla="*/ 549875 w 4963524"/>
                  <a:gd name="connsiteY629" fmla="*/ 356517 h 1406845"/>
                  <a:gd name="connsiteX630" fmla="*/ 582839 w 4963524"/>
                  <a:gd name="connsiteY630" fmla="*/ 356517 h 1406845"/>
                  <a:gd name="connsiteX631" fmla="*/ 582839 w 4963524"/>
                  <a:gd name="connsiteY631" fmla="*/ 372475 h 1406845"/>
                  <a:gd name="connsiteX632" fmla="*/ 591756 w 4963524"/>
                  <a:gd name="connsiteY632" fmla="*/ 372475 h 1406845"/>
                  <a:gd name="connsiteX633" fmla="*/ 591756 w 4963524"/>
                  <a:gd name="connsiteY633" fmla="*/ 387164 h 1406845"/>
                  <a:gd name="connsiteX634" fmla="*/ 603700 w 4963524"/>
                  <a:gd name="connsiteY634" fmla="*/ 387164 h 1406845"/>
                  <a:gd name="connsiteX635" fmla="*/ 603700 w 4963524"/>
                  <a:gd name="connsiteY635" fmla="*/ 403122 h 1406845"/>
                  <a:gd name="connsiteX636" fmla="*/ 639689 w 4963524"/>
                  <a:gd name="connsiteY636" fmla="*/ 403122 h 1406845"/>
                  <a:gd name="connsiteX637" fmla="*/ 639689 w 4963524"/>
                  <a:gd name="connsiteY637" fmla="*/ 419080 h 1406845"/>
                  <a:gd name="connsiteX638" fmla="*/ 642715 w 4963524"/>
                  <a:gd name="connsiteY638" fmla="*/ 419080 h 1406845"/>
                  <a:gd name="connsiteX639" fmla="*/ 642715 w 4963524"/>
                  <a:gd name="connsiteY639" fmla="*/ 436307 h 1406845"/>
                  <a:gd name="connsiteX640" fmla="*/ 645741 w 4963524"/>
                  <a:gd name="connsiteY640" fmla="*/ 436307 h 1406845"/>
                  <a:gd name="connsiteX641" fmla="*/ 645741 w 4963524"/>
                  <a:gd name="connsiteY641" fmla="*/ 453897 h 1406845"/>
                  <a:gd name="connsiteX642" fmla="*/ 657684 w 4963524"/>
                  <a:gd name="connsiteY642" fmla="*/ 453897 h 1406845"/>
                  <a:gd name="connsiteX643" fmla="*/ 657684 w 4963524"/>
                  <a:gd name="connsiteY643" fmla="*/ 468405 h 1406845"/>
                  <a:gd name="connsiteX644" fmla="*/ 684597 w 4963524"/>
                  <a:gd name="connsiteY644" fmla="*/ 468405 h 1406845"/>
                  <a:gd name="connsiteX645" fmla="*/ 684597 w 4963524"/>
                  <a:gd name="connsiteY645" fmla="*/ 485269 h 1406845"/>
                  <a:gd name="connsiteX646" fmla="*/ 708483 w 4963524"/>
                  <a:gd name="connsiteY646" fmla="*/ 485269 h 1406845"/>
                  <a:gd name="connsiteX647" fmla="*/ 708483 w 4963524"/>
                  <a:gd name="connsiteY647" fmla="*/ 501227 h 1406845"/>
                  <a:gd name="connsiteX648" fmla="*/ 771226 w 4963524"/>
                  <a:gd name="connsiteY648" fmla="*/ 501227 h 1406845"/>
                  <a:gd name="connsiteX649" fmla="*/ 771226 w 4963524"/>
                  <a:gd name="connsiteY649" fmla="*/ 519724 h 1406845"/>
                  <a:gd name="connsiteX650" fmla="*/ 774252 w 4963524"/>
                  <a:gd name="connsiteY650" fmla="*/ 519724 h 1406845"/>
                  <a:gd name="connsiteX651" fmla="*/ 774252 w 4963524"/>
                  <a:gd name="connsiteY651" fmla="*/ 571588 h 1406845"/>
                  <a:gd name="connsiteX652" fmla="*/ 851964 w 4963524"/>
                  <a:gd name="connsiteY652" fmla="*/ 571588 h 1406845"/>
                  <a:gd name="connsiteX653" fmla="*/ 851964 w 4963524"/>
                  <a:gd name="connsiteY653" fmla="*/ 589722 h 1406845"/>
                  <a:gd name="connsiteX654" fmla="*/ 863907 w 4963524"/>
                  <a:gd name="connsiteY654" fmla="*/ 589722 h 1406845"/>
                  <a:gd name="connsiteX655" fmla="*/ 863907 w 4963524"/>
                  <a:gd name="connsiteY655" fmla="*/ 607493 h 1406845"/>
                  <a:gd name="connsiteX656" fmla="*/ 884927 w 4963524"/>
                  <a:gd name="connsiteY656" fmla="*/ 607493 h 1406845"/>
                  <a:gd name="connsiteX657" fmla="*/ 884927 w 4963524"/>
                  <a:gd name="connsiteY657" fmla="*/ 622726 h 1406845"/>
                  <a:gd name="connsiteX658" fmla="*/ 941778 w 4963524"/>
                  <a:gd name="connsiteY658" fmla="*/ 622726 h 1406845"/>
                  <a:gd name="connsiteX659" fmla="*/ 941778 w 4963524"/>
                  <a:gd name="connsiteY659" fmla="*/ 640860 h 1406845"/>
                  <a:gd name="connsiteX660" fmla="*/ 944804 w 4963524"/>
                  <a:gd name="connsiteY660" fmla="*/ 640860 h 1406845"/>
                  <a:gd name="connsiteX661" fmla="*/ 944804 w 4963524"/>
                  <a:gd name="connsiteY661" fmla="*/ 657906 h 1406845"/>
                  <a:gd name="connsiteX662" fmla="*/ 983660 w 4963524"/>
                  <a:gd name="connsiteY662" fmla="*/ 657906 h 1406845"/>
                  <a:gd name="connsiteX663" fmla="*/ 983660 w 4963524"/>
                  <a:gd name="connsiteY663" fmla="*/ 677491 h 1406845"/>
                  <a:gd name="connsiteX664" fmla="*/ 1004680 w 4963524"/>
                  <a:gd name="connsiteY664" fmla="*/ 677491 h 1406845"/>
                  <a:gd name="connsiteX665" fmla="*/ 1004680 w 4963524"/>
                  <a:gd name="connsiteY665" fmla="*/ 694900 h 1406845"/>
                  <a:gd name="connsiteX666" fmla="*/ 1094495 w 4963524"/>
                  <a:gd name="connsiteY666" fmla="*/ 694900 h 1406845"/>
                  <a:gd name="connsiteX667" fmla="*/ 1094495 w 4963524"/>
                  <a:gd name="connsiteY667" fmla="*/ 713397 h 1406845"/>
                  <a:gd name="connsiteX668" fmla="*/ 1139402 w 4963524"/>
                  <a:gd name="connsiteY668" fmla="*/ 713397 h 1406845"/>
                  <a:gd name="connsiteX669" fmla="*/ 1139402 w 4963524"/>
                  <a:gd name="connsiteY669" fmla="*/ 730443 h 1406845"/>
                  <a:gd name="connsiteX670" fmla="*/ 1256129 w 4963524"/>
                  <a:gd name="connsiteY670" fmla="*/ 730443 h 1406845"/>
                  <a:gd name="connsiteX671" fmla="*/ 1256129 w 4963524"/>
                  <a:gd name="connsiteY671" fmla="*/ 750209 h 1406845"/>
                  <a:gd name="connsiteX672" fmla="*/ 1327949 w 4963524"/>
                  <a:gd name="connsiteY672" fmla="*/ 750209 h 1406845"/>
                  <a:gd name="connsiteX673" fmla="*/ 1327949 w 4963524"/>
                  <a:gd name="connsiteY673" fmla="*/ 767618 h 1406845"/>
                  <a:gd name="connsiteX674" fmla="*/ 1396743 w 4963524"/>
                  <a:gd name="connsiteY674" fmla="*/ 767618 h 1406845"/>
                  <a:gd name="connsiteX675" fmla="*/ 1396743 w 4963524"/>
                  <a:gd name="connsiteY675" fmla="*/ 789741 h 1406845"/>
                  <a:gd name="connsiteX676" fmla="*/ 1474455 w 4963524"/>
                  <a:gd name="connsiteY676" fmla="*/ 789741 h 1406845"/>
                  <a:gd name="connsiteX677" fmla="*/ 1474455 w 4963524"/>
                  <a:gd name="connsiteY677" fmla="*/ 804974 h 1406845"/>
                  <a:gd name="connsiteX678" fmla="*/ 1594048 w 4963524"/>
                  <a:gd name="connsiteY678" fmla="*/ 804974 h 1406845"/>
                  <a:gd name="connsiteX679" fmla="*/ 1594048 w 4963524"/>
                  <a:gd name="connsiteY679" fmla="*/ 822564 h 1406845"/>
                  <a:gd name="connsiteX680" fmla="*/ 1609017 w 4963524"/>
                  <a:gd name="connsiteY680" fmla="*/ 822564 h 1406845"/>
                  <a:gd name="connsiteX681" fmla="*/ 1609017 w 4963524"/>
                  <a:gd name="connsiteY681" fmla="*/ 838885 h 1406845"/>
                  <a:gd name="connsiteX682" fmla="*/ 1632904 w 4963524"/>
                  <a:gd name="connsiteY682" fmla="*/ 838885 h 1406845"/>
                  <a:gd name="connsiteX683" fmla="*/ 1632904 w 4963524"/>
                  <a:gd name="connsiteY683" fmla="*/ 859920 h 1406845"/>
                  <a:gd name="connsiteX684" fmla="*/ 1650739 w 4963524"/>
                  <a:gd name="connsiteY684" fmla="*/ 859920 h 1406845"/>
                  <a:gd name="connsiteX685" fmla="*/ 1650739 w 4963524"/>
                  <a:gd name="connsiteY685" fmla="*/ 879143 h 1406845"/>
                  <a:gd name="connsiteX686" fmla="*/ 1836260 w 4963524"/>
                  <a:gd name="connsiteY686" fmla="*/ 879143 h 1406845"/>
                  <a:gd name="connsiteX687" fmla="*/ 1836260 w 4963524"/>
                  <a:gd name="connsiteY687" fmla="*/ 901810 h 1406845"/>
                  <a:gd name="connsiteX688" fmla="*/ 1982926 w 4963524"/>
                  <a:gd name="connsiteY688" fmla="*/ 901810 h 1406845"/>
                  <a:gd name="connsiteX689" fmla="*/ 1982926 w 4963524"/>
                  <a:gd name="connsiteY689" fmla="*/ 921032 h 1406845"/>
                  <a:gd name="connsiteX690" fmla="*/ 2189308 w 4963524"/>
                  <a:gd name="connsiteY690" fmla="*/ 921032 h 1406845"/>
                  <a:gd name="connsiteX691" fmla="*/ 2189308 w 4963524"/>
                  <a:gd name="connsiteY691" fmla="*/ 940617 h 1406845"/>
                  <a:gd name="connsiteX692" fmla="*/ 2703830 w 4963524"/>
                  <a:gd name="connsiteY692" fmla="*/ 940617 h 1406845"/>
                  <a:gd name="connsiteX693" fmla="*/ 2703830 w 4963524"/>
                  <a:gd name="connsiteY693" fmla="*/ 959295 h 1406845"/>
                  <a:gd name="connsiteX694" fmla="*/ 2763707 w 4963524"/>
                  <a:gd name="connsiteY694" fmla="*/ 959295 h 1406845"/>
                  <a:gd name="connsiteX695" fmla="*/ 2763707 w 4963524"/>
                  <a:gd name="connsiteY695" fmla="*/ 959658 h 1406845"/>
                  <a:gd name="connsiteX696" fmla="*/ 2802562 w 4963524"/>
                  <a:gd name="connsiteY696" fmla="*/ 959658 h 1406845"/>
                  <a:gd name="connsiteX697" fmla="*/ 2802562 w 4963524"/>
                  <a:gd name="connsiteY697" fmla="*/ 978155 h 1406845"/>
                  <a:gd name="connsiteX698" fmla="*/ 2817532 w 4963524"/>
                  <a:gd name="connsiteY698" fmla="*/ 978155 h 1406845"/>
                  <a:gd name="connsiteX699" fmla="*/ 2817532 w 4963524"/>
                  <a:gd name="connsiteY699" fmla="*/ 1001185 h 1406845"/>
                  <a:gd name="connsiteX700" fmla="*/ 3011970 w 4963524"/>
                  <a:gd name="connsiteY700" fmla="*/ 1001185 h 1406845"/>
                  <a:gd name="connsiteX701" fmla="*/ 3011970 w 4963524"/>
                  <a:gd name="connsiteY701" fmla="*/ 1026754 h 1406845"/>
                  <a:gd name="connsiteX702" fmla="*/ 3056878 w 4963524"/>
                  <a:gd name="connsiteY702" fmla="*/ 1026754 h 1406845"/>
                  <a:gd name="connsiteX703" fmla="*/ 3056878 w 4963524"/>
                  <a:gd name="connsiteY703" fmla="*/ 1047971 h 1406845"/>
                  <a:gd name="connsiteX704" fmla="*/ 3122646 w 4963524"/>
                  <a:gd name="connsiteY704" fmla="*/ 1047971 h 1406845"/>
                  <a:gd name="connsiteX705" fmla="*/ 3122646 w 4963524"/>
                  <a:gd name="connsiteY705" fmla="*/ 1069551 h 1406845"/>
                  <a:gd name="connsiteX706" fmla="*/ 3203383 w 4963524"/>
                  <a:gd name="connsiteY706" fmla="*/ 1069551 h 1406845"/>
                  <a:gd name="connsiteX707" fmla="*/ 3203383 w 4963524"/>
                  <a:gd name="connsiteY707" fmla="*/ 1094939 h 1406845"/>
                  <a:gd name="connsiteX708" fmla="*/ 3242399 w 4963524"/>
                  <a:gd name="connsiteY708" fmla="*/ 1094939 h 1406845"/>
                  <a:gd name="connsiteX709" fmla="*/ 3242399 w 4963524"/>
                  <a:gd name="connsiteY709" fmla="*/ 1119057 h 1406845"/>
                  <a:gd name="connsiteX710" fmla="*/ 3451806 w 4963524"/>
                  <a:gd name="connsiteY710" fmla="*/ 1119057 h 1406845"/>
                  <a:gd name="connsiteX711" fmla="*/ 3451806 w 4963524"/>
                  <a:gd name="connsiteY711" fmla="*/ 1147528 h 1406845"/>
                  <a:gd name="connsiteX712" fmla="*/ 3984324 w 4963524"/>
                  <a:gd name="connsiteY712" fmla="*/ 1147528 h 1406845"/>
                  <a:gd name="connsiteX713" fmla="*/ 3984324 w 4963524"/>
                  <a:gd name="connsiteY713" fmla="*/ 1174729 h 1406845"/>
                  <a:gd name="connsiteX714" fmla="*/ 4115860 w 4963524"/>
                  <a:gd name="connsiteY714" fmla="*/ 1174729 h 1406845"/>
                  <a:gd name="connsiteX715" fmla="*/ 4115860 w 4963524"/>
                  <a:gd name="connsiteY715" fmla="*/ 1202655 h 1406845"/>
                  <a:gd name="connsiteX716" fmla="*/ 4963365 w 4963524"/>
                  <a:gd name="connsiteY716" fmla="*/ 1202655 h 1406845"/>
                  <a:gd name="connsiteX717" fmla="*/ 4963365 w 4963524"/>
                  <a:gd name="connsiteY717" fmla="*/ 1406302 h 14068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</a:cxnLst>
                <a:rect l="l" t="t" r="r" b="b"/>
                <a:pathLst>
                  <a:path w="4963524" h="1406845">
                    <a:moveTo>
                      <a:pt x="34716" y="56760"/>
                    </a:moveTo>
                    <a:lnTo>
                      <a:pt x="0" y="56760"/>
                    </a:lnTo>
                    <a:lnTo>
                      <a:pt x="0" y="21942"/>
                    </a:lnTo>
                    <a:lnTo>
                      <a:pt x="29460" y="21942"/>
                    </a:lnTo>
                    <a:lnTo>
                      <a:pt x="29460" y="49506"/>
                    </a:lnTo>
                    <a:cubicBezTo>
                      <a:pt x="29460" y="51501"/>
                      <a:pt x="30097" y="53314"/>
                      <a:pt x="31371" y="54584"/>
                    </a:cubicBezTo>
                    <a:cubicBezTo>
                      <a:pt x="32327" y="55672"/>
                      <a:pt x="33442" y="56397"/>
                      <a:pt x="34875" y="56578"/>
                    </a:cubicBezTo>
                    <a:moveTo>
                      <a:pt x="4963524" y="1406846"/>
                    </a:moveTo>
                    <a:lnTo>
                      <a:pt x="3685260" y="1406846"/>
                    </a:lnTo>
                    <a:lnTo>
                      <a:pt x="3685260" y="1387442"/>
                    </a:lnTo>
                    <a:lnTo>
                      <a:pt x="3577451" y="1387442"/>
                    </a:lnTo>
                    <a:lnTo>
                      <a:pt x="3577451" y="1365863"/>
                    </a:lnTo>
                    <a:lnTo>
                      <a:pt x="2703989" y="1365863"/>
                    </a:lnTo>
                    <a:lnTo>
                      <a:pt x="2703989" y="1347366"/>
                    </a:lnTo>
                    <a:lnTo>
                      <a:pt x="2189467" y="1347366"/>
                    </a:lnTo>
                    <a:lnTo>
                      <a:pt x="2189467" y="1327962"/>
                    </a:lnTo>
                    <a:lnTo>
                      <a:pt x="1983085" y="1327962"/>
                    </a:lnTo>
                    <a:lnTo>
                      <a:pt x="1983085" y="1308559"/>
                    </a:lnTo>
                    <a:lnTo>
                      <a:pt x="1836420" y="1308559"/>
                    </a:lnTo>
                    <a:lnTo>
                      <a:pt x="1836420" y="1285528"/>
                    </a:lnTo>
                    <a:lnTo>
                      <a:pt x="1650899" y="1285528"/>
                    </a:lnTo>
                    <a:lnTo>
                      <a:pt x="1650899" y="1266125"/>
                    </a:lnTo>
                    <a:lnTo>
                      <a:pt x="1633063" y="1266125"/>
                    </a:lnTo>
                    <a:lnTo>
                      <a:pt x="1633063" y="1244727"/>
                    </a:lnTo>
                    <a:lnTo>
                      <a:pt x="1609176" y="1244727"/>
                    </a:lnTo>
                    <a:lnTo>
                      <a:pt x="1609176" y="1228043"/>
                    </a:lnTo>
                    <a:lnTo>
                      <a:pt x="1594207" y="1228043"/>
                    </a:lnTo>
                    <a:lnTo>
                      <a:pt x="1594207" y="1209909"/>
                    </a:lnTo>
                    <a:lnTo>
                      <a:pt x="1474614" y="1209909"/>
                    </a:lnTo>
                    <a:lnTo>
                      <a:pt x="1474614" y="1194132"/>
                    </a:lnTo>
                    <a:lnTo>
                      <a:pt x="1396902" y="1194132"/>
                    </a:lnTo>
                    <a:lnTo>
                      <a:pt x="1396902" y="1170739"/>
                    </a:lnTo>
                    <a:lnTo>
                      <a:pt x="1328108" y="1170739"/>
                    </a:lnTo>
                    <a:lnTo>
                      <a:pt x="1328108" y="1152424"/>
                    </a:lnTo>
                    <a:lnTo>
                      <a:pt x="1256288" y="1152424"/>
                    </a:lnTo>
                    <a:lnTo>
                      <a:pt x="1256288" y="1131388"/>
                    </a:lnTo>
                    <a:lnTo>
                      <a:pt x="1139561" y="1131388"/>
                    </a:lnTo>
                    <a:lnTo>
                      <a:pt x="1139561" y="1113436"/>
                    </a:lnTo>
                    <a:lnTo>
                      <a:pt x="1094654" y="1113436"/>
                    </a:lnTo>
                    <a:lnTo>
                      <a:pt x="1094654" y="1093488"/>
                    </a:lnTo>
                    <a:lnTo>
                      <a:pt x="1004839" y="1093488"/>
                    </a:lnTo>
                    <a:lnTo>
                      <a:pt x="1004839" y="1074810"/>
                    </a:lnTo>
                    <a:lnTo>
                      <a:pt x="983819" y="1074810"/>
                    </a:lnTo>
                    <a:lnTo>
                      <a:pt x="983819" y="1053412"/>
                    </a:lnTo>
                    <a:lnTo>
                      <a:pt x="944963" y="1053412"/>
                    </a:lnTo>
                    <a:lnTo>
                      <a:pt x="944963" y="1034915"/>
                    </a:lnTo>
                    <a:lnTo>
                      <a:pt x="941937" y="1034915"/>
                    </a:lnTo>
                    <a:lnTo>
                      <a:pt x="941937" y="1015149"/>
                    </a:lnTo>
                    <a:lnTo>
                      <a:pt x="885087" y="1015149"/>
                    </a:lnTo>
                    <a:lnTo>
                      <a:pt x="885087" y="998646"/>
                    </a:lnTo>
                    <a:lnTo>
                      <a:pt x="864066" y="998646"/>
                    </a:lnTo>
                    <a:lnTo>
                      <a:pt x="864066" y="978880"/>
                    </a:lnTo>
                    <a:lnTo>
                      <a:pt x="852123" y="978880"/>
                    </a:lnTo>
                    <a:lnTo>
                      <a:pt x="852123" y="958751"/>
                    </a:lnTo>
                    <a:lnTo>
                      <a:pt x="774411" y="958751"/>
                    </a:lnTo>
                    <a:lnTo>
                      <a:pt x="774411" y="900904"/>
                    </a:lnTo>
                    <a:lnTo>
                      <a:pt x="771385" y="900904"/>
                    </a:lnTo>
                    <a:lnTo>
                      <a:pt x="771385" y="879505"/>
                    </a:lnTo>
                    <a:lnTo>
                      <a:pt x="708643" y="879505"/>
                    </a:lnTo>
                    <a:lnTo>
                      <a:pt x="708643" y="861190"/>
                    </a:lnTo>
                    <a:lnTo>
                      <a:pt x="684756" y="861190"/>
                    </a:lnTo>
                    <a:lnTo>
                      <a:pt x="684756" y="841605"/>
                    </a:lnTo>
                    <a:lnTo>
                      <a:pt x="657843" y="841605"/>
                    </a:lnTo>
                    <a:lnTo>
                      <a:pt x="657843" y="825103"/>
                    </a:lnTo>
                    <a:lnTo>
                      <a:pt x="645900" y="825103"/>
                    </a:lnTo>
                    <a:lnTo>
                      <a:pt x="645900" y="804067"/>
                    </a:lnTo>
                    <a:lnTo>
                      <a:pt x="642874" y="804067"/>
                    </a:lnTo>
                    <a:lnTo>
                      <a:pt x="642874" y="783576"/>
                    </a:lnTo>
                    <a:lnTo>
                      <a:pt x="639849" y="783576"/>
                    </a:lnTo>
                    <a:lnTo>
                      <a:pt x="639849" y="764535"/>
                    </a:lnTo>
                    <a:lnTo>
                      <a:pt x="603859" y="764535"/>
                    </a:lnTo>
                    <a:lnTo>
                      <a:pt x="603859" y="745494"/>
                    </a:lnTo>
                    <a:lnTo>
                      <a:pt x="591916" y="745494"/>
                    </a:lnTo>
                    <a:lnTo>
                      <a:pt x="591916" y="728085"/>
                    </a:lnTo>
                    <a:lnTo>
                      <a:pt x="582998" y="728085"/>
                    </a:lnTo>
                    <a:lnTo>
                      <a:pt x="582998" y="708863"/>
                    </a:lnTo>
                    <a:lnTo>
                      <a:pt x="550034" y="708863"/>
                    </a:lnTo>
                    <a:lnTo>
                      <a:pt x="550034" y="690548"/>
                    </a:lnTo>
                    <a:lnTo>
                      <a:pt x="547008" y="690548"/>
                    </a:lnTo>
                    <a:lnTo>
                      <a:pt x="547008" y="672958"/>
                    </a:lnTo>
                    <a:lnTo>
                      <a:pt x="508153" y="672958"/>
                    </a:lnTo>
                    <a:lnTo>
                      <a:pt x="508153" y="653735"/>
                    </a:lnTo>
                    <a:lnTo>
                      <a:pt x="502101" y="653735"/>
                    </a:lnTo>
                    <a:lnTo>
                      <a:pt x="502101" y="626534"/>
                    </a:lnTo>
                    <a:lnTo>
                      <a:pt x="499076" y="626534"/>
                    </a:lnTo>
                    <a:lnTo>
                      <a:pt x="499076" y="604773"/>
                    </a:lnTo>
                    <a:lnTo>
                      <a:pt x="481081" y="604773"/>
                    </a:lnTo>
                    <a:lnTo>
                      <a:pt x="481081" y="580111"/>
                    </a:lnTo>
                    <a:lnTo>
                      <a:pt x="478055" y="580111"/>
                    </a:lnTo>
                    <a:lnTo>
                      <a:pt x="478055" y="555811"/>
                    </a:lnTo>
                    <a:lnTo>
                      <a:pt x="472004" y="555811"/>
                    </a:lnTo>
                    <a:lnTo>
                      <a:pt x="472004" y="534231"/>
                    </a:lnTo>
                    <a:lnTo>
                      <a:pt x="415153" y="534231"/>
                    </a:lnTo>
                    <a:lnTo>
                      <a:pt x="415153" y="510838"/>
                    </a:lnTo>
                    <a:lnTo>
                      <a:pt x="412127" y="510838"/>
                    </a:lnTo>
                    <a:lnTo>
                      <a:pt x="412127" y="485451"/>
                    </a:lnTo>
                    <a:lnTo>
                      <a:pt x="406076" y="485451"/>
                    </a:lnTo>
                    <a:lnTo>
                      <a:pt x="406076" y="462964"/>
                    </a:lnTo>
                    <a:lnTo>
                      <a:pt x="376138" y="462964"/>
                    </a:lnTo>
                    <a:lnTo>
                      <a:pt x="376138" y="434312"/>
                    </a:lnTo>
                    <a:lnTo>
                      <a:pt x="364195" y="434312"/>
                    </a:lnTo>
                    <a:lnTo>
                      <a:pt x="364195" y="412007"/>
                    </a:lnTo>
                    <a:lnTo>
                      <a:pt x="322313" y="412007"/>
                    </a:lnTo>
                    <a:lnTo>
                      <a:pt x="322313" y="391335"/>
                    </a:lnTo>
                    <a:lnTo>
                      <a:pt x="316262" y="391335"/>
                    </a:lnTo>
                    <a:lnTo>
                      <a:pt x="316262" y="367941"/>
                    </a:lnTo>
                    <a:lnTo>
                      <a:pt x="283457" y="367941"/>
                    </a:lnTo>
                    <a:lnTo>
                      <a:pt x="283457" y="344911"/>
                    </a:lnTo>
                    <a:lnTo>
                      <a:pt x="271514" y="344911"/>
                    </a:lnTo>
                    <a:lnTo>
                      <a:pt x="271514" y="322243"/>
                    </a:lnTo>
                    <a:lnTo>
                      <a:pt x="247627" y="322243"/>
                    </a:lnTo>
                    <a:lnTo>
                      <a:pt x="247627" y="300664"/>
                    </a:lnTo>
                    <a:lnTo>
                      <a:pt x="217689" y="300664"/>
                    </a:lnTo>
                    <a:lnTo>
                      <a:pt x="217689" y="277089"/>
                    </a:lnTo>
                    <a:lnTo>
                      <a:pt x="190776" y="277089"/>
                    </a:lnTo>
                    <a:lnTo>
                      <a:pt x="190776" y="253878"/>
                    </a:lnTo>
                    <a:lnTo>
                      <a:pt x="175807" y="253878"/>
                    </a:lnTo>
                    <a:lnTo>
                      <a:pt x="175807" y="233930"/>
                    </a:lnTo>
                    <a:lnTo>
                      <a:pt x="151920" y="233930"/>
                    </a:lnTo>
                    <a:lnTo>
                      <a:pt x="151920" y="201470"/>
                    </a:lnTo>
                    <a:lnTo>
                      <a:pt x="128033" y="201470"/>
                    </a:lnTo>
                    <a:lnTo>
                      <a:pt x="128033" y="165383"/>
                    </a:lnTo>
                    <a:lnTo>
                      <a:pt x="65291" y="165383"/>
                    </a:lnTo>
                    <a:lnTo>
                      <a:pt x="65291" y="139089"/>
                    </a:lnTo>
                    <a:lnTo>
                      <a:pt x="62265" y="139089"/>
                    </a:lnTo>
                    <a:lnTo>
                      <a:pt x="62265" y="112069"/>
                    </a:lnTo>
                    <a:lnTo>
                      <a:pt x="35353" y="112069"/>
                    </a:lnTo>
                    <a:lnTo>
                      <a:pt x="35353" y="56941"/>
                    </a:lnTo>
                    <a:lnTo>
                      <a:pt x="55895" y="56941"/>
                    </a:lnTo>
                    <a:lnTo>
                      <a:pt x="55895" y="68003"/>
                    </a:lnTo>
                    <a:cubicBezTo>
                      <a:pt x="55895" y="69998"/>
                      <a:pt x="56532" y="71811"/>
                      <a:pt x="57806" y="73081"/>
                    </a:cubicBezTo>
                    <a:cubicBezTo>
                      <a:pt x="58125" y="73443"/>
                      <a:pt x="58602" y="73806"/>
                      <a:pt x="58921" y="74169"/>
                    </a:cubicBezTo>
                    <a:lnTo>
                      <a:pt x="58921" y="86500"/>
                    </a:lnTo>
                    <a:cubicBezTo>
                      <a:pt x="58921" y="88313"/>
                      <a:pt x="59558" y="90308"/>
                      <a:pt x="60832" y="91577"/>
                    </a:cubicBezTo>
                    <a:cubicBezTo>
                      <a:pt x="61947" y="93028"/>
                      <a:pt x="63698" y="93753"/>
                      <a:pt x="65291" y="93753"/>
                    </a:cubicBezTo>
                    <a:lnTo>
                      <a:pt x="121664" y="93753"/>
                    </a:lnTo>
                    <a:lnTo>
                      <a:pt x="121664" y="110981"/>
                    </a:lnTo>
                    <a:cubicBezTo>
                      <a:pt x="121664" y="112976"/>
                      <a:pt x="122301" y="114789"/>
                      <a:pt x="123575" y="116058"/>
                    </a:cubicBezTo>
                    <a:cubicBezTo>
                      <a:pt x="124689" y="117328"/>
                      <a:pt x="126441" y="118235"/>
                      <a:pt x="128033" y="118235"/>
                    </a:cubicBezTo>
                    <a:lnTo>
                      <a:pt x="145550" y="118235"/>
                    </a:lnTo>
                    <a:lnTo>
                      <a:pt x="145550" y="134374"/>
                    </a:lnTo>
                    <a:cubicBezTo>
                      <a:pt x="145550" y="136369"/>
                      <a:pt x="146187" y="138182"/>
                      <a:pt x="147461" y="139451"/>
                    </a:cubicBezTo>
                    <a:cubicBezTo>
                      <a:pt x="148735" y="140721"/>
                      <a:pt x="150328" y="141628"/>
                      <a:pt x="151920" y="141628"/>
                    </a:cubicBezTo>
                    <a:lnTo>
                      <a:pt x="169437" y="141628"/>
                    </a:lnTo>
                    <a:lnTo>
                      <a:pt x="169437" y="150513"/>
                    </a:lnTo>
                    <a:cubicBezTo>
                      <a:pt x="169437" y="152508"/>
                      <a:pt x="170074" y="154321"/>
                      <a:pt x="171348" y="155591"/>
                    </a:cubicBezTo>
                    <a:cubicBezTo>
                      <a:pt x="172622" y="157042"/>
                      <a:pt x="174215" y="157767"/>
                      <a:pt x="175807" y="157767"/>
                    </a:cubicBezTo>
                    <a:lnTo>
                      <a:pt x="184406" y="157767"/>
                    </a:lnTo>
                    <a:lnTo>
                      <a:pt x="184406" y="168829"/>
                    </a:lnTo>
                    <a:cubicBezTo>
                      <a:pt x="184406" y="170642"/>
                      <a:pt x="185043" y="172637"/>
                      <a:pt x="186317" y="173906"/>
                    </a:cubicBezTo>
                    <a:cubicBezTo>
                      <a:pt x="187432" y="175176"/>
                      <a:pt x="189184" y="176082"/>
                      <a:pt x="190776" y="176082"/>
                    </a:cubicBezTo>
                    <a:lnTo>
                      <a:pt x="211319" y="176082"/>
                    </a:lnTo>
                    <a:lnTo>
                      <a:pt x="211319" y="187688"/>
                    </a:lnTo>
                    <a:cubicBezTo>
                      <a:pt x="211319" y="189683"/>
                      <a:pt x="211956" y="191496"/>
                      <a:pt x="213230" y="192766"/>
                    </a:cubicBezTo>
                    <a:cubicBezTo>
                      <a:pt x="214345" y="194035"/>
                      <a:pt x="216096" y="194942"/>
                      <a:pt x="217689" y="194942"/>
                    </a:cubicBezTo>
                    <a:lnTo>
                      <a:pt x="241257" y="194942"/>
                    </a:lnTo>
                    <a:lnTo>
                      <a:pt x="241257" y="205460"/>
                    </a:lnTo>
                    <a:cubicBezTo>
                      <a:pt x="241257" y="207454"/>
                      <a:pt x="241894" y="209268"/>
                      <a:pt x="243168" y="210537"/>
                    </a:cubicBezTo>
                    <a:cubicBezTo>
                      <a:pt x="244283" y="211988"/>
                      <a:pt x="246034" y="212713"/>
                      <a:pt x="247627" y="212713"/>
                    </a:cubicBezTo>
                    <a:lnTo>
                      <a:pt x="265144" y="212713"/>
                    </a:lnTo>
                    <a:lnTo>
                      <a:pt x="265144" y="224138"/>
                    </a:lnTo>
                    <a:cubicBezTo>
                      <a:pt x="265144" y="226133"/>
                      <a:pt x="265781" y="227946"/>
                      <a:pt x="267055" y="229215"/>
                    </a:cubicBezTo>
                    <a:cubicBezTo>
                      <a:pt x="268169" y="230485"/>
                      <a:pt x="269921" y="231391"/>
                      <a:pt x="271514" y="231391"/>
                    </a:cubicBezTo>
                    <a:lnTo>
                      <a:pt x="277087" y="231391"/>
                    </a:lnTo>
                    <a:lnTo>
                      <a:pt x="277087" y="243179"/>
                    </a:lnTo>
                    <a:cubicBezTo>
                      <a:pt x="277087" y="245173"/>
                      <a:pt x="277724" y="246987"/>
                      <a:pt x="278998" y="248256"/>
                    </a:cubicBezTo>
                    <a:cubicBezTo>
                      <a:pt x="280272" y="249707"/>
                      <a:pt x="281865" y="250432"/>
                      <a:pt x="283457" y="250432"/>
                    </a:cubicBezTo>
                    <a:lnTo>
                      <a:pt x="309892" y="250432"/>
                    </a:lnTo>
                    <a:lnTo>
                      <a:pt x="309892" y="262764"/>
                    </a:lnTo>
                    <a:cubicBezTo>
                      <a:pt x="309892" y="264758"/>
                      <a:pt x="310529" y="266572"/>
                      <a:pt x="311803" y="267841"/>
                    </a:cubicBezTo>
                    <a:cubicBezTo>
                      <a:pt x="312918" y="269110"/>
                      <a:pt x="314351" y="269836"/>
                      <a:pt x="315943" y="270017"/>
                    </a:cubicBezTo>
                    <a:lnTo>
                      <a:pt x="315943" y="280354"/>
                    </a:lnTo>
                    <a:cubicBezTo>
                      <a:pt x="315943" y="282348"/>
                      <a:pt x="316580" y="284162"/>
                      <a:pt x="317854" y="285431"/>
                    </a:cubicBezTo>
                    <a:cubicBezTo>
                      <a:pt x="318969" y="286701"/>
                      <a:pt x="320721" y="287607"/>
                      <a:pt x="322313" y="287607"/>
                    </a:cubicBezTo>
                    <a:lnTo>
                      <a:pt x="357825" y="287607"/>
                    </a:lnTo>
                    <a:lnTo>
                      <a:pt x="357825" y="299213"/>
                    </a:lnTo>
                    <a:cubicBezTo>
                      <a:pt x="357825" y="301208"/>
                      <a:pt x="358462" y="303021"/>
                      <a:pt x="359736" y="304291"/>
                    </a:cubicBezTo>
                    <a:cubicBezTo>
                      <a:pt x="360850" y="305741"/>
                      <a:pt x="362602" y="306467"/>
                      <a:pt x="364195" y="306467"/>
                    </a:cubicBezTo>
                    <a:lnTo>
                      <a:pt x="369768" y="306467"/>
                    </a:lnTo>
                    <a:lnTo>
                      <a:pt x="369768" y="322969"/>
                    </a:lnTo>
                    <a:cubicBezTo>
                      <a:pt x="369768" y="324782"/>
                      <a:pt x="370405" y="326777"/>
                      <a:pt x="371679" y="328046"/>
                    </a:cubicBezTo>
                    <a:cubicBezTo>
                      <a:pt x="372794" y="329316"/>
                      <a:pt x="374546" y="330222"/>
                      <a:pt x="376138" y="330222"/>
                    </a:cubicBezTo>
                    <a:lnTo>
                      <a:pt x="399706" y="330222"/>
                    </a:lnTo>
                    <a:lnTo>
                      <a:pt x="399706" y="342372"/>
                    </a:lnTo>
                    <a:cubicBezTo>
                      <a:pt x="399706" y="344186"/>
                      <a:pt x="400343" y="346181"/>
                      <a:pt x="401617" y="347450"/>
                    </a:cubicBezTo>
                    <a:cubicBezTo>
                      <a:pt x="402732" y="348719"/>
                      <a:pt x="404165" y="349445"/>
                      <a:pt x="405758" y="349626"/>
                    </a:cubicBezTo>
                    <a:lnTo>
                      <a:pt x="405758" y="364133"/>
                    </a:lnTo>
                    <a:cubicBezTo>
                      <a:pt x="405758" y="366128"/>
                      <a:pt x="406395" y="367941"/>
                      <a:pt x="407669" y="369211"/>
                    </a:cubicBezTo>
                    <a:cubicBezTo>
                      <a:pt x="407987" y="369574"/>
                      <a:pt x="408306" y="369936"/>
                      <a:pt x="408783" y="370299"/>
                    </a:cubicBezTo>
                    <a:lnTo>
                      <a:pt x="408783" y="384625"/>
                    </a:lnTo>
                    <a:cubicBezTo>
                      <a:pt x="408783" y="386438"/>
                      <a:pt x="409420" y="388433"/>
                      <a:pt x="410694" y="389702"/>
                    </a:cubicBezTo>
                    <a:cubicBezTo>
                      <a:pt x="411809" y="391153"/>
                      <a:pt x="413561" y="391879"/>
                      <a:pt x="415153" y="391879"/>
                    </a:cubicBezTo>
                    <a:lnTo>
                      <a:pt x="465634" y="391879"/>
                    </a:lnTo>
                    <a:lnTo>
                      <a:pt x="465634" y="403666"/>
                    </a:lnTo>
                    <a:cubicBezTo>
                      <a:pt x="465634" y="405479"/>
                      <a:pt x="466271" y="407474"/>
                      <a:pt x="467545" y="408743"/>
                    </a:cubicBezTo>
                    <a:cubicBezTo>
                      <a:pt x="468660" y="410013"/>
                      <a:pt x="470093" y="410738"/>
                      <a:pt x="471685" y="410919"/>
                    </a:cubicBezTo>
                    <a:lnTo>
                      <a:pt x="471685" y="425064"/>
                    </a:lnTo>
                    <a:cubicBezTo>
                      <a:pt x="471685" y="427059"/>
                      <a:pt x="472322" y="428872"/>
                      <a:pt x="473596" y="430142"/>
                    </a:cubicBezTo>
                    <a:cubicBezTo>
                      <a:pt x="473915" y="430504"/>
                      <a:pt x="474233" y="430867"/>
                      <a:pt x="474711" y="431230"/>
                    </a:cubicBezTo>
                    <a:lnTo>
                      <a:pt x="474711" y="446825"/>
                    </a:lnTo>
                    <a:cubicBezTo>
                      <a:pt x="474711" y="448638"/>
                      <a:pt x="475348" y="450633"/>
                      <a:pt x="476622" y="451902"/>
                    </a:cubicBezTo>
                    <a:cubicBezTo>
                      <a:pt x="477737" y="453172"/>
                      <a:pt x="479488" y="454079"/>
                      <a:pt x="481081" y="454079"/>
                    </a:cubicBezTo>
                    <a:lnTo>
                      <a:pt x="492706" y="454079"/>
                    </a:lnTo>
                    <a:lnTo>
                      <a:pt x="492706" y="466410"/>
                    </a:lnTo>
                    <a:cubicBezTo>
                      <a:pt x="492706" y="468405"/>
                      <a:pt x="493343" y="470218"/>
                      <a:pt x="494617" y="471487"/>
                    </a:cubicBezTo>
                    <a:cubicBezTo>
                      <a:pt x="494935" y="471850"/>
                      <a:pt x="495254" y="472213"/>
                      <a:pt x="495731" y="472575"/>
                    </a:cubicBezTo>
                    <a:lnTo>
                      <a:pt x="495731" y="490528"/>
                    </a:lnTo>
                    <a:cubicBezTo>
                      <a:pt x="495731" y="492523"/>
                      <a:pt x="496368" y="494336"/>
                      <a:pt x="497642" y="495606"/>
                    </a:cubicBezTo>
                    <a:cubicBezTo>
                      <a:pt x="498757" y="496875"/>
                      <a:pt x="500190" y="497600"/>
                      <a:pt x="501783" y="497782"/>
                    </a:cubicBezTo>
                    <a:lnTo>
                      <a:pt x="501783" y="508300"/>
                    </a:lnTo>
                    <a:cubicBezTo>
                      <a:pt x="501783" y="510294"/>
                      <a:pt x="502420" y="512108"/>
                      <a:pt x="503694" y="513377"/>
                    </a:cubicBezTo>
                    <a:cubicBezTo>
                      <a:pt x="504808" y="514828"/>
                      <a:pt x="506560" y="515553"/>
                      <a:pt x="508153" y="515553"/>
                    </a:cubicBezTo>
                    <a:lnTo>
                      <a:pt x="540639" y="515553"/>
                    </a:lnTo>
                    <a:lnTo>
                      <a:pt x="540639" y="524620"/>
                    </a:lnTo>
                    <a:cubicBezTo>
                      <a:pt x="540639" y="526615"/>
                      <a:pt x="541276" y="528429"/>
                      <a:pt x="542550" y="529698"/>
                    </a:cubicBezTo>
                    <a:cubicBezTo>
                      <a:pt x="542868" y="530061"/>
                      <a:pt x="543346" y="530423"/>
                      <a:pt x="543664" y="530786"/>
                    </a:cubicBezTo>
                    <a:lnTo>
                      <a:pt x="543664" y="541666"/>
                    </a:lnTo>
                    <a:cubicBezTo>
                      <a:pt x="543664" y="543661"/>
                      <a:pt x="544301" y="545475"/>
                      <a:pt x="545575" y="546744"/>
                    </a:cubicBezTo>
                    <a:cubicBezTo>
                      <a:pt x="546690" y="548195"/>
                      <a:pt x="548442" y="548920"/>
                      <a:pt x="550034" y="548920"/>
                    </a:cubicBezTo>
                    <a:lnTo>
                      <a:pt x="576628" y="548920"/>
                    </a:lnTo>
                    <a:lnTo>
                      <a:pt x="576628" y="559438"/>
                    </a:lnTo>
                    <a:cubicBezTo>
                      <a:pt x="576628" y="561433"/>
                      <a:pt x="577265" y="563246"/>
                      <a:pt x="578539" y="564515"/>
                    </a:cubicBezTo>
                    <a:cubicBezTo>
                      <a:pt x="579654" y="565785"/>
                      <a:pt x="581406" y="566692"/>
                      <a:pt x="582998" y="566692"/>
                    </a:cubicBezTo>
                    <a:lnTo>
                      <a:pt x="585546" y="566692"/>
                    </a:lnTo>
                    <a:lnTo>
                      <a:pt x="585546" y="575577"/>
                    </a:lnTo>
                    <a:cubicBezTo>
                      <a:pt x="585546" y="577391"/>
                      <a:pt x="586183" y="579385"/>
                      <a:pt x="587457" y="580655"/>
                    </a:cubicBezTo>
                    <a:cubicBezTo>
                      <a:pt x="588731" y="582106"/>
                      <a:pt x="590323" y="582831"/>
                      <a:pt x="591916" y="582831"/>
                    </a:cubicBezTo>
                    <a:lnTo>
                      <a:pt x="597489" y="582831"/>
                    </a:lnTo>
                    <a:lnTo>
                      <a:pt x="597489" y="593349"/>
                    </a:lnTo>
                    <a:cubicBezTo>
                      <a:pt x="597489" y="595162"/>
                      <a:pt x="598126" y="597157"/>
                      <a:pt x="599400" y="598426"/>
                    </a:cubicBezTo>
                    <a:cubicBezTo>
                      <a:pt x="600515" y="599696"/>
                      <a:pt x="602267" y="600602"/>
                      <a:pt x="603859" y="600602"/>
                    </a:cubicBezTo>
                    <a:lnTo>
                      <a:pt x="633320" y="600602"/>
                    </a:lnTo>
                    <a:lnTo>
                      <a:pt x="633320" y="611120"/>
                    </a:lnTo>
                    <a:cubicBezTo>
                      <a:pt x="633320" y="612934"/>
                      <a:pt x="633957" y="614928"/>
                      <a:pt x="635230" y="616198"/>
                    </a:cubicBezTo>
                    <a:cubicBezTo>
                      <a:pt x="635549" y="616560"/>
                      <a:pt x="636027" y="616923"/>
                      <a:pt x="636345" y="617286"/>
                    </a:cubicBezTo>
                    <a:lnTo>
                      <a:pt x="636345" y="630342"/>
                    </a:lnTo>
                    <a:cubicBezTo>
                      <a:pt x="636345" y="632156"/>
                      <a:pt x="636982" y="634150"/>
                      <a:pt x="638256" y="635420"/>
                    </a:cubicBezTo>
                    <a:cubicBezTo>
                      <a:pt x="638575" y="635783"/>
                      <a:pt x="639052" y="636145"/>
                      <a:pt x="639371" y="636508"/>
                    </a:cubicBezTo>
                    <a:lnTo>
                      <a:pt x="639371" y="649927"/>
                    </a:lnTo>
                    <a:cubicBezTo>
                      <a:pt x="639371" y="651741"/>
                      <a:pt x="640008" y="653735"/>
                      <a:pt x="641282" y="655005"/>
                    </a:cubicBezTo>
                    <a:cubicBezTo>
                      <a:pt x="642397" y="656274"/>
                      <a:pt x="644148" y="657181"/>
                      <a:pt x="645741" y="657181"/>
                    </a:cubicBezTo>
                    <a:lnTo>
                      <a:pt x="651314" y="657181"/>
                    </a:lnTo>
                    <a:lnTo>
                      <a:pt x="651314" y="665704"/>
                    </a:lnTo>
                    <a:cubicBezTo>
                      <a:pt x="651314" y="667699"/>
                      <a:pt x="651951" y="669512"/>
                      <a:pt x="653225" y="670781"/>
                    </a:cubicBezTo>
                    <a:cubicBezTo>
                      <a:pt x="654340" y="672051"/>
                      <a:pt x="656092" y="672958"/>
                      <a:pt x="657684" y="672958"/>
                    </a:cubicBezTo>
                    <a:lnTo>
                      <a:pt x="678227" y="672958"/>
                    </a:lnTo>
                    <a:lnTo>
                      <a:pt x="678227" y="684201"/>
                    </a:lnTo>
                    <a:cubicBezTo>
                      <a:pt x="678227" y="686195"/>
                      <a:pt x="678864" y="688009"/>
                      <a:pt x="680138" y="689278"/>
                    </a:cubicBezTo>
                    <a:cubicBezTo>
                      <a:pt x="681252" y="690729"/>
                      <a:pt x="683004" y="691454"/>
                      <a:pt x="684597" y="691454"/>
                    </a:cubicBezTo>
                    <a:lnTo>
                      <a:pt x="702114" y="691454"/>
                    </a:lnTo>
                    <a:lnTo>
                      <a:pt x="702114" y="701609"/>
                    </a:lnTo>
                    <a:cubicBezTo>
                      <a:pt x="702114" y="703604"/>
                      <a:pt x="702751" y="705418"/>
                      <a:pt x="704025" y="706687"/>
                    </a:cubicBezTo>
                    <a:cubicBezTo>
                      <a:pt x="705139" y="708138"/>
                      <a:pt x="706891" y="708863"/>
                      <a:pt x="708483" y="708863"/>
                    </a:cubicBezTo>
                    <a:lnTo>
                      <a:pt x="764856" y="708863"/>
                    </a:lnTo>
                    <a:lnTo>
                      <a:pt x="764856" y="721920"/>
                    </a:lnTo>
                    <a:cubicBezTo>
                      <a:pt x="764856" y="723914"/>
                      <a:pt x="765493" y="725728"/>
                      <a:pt x="766767" y="726997"/>
                    </a:cubicBezTo>
                    <a:cubicBezTo>
                      <a:pt x="767086" y="727360"/>
                      <a:pt x="767404" y="727723"/>
                      <a:pt x="767882" y="728085"/>
                    </a:cubicBezTo>
                    <a:lnTo>
                      <a:pt x="767882" y="777591"/>
                    </a:lnTo>
                    <a:cubicBezTo>
                      <a:pt x="767882" y="779405"/>
                      <a:pt x="768519" y="781400"/>
                      <a:pt x="769793" y="782669"/>
                    </a:cubicBezTo>
                    <a:cubicBezTo>
                      <a:pt x="771067" y="783938"/>
                      <a:pt x="772659" y="784845"/>
                      <a:pt x="774252" y="784845"/>
                    </a:cubicBezTo>
                    <a:lnTo>
                      <a:pt x="845594" y="784845"/>
                    </a:lnTo>
                    <a:lnTo>
                      <a:pt x="845594" y="796995"/>
                    </a:lnTo>
                    <a:cubicBezTo>
                      <a:pt x="845594" y="798990"/>
                      <a:pt x="846231" y="800803"/>
                      <a:pt x="847505" y="802073"/>
                    </a:cubicBezTo>
                    <a:cubicBezTo>
                      <a:pt x="848620" y="803523"/>
                      <a:pt x="850371" y="804249"/>
                      <a:pt x="851964" y="804249"/>
                    </a:cubicBezTo>
                    <a:lnTo>
                      <a:pt x="857537" y="804249"/>
                    </a:lnTo>
                    <a:lnTo>
                      <a:pt x="857537" y="816036"/>
                    </a:lnTo>
                    <a:cubicBezTo>
                      <a:pt x="857537" y="817849"/>
                      <a:pt x="858174" y="819844"/>
                      <a:pt x="859448" y="821113"/>
                    </a:cubicBezTo>
                    <a:cubicBezTo>
                      <a:pt x="860563" y="822564"/>
                      <a:pt x="862315" y="823289"/>
                      <a:pt x="863907" y="823289"/>
                    </a:cubicBezTo>
                    <a:lnTo>
                      <a:pt x="878558" y="823289"/>
                    </a:lnTo>
                    <a:lnTo>
                      <a:pt x="878558" y="832175"/>
                    </a:lnTo>
                    <a:cubicBezTo>
                      <a:pt x="878558" y="834170"/>
                      <a:pt x="879195" y="835983"/>
                      <a:pt x="880469" y="837253"/>
                    </a:cubicBezTo>
                    <a:cubicBezTo>
                      <a:pt x="881583" y="838703"/>
                      <a:pt x="883335" y="839429"/>
                      <a:pt x="884927" y="839429"/>
                    </a:cubicBezTo>
                    <a:lnTo>
                      <a:pt x="935408" y="839429"/>
                    </a:lnTo>
                    <a:lnTo>
                      <a:pt x="935408" y="851397"/>
                    </a:lnTo>
                    <a:cubicBezTo>
                      <a:pt x="935408" y="853392"/>
                      <a:pt x="936045" y="855206"/>
                      <a:pt x="937319" y="856475"/>
                    </a:cubicBezTo>
                    <a:cubicBezTo>
                      <a:pt x="937638" y="856838"/>
                      <a:pt x="937956" y="857200"/>
                      <a:pt x="938434" y="857563"/>
                    </a:cubicBezTo>
                    <a:lnTo>
                      <a:pt x="938434" y="869350"/>
                    </a:lnTo>
                    <a:cubicBezTo>
                      <a:pt x="938434" y="871345"/>
                      <a:pt x="939071" y="873158"/>
                      <a:pt x="940345" y="874428"/>
                    </a:cubicBezTo>
                    <a:cubicBezTo>
                      <a:pt x="941460" y="875878"/>
                      <a:pt x="943211" y="876604"/>
                      <a:pt x="944804" y="876604"/>
                    </a:cubicBezTo>
                    <a:lnTo>
                      <a:pt x="977290" y="876604"/>
                    </a:lnTo>
                    <a:lnTo>
                      <a:pt x="977290" y="890204"/>
                    </a:lnTo>
                    <a:cubicBezTo>
                      <a:pt x="977290" y="892199"/>
                      <a:pt x="977927" y="894013"/>
                      <a:pt x="979201" y="895282"/>
                    </a:cubicBezTo>
                    <a:cubicBezTo>
                      <a:pt x="980316" y="896551"/>
                      <a:pt x="982067" y="897458"/>
                      <a:pt x="983660" y="897458"/>
                    </a:cubicBezTo>
                    <a:lnTo>
                      <a:pt x="998310" y="897458"/>
                    </a:lnTo>
                    <a:lnTo>
                      <a:pt x="998310" y="908520"/>
                    </a:lnTo>
                    <a:cubicBezTo>
                      <a:pt x="998310" y="910515"/>
                      <a:pt x="998947" y="912328"/>
                      <a:pt x="1000221" y="913597"/>
                    </a:cubicBezTo>
                    <a:cubicBezTo>
                      <a:pt x="1001336" y="914867"/>
                      <a:pt x="1003088" y="915774"/>
                      <a:pt x="1004680" y="915774"/>
                    </a:cubicBezTo>
                    <a:lnTo>
                      <a:pt x="1088125" y="915774"/>
                    </a:lnTo>
                    <a:lnTo>
                      <a:pt x="1088125" y="928105"/>
                    </a:lnTo>
                    <a:cubicBezTo>
                      <a:pt x="1088125" y="930099"/>
                      <a:pt x="1088762" y="931913"/>
                      <a:pt x="1090036" y="933182"/>
                    </a:cubicBezTo>
                    <a:cubicBezTo>
                      <a:pt x="1091151" y="934633"/>
                      <a:pt x="1092902" y="935358"/>
                      <a:pt x="1094495" y="935358"/>
                    </a:cubicBezTo>
                    <a:lnTo>
                      <a:pt x="1133032" y="935358"/>
                    </a:lnTo>
                    <a:lnTo>
                      <a:pt x="1133032" y="945876"/>
                    </a:lnTo>
                    <a:cubicBezTo>
                      <a:pt x="1133032" y="947871"/>
                      <a:pt x="1133669" y="949684"/>
                      <a:pt x="1134943" y="950954"/>
                    </a:cubicBezTo>
                    <a:cubicBezTo>
                      <a:pt x="1136217" y="952223"/>
                      <a:pt x="1137809" y="953130"/>
                      <a:pt x="1139402" y="953130"/>
                    </a:cubicBezTo>
                    <a:lnTo>
                      <a:pt x="1249759" y="953130"/>
                    </a:lnTo>
                    <a:lnTo>
                      <a:pt x="1249759" y="966730"/>
                    </a:lnTo>
                    <a:cubicBezTo>
                      <a:pt x="1249759" y="968725"/>
                      <a:pt x="1250396" y="970539"/>
                      <a:pt x="1251670" y="971808"/>
                    </a:cubicBezTo>
                    <a:cubicBezTo>
                      <a:pt x="1252785" y="973259"/>
                      <a:pt x="1254536" y="973984"/>
                      <a:pt x="1256129" y="973984"/>
                    </a:cubicBezTo>
                    <a:lnTo>
                      <a:pt x="1321579" y="973984"/>
                    </a:lnTo>
                    <a:lnTo>
                      <a:pt x="1321579" y="984865"/>
                    </a:lnTo>
                    <a:cubicBezTo>
                      <a:pt x="1321579" y="986859"/>
                      <a:pt x="1322216" y="988673"/>
                      <a:pt x="1323490" y="989942"/>
                    </a:cubicBezTo>
                    <a:cubicBezTo>
                      <a:pt x="1324604" y="991393"/>
                      <a:pt x="1326356" y="992118"/>
                      <a:pt x="1327949" y="992118"/>
                    </a:cubicBezTo>
                    <a:lnTo>
                      <a:pt x="1390373" y="992118"/>
                    </a:lnTo>
                    <a:lnTo>
                      <a:pt x="1390373" y="1008076"/>
                    </a:lnTo>
                    <a:cubicBezTo>
                      <a:pt x="1390373" y="1010071"/>
                      <a:pt x="1391010" y="1011884"/>
                      <a:pt x="1392284" y="1013154"/>
                    </a:cubicBezTo>
                    <a:cubicBezTo>
                      <a:pt x="1393399" y="1014423"/>
                      <a:pt x="1395150" y="1015330"/>
                      <a:pt x="1396743" y="1015330"/>
                    </a:cubicBezTo>
                    <a:lnTo>
                      <a:pt x="1468085" y="1015330"/>
                    </a:lnTo>
                    <a:lnTo>
                      <a:pt x="1468085" y="1023853"/>
                    </a:lnTo>
                    <a:cubicBezTo>
                      <a:pt x="1468085" y="1025848"/>
                      <a:pt x="1468722" y="1027661"/>
                      <a:pt x="1469996" y="1028930"/>
                    </a:cubicBezTo>
                    <a:cubicBezTo>
                      <a:pt x="1471270" y="1030200"/>
                      <a:pt x="1472862" y="1031107"/>
                      <a:pt x="1474455" y="1031107"/>
                    </a:cubicBezTo>
                    <a:lnTo>
                      <a:pt x="1587678" y="1031107"/>
                    </a:lnTo>
                    <a:lnTo>
                      <a:pt x="1587678" y="1042168"/>
                    </a:lnTo>
                    <a:cubicBezTo>
                      <a:pt x="1587678" y="1044163"/>
                      <a:pt x="1588315" y="1045977"/>
                      <a:pt x="1589589" y="1047246"/>
                    </a:cubicBezTo>
                    <a:cubicBezTo>
                      <a:pt x="1590704" y="1048515"/>
                      <a:pt x="1592455" y="1049422"/>
                      <a:pt x="1594048" y="1049422"/>
                    </a:cubicBezTo>
                    <a:lnTo>
                      <a:pt x="1602647" y="1049422"/>
                    </a:lnTo>
                    <a:lnTo>
                      <a:pt x="1602647" y="1058852"/>
                    </a:lnTo>
                    <a:cubicBezTo>
                      <a:pt x="1602647" y="1060847"/>
                      <a:pt x="1603284" y="1062660"/>
                      <a:pt x="1604558" y="1063929"/>
                    </a:cubicBezTo>
                    <a:cubicBezTo>
                      <a:pt x="1605832" y="1065380"/>
                      <a:pt x="1607425" y="1066105"/>
                      <a:pt x="1609017" y="1066105"/>
                    </a:cubicBezTo>
                    <a:lnTo>
                      <a:pt x="1626534" y="1066105"/>
                    </a:lnTo>
                    <a:lnTo>
                      <a:pt x="1626534" y="1080431"/>
                    </a:lnTo>
                    <a:cubicBezTo>
                      <a:pt x="1626534" y="1082426"/>
                      <a:pt x="1627171" y="1084240"/>
                      <a:pt x="1628445" y="1085509"/>
                    </a:cubicBezTo>
                    <a:cubicBezTo>
                      <a:pt x="1629719" y="1086778"/>
                      <a:pt x="1631311" y="1087685"/>
                      <a:pt x="1632904" y="1087685"/>
                    </a:cubicBezTo>
                    <a:lnTo>
                      <a:pt x="1644370" y="1087685"/>
                    </a:lnTo>
                    <a:lnTo>
                      <a:pt x="1644370" y="1100016"/>
                    </a:lnTo>
                    <a:cubicBezTo>
                      <a:pt x="1644370" y="1101830"/>
                      <a:pt x="1645007" y="1103824"/>
                      <a:pt x="1646280" y="1105094"/>
                    </a:cubicBezTo>
                    <a:cubicBezTo>
                      <a:pt x="1647554" y="1106363"/>
                      <a:pt x="1649147" y="1107270"/>
                      <a:pt x="1650739" y="1107270"/>
                    </a:cubicBezTo>
                    <a:lnTo>
                      <a:pt x="1829891" y="1107270"/>
                    </a:lnTo>
                    <a:lnTo>
                      <a:pt x="1829891" y="1123228"/>
                    </a:lnTo>
                    <a:cubicBezTo>
                      <a:pt x="1829891" y="1125041"/>
                      <a:pt x="1830528" y="1127036"/>
                      <a:pt x="1831801" y="1128305"/>
                    </a:cubicBezTo>
                    <a:cubicBezTo>
                      <a:pt x="1832916" y="1129756"/>
                      <a:pt x="1834668" y="1130482"/>
                      <a:pt x="1836260" y="1130482"/>
                    </a:cubicBezTo>
                    <a:lnTo>
                      <a:pt x="1976396" y="1130482"/>
                    </a:lnTo>
                    <a:lnTo>
                      <a:pt x="1976396" y="1142813"/>
                    </a:lnTo>
                    <a:cubicBezTo>
                      <a:pt x="1976396" y="1144626"/>
                      <a:pt x="1977033" y="1146621"/>
                      <a:pt x="1978307" y="1147890"/>
                    </a:cubicBezTo>
                    <a:cubicBezTo>
                      <a:pt x="1979422" y="1149341"/>
                      <a:pt x="1981174" y="1150066"/>
                      <a:pt x="1982766" y="1150066"/>
                    </a:cubicBezTo>
                    <a:lnTo>
                      <a:pt x="2182779" y="1150066"/>
                    </a:lnTo>
                    <a:lnTo>
                      <a:pt x="2182779" y="1162579"/>
                    </a:lnTo>
                    <a:cubicBezTo>
                      <a:pt x="2182779" y="1164574"/>
                      <a:pt x="2183416" y="1166387"/>
                      <a:pt x="2184690" y="1167657"/>
                    </a:cubicBezTo>
                    <a:cubicBezTo>
                      <a:pt x="2185964" y="1168926"/>
                      <a:pt x="2187556" y="1169833"/>
                      <a:pt x="2189149" y="1169833"/>
                    </a:cubicBezTo>
                    <a:lnTo>
                      <a:pt x="2697301" y="1169833"/>
                    </a:lnTo>
                    <a:lnTo>
                      <a:pt x="2697301" y="1181439"/>
                    </a:lnTo>
                    <a:cubicBezTo>
                      <a:pt x="2697301" y="1183433"/>
                      <a:pt x="2697938" y="1185247"/>
                      <a:pt x="2699212" y="1186516"/>
                    </a:cubicBezTo>
                    <a:cubicBezTo>
                      <a:pt x="2700327" y="1187785"/>
                      <a:pt x="2702079" y="1188692"/>
                      <a:pt x="2703671" y="1188692"/>
                    </a:cubicBezTo>
                    <a:lnTo>
                      <a:pt x="3570763" y="1188692"/>
                    </a:lnTo>
                    <a:lnTo>
                      <a:pt x="3570763" y="1203018"/>
                    </a:lnTo>
                    <a:cubicBezTo>
                      <a:pt x="3570763" y="1205013"/>
                      <a:pt x="3571400" y="1206826"/>
                      <a:pt x="3572674" y="1208096"/>
                    </a:cubicBezTo>
                    <a:cubicBezTo>
                      <a:pt x="3573789" y="1209546"/>
                      <a:pt x="3575540" y="1210272"/>
                      <a:pt x="3577133" y="1210272"/>
                    </a:cubicBezTo>
                    <a:lnTo>
                      <a:pt x="3678413" y="1210272"/>
                    </a:lnTo>
                    <a:lnTo>
                      <a:pt x="3678413" y="1222784"/>
                    </a:lnTo>
                    <a:cubicBezTo>
                      <a:pt x="3678413" y="1224598"/>
                      <a:pt x="3679050" y="1226592"/>
                      <a:pt x="3680324" y="1227862"/>
                    </a:cubicBezTo>
                    <a:cubicBezTo>
                      <a:pt x="3681439" y="1229313"/>
                      <a:pt x="3683190" y="1230038"/>
                      <a:pt x="3684783" y="1230038"/>
                    </a:cubicBezTo>
                    <a:lnTo>
                      <a:pt x="4963047" y="1230038"/>
                    </a:lnTo>
                    <a:lnTo>
                      <a:pt x="4963047" y="1215531"/>
                    </a:lnTo>
                    <a:lnTo>
                      <a:pt x="3691152" y="1215531"/>
                    </a:lnTo>
                    <a:lnTo>
                      <a:pt x="3691152" y="1203018"/>
                    </a:lnTo>
                    <a:cubicBezTo>
                      <a:pt x="3691152" y="1201205"/>
                      <a:pt x="3690516" y="1199210"/>
                      <a:pt x="3689242" y="1197941"/>
                    </a:cubicBezTo>
                    <a:cubicBezTo>
                      <a:pt x="3688127" y="1196490"/>
                      <a:pt x="3686375" y="1195765"/>
                      <a:pt x="3684783" y="1195765"/>
                    </a:cubicBezTo>
                    <a:lnTo>
                      <a:pt x="3583503" y="1195765"/>
                    </a:lnTo>
                    <a:lnTo>
                      <a:pt x="3583503" y="1181439"/>
                    </a:lnTo>
                    <a:cubicBezTo>
                      <a:pt x="3583503" y="1179444"/>
                      <a:pt x="3582866" y="1177630"/>
                      <a:pt x="3581592" y="1176361"/>
                    </a:cubicBezTo>
                    <a:cubicBezTo>
                      <a:pt x="3580318" y="1174910"/>
                      <a:pt x="3578725" y="1174185"/>
                      <a:pt x="3577133" y="1174185"/>
                    </a:cubicBezTo>
                    <a:lnTo>
                      <a:pt x="2710041" y="1174185"/>
                    </a:lnTo>
                    <a:lnTo>
                      <a:pt x="2710041" y="1162579"/>
                    </a:lnTo>
                    <a:cubicBezTo>
                      <a:pt x="2710041" y="1160584"/>
                      <a:pt x="2709404" y="1158771"/>
                      <a:pt x="2708130" y="1157502"/>
                    </a:cubicBezTo>
                    <a:cubicBezTo>
                      <a:pt x="2707015" y="1156051"/>
                      <a:pt x="2705263" y="1155325"/>
                      <a:pt x="2703671" y="1155325"/>
                    </a:cubicBezTo>
                    <a:lnTo>
                      <a:pt x="2195518" y="1155325"/>
                    </a:lnTo>
                    <a:lnTo>
                      <a:pt x="2195518" y="1142813"/>
                    </a:lnTo>
                    <a:cubicBezTo>
                      <a:pt x="2195518" y="1140999"/>
                      <a:pt x="2194881" y="1139005"/>
                      <a:pt x="2193607" y="1137735"/>
                    </a:cubicBezTo>
                    <a:cubicBezTo>
                      <a:pt x="2192493" y="1136466"/>
                      <a:pt x="2190741" y="1135559"/>
                      <a:pt x="2189149" y="1135559"/>
                    </a:cubicBezTo>
                    <a:lnTo>
                      <a:pt x="1989136" y="1135559"/>
                    </a:lnTo>
                    <a:lnTo>
                      <a:pt x="1989136" y="1123228"/>
                    </a:lnTo>
                    <a:cubicBezTo>
                      <a:pt x="1989136" y="1121233"/>
                      <a:pt x="1988499" y="1119420"/>
                      <a:pt x="1987225" y="1118150"/>
                    </a:cubicBezTo>
                    <a:cubicBezTo>
                      <a:pt x="1985951" y="1116700"/>
                      <a:pt x="1984359" y="1115974"/>
                      <a:pt x="1982766" y="1115974"/>
                    </a:cubicBezTo>
                    <a:lnTo>
                      <a:pt x="1842471" y="1115974"/>
                    </a:lnTo>
                    <a:lnTo>
                      <a:pt x="1842471" y="1100016"/>
                    </a:lnTo>
                    <a:cubicBezTo>
                      <a:pt x="1842471" y="1098022"/>
                      <a:pt x="1841834" y="1096208"/>
                      <a:pt x="1840560" y="1094939"/>
                    </a:cubicBezTo>
                    <a:cubicBezTo>
                      <a:pt x="1839286" y="1093669"/>
                      <a:pt x="1837694" y="1092763"/>
                      <a:pt x="1836101" y="1092763"/>
                    </a:cubicBezTo>
                    <a:lnTo>
                      <a:pt x="1656950" y="1092763"/>
                    </a:lnTo>
                    <a:lnTo>
                      <a:pt x="1656950" y="1080431"/>
                    </a:lnTo>
                    <a:cubicBezTo>
                      <a:pt x="1656950" y="1078437"/>
                      <a:pt x="1656313" y="1076623"/>
                      <a:pt x="1655039" y="1075354"/>
                    </a:cubicBezTo>
                    <a:cubicBezTo>
                      <a:pt x="1653924" y="1074084"/>
                      <a:pt x="1652173" y="1073178"/>
                      <a:pt x="1650580" y="1073178"/>
                    </a:cubicBezTo>
                    <a:lnTo>
                      <a:pt x="1639114" y="1073178"/>
                    </a:lnTo>
                    <a:lnTo>
                      <a:pt x="1639114" y="1058852"/>
                    </a:lnTo>
                    <a:cubicBezTo>
                      <a:pt x="1639114" y="1057038"/>
                      <a:pt x="1638477" y="1055044"/>
                      <a:pt x="1637203" y="1053774"/>
                    </a:cubicBezTo>
                    <a:cubicBezTo>
                      <a:pt x="1636089" y="1052505"/>
                      <a:pt x="1634337" y="1051598"/>
                      <a:pt x="1632745" y="1051598"/>
                    </a:cubicBezTo>
                    <a:lnTo>
                      <a:pt x="1615228" y="1051598"/>
                    </a:lnTo>
                    <a:lnTo>
                      <a:pt x="1615228" y="1042168"/>
                    </a:lnTo>
                    <a:cubicBezTo>
                      <a:pt x="1615228" y="1040355"/>
                      <a:pt x="1614591" y="1038360"/>
                      <a:pt x="1613317" y="1037091"/>
                    </a:cubicBezTo>
                    <a:cubicBezTo>
                      <a:pt x="1612043" y="1035821"/>
                      <a:pt x="1610450" y="1034915"/>
                      <a:pt x="1608858" y="1034915"/>
                    </a:cubicBezTo>
                    <a:lnTo>
                      <a:pt x="1600258" y="1034915"/>
                    </a:lnTo>
                    <a:lnTo>
                      <a:pt x="1600258" y="1023853"/>
                    </a:lnTo>
                    <a:cubicBezTo>
                      <a:pt x="1600258" y="1021858"/>
                      <a:pt x="1599621" y="1020045"/>
                      <a:pt x="1598348" y="1018775"/>
                    </a:cubicBezTo>
                    <a:cubicBezTo>
                      <a:pt x="1597233" y="1017506"/>
                      <a:pt x="1595481" y="1016599"/>
                      <a:pt x="1593889" y="1016599"/>
                    </a:cubicBezTo>
                    <a:lnTo>
                      <a:pt x="1480665" y="1016599"/>
                    </a:lnTo>
                    <a:lnTo>
                      <a:pt x="1480665" y="1008076"/>
                    </a:lnTo>
                    <a:cubicBezTo>
                      <a:pt x="1480665" y="1006263"/>
                      <a:pt x="1480028" y="1004268"/>
                      <a:pt x="1478754" y="1002999"/>
                    </a:cubicBezTo>
                    <a:cubicBezTo>
                      <a:pt x="1477639" y="1001729"/>
                      <a:pt x="1475888" y="1000823"/>
                      <a:pt x="1474295" y="1000823"/>
                    </a:cubicBezTo>
                    <a:lnTo>
                      <a:pt x="1402953" y="1000823"/>
                    </a:lnTo>
                    <a:lnTo>
                      <a:pt x="1402953" y="984865"/>
                    </a:lnTo>
                    <a:cubicBezTo>
                      <a:pt x="1402953" y="983051"/>
                      <a:pt x="1402316" y="981056"/>
                      <a:pt x="1401042" y="979787"/>
                    </a:cubicBezTo>
                    <a:cubicBezTo>
                      <a:pt x="1399928" y="978518"/>
                      <a:pt x="1398176" y="977611"/>
                      <a:pt x="1396583" y="977611"/>
                    </a:cubicBezTo>
                    <a:lnTo>
                      <a:pt x="1334159" y="977611"/>
                    </a:lnTo>
                    <a:lnTo>
                      <a:pt x="1334159" y="966730"/>
                    </a:lnTo>
                    <a:cubicBezTo>
                      <a:pt x="1334159" y="964917"/>
                      <a:pt x="1333522" y="962922"/>
                      <a:pt x="1332248" y="961653"/>
                    </a:cubicBezTo>
                    <a:cubicBezTo>
                      <a:pt x="1331134" y="960202"/>
                      <a:pt x="1329382" y="959477"/>
                      <a:pt x="1327789" y="959477"/>
                    </a:cubicBezTo>
                    <a:lnTo>
                      <a:pt x="1262340" y="959477"/>
                    </a:lnTo>
                    <a:lnTo>
                      <a:pt x="1262340" y="945876"/>
                    </a:lnTo>
                    <a:cubicBezTo>
                      <a:pt x="1262340" y="943881"/>
                      <a:pt x="1261703" y="942068"/>
                      <a:pt x="1260429" y="940799"/>
                    </a:cubicBezTo>
                    <a:cubicBezTo>
                      <a:pt x="1259314" y="939348"/>
                      <a:pt x="1257562" y="938622"/>
                      <a:pt x="1255970" y="938622"/>
                    </a:cubicBezTo>
                    <a:lnTo>
                      <a:pt x="1145613" y="938622"/>
                    </a:lnTo>
                    <a:lnTo>
                      <a:pt x="1145613" y="928105"/>
                    </a:lnTo>
                    <a:cubicBezTo>
                      <a:pt x="1145613" y="926110"/>
                      <a:pt x="1144976" y="924297"/>
                      <a:pt x="1143702" y="923027"/>
                    </a:cubicBezTo>
                    <a:cubicBezTo>
                      <a:pt x="1142587" y="921576"/>
                      <a:pt x="1140835" y="920851"/>
                      <a:pt x="1139243" y="920851"/>
                    </a:cubicBezTo>
                    <a:lnTo>
                      <a:pt x="1100705" y="920851"/>
                    </a:lnTo>
                    <a:lnTo>
                      <a:pt x="1100705" y="908520"/>
                    </a:lnTo>
                    <a:cubicBezTo>
                      <a:pt x="1100705" y="906706"/>
                      <a:pt x="1100068" y="904712"/>
                      <a:pt x="1098794" y="903442"/>
                    </a:cubicBezTo>
                    <a:cubicBezTo>
                      <a:pt x="1097680" y="901992"/>
                      <a:pt x="1095928" y="901266"/>
                      <a:pt x="1094335" y="901266"/>
                    </a:cubicBezTo>
                    <a:lnTo>
                      <a:pt x="1010891" y="901266"/>
                    </a:lnTo>
                    <a:lnTo>
                      <a:pt x="1010891" y="890204"/>
                    </a:lnTo>
                    <a:cubicBezTo>
                      <a:pt x="1010891" y="888210"/>
                      <a:pt x="1010254" y="886396"/>
                      <a:pt x="1008980" y="885127"/>
                    </a:cubicBezTo>
                    <a:cubicBezTo>
                      <a:pt x="1007865" y="883857"/>
                      <a:pt x="1006113" y="882951"/>
                      <a:pt x="1004521" y="882951"/>
                    </a:cubicBezTo>
                    <a:lnTo>
                      <a:pt x="990030" y="882951"/>
                    </a:lnTo>
                    <a:lnTo>
                      <a:pt x="990030" y="869350"/>
                    </a:lnTo>
                    <a:cubicBezTo>
                      <a:pt x="990030" y="867537"/>
                      <a:pt x="989393" y="865542"/>
                      <a:pt x="988119" y="864273"/>
                    </a:cubicBezTo>
                    <a:cubicBezTo>
                      <a:pt x="987004" y="862822"/>
                      <a:pt x="985252" y="862097"/>
                      <a:pt x="983660" y="862097"/>
                    </a:cubicBezTo>
                    <a:lnTo>
                      <a:pt x="951174" y="862097"/>
                    </a:lnTo>
                    <a:lnTo>
                      <a:pt x="951174" y="851397"/>
                    </a:lnTo>
                    <a:cubicBezTo>
                      <a:pt x="951174" y="849403"/>
                      <a:pt x="950537" y="847589"/>
                      <a:pt x="949263" y="846320"/>
                    </a:cubicBezTo>
                    <a:cubicBezTo>
                      <a:pt x="948944" y="845957"/>
                      <a:pt x="948626" y="845594"/>
                      <a:pt x="948148" y="845232"/>
                    </a:cubicBezTo>
                    <a:lnTo>
                      <a:pt x="948148" y="831994"/>
                    </a:lnTo>
                    <a:cubicBezTo>
                      <a:pt x="948148" y="830180"/>
                      <a:pt x="947511" y="828186"/>
                      <a:pt x="946237" y="826916"/>
                    </a:cubicBezTo>
                    <a:cubicBezTo>
                      <a:pt x="945122" y="825647"/>
                      <a:pt x="943371" y="824740"/>
                      <a:pt x="941778" y="824740"/>
                    </a:cubicBezTo>
                    <a:lnTo>
                      <a:pt x="891297" y="824740"/>
                    </a:lnTo>
                    <a:lnTo>
                      <a:pt x="891297" y="815854"/>
                    </a:lnTo>
                    <a:cubicBezTo>
                      <a:pt x="891297" y="813860"/>
                      <a:pt x="890660" y="812046"/>
                      <a:pt x="889386" y="810777"/>
                    </a:cubicBezTo>
                    <a:cubicBezTo>
                      <a:pt x="888272" y="809326"/>
                      <a:pt x="886520" y="808601"/>
                      <a:pt x="884927" y="808601"/>
                    </a:cubicBezTo>
                    <a:lnTo>
                      <a:pt x="870277" y="808601"/>
                    </a:lnTo>
                    <a:lnTo>
                      <a:pt x="870277" y="796814"/>
                    </a:lnTo>
                    <a:cubicBezTo>
                      <a:pt x="870277" y="794819"/>
                      <a:pt x="869640" y="793005"/>
                      <a:pt x="868366" y="791736"/>
                    </a:cubicBezTo>
                    <a:cubicBezTo>
                      <a:pt x="867251" y="790285"/>
                      <a:pt x="865500" y="789560"/>
                      <a:pt x="863907" y="789560"/>
                    </a:cubicBezTo>
                    <a:lnTo>
                      <a:pt x="858334" y="789560"/>
                    </a:lnTo>
                    <a:lnTo>
                      <a:pt x="858334" y="777410"/>
                    </a:lnTo>
                    <a:cubicBezTo>
                      <a:pt x="858334" y="775415"/>
                      <a:pt x="857697" y="773602"/>
                      <a:pt x="856423" y="772333"/>
                    </a:cubicBezTo>
                    <a:cubicBezTo>
                      <a:pt x="855308" y="771063"/>
                      <a:pt x="853556" y="770156"/>
                      <a:pt x="851964" y="770156"/>
                    </a:cubicBezTo>
                    <a:lnTo>
                      <a:pt x="780622" y="770156"/>
                    </a:lnTo>
                    <a:lnTo>
                      <a:pt x="780622" y="721738"/>
                    </a:lnTo>
                    <a:cubicBezTo>
                      <a:pt x="780622" y="719925"/>
                      <a:pt x="779985" y="717930"/>
                      <a:pt x="778711" y="716661"/>
                    </a:cubicBezTo>
                    <a:cubicBezTo>
                      <a:pt x="778392" y="716298"/>
                      <a:pt x="778074" y="715935"/>
                      <a:pt x="777596" y="715573"/>
                    </a:cubicBezTo>
                    <a:lnTo>
                      <a:pt x="777596" y="701428"/>
                    </a:lnTo>
                    <a:cubicBezTo>
                      <a:pt x="777596" y="699433"/>
                      <a:pt x="776959" y="697620"/>
                      <a:pt x="775685" y="696351"/>
                    </a:cubicBezTo>
                    <a:cubicBezTo>
                      <a:pt x="774570" y="694900"/>
                      <a:pt x="772819" y="694174"/>
                      <a:pt x="771226" y="694174"/>
                    </a:cubicBezTo>
                    <a:lnTo>
                      <a:pt x="714853" y="694174"/>
                    </a:lnTo>
                    <a:lnTo>
                      <a:pt x="714853" y="684019"/>
                    </a:lnTo>
                    <a:cubicBezTo>
                      <a:pt x="714853" y="682206"/>
                      <a:pt x="714216" y="680211"/>
                      <a:pt x="712942" y="678942"/>
                    </a:cubicBezTo>
                    <a:cubicBezTo>
                      <a:pt x="711828" y="677491"/>
                      <a:pt x="710076" y="676766"/>
                      <a:pt x="708483" y="676766"/>
                    </a:cubicBezTo>
                    <a:lnTo>
                      <a:pt x="690966" y="676766"/>
                    </a:lnTo>
                    <a:lnTo>
                      <a:pt x="690966" y="665523"/>
                    </a:lnTo>
                    <a:cubicBezTo>
                      <a:pt x="690966" y="663528"/>
                      <a:pt x="690329" y="661714"/>
                      <a:pt x="689055" y="660445"/>
                    </a:cubicBezTo>
                    <a:cubicBezTo>
                      <a:pt x="687941" y="658994"/>
                      <a:pt x="686189" y="658269"/>
                      <a:pt x="684597" y="658269"/>
                    </a:cubicBezTo>
                    <a:lnTo>
                      <a:pt x="664054" y="658269"/>
                    </a:lnTo>
                    <a:lnTo>
                      <a:pt x="664054" y="649746"/>
                    </a:lnTo>
                    <a:cubicBezTo>
                      <a:pt x="664054" y="647751"/>
                      <a:pt x="663417" y="645938"/>
                      <a:pt x="662143" y="644668"/>
                    </a:cubicBezTo>
                    <a:cubicBezTo>
                      <a:pt x="661028" y="643218"/>
                      <a:pt x="659277" y="642492"/>
                      <a:pt x="657684" y="642492"/>
                    </a:cubicBezTo>
                    <a:lnTo>
                      <a:pt x="652111" y="642492"/>
                    </a:lnTo>
                    <a:lnTo>
                      <a:pt x="652111" y="630161"/>
                    </a:lnTo>
                    <a:cubicBezTo>
                      <a:pt x="652111" y="628166"/>
                      <a:pt x="651474" y="626353"/>
                      <a:pt x="650200" y="625083"/>
                    </a:cubicBezTo>
                    <a:cubicBezTo>
                      <a:pt x="649881" y="624721"/>
                      <a:pt x="649403" y="624358"/>
                      <a:pt x="649085" y="623995"/>
                    </a:cubicBezTo>
                    <a:lnTo>
                      <a:pt x="649085" y="610939"/>
                    </a:lnTo>
                    <a:cubicBezTo>
                      <a:pt x="649085" y="608944"/>
                      <a:pt x="648448" y="607131"/>
                      <a:pt x="647174" y="605861"/>
                    </a:cubicBezTo>
                    <a:cubicBezTo>
                      <a:pt x="646855" y="605499"/>
                      <a:pt x="646537" y="605136"/>
                      <a:pt x="646059" y="604773"/>
                    </a:cubicBezTo>
                    <a:lnTo>
                      <a:pt x="646059" y="593167"/>
                    </a:lnTo>
                    <a:cubicBezTo>
                      <a:pt x="646059" y="591173"/>
                      <a:pt x="645422" y="589359"/>
                      <a:pt x="644148" y="588090"/>
                    </a:cubicBezTo>
                    <a:cubicBezTo>
                      <a:pt x="643034" y="586820"/>
                      <a:pt x="641282" y="585914"/>
                      <a:pt x="639689" y="585914"/>
                    </a:cubicBezTo>
                    <a:lnTo>
                      <a:pt x="610070" y="585914"/>
                    </a:lnTo>
                    <a:lnTo>
                      <a:pt x="610070" y="575396"/>
                    </a:lnTo>
                    <a:cubicBezTo>
                      <a:pt x="610070" y="573401"/>
                      <a:pt x="609433" y="571588"/>
                      <a:pt x="608159" y="570318"/>
                    </a:cubicBezTo>
                    <a:cubicBezTo>
                      <a:pt x="607044" y="568868"/>
                      <a:pt x="605292" y="568142"/>
                      <a:pt x="603700" y="568142"/>
                    </a:cubicBezTo>
                    <a:lnTo>
                      <a:pt x="598126" y="568142"/>
                    </a:lnTo>
                    <a:lnTo>
                      <a:pt x="598126" y="559257"/>
                    </a:lnTo>
                    <a:cubicBezTo>
                      <a:pt x="598126" y="557443"/>
                      <a:pt x="597489" y="555448"/>
                      <a:pt x="596215" y="554179"/>
                    </a:cubicBezTo>
                    <a:cubicBezTo>
                      <a:pt x="595101" y="552910"/>
                      <a:pt x="593349" y="552003"/>
                      <a:pt x="591756" y="552003"/>
                    </a:cubicBezTo>
                    <a:lnTo>
                      <a:pt x="589209" y="552003"/>
                    </a:lnTo>
                    <a:lnTo>
                      <a:pt x="589209" y="541485"/>
                    </a:lnTo>
                    <a:cubicBezTo>
                      <a:pt x="589209" y="539490"/>
                      <a:pt x="588572" y="537677"/>
                      <a:pt x="587298" y="536408"/>
                    </a:cubicBezTo>
                    <a:cubicBezTo>
                      <a:pt x="586183" y="534957"/>
                      <a:pt x="584431" y="534231"/>
                      <a:pt x="582839" y="534231"/>
                    </a:cubicBezTo>
                    <a:lnTo>
                      <a:pt x="556245" y="534231"/>
                    </a:lnTo>
                    <a:lnTo>
                      <a:pt x="556245" y="524439"/>
                    </a:lnTo>
                    <a:cubicBezTo>
                      <a:pt x="556245" y="522444"/>
                      <a:pt x="555608" y="520631"/>
                      <a:pt x="554334" y="519361"/>
                    </a:cubicBezTo>
                    <a:cubicBezTo>
                      <a:pt x="554015" y="518999"/>
                      <a:pt x="553538" y="518636"/>
                      <a:pt x="553219" y="518273"/>
                    </a:cubicBezTo>
                    <a:lnTo>
                      <a:pt x="553219" y="508118"/>
                    </a:lnTo>
                    <a:cubicBezTo>
                      <a:pt x="553219" y="506305"/>
                      <a:pt x="552582" y="504310"/>
                      <a:pt x="551308" y="503041"/>
                    </a:cubicBezTo>
                    <a:cubicBezTo>
                      <a:pt x="550193" y="501771"/>
                      <a:pt x="548442" y="500865"/>
                      <a:pt x="546849" y="500865"/>
                    </a:cubicBezTo>
                    <a:lnTo>
                      <a:pt x="514363" y="500865"/>
                    </a:lnTo>
                    <a:lnTo>
                      <a:pt x="514363" y="490347"/>
                    </a:lnTo>
                    <a:cubicBezTo>
                      <a:pt x="514363" y="488352"/>
                      <a:pt x="513726" y="486539"/>
                      <a:pt x="512452" y="485269"/>
                    </a:cubicBezTo>
                    <a:cubicBezTo>
                      <a:pt x="511337" y="484000"/>
                      <a:pt x="509904" y="483275"/>
                      <a:pt x="508312" y="483093"/>
                    </a:cubicBezTo>
                    <a:lnTo>
                      <a:pt x="508312" y="466228"/>
                    </a:lnTo>
                    <a:cubicBezTo>
                      <a:pt x="508312" y="464234"/>
                      <a:pt x="507675" y="462420"/>
                      <a:pt x="506401" y="461151"/>
                    </a:cubicBezTo>
                    <a:cubicBezTo>
                      <a:pt x="506082" y="460788"/>
                      <a:pt x="505764" y="460426"/>
                      <a:pt x="505286" y="460063"/>
                    </a:cubicBezTo>
                    <a:lnTo>
                      <a:pt x="505286" y="446644"/>
                    </a:lnTo>
                    <a:cubicBezTo>
                      <a:pt x="505286" y="444649"/>
                      <a:pt x="504649" y="442835"/>
                      <a:pt x="503375" y="441566"/>
                    </a:cubicBezTo>
                    <a:cubicBezTo>
                      <a:pt x="502260" y="440115"/>
                      <a:pt x="500509" y="439390"/>
                      <a:pt x="498916" y="439390"/>
                    </a:cubicBezTo>
                    <a:lnTo>
                      <a:pt x="487291" y="439390"/>
                    </a:lnTo>
                    <a:lnTo>
                      <a:pt x="487291" y="424883"/>
                    </a:lnTo>
                    <a:cubicBezTo>
                      <a:pt x="487291" y="423069"/>
                      <a:pt x="486654" y="421074"/>
                      <a:pt x="485380" y="419805"/>
                    </a:cubicBezTo>
                    <a:cubicBezTo>
                      <a:pt x="485062" y="419442"/>
                      <a:pt x="484584" y="419080"/>
                      <a:pt x="484266" y="418717"/>
                    </a:cubicBezTo>
                    <a:lnTo>
                      <a:pt x="484266" y="403484"/>
                    </a:lnTo>
                    <a:cubicBezTo>
                      <a:pt x="484266" y="401490"/>
                      <a:pt x="483629" y="399676"/>
                      <a:pt x="482355" y="398407"/>
                    </a:cubicBezTo>
                    <a:cubicBezTo>
                      <a:pt x="481240" y="397137"/>
                      <a:pt x="479807" y="396412"/>
                      <a:pt x="478214" y="396231"/>
                    </a:cubicBezTo>
                    <a:lnTo>
                      <a:pt x="478214" y="384444"/>
                    </a:lnTo>
                    <a:cubicBezTo>
                      <a:pt x="478214" y="382449"/>
                      <a:pt x="477577" y="380635"/>
                      <a:pt x="476303" y="379366"/>
                    </a:cubicBezTo>
                    <a:cubicBezTo>
                      <a:pt x="475189" y="377915"/>
                      <a:pt x="473437" y="377190"/>
                      <a:pt x="471845" y="377190"/>
                    </a:cubicBezTo>
                    <a:lnTo>
                      <a:pt x="421364" y="377190"/>
                    </a:lnTo>
                    <a:lnTo>
                      <a:pt x="421364" y="364133"/>
                    </a:lnTo>
                    <a:cubicBezTo>
                      <a:pt x="421364" y="362139"/>
                      <a:pt x="420727" y="360325"/>
                      <a:pt x="419453" y="359056"/>
                    </a:cubicBezTo>
                    <a:cubicBezTo>
                      <a:pt x="419134" y="358693"/>
                      <a:pt x="418816" y="358330"/>
                      <a:pt x="418338" y="357968"/>
                    </a:cubicBezTo>
                    <a:lnTo>
                      <a:pt x="418338" y="342372"/>
                    </a:lnTo>
                    <a:cubicBezTo>
                      <a:pt x="418338" y="340378"/>
                      <a:pt x="417701" y="338564"/>
                      <a:pt x="416427" y="337295"/>
                    </a:cubicBezTo>
                    <a:cubicBezTo>
                      <a:pt x="415312" y="336025"/>
                      <a:pt x="413879" y="335300"/>
                      <a:pt x="412287" y="335119"/>
                    </a:cubicBezTo>
                    <a:lnTo>
                      <a:pt x="412287" y="322969"/>
                    </a:lnTo>
                    <a:cubicBezTo>
                      <a:pt x="412287" y="320974"/>
                      <a:pt x="411650" y="319161"/>
                      <a:pt x="410376" y="317891"/>
                    </a:cubicBezTo>
                    <a:cubicBezTo>
                      <a:pt x="409261" y="316622"/>
                      <a:pt x="407509" y="315715"/>
                      <a:pt x="405917" y="315715"/>
                    </a:cubicBezTo>
                    <a:lnTo>
                      <a:pt x="382349" y="315715"/>
                    </a:lnTo>
                    <a:lnTo>
                      <a:pt x="382349" y="299213"/>
                    </a:lnTo>
                    <a:cubicBezTo>
                      <a:pt x="382349" y="297400"/>
                      <a:pt x="381712" y="295405"/>
                      <a:pt x="380438" y="294136"/>
                    </a:cubicBezTo>
                    <a:cubicBezTo>
                      <a:pt x="379323" y="292685"/>
                      <a:pt x="377571" y="291959"/>
                      <a:pt x="375979" y="291959"/>
                    </a:cubicBezTo>
                    <a:lnTo>
                      <a:pt x="370405" y="291959"/>
                    </a:lnTo>
                    <a:lnTo>
                      <a:pt x="370405" y="280172"/>
                    </a:lnTo>
                    <a:cubicBezTo>
                      <a:pt x="370405" y="278359"/>
                      <a:pt x="369768" y="276364"/>
                      <a:pt x="368494" y="275095"/>
                    </a:cubicBezTo>
                    <a:cubicBezTo>
                      <a:pt x="367379" y="273644"/>
                      <a:pt x="365628" y="272919"/>
                      <a:pt x="364035" y="272919"/>
                    </a:cubicBezTo>
                    <a:lnTo>
                      <a:pt x="328524" y="272919"/>
                    </a:lnTo>
                    <a:lnTo>
                      <a:pt x="328524" y="262582"/>
                    </a:lnTo>
                    <a:cubicBezTo>
                      <a:pt x="328524" y="260587"/>
                      <a:pt x="327887" y="258774"/>
                      <a:pt x="326613" y="257505"/>
                    </a:cubicBezTo>
                    <a:cubicBezTo>
                      <a:pt x="325498" y="256235"/>
                      <a:pt x="324065" y="255510"/>
                      <a:pt x="322472" y="255329"/>
                    </a:cubicBezTo>
                    <a:lnTo>
                      <a:pt x="322472" y="242997"/>
                    </a:lnTo>
                    <a:cubicBezTo>
                      <a:pt x="322472" y="241003"/>
                      <a:pt x="321835" y="239189"/>
                      <a:pt x="320561" y="237920"/>
                    </a:cubicBezTo>
                    <a:cubicBezTo>
                      <a:pt x="319447" y="236650"/>
                      <a:pt x="317695" y="235744"/>
                      <a:pt x="316102" y="235744"/>
                    </a:cubicBezTo>
                    <a:lnTo>
                      <a:pt x="289668" y="235744"/>
                    </a:lnTo>
                    <a:lnTo>
                      <a:pt x="289668" y="223956"/>
                    </a:lnTo>
                    <a:cubicBezTo>
                      <a:pt x="289668" y="222143"/>
                      <a:pt x="289031" y="220148"/>
                      <a:pt x="287757" y="218879"/>
                    </a:cubicBezTo>
                    <a:cubicBezTo>
                      <a:pt x="286642" y="217610"/>
                      <a:pt x="284890" y="216703"/>
                      <a:pt x="283298" y="216703"/>
                    </a:cubicBezTo>
                    <a:lnTo>
                      <a:pt x="277724" y="216703"/>
                    </a:lnTo>
                    <a:lnTo>
                      <a:pt x="277724" y="205278"/>
                    </a:lnTo>
                    <a:cubicBezTo>
                      <a:pt x="277724" y="203465"/>
                      <a:pt x="277087" y="201470"/>
                      <a:pt x="275813" y="200201"/>
                    </a:cubicBezTo>
                    <a:cubicBezTo>
                      <a:pt x="274699" y="198750"/>
                      <a:pt x="272947" y="198025"/>
                      <a:pt x="271354" y="198025"/>
                    </a:cubicBezTo>
                    <a:lnTo>
                      <a:pt x="253837" y="198025"/>
                    </a:lnTo>
                    <a:lnTo>
                      <a:pt x="253837" y="187507"/>
                    </a:lnTo>
                    <a:cubicBezTo>
                      <a:pt x="253837" y="185512"/>
                      <a:pt x="253200" y="183699"/>
                      <a:pt x="251926" y="182429"/>
                    </a:cubicBezTo>
                    <a:cubicBezTo>
                      <a:pt x="250812" y="181160"/>
                      <a:pt x="249060" y="180253"/>
                      <a:pt x="247468" y="180253"/>
                    </a:cubicBezTo>
                    <a:lnTo>
                      <a:pt x="223899" y="180253"/>
                    </a:lnTo>
                    <a:lnTo>
                      <a:pt x="223899" y="168647"/>
                    </a:lnTo>
                    <a:cubicBezTo>
                      <a:pt x="223899" y="166653"/>
                      <a:pt x="223262" y="164839"/>
                      <a:pt x="221988" y="163570"/>
                    </a:cubicBezTo>
                    <a:cubicBezTo>
                      <a:pt x="220874" y="162300"/>
                      <a:pt x="219122" y="161394"/>
                      <a:pt x="217529" y="161394"/>
                    </a:cubicBezTo>
                    <a:lnTo>
                      <a:pt x="196987" y="161394"/>
                    </a:lnTo>
                    <a:lnTo>
                      <a:pt x="196987" y="150332"/>
                    </a:lnTo>
                    <a:cubicBezTo>
                      <a:pt x="196987" y="148519"/>
                      <a:pt x="196350" y="146524"/>
                      <a:pt x="195076" y="145254"/>
                    </a:cubicBezTo>
                    <a:cubicBezTo>
                      <a:pt x="193961" y="143804"/>
                      <a:pt x="192209" y="143078"/>
                      <a:pt x="190617" y="143078"/>
                    </a:cubicBezTo>
                    <a:lnTo>
                      <a:pt x="182018" y="143078"/>
                    </a:lnTo>
                    <a:lnTo>
                      <a:pt x="182018" y="134193"/>
                    </a:lnTo>
                    <a:cubicBezTo>
                      <a:pt x="182018" y="132379"/>
                      <a:pt x="181381" y="130384"/>
                      <a:pt x="180107" y="129115"/>
                    </a:cubicBezTo>
                    <a:cubicBezTo>
                      <a:pt x="178992" y="127846"/>
                      <a:pt x="177240" y="126939"/>
                      <a:pt x="175648" y="126939"/>
                    </a:cubicBezTo>
                    <a:lnTo>
                      <a:pt x="158131" y="126939"/>
                    </a:lnTo>
                    <a:lnTo>
                      <a:pt x="158131" y="110800"/>
                    </a:lnTo>
                    <a:cubicBezTo>
                      <a:pt x="158131" y="108986"/>
                      <a:pt x="157494" y="106991"/>
                      <a:pt x="156220" y="105722"/>
                    </a:cubicBezTo>
                    <a:cubicBezTo>
                      <a:pt x="155105" y="104453"/>
                      <a:pt x="153353" y="103546"/>
                      <a:pt x="151761" y="103546"/>
                    </a:cubicBezTo>
                    <a:lnTo>
                      <a:pt x="134244" y="103546"/>
                    </a:lnTo>
                    <a:lnTo>
                      <a:pt x="134244" y="86318"/>
                    </a:lnTo>
                    <a:cubicBezTo>
                      <a:pt x="134244" y="84324"/>
                      <a:pt x="133607" y="82510"/>
                      <a:pt x="132333" y="81241"/>
                    </a:cubicBezTo>
                    <a:cubicBezTo>
                      <a:pt x="131218" y="79790"/>
                      <a:pt x="129467" y="79065"/>
                      <a:pt x="127874" y="79065"/>
                    </a:cubicBezTo>
                    <a:lnTo>
                      <a:pt x="71501" y="79065"/>
                    </a:lnTo>
                    <a:lnTo>
                      <a:pt x="71501" y="67822"/>
                    </a:lnTo>
                    <a:cubicBezTo>
                      <a:pt x="71501" y="66008"/>
                      <a:pt x="70864" y="64013"/>
                      <a:pt x="69590" y="62744"/>
                    </a:cubicBezTo>
                    <a:cubicBezTo>
                      <a:pt x="69272" y="62381"/>
                      <a:pt x="68794" y="62019"/>
                      <a:pt x="68476" y="61656"/>
                    </a:cubicBezTo>
                    <a:lnTo>
                      <a:pt x="68476" y="49325"/>
                    </a:lnTo>
                    <a:cubicBezTo>
                      <a:pt x="68476" y="47330"/>
                      <a:pt x="67839" y="45517"/>
                      <a:pt x="66565" y="44247"/>
                    </a:cubicBezTo>
                    <a:cubicBezTo>
                      <a:pt x="65450" y="42797"/>
                      <a:pt x="63698" y="42071"/>
                      <a:pt x="62106" y="42071"/>
                    </a:cubicBezTo>
                    <a:lnTo>
                      <a:pt x="41563" y="42071"/>
                    </a:lnTo>
                    <a:lnTo>
                      <a:pt x="41563" y="14507"/>
                    </a:lnTo>
                    <a:cubicBezTo>
                      <a:pt x="41563" y="12694"/>
                      <a:pt x="40926" y="10699"/>
                      <a:pt x="39652" y="9430"/>
                    </a:cubicBezTo>
                    <a:cubicBezTo>
                      <a:pt x="38537" y="8160"/>
                      <a:pt x="36786" y="7254"/>
                      <a:pt x="35193" y="7254"/>
                    </a:cubicBezTo>
                    <a:lnTo>
                      <a:pt x="5733" y="7254"/>
                    </a:lnTo>
                    <a:lnTo>
                      <a:pt x="5733" y="0"/>
                    </a:lnTo>
                    <a:lnTo>
                      <a:pt x="65131" y="0"/>
                    </a:lnTo>
                    <a:lnTo>
                      <a:pt x="65131" y="4534"/>
                    </a:lnTo>
                    <a:lnTo>
                      <a:pt x="127874" y="4534"/>
                    </a:lnTo>
                    <a:lnTo>
                      <a:pt x="127874" y="16683"/>
                    </a:lnTo>
                    <a:lnTo>
                      <a:pt x="151761" y="16683"/>
                    </a:lnTo>
                    <a:lnTo>
                      <a:pt x="151761" y="30103"/>
                    </a:lnTo>
                    <a:lnTo>
                      <a:pt x="175648" y="30103"/>
                    </a:lnTo>
                    <a:lnTo>
                      <a:pt x="175648" y="41890"/>
                    </a:lnTo>
                    <a:lnTo>
                      <a:pt x="190617" y="41890"/>
                    </a:lnTo>
                    <a:lnTo>
                      <a:pt x="190617" y="54946"/>
                    </a:lnTo>
                    <a:lnTo>
                      <a:pt x="217529" y="54946"/>
                    </a:lnTo>
                    <a:lnTo>
                      <a:pt x="217529" y="68547"/>
                    </a:lnTo>
                    <a:lnTo>
                      <a:pt x="247468" y="68547"/>
                    </a:lnTo>
                    <a:lnTo>
                      <a:pt x="247468" y="81966"/>
                    </a:lnTo>
                    <a:lnTo>
                      <a:pt x="271354" y="81966"/>
                    </a:lnTo>
                    <a:lnTo>
                      <a:pt x="271354" y="95930"/>
                    </a:lnTo>
                    <a:lnTo>
                      <a:pt x="283298" y="95930"/>
                    </a:lnTo>
                    <a:lnTo>
                      <a:pt x="283298" y="110437"/>
                    </a:lnTo>
                    <a:lnTo>
                      <a:pt x="316102" y="110437"/>
                    </a:lnTo>
                    <a:lnTo>
                      <a:pt x="316102" y="125307"/>
                    </a:lnTo>
                    <a:lnTo>
                      <a:pt x="322154" y="125307"/>
                    </a:lnTo>
                    <a:lnTo>
                      <a:pt x="322154" y="139451"/>
                    </a:lnTo>
                    <a:lnTo>
                      <a:pt x="364035" y="139451"/>
                    </a:lnTo>
                    <a:lnTo>
                      <a:pt x="364035" y="154503"/>
                    </a:lnTo>
                    <a:lnTo>
                      <a:pt x="375979" y="154503"/>
                    </a:lnTo>
                    <a:lnTo>
                      <a:pt x="375979" y="172456"/>
                    </a:lnTo>
                    <a:lnTo>
                      <a:pt x="405917" y="172456"/>
                    </a:lnTo>
                    <a:lnTo>
                      <a:pt x="405917" y="188051"/>
                    </a:lnTo>
                    <a:lnTo>
                      <a:pt x="411968" y="188051"/>
                    </a:lnTo>
                    <a:lnTo>
                      <a:pt x="411968" y="205460"/>
                    </a:lnTo>
                    <a:lnTo>
                      <a:pt x="414994" y="205460"/>
                    </a:lnTo>
                    <a:lnTo>
                      <a:pt x="414994" y="222143"/>
                    </a:lnTo>
                    <a:lnTo>
                      <a:pt x="471845" y="222143"/>
                    </a:lnTo>
                    <a:lnTo>
                      <a:pt x="471845" y="238101"/>
                    </a:lnTo>
                    <a:lnTo>
                      <a:pt x="477896" y="238101"/>
                    </a:lnTo>
                    <a:lnTo>
                      <a:pt x="477896" y="255873"/>
                    </a:lnTo>
                    <a:lnTo>
                      <a:pt x="480922" y="255873"/>
                    </a:lnTo>
                    <a:lnTo>
                      <a:pt x="480922" y="274007"/>
                    </a:lnTo>
                    <a:lnTo>
                      <a:pt x="498916" y="274007"/>
                    </a:lnTo>
                    <a:lnTo>
                      <a:pt x="498916" y="290871"/>
                    </a:lnTo>
                    <a:lnTo>
                      <a:pt x="501942" y="290871"/>
                    </a:lnTo>
                    <a:lnTo>
                      <a:pt x="501942" y="311000"/>
                    </a:lnTo>
                    <a:lnTo>
                      <a:pt x="507993" y="311000"/>
                    </a:lnTo>
                    <a:lnTo>
                      <a:pt x="507993" y="326596"/>
                    </a:lnTo>
                    <a:lnTo>
                      <a:pt x="546849" y="326596"/>
                    </a:lnTo>
                    <a:lnTo>
                      <a:pt x="546849" y="341284"/>
                    </a:lnTo>
                    <a:lnTo>
                      <a:pt x="549875" y="341284"/>
                    </a:lnTo>
                    <a:lnTo>
                      <a:pt x="549875" y="356517"/>
                    </a:lnTo>
                    <a:lnTo>
                      <a:pt x="582839" y="356517"/>
                    </a:lnTo>
                    <a:lnTo>
                      <a:pt x="582839" y="372475"/>
                    </a:lnTo>
                    <a:lnTo>
                      <a:pt x="591756" y="372475"/>
                    </a:lnTo>
                    <a:lnTo>
                      <a:pt x="591756" y="387164"/>
                    </a:lnTo>
                    <a:lnTo>
                      <a:pt x="603700" y="387164"/>
                    </a:lnTo>
                    <a:lnTo>
                      <a:pt x="603700" y="403122"/>
                    </a:lnTo>
                    <a:lnTo>
                      <a:pt x="639689" y="403122"/>
                    </a:lnTo>
                    <a:lnTo>
                      <a:pt x="639689" y="419080"/>
                    </a:lnTo>
                    <a:lnTo>
                      <a:pt x="642715" y="419080"/>
                    </a:lnTo>
                    <a:lnTo>
                      <a:pt x="642715" y="436307"/>
                    </a:lnTo>
                    <a:lnTo>
                      <a:pt x="645741" y="436307"/>
                    </a:lnTo>
                    <a:lnTo>
                      <a:pt x="645741" y="453897"/>
                    </a:lnTo>
                    <a:lnTo>
                      <a:pt x="657684" y="453897"/>
                    </a:lnTo>
                    <a:lnTo>
                      <a:pt x="657684" y="468405"/>
                    </a:lnTo>
                    <a:lnTo>
                      <a:pt x="684597" y="468405"/>
                    </a:lnTo>
                    <a:lnTo>
                      <a:pt x="684597" y="485269"/>
                    </a:lnTo>
                    <a:lnTo>
                      <a:pt x="708483" y="485269"/>
                    </a:lnTo>
                    <a:lnTo>
                      <a:pt x="708483" y="501227"/>
                    </a:lnTo>
                    <a:lnTo>
                      <a:pt x="771226" y="501227"/>
                    </a:lnTo>
                    <a:lnTo>
                      <a:pt x="771226" y="519724"/>
                    </a:lnTo>
                    <a:lnTo>
                      <a:pt x="774252" y="519724"/>
                    </a:lnTo>
                    <a:lnTo>
                      <a:pt x="774252" y="571588"/>
                    </a:lnTo>
                    <a:lnTo>
                      <a:pt x="851964" y="571588"/>
                    </a:lnTo>
                    <a:lnTo>
                      <a:pt x="851964" y="589722"/>
                    </a:lnTo>
                    <a:lnTo>
                      <a:pt x="863907" y="589722"/>
                    </a:lnTo>
                    <a:lnTo>
                      <a:pt x="863907" y="607493"/>
                    </a:lnTo>
                    <a:lnTo>
                      <a:pt x="884927" y="607493"/>
                    </a:lnTo>
                    <a:lnTo>
                      <a:pt x="884927" y="622726"/>
                    </a:lnTo>
                    <a:lnTo>
                      <a:pt x="941778" y="622726"/>
                    </a:lnTo>
                    <a:lnTo>
                      <a:pt x="941778" y="640860"/>
                    </a:lnTo>
                    <a:lnTo>
                      <a:pt x="944804" y="640860"/>
                    </a:lnTo>
                    <a:lnTo>
                      <a:pt x="944804" y="657906"/>
                    </a:lnTo>
                    <a:lnTo>
                      <a:pt x="983660" y="657906"/>
                    </a:lnTo>
                    <a:lnTo>
                      <a:pt x="983660" y="677491"/>
                    </a:lnTo>
                    <a:lnTo>
                      <a:pt x="1004680" y="677491"/>
                    </a:lnTo>
                    <a:lnTo>
                      <a:pt x="1004680" y="694900"/>
                    </a:lnTo>
                    <a:lnTo>
                      <a:pt x="1094495" y="694900"/>
                    </a:lnTo>
                    <a:lnTo>
                      <a:pt x="1094495" y="713397"/>
                    </a:lnTo>
                    <a:lnTo>
                      <a:pt x="1139402" y="713397"/>
                    </a:lnTo>
                    <a:lnTo>
                      <a:pt x="1139402" y="730443"/>
                    </a:lnTo>
                    <a:lnTo>
                      <a:pt x="1256129" y="730443"/>
                    </a:lnTo>
                    <a:lnTo>
                      <a:pt x="1256129" y="750209"/>
                    </a:lnTo>
                    <a:lnTo>
                      <a:pt x="1327949" y="750209"/>
                    </a:lnTo>
                    <a:lnTo>
                      <a:pt x="1327949" y="767618"/>
                    </a:lnTo>
                    <a:lnTo>
                      <a:pt x="1396743" y="767618"/>
                    </a:lnTo>
                    <a:lnTo>
                      <a:pt x="1396743" y="789741"/>
                    </a:lnTo>
                    <a:lnTo>
                      <a:pt x="1474455" y="789741"/>
                    </a:lnTo>
                    <a:lnTo>
                      <a:pt x="1474455" y="804974"/>
                    </a:lnTo>
                    <a:lnTo>
                      <a:pt x="1594048" y="804974"/>
                    </a:lnTo>
                    <a:lnTo>
                      <a:pt x="1594048" y="822564"/>
                    </a:lnTo>
                    <a:lnTo>
                      <a:pt x="1609017" y="822564"/>
                    </a:lnTo>
                    <a:lnTo>
                      <a:pt x="1609017" y="838885"/>
                    </a:lnTo>
                    <a:lnTo>
                      <a:pt x="1632904" y="838885"/>
                    </a:lnTo>
                    <a:lnTo>
                      <a:pt x="1632904" y="859920"/>
                    </a:lnTo>
                    <a:lnTo>
                      <a:pt x="1650739" y="859920"/>
                    </a:lnTo>
                    <a:lnTo>
                      <a:pt x="1650739" y="879143"/>
                    </a:lnTo>
                    <a:lnTo>
                      <a:pt x="1836260" y="879143"/>
                    </a:lnTo>
                    <a:lnTo>
                      <a:pt x="1836260" y="901810"/>
                    </a:lnTo>
                    <a:lnTo>
                      <a:pt x="1982926" y="901810"/>
                    </a:lnTo>
                    <a:lnTo>
                      <a:pt x="1982926" y="921032"/>
                    </a:lnTo>
                    <a:lnTo>
                      <a:pt x="2189308" y="921032"/>
                    </a:lnTo>
                    <a:lnTo>
                      <a:pt x="2189308" y="940617"/>
                    </a:lnTo>
                    <a:lnTo>
                      <a:pt x="2703830" y="940617"/>
                    </a:lnTo>
                    <a:lnTo>
                      <a:pt x="2703830" y="959295"/>
                    </a:lnTo>
                    <a:lnTo>
                      <a:pt x="2763707" y="959295"/>
                    </a:lnTo>
                    <a:lnTo>
                      <a:pt x="2763707" y="959658"/>
                    </a:lnTo>
                    <a:lnTo>
                      <a:pt x="2802562" y="959658"/>
                    </a:lnTo>
                    <a:lnTo>
                      <a:pt x="2802562" y="978155"/>
                    </a:lnTo>
                    <a:lnTo>
                      <a:pt x="2817532" y="978155"/>
                    </a:lnTo>
                    <a:lnTo>
                      <a:pt x="2817532" y="1001185"/>
                    </a:lnTo>
                    <a:lnTo>
                      <a:pt x="3011970" y="1001185"/>
                    </a:lnTo>
                    <a:lnTo>
                      <a:pt x="3011970" y="1026754"/>
                    </a:lnTo>
                    <a:lnTo>
                      <a:pt x="3056878" y="1026754"/>
                    </a:lnTo>
                    <a:lnTo>
                      <a:pt x="3056878" y="1047971"/>
                    </a:lnTo>
                    <a:lnTo>
                      <a:pt x="3122646" y="1047971"/>
                    </a:lnTo>
                    <a:lnTo>
                      <a:pt x="3122646" y="1069551"/>
                    </a:lnTo>
                    <a:lnTo>
                      <a:pt x="3203383" y="1069551"/>
                    </a:lnTo>
                    <a:lnTo>
                      <a:pt x="3203383" y="1094939"/>
                    </a:lnTo>
                    <a:lnTo>
                      <a:pt x="3242399" y="1094939"/>
                    </a:lnTo>
                    <a:lnTo>
                      <a:pt x="3242399" y="1119057"/>
                    </a:lnTo>
                    <a:lnTo>
                      <a:pt x="3451806" y="1119057"/>
                    </a:lnTo>
                    <a:lnTo>
                      <a:pt x="3451806" y="1147528"/>
                    </a:lnTo>
                    <a:lnTo>
                      <a:pt x="3984324" y="1147528"/>
                    </a:lnTo>
                    <a:lnTo>
                      <a:pt x="3984324" y="1174729"/>
                    </a:lnTo>
                    <a:lnTo>
                      <a:pt x="4115860" y="1174729"/>
                    </a:lnTo>
                    <a:lnTo>
                      <a:pt x="4115860" y="1202655"/>
                    </a:lnTo>
                    <a:lnTo>
                      <a:pt x="4963365" y="1202655"/>
                    </a:lnTo>
                    <a:lnTo>
                      <a:pt x="4963365" y="1406302"/>
                    </a:lnTo>
                  </a:path>
                </a:pathLst>
              </a:custGeom>
              <a:grpFill/>
              <a:ln w="158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5" name="Freihandform: Form 34">
                <a:extLst>
                  <a:ext uri="{FF2B5EF4-FFF2-40B4-BE49-F238E27FC236}">
                    <a16:creationId xmlns:a16="http://schemas.microsoft.com/office/drawing/2014/main" id="{23985CD0-1F12-69C8-6793-F104FC10F087}"/>
                  </a:ext>
                </a:extLst>
              </p:cNvPr>
              <p:cNvSpPr/>
              <p:nvPr/>
            </p:nvSpPr>
            <p:spPr>
              <a:xfrm>
                <a:off x="4938385" y="2722094"/>
                <a:ext cx="2199817" cy="243359"/>
              </a:xfrm>
              <a:custGeom>
                <a:avLst/>
                <a:gdLst>
                  <a:gd name="connsiteX0" fmla="*/ 2199659 w 2199817"/>
                  <a:gd name="connsiteY0" fmla="*/ 243360 h 243359"/>
                  <a:gd name="connsiteX1" fmla="*/ 1352154 w 2199817"/>
                  <a:gd name="connsiteY1" fmla="*/ 243360 h 243359"/>
                  <a:gd name="connsiteX2" fmla="*/ 1352154 w 2199817"/>
                  <a:gd name="connsiteY2" fmla="*/ 215433 h 243359"/>
                  <a:gd name="connsiteX3" fmla="*/ 1220617 w 2199817"/>
                  <a:gd name="connsiteY3" fmla="*/ 215433 h 243359"/>
                  <a:gd name="connsiteX4" fmla="*/ 1220617 w 2199817"/>
                  <a:gd name="connsiteY4" fmla="*/ 188232 h 243359"/>
                  <a:gd name="connsiteX5" fmla="*/ 688100 w 2199817"/>
                  <a:gd name="connsiteY5" fmla="*/ 188232 h 243359"/>
                  <a:gd name="connsiteX6" fmla="*/ 688100 w 2199817"/>
                  <a:gd name="connsiteY6" fmla="*/ 159762 h 243359"/>
                  <a:gd name="connsiteX7" fmla="*/ 478692 w 2199817"/>
                  <a:gd name="connsiteY7" fmla="*/ 159762 h 243359"/>
                  <a:gd name="connsiteX8" fmla="*/ 478692 w 2199817"/>
                  <a:gd name="connsiteY8" fmla="*/ 135643 h 243359"/>
                  <a:gd name="connsiteX9" fmla="*/ 439677 w 2199817"/>
                  <a:gd name="connsiteY9" fmla="*/ 135643 h 243359"/>
                  <a:gd name="connsiteX10" fmla="*/ 439677 w 2199817"/>
                  <a:gd name="connsiteY10" fmla="*/ 110255 h 243359"/>
                  <a:gd name="connsiteX11" fmla="*/ 358940 w 2199817"/>
                  <a:gd name="connsiteY11" fmla="*/ 110255 h 243359"/>
                  <a:gd name="connsiteX12" fmla="*/ 358940 w 2199817"/>
                  <a:gd name="connsiteY12" fmla="*/ 88676 h 243359"/>
                  <a:gd name="connsiteX13" fmla="*/ 293171 w 2199817"/>
                  <a:gd name="connsiteY13" fmla="*/ 88676 h 243359"/>
                  <a:gd name="connsiteX14" fmla="*/ 293171 w 2199817"/>
                  <a:gd name="connsiteY14" fmla="*/ 67459 h 243359"/>
                  <a:gd name="connsiteX15" fmla="*/ 248264 w 2199817"/>
                  <a:gd name="connsiteY15" fmla="*/ 67459 h 243359"/>
                  <a:gd name="connsiteX16" fmla="*/ 248264 w 2199817"/>
                  <a:gd name="connsiteY16" fmla="*/ 41890 h 243359"/>
                  <a:gd name="connsiteX17" fmla="*/ 53825 w 2199817"/>
                  <a:gd name="connsiteY17" fmla="*/ 41890 h 243359"/>
                  <a:gd name="connsiteX18" fmla="*/ 53825 w 2199817"/>
                  <a:gd name="connsiteY18" fmla="*/ 18859 h 243359"/>
                  <a:gd name="connsiteX19" fmla="*/ 38856 w 2199817"/>
                  <a:gd name="connsiteY19" fmla="*/ 18859 h 243359"/>
                  <a:gd name="connsiteX20" fmla="*/ 38856 w 2199817"/>
                  <a:gd name="connsiteY20" fmla="*/ 363 h 243359"/>
                  <a:gd name="connsiteX21" fmla="*/ 0 w 2199817"/>
                  <a:gd name="connsiteY21" fmla="*/ 363 h 243359"/>
                  <a:gd name="connsiteX22" fmla="*/ 0 w 2199817"/>
                  <a:gd name="connsiteY22" fmla="*/ 0 h 243359"/>
                  <a:gd name="connsiteX23" fmla="*/ 813745 w 2199817"/>
                  <a:gd name="connsiteY23" fmla="*/ 0 h 243359"/>
                  <a:gd name="connsiteX24" fmla="*/ 813745 w 2199817"/>
                  <a:gd name="connsiteY24" fmla="*/ 20854 h 243359"/>
                  <a:gd name="connsiteX25" fmla="*/ 921554 w 2199817"/>
                  <a:gd name="connsiteY25" fmla="*/ 20854 h 243359"/>
                  <a:gd name="connsiteX26" fmla="*/ 921554 w 2199817"/>
                  <a:gd name="connsiteY26" fmla="*/ 39714 h 243359"/>
                  <a:gd name="connsiteX27" fmla="*/ 1345943 w 2199817"/>
                  <a:gd name="connsiteY27" fmla="*/ 39714 h 243359"/>
                  <a:gd name="connsiteX28" fmla="*/ 1345943 w 2199817"/>
                  <a:gd name="connsiteY28" fmla="*/ 43341 h 243359"/>
                  <a:gd name="connsiteX29" fmla="*/ 1347854 w 2199817"/>
                  <a:gd name="connsiteY29" fmla="*/ 48418 h 243359"/>
                  <a:gd name="connsiteX30" fmla="*/ 1352313 w 2199817"/>
                  <a:gd name="connsiteY30" fmla="*/ 50594 h 243359"/>
                  <a:gd name="connsiteX31" fmla="*/ 2199818 w 2199817"/>
                  <a:gd name="connsiteY31" fmla="*/ 50594 h 243359"/>
                  <a:gd name="connsiteX32" fmla="*/ 2199818 w 2199817"/>
                  <a:gd name="connsiteY32" fmla="*/ 39714 h 243359"/>
                  <a:gd name="connsiteX33" fmla="*/ 2199818 w 2199817"/>
                  <a:gd name="connsiteY33" fmla="*/ 243179 h 243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2199817" h="243359">
                    <a:moveTo>
                      <a:pt x="2199659" y="243360"/>
                    </a:moveTo>
                    <a:lnTo>
                      <a:pt x="1352154" y="243360"/>
                    </a:lnTo>
                    <a:lnTo>
                      <a:pt x="1352154" y="215433"/>
                    </a:lnTo>
                    <a:lnTo>
                      <a:pt x="1220617" y="215433"/>
                    </a:lnTo>
                    <a:lnTo>
                      <a:pt x="1220617" y="188232"/>
                    </a:lnTo>
                    <a:lnTo>
                      <a:pt x="688100" y="188232"/>
                    </a:lnTo>
                    <a:lnTo>
                      <a:pt x="688100" y="159762"/>
                    </a:lnTo>
                    <a:lnTo>
                      <a:pt x="478692" y="159762"/>
                    </a:lnTo>
                    <a:lnTo>
                      <a:pt x="478692" y="135643"/>
                    </a:lnTo>
                    <a:lnTo>
                      <a:pt x="439677" y="135643"/>
                    </a:lnTo>
                    <a:lnTo>
                      <a:pt x="439677" y="110255"/>
                    </a:lnTo>
                    <a:lnTo>
                      <a:pt x="358940" y="110255"/>
                    </a:lnTo>
                    <a:lnTo>
                      <a:pt x="358940" y="88676"/>
                    </a:lnTo>
                    <a:lnTo>
                      <a:pt x="293171" y="88676"/>
                    </a:lnTo>
                    <a:lnTo>
                      <a:pt x="293171" y="67459"/>
                    </a:lnTo>
                    <a:lnTo>
                      <a:pt x="248264" y="67459"/>
                    </a:lnTo>
                    <a:lnTo>
                      <a:pt x="248264" y="41890"/>
                    </a:lnTo>
                    <a:lnTo>
                      <a:pt x="53825" y="41890"/>
                    </a:lnTo>
                    <a:lnTo>
                      <a:pt x="53825" y="18859"/>
                    </a:lnTo>
                    <a:lnTo>
                      <a:pt x="38856" y="18859"/>
                    </a:lnTo>
                    <a:lnTo>
                      <a:pt x="38856" y="363"/>
                    </a:lnTo>
                    <a:lnTo>
                      <a:pt x="0" y="363"/>
                    </a:lnTo>
                    <a:lnTo>
                      <a:pt x="0" y="0"/>
                    </a:lnTo>
                    <a:lnTo>
                      <a:pt x="813745" y="0"/>
                    </a:lnTo>
                    <a:lnTo>
                      <a:pt x="813745" y="20854"/>
                    </a:lnTo>
                    <a:lnTo>
                      <a:pt x="921554" y="20854"/>
                    </a:lnTo>
                    <a:lnTo>
                      <a:pt x="921554" y="39714"/>
                    </a:lnTo>
                    <a:lnTo>
                      <a:pt x="1345943" y="39714"/>
                    </a:lnTo>
                    <a:lnTo>
                      <a:pt x="1345943" y="43341"/>
                    </a:lnTo>
                    <a:cubicBezTo>
                      <a:pt x="1345943" y="45154"/>
                      <a:pt x="1346581" y="47149"/>
                      <a:pt x="1347854" y="48418"/>
                    </a:cubicBezTo>
                    <a:cubicBezTo>
                      <a:pt x="1349129" y="49687"/>
                      <a:pt x="1350721" y="50594"/>
                      <a:pt x="1352313" y="50594"/>
                    </a:cubicBezTo>
                    <a:lnTo>
                      <a:pt x="2199818" y="50594"/>
                    </a:lnTo>
                    <a:lnTo>
                      <a:pt x="2199818" y="39714"/>
                    </a:lnTo>
                    <a:lnTo>
                      <a:pt x="2199818" y="243179"/>
                    </a:lnTo>
                  </a:path>
                </a:pathLst>
              </a:custGeom>
              <a:grpFill/>
              <a:ln w="158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sp>
        <p:nvSpPr>
          <p:cNvPr id="132" name="Textfeld 131">
            <a:extLst>
              <a:ext uri="{FF2B5EF4-FFF2-40B4-BE49-F238E27FC236}">
                <a16:creationId xmlns:a16="http://schemas.microsoft.com/office/drawing/2014/main" id="{99188633-173B-B627-E97E-04DF72000DB0}"/>
              </a:ext>
            </a:extLst>
          </p:cNvPr>
          <p:cNvSpPr txBox="1"/>
          <p:nvPr/>
        </p:nvSpPr>
        <p:spPr>
          <a:xfrm>
            <a:off x="2779725" y="2635727"/>
            <a:ext cx="594939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1200" b="1" dirty="0">
                <a:solidFill>
                  <a:srgbClr val="FF585D"/>
                </a:solidFill>
                <a:latin typeface="Arial" panose="020B0604020202020204"/>
              </a:rPr>
              <a:t>59 </a:t>
            </a: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FF585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</a:t>
            </a:r>
            <a:endParaRPr lang="de-DE" b="1" dirty="0"/>
          </a:p>
        </p:txBody>
      </p:sp>
      <p:sp>
        <p:nvSpPr>
          <p:cNvPr id="133" name="Textfeld 132">
            <a:extLst>
              <a:ext uri="{FF2B5EF4-FFF2-40B4-BE49-F238E27FC236}">
                <a16:creationId xmlns:a16="http://schemas.microsoft.com/office/drawing/2014/main" id="{59AD4AA9-7B0F-2B8C-8045-AF8A6D56D291}"/>
              </a:ext>
            </a:extLst>
          </p:cNvPr>
          <p:cNvSpPr txBox="1"/>
          <p:nvPr/>
        </p:nvSpPr>
        <p:spPr>
          <a:xfrm>
            <a:off x="3875365" y="2867281"/>
            <a:ext cx="594939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FF585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9 %</a:t>
            </a:r>
            <a:endParaRPr lang="de-DE" b="1" dirty="0"/>
          </a:p>
        </p:txBody>
      </p:sp>
      <p:sp>
        <p:nvSpPr>
          <p:cNvPr id="134" name="Textfeld 133">
            <a:extLst>
              <a:ext uri="{FF2B5EF4-FFF2-40B4-BE49-F238E27FC236}">
                <a16:creationId xmlns:a16="http://schemas.microsoft.com/office/drawing/2014/main" id="{7F3AC7C1-ACD7-3259-9342-31F2C951A706}"/>
              </a:ext>
            </a:extLst>
          </p:cNvPr>
          <p:cNvSpPr txBox="1"/>
          <p:nvPr/>
        </p:nvSpPr>
        <p:spPr>
          <a:xfrm>
            <a:off x="4971255" y="2920537"/>
            <a:ext cx="594939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FF585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7 %</a:t>
            </a:r>
            <a:endParaRPr lang="de-DE" b="1" dirty="0"/>
          </a:p>
        </p:txBody>
      </p:sp>
      <p:sp>
        <p:nvSpPr>
          <p:cNvPr id="135" name="Textfeld 134">
            <a:extLst>
              <a:ext uri="{FF2B5EF4-FFF2-40B4-BE49-F238E27FC236}">
                <a16:creationId xmlns:a16="http://schemas.microsoft.com/office/drawing/2014/main" id="{C7B13C31-140E-1929-4233-F9804FCB1E41}"/>
              </a:ext>
            </a:extLst>
          </p:cNvPr>
          <p:cNvSpPr txBox="1"/>
          <p:nvPr/>
        </p:nvSpPr>
        <p:spPr>
          <a:xfrm>
            <a:off x="6049979" y="2975041"/>
            <a:ext cx="575829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FF585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5 %</a:t>
            </a:r>
            <a:endParaRPr lang="de-DE" b="1" dirty="0"/>
          </a:p>
        </p:txBody>
      </p:sp>
      <p:sp>
        <p:nvSpPr>
          <p:cNvPr id="136" name="Textfeld 135">
            <a:extLst>
              <a:ext uri="{FF2B5EF4-FFF2-40B4-BE49-F238E27FC236}">
                <a16:creationId xmlns:a16="http://schemas.microsoft.com/office/drawing/2014/main" id="{578C2D23-D933-29BF-B35F-42C26102096D}"/>
              </a:ext>
            </a:extLst>
          </p:cNvPr>
          <p:cNvSpPr txBox="1"/>
          <p:nvPr/>
        </p:nvSpPr>
        <p:spPr>
          <a:xfrm>
            <a:off x="3186125" y="1722335"/>
            <a:ext cx="56131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1200" b="1" dirty="0">
                <a:solidFill>
                  <a:schemeClr val="accent6"/>
                </a:solidFill>
                <a:latin typeface="Arial" panose="020B0604020202020204"/>
              </a:rPr>
              <a:t>91 </a:t>
            </a: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</a:t>
            </a:r>
            <a:endParaRPr lang="de-DE" b="1" dirty="0">
              <a:solidFill>
                <a:schemeClr val="accent6"/>
              </a:solidFill>
            </a:endParaRPr>
          </a:p>
        </p:txBody>
      </p:sp>
      <p:sp>
        <p:nvSpPr>
          <p:cNvPr id="137" name="Textfeld 136">
            <a:extLst>
              <a:ext uri="{FF2B5EF4-FFF2-40B4-BE49-F238E27FC236}">
                <a16:creationId xmlns:a16="http://schemas.microsoft.com/office/drawing/2014/main" id="{F055D932-8486-1367-1A59-DD59D72E74D5}"/>
              </a:ext>
            </a:extLst>
          </p:cNvPr>
          <p:cNvSpPr txBox="1"/>
          <p:nvPr/>
        </p:nvSpPr>
        <p:spPr>
          <a:xfrm>
            <a:off x="4262715" y="2157089"/>
            <a:ext cx="56131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1200" b="1" dirty="0">
                <a:solidFill>
                  <a:schemeClr val="accent6"/>
                </a:solidFill>
                <a:latin typeface="Arial" panose="020B0604020202020204"/>
              </a:rPr>
              <a:t>71 </a:t>
            </a: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</a:t>
            </a:r>
            <a:endParaRPr lang="de-DE" b="1" dirty="0">
              <a:solidFill>
                <a:schemeClr val="accent6"/>
              </a:solidFill>
            </a:endParaRPr>
          </a:p>
        </p:txBody>
      </p:sp>
      <p:sp>
        <p:nvSpPr>
          <p:cNvPr id="138" name="Textfeld 137">
            <a:extLst>
              <a:ext uri="{FF2B5EF4-FFF2-40B4-BE49-F238E27FC236}">
                <a16:creationId xmlns:a16="http://schemas.microsoft.com/office/drawing/2014/main" id="{C363DA5A-05F1-5163-68D2-BBC511AAE9D9}"/>
              </a:ext>
            </a:extLst>
          </p:cNvPr>
          <p:cNvSpPr txBox="1"/>
          <p:nvPr/>
        </p:nvSpPr>
        <p:spPr>
          <a:xfrm>
            <a:off x="5371305" y="2432595"/>
            <a:ext cx="56131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60 %</a:t>
            </a:r>
            <a:endParaRPr lang="de-DE" b="1" dirty="0">
              <a:solidFill>
                <a:schemeClr val="accent6"/>
              </a:solidFill>
            </a:endParaRPr>
          </a:p>
        </p:txBody>
      </p:sp>
      <p:sp>
        <p:nvSpPr>
          <p:cNvPr id="139" name="Textfeld 138">
            <a:extLst>
              <a:ext uri="{FF2B5EF4-FFF2-40B4-BE49-F238E27FC236}">
                <a16:creationId xmlns:a16="http://schemas.microsoft.com/office/drawing/2014/main" id="{9A98C36C-3AB5-FEAE-FE2E-31E9E3216A9F}"/>
              </a:ext>
            </a:extLst>
          </p:cNvPr>
          <p:cNvSpPr txBox="1"/>
          <p:nvPr/>
        </p:nvSpPr>
        <p:spPr>
          <a:xfrm>
            <a:off x="6443679" y="2487099"/>
            <a:ext cx="575829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1200" b="1" dirty="0">
                <a:solidFill>
                  <a:schemeClr val="accent6"/>
                </a:solidFill>
                <a:latin typeface="Arial" panose="020B0604020202020204"/>
              </a:rPr>
              <a:t>55 </a:t>
            </a: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</a:t>
            </a:r>
            <a:endParaRPr lang="de-DE" b="1" dirty="0">
              <a:solidFill>
                <a:schemeClr val="accent6"/>
              </a:solidFill>
            </a:endParaRPr>
          </a:p>
        </p:txBody>
      </p:sp>
      <p:sp>
        <p:nvSpPr>
          <p:cNvPr id="140" name="Textfeld 139">
            <a:extLst>
              <a:ext uri="{FF2B5EF4-FFF2-40B4-BE49-F238E27FC236}">
                <a16:creationId xmlns:a16="http://schemas.microsoft.com/office/drawing/2014/main" id="{858CFD3F-5196-8BF5-11B4-CABF80F04034}"/>
              </a:ext>
            </a:extLst>
          </p:cNvPr>
          <p:cNvSpPr txBox="1"/>
          <p:nvPr/>
        </p:nvSpPr>
        <p:spPr>
          <a:xfrm>
            <a:off x="1703403" y="3470706"/>
            <a:ext cx="1916004" cy="461665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r>
              <a:rPr lang="de-DE" sz="800" b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reignisse/</a:t>
            </a:r>
            <a:r>
              <a:rPr lang="de-DE" sz="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</a:t>
            </a:r>
            <a:r>
              <a:rPr lang="de-DE" sz="800" b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tient*innen</a:t>
            </a:r>
            <a:br>
              <a:rPr lang="de-DE" sz="800" b="0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de-DE" sz="800" b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FS, </a:t>
            </a:r>
            <a:r>
              <a:rPr lang="de-DE" sz="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</a:t>
            </a:r>
            <a:r>
              <a:rPr lang="de-DE" sz="800" b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onate, </a:t>
            </a:r>
            <a:r>
              <a:rPr lang="de-DE" sz="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</a:t>
            </a:r>
            <a:r>
              <a:rPr lang="de-DE" sz="800" b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dian (95%-KI)</a:t>
            </a:r>
          </a:p>
          <a:p>
            <a:r>
              <a:rPr lang="de-DE" sz="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HR (95%-KI)</a:t>
            </a:r>
          </a:p>
        </p:txBody>
      </p:sp>
      <p:sp>
        <p:nvSpPr>
          <p:cNvPr id="141" name="Textfeld 140">
            <a:extLst>
              <a:ext uri="{FF2B5EF4-FFF2-40B4-BE49-F238E27FC236}">
                <a16:creationId xmlns:a16="http://schemas.microsoft.com/office/drawing/2014/main" id="{DF295351-C994-8AFE-BD19-9C7881B4802B}"/>
              </a:ext>
            </a:extLst>
          </p:cNvPr>
          <p:cNvSpPr txBox="1"/>
          <p:nvPr/>
        </p:nvSpPr>
        <p:spPr>
          <a:xfrm>
            <a:off x="3239462" y="3347596"/>
            <a:ext cx="1077648" cy="584775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pPr algn="ctr"/>
            <a:r>
              <a:rPr lang="de-DE" sz="800" b="1" dirty="0">
                <a:solidFill>
                  <a:schemeClr val="accent2"/>
                </a:solidFill>
              </a:rPr>
              <a:t>PD1</a:t>
            </a:r>
          </a:p>
          <a:p>
            <a:pPr algn="ctr"/>
            <a:r>
              <a:rPr lang="de-DE" sz="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66/122</a:t>
            </a:r>
          </a:p>
          <a:p>
            <a:pPr algn="ctr"/>
            <a:r>
              <a:rPr lang="de-DE" sz="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20,6 (13,0–NR)</a:t>
            </a:r>
          </a:p>
          <a:p>
            <a:pPr algn="ctr"/>
            <a:r>
              <a:rPr lang="de-DE" sz="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1,73 (1,20–2,50)</a:t>
            </a:r>
          </a:p>
        </p:txBody>
      </p:sp>
      <p:sp>
        <p:nvSpPr>
          <p:cNvPr id="142" name="Textfeld 141">
            <a:extLst>
              <a:ext uri="{FF2B5EF4-FFF2-40B4-BE49-F238E27FC236}">
                <a16:creationId xmlns:a16="http://schemas.microsoft.com/office/drawing/2014/main" id="{093DD312-4B5D-CAA8-8FCB-959B6205364C}"/>
              </a:ext>
            </a:extLst>
          </p:cNvPr>
          <p:cNvSpPr txBox="1"/>
          <p:nvPr/>
        </p:nvSpPr>
        <p:spPr>
          <a:xfrm>
            <a:off x="4318001" y="3347596"/>
            <a:ext cx="1104900" cy="584775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pPr algn="ctr"/>
            <a:r>
              <a:rPr lang="de-DE" sz="800" b="1" dirty="0">
                <a:solidFill>
                  <a:schemeClr val="accent6"/>
                </a:solidFill>
              </a:rPr>
              <a:t>TT</a:t>
            </a:r>
          </a:p>
          <a:p>
            <a:pPr algn="ctr"/>
            <a:r>
              <a:rPr lang="de-DE" sz="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46/110</a:t>
            </a:r>
          </a:p>
          <a:p>
            <a:pPr algn="ctr"/>
            <a:r>
              <a:rPr lang="de-DE" sz="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NR (36,1–NR)</a:t>
            </a:r>
          </a:p>
          <a:p>
            <a:pPr algn="ctr"/>
            <a:r>
              <a:rPr lang="de-DE" sz="8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Ref</a:t>
            </a:r>
            <a:r>
              <a:rPr lang="de-DE" sz="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712D1FAB-A88A-1721-B407-59A3DF5F1E45}"/>
              </a:ext>
            </a:extLst>
          </p:cNvPr>
          <p:cNvSpPr txBox="1"/>
          <p:nvPr/>
        </p:nvSpPr>
        <p:spPr>
          <a:xfrm>
            <a:off x="9444757" y="3255367"/>
            <a:ext cx="4796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solidFill>
                  <a:schemeClr val="tx2"/>
                </a:solidFill>
              </a:rPr>
              <a:t>vs.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4BBBDE7C-4F19-DD56-6659-FEFCFC041F68}"/>
              </a:ext>
            </a:extLst>
          </p:cNvPr>
          <p:cNvSpPr txBox="1"/>
          <p:nvPr/>
        </p:nvSpPr>
        <p:spPr>
          <a:xfrm>
            <a:off x="8648699" y="6334695"/>
            <a:ext cx="2835133" cy="2144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  <a:buNone/>
            </a:pPr>
            <a:r>
              <a:rPr lang="en-US" sz="800" kern="1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Lodde GC et al. </a:t>
            </a:r>
            <a:r>
              <a:rPr lang="en-US" sz="800" i="1" kern="1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J Clin Oncol</a:t>
            </a:r>
            <a:r>
              <a:rPr lang="en-US" sz="800" kern="1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. 2025;43(25):2793-2805</a:t>
            </a:r>
            <a:endParaRPr lang="de-DE" sz="800" kern="100" dirty="0">
              <a:effectLst/>
              <a:latin typeface="Arial" panose="020B060402020202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42733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C8074EE4-4611-3EBA-77F9-D3939228C7A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9222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73" imgH="473" progId="TCLayout.ActiveDocument.1">
                  <p:embed/>
                </p:oleObj>
              </mc:Choice>
              <mc:Fallback>
                <p:oleObj name="think-cell Folie" r:id="rId4" imgW="473" imgH="473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8074EE4-4611-3EBA-77F9-D3939228C7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CA2FD96-F015-CC73-190F-A2EB586DF9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11301412" cy="1065278"/>
          </a:xfrm>
        </p:spPr>
        <p:txBody>
          <a:bodyPr vert="horz"/>
          <a:lstStyle/>
          <a:p>
            <a:r>
              <a:rPr lang="de-DE" sz="2000" dirty="0"/>
              <a:t>Ergebnisse der 4-Jahres-Analyse der </a:t>
            </a:r>
            <a:r>
              <a:rPr lang="de-DE" sz="2000" dirty="0" err="1"/>
              <a:t>DeCOG</a:t>
            </a:r>
            <a:r>
              <a:rPr lang="de-DE" sz="2000" dirty="0"/>
              <a:t>-Studie</a:t>
            </a:r>
            <a:br>
              <a:rPr lang="de-DE" dirty="0"/>
            </a:br>
            <a:r>
              <a:rPr lang="de-DE" dirty="0"/>
              <a:t>Gesamtüberleben</a:t>
            </a:r>
            <a:endParaRPr lang="de-DE" strike="sngStrik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08C71F01-7BF7-5694-234A-DF7E7CA6DF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5</a:t>
            </a:fld>
            <a:endParaRPr lang="en-GB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A7E1103-9FE7-E151-71BA-5E3C7877A82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4837" y="6051550"/>
            <a:ext cx="6268403" cy="587375"/>
          </a:xfrm>
        </p:spPr>
        <p:txBody>
          <a:bodyPr/>
          <a:lstStyle/>
          <a:p>
            <a:r>
              <a:rPr lang="de-DE" b="1" dirty="0" err="1"/>
              <a:t>DeCOG</a:t>
            </a:r>
            <a:r>
              <a:rPr lang="de-DE" dirty="0"/>
              <a:t> </a:t>
            </a:r>
            <a:r>
              <a:rPr lang="de-DE" i="1" dirty="0" err="1"/>
              <a:t>Dermatologic</a:t>
            </a:r>
            <a:r>
              <a:rPr lang="de-DE" i="1" dirty="0"/>
              <a:t> </a:t>
            </a:r>
            <a:r>
              <a:rPr lang="de-DE" i="1" dirty="0" err="1"/>
              <a:t>Cooperative</a:t>
            </a:r>
            <a:r>
              <a:rPr lang="de-DE" i="1" dirty="0"/>
              <a:t> </a:t>
            </a:r>
            <a:r>
              <a:rPr lang="de-DE" i="1" dirty="0" err="1"/>
              <a:t>Oncology</a:t>
            </a:r>
            <a:r>
              <a:rPr lang="de-DE" i="1" dirty="0"/>
              <a:t> Group.</a:t>
            </a:r>
            <a:r>
              <a:rPr lang="de-DE" b="1" i="1" dirty="0"/>
              <a:t> </a:t>
            </a:r>
            <a:r>
              <a:rPr lang="de-DE" b="1" dirty="0"/>
              <a:t>HR</a:t>
            </a:r>
            <a:r>
              <a:rPr lang="de-DE" b="1" i="1" dirty="0"/>
              <a:t> </a:t>
            </a:r>
            <a:r>
              <a:rPr lang="de-DE" i="1" dirty="0"/>
              <a:t>Hazard Ratio. </a:t>
            </a:r>
            <a:r>
              <a:rPr lang="de-DE" b="1" dirty="0"/>
              <a:t>KI</a:t>
            </a:r>
            <a:r>
              <a:rPr lang="de-DE" dirty="0"/>
              <a:t> Konfidenzintervall. </a:t>
            </a:r>
            <a:r>
              <a:rPr lang="de-DE" b="1" dirty="0"/>
              <a:t>NR</a:t>
            </a:r>
            <a:r>
              <a:rPr lang="de-DE" dirty="0"/>
              <a:t> Nicht erreicht. </a:t>
            </a:r>
            <a:r>
              <a:rPr lang="de-DE" b="1" dirty="0"/>
              <a:t>OS</a:t>
            </a:r>
            <a:r>
              <a:rPr lang="de-DE" dirty="0"/>
              <a:t> Gesamtüberleben. </a:t>
            </a:r>
            <a:r>
              <a:rPr lang="de-DE" b="1" dirty="0"/>
              <a:t>PD1</a:t>
            </a:r>
            <a:r>
              <a:rPr lang="de-DE" dirty="0"/>
              <a:t> </a:t>
            </a:r>
            <a:r>
              <a:rPr lang="en-US" i="1" dirty="0"/>
              <a:t>Programmed Cell Death Protein 1</a:t>
            </a:r>
            <a:r>
              <a:rPr lang="de-DE" dirty="0"/>
              <a:t>. </a:t>
            </a:r>
            <a:r>
              <a:rPr lang="de-DE" b="1" dirty="0" err="1"/>
              <a:t>Ref</a:t>
            </a:r>
            <a:r>
              <a:rPr lang="de-DE" b="1" dirty="0"/>
              <a:t>.</a:t>
            </a:r>
            <a:r>
              <a:rPr lang="de-DE" dirty="0"/>
              <a:t> Referenz. </a:t>
            </a:r>
            <a:r>
              <a:rPr lang="de-DE" b="1" dirty="0"/>
              <a:t>TT </a:t>
            </a:r>
            <a:r>
              <a:rPr lang="de-DE" dirty="0"/>
              <a:t>Zielgerichtete Therapie.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22C2AE52-CA83-7BE4-2F3F-02E1B396545A}"/>
              </a:ext>
            </a:extLst>
          </p:cNvPr>
          <p:cNvSpPr txBox="1"/>
          <p:nvPr/>
        </p:nvSpPr>
        <p:spPr>
          <a:xfrm>
            <a:off x="7866716" y="1988637"/>
            <a:ext cx="3441009" cy="17235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2"/>
                </a:solidFill>
              </a:rPr>
              <a:t>In keiner der beiden Gruppen wurde das mediane OS erreicht</a:t>
            </a:r>
          </a:p>
          <a:p>
            <a:pPr marL="285750" indent="-285750"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2"/>
                </a:solidFill>
              </a:rPr>
              <a:t>Das 4-Jahres-OS war in der </a:t>
            </a:r>
            <a:br>
              <a:rPr lang="de-DE" sz="1600" dirty="0">
                <a:solidFill>
                  <a:schemeClr val="tx2"/>
                </a:solidFill>
              </a:rPr>
            </a:br>
            <a:r>
              <a:rPr lang="de-DE" sz="1600" dirty="0">
                <a:solidFill>
                  <a:schemeClr val="tx2"/>
                </a:solidFill>
              </a:rPr>
              <a:t>TT-Gruppe höher als in der </a:t>
            </a:r>
            <a:br>
              <a:rPr lang="de-DE" sz="1600" dirty="0">
                <a:solidFill>
                  <a:schemeClr val="tx2"/>
                </a:solidFill>
              </a:rPr>
            </a:br>
            <a:r>
              <a:rPr lang="de-DE" sz="1600" dirty="0">
                <a:solidFill>
                  <a:schemeClr val="tx2"/>
                </a:solidFill>
              </a:rPr>
              <a:t>PD1-Gruppe (87 % vs. 74 %)</a:t>
            </a:r>
          </a:p>
          <a:p>
            <a:endParaRPr lang="de-DE" sz="1600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BD09D551-3AE4-641B-6D9F-35AE1D7CCB97}"/>
              </a:ext>
            </a:extLst>
          </p:cNvPr>
          <p:cNvSpPr txBox="1"/>
          <p:nvPr/>
        </p:nvSpPr>
        <p:spPr>
          <a:xfrm>
            <a:off x="1783306" y="1437144"/>
            <a:ext cx="6096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600" b="1" dirty="0">
                <a:solidFill>
                  <a:schemeClr val="accent6"/>
                </a:solidFill>
              </a:rPr>
              <a:t>OS, adjustiert nach Alter, Geschlecht und Tumorstadium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A168B890-4621-6ABE-E1A5-251C44A219E3}"/>
              </a:ext>
            </a:extLst>
          </p:cNvPr>
          <p:cNvSpPr txBox="1"/>
          <p:nvPr/>
        </p:nvSpPr>
        <p:spPr>
          <a:xfrm>
            <a:off x="604837" y="5157254"/>
            <a:ext cx="9086105" cy="1021556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marL="742950" lvl="1" indent="-285750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2"/>
                </a:solidFill>
              </a:rPr>
              <a:t>Auch beim OS zeigte sich eine Tendenz für ein erhöhtes Überleben unter TT im Vergleich zu PD1-Inhibitoren</a:t>
            </a:r>
          </a:p>
          <a:p>
            <a:pPr marL="742950" lvl="1" indent="-285750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2"/>
                </a:solidFill>
              </a:rPr>
              <a:t>Aufgrund der wenigen Ereignisse ist die Aussagekraft jedoch begrenzt</a:t>
            </a:r>
          </a:p>
        </p:txBody>
      </p:sp>
      <p:pic>
        <p:nvPicPr>
          <p:cNvPr id="12" name="Grafik 11" descr="Ein Bild, das Kreis, Grafiken, Farbigkeit, orange enthält.&#10;&#10;KI-generierte Inhalte können fehlerhaft sein.">
            <a:extLst>
              <a:ext uri="{FF2B5EF4-FFF2-40B4-BE49-F238E27FC236}">
                <a16:creationId xmlns:a16="http://schemas.microsoft.com/office/drawing/2014/main" id="{20DDE257-DB0E-6D9F-BE8A-6E4345B6B74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8957" y="4953956"/>
            <a:ext cx="720000" cy="720000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643B186A-27A4-0553-1E1B-5DE0EAE6D134}"/>
              </a:ext>
            </a:extLst>
          </p:cNvPr>
          <p:cNvSpPr txBox="1"/>
          <p:nvPr/>
        </p:nvSpPr>
        <p:spPr>
          <a:xfrm>
            <a:off x="1303855" y="4423075"/>
            <a:ext cx="2715645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de-DE" sz="1000" b="1" dirty="0">
                <a:solidFill>
                  <a:srgbClr val="000000"/>
                </a:solidFill>
                <a:latin typeface="Arial" panose="020B0604020202020204"/>
              </a:rPr>
              <a:t>Anzahl unter Risiko, gewichtet</a:t>
            </a:r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</a:endParaRPr>
          </a:p>
        </p:txBody>
      </p:sp>
      <p:graphicFrame>
        <p:nvGraphicFramePr>
          <p:cNvPr id="13" name="Tabelle 12">
            <a:extLst>
              <a:ext uri="{FF2B5EF4-FFF2-40B4-BE49-F238E27FC236}">
                <a16:creationId xmlns:a16="http://schemas.microsoft.com/office/drawing/2014/main" id="{1722E9C2-23D4-E254-38A7-D43D10B16EC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9304187"/>
              </p:ext>
            </p:extLst>
          </p:nvPr>
        </p:nvGraphicFramePr>
        <p:xfrm>
          <a:off x="1311034" y="4681720"/>
          <a:ext cx="6004130" cy="304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5830">
                  <a:extLst>
                    <a:ext uri="{9D8B030D-6E8A-4147-A177-3AD203B41FA5}">
                      <a16:colId xmlns:a16="http://schemas.microsoft.com/office/drawing/2014/main" val="1378299196"/>
                    </a:ext>
                  </a:extLst>
                </a:gridCol>
                <a:gridCol w="545830">
                  <a:extLst>
                    <a:ext uri="{9D8B030D-6E8A-4147-A177-3AD203B41FA5}">
                      <a16:colId xmlns:a16="http://schemas.microsoft.com/office/drawing/2014/main" val="2720059670"/>
                    </a:ext>
                  </a:extLst>
                </a:gridCol>
                <a:gridCol w="545830">
                  <a:extLst>
                    <a:ext uri="{9D8B030D-6E8A-4147-A177-3AD203B41FA5}">
                      <a16:colId xmlns:a16="http://schemas.microsoft.com/office/drawing/2014/main" val="3558843235"/>
                    </a:ext>
                  </a:extLst>
                </a:gridCol>
                <a:gridCol w="545830">
                  <a:extLst>
                    <a:ext uri="{9D8B030D-6E8A-4147-A177-3AD203B41FA5}">
                      <a16:colId xmlns:a16="http://schemas.microsoft.com/office/drawing/2014/main" val="642524864"/>
                    </a:ext>
                  </a:extLst>
                </a:gridCol>
                <a:gridCol w="545830">
                  <a:extLst>
                    <a:ext uri="{9D8B030D-6E8A-4147-A177-3AD203B41FA5}">
                      <a16:colId xmlns:a16="http://schemas.microsoft.com/office/drawing/2014/main" val="400611306"/>
                    </a:ext>
                  </a:extLst>
                </a:gridCol>
                <a:gridCol w="545830">
                  <a:extLst>
                    <a:ext uri="{9D8B030D-6E8A-4147-A177-3AD203B41FA5}">
                      <a16:colId xmlns:a16="http://schemas.microsoft.com/office/drawing/2014/main" val="3315586355"/>
                    </a:ext>
                  </a:extLst>
                </a:gridCol>
                <a:gridCol w="545830">
                  <a:extLst>
                    <a:ext uri="{9D8B030D-6E8A-4147-A177-3AD203B41FA5}">
                      <a16:colId xmlns:a16="http://schemas.microsoft.com/office/drawing/2014/main" val="1430594064"/>
                    </a:ext>
                  </a:extLst>
                </a:gridCol>
                <a:gridCol w="545830">
                  <a:extLst>
                    <a:ext uri="{9D8B030D-6E8A-4147-A177-3AD203B41FA5}">
                      <a16:colId xmlns:a16="http://schemas.microsoft.com/office/drawing/2014/main" val="3098826525"/>
                    </a:ext>
                  </a:extLst>
                </a:gridCol>
                <a:gridCol w="545830">
                  <a:extLst>
                    <a:ext uri="{9D8B030D-6E8A-4147-A177-3AD203B41FA5}">
                      <a16:colId xmlns:a16="http://schemas.microsoft.com/office/drawing/2014/main" val="3997508032"/>
                    </a:ext>
                  </a:extLst>
                </a:gridCol>
                <a:gridCol w="545830">
                  <a:extLst>
                    <a:ext uri="{9D8B030D-6E8A-4147-A177-3AD203B41FA5}">
                      <a16:colId xmlns:a16="http://schemas.microsoft.com/office/drawing/2014/main" val="2238665104"/>
                    </a:ext>
                  </a:extLst>
                </a:gridCol>
                <a:gridCol w="545830">
                  <a:extLst>
                    <a:ext uri="{9D8B030D-6E8A-4147-A177-3AD203B41FA5}">
                      <a16:colId xmlns:a16="http://schemas.microsoft.com/office/drawing/2014/main" val="197371410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de-DE" sz="1000" b="1" dirty="0">
                          <a:solidFill>
                            <a:schemeClr val="accent2"/>
                          </a:solidFill>
                        </a:rPr>
                        <a:t>PD1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2"/>
                          </a:solidFill>
                        </a:rPr>
                        <a:t>479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2"/>
                          </a:solidFill>
                        </a:rPr>
                        <a:t>459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2"/>
                          </a:solidFill>
                        </a:rPr>
                        <a:t>426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2"/>
                          </a:solidFill>
                        </a:rPr>
                        <a:t>400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2"/>
                          </a:solidFill>
                        </a:rPr>
                        <a:t>366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2"/>
                          </a:solidFill>
                        </a:rPr>
                        <a:t>341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2"/>
                          </a:solidFill>
                        </a:rPr>
                        <a:t>315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2"/>
                          </a:solidFill>
                        </a:rPr>
                        <a:t>284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2"/>
                          </a:solidFill>
                        </a:rPr>
                        <a:t>203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2"/>
                          </a:solidFill>
                        </a:rPr>
                        <a:t>100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35971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de-DE" sz="1000" b="1" dirty="0">
                          <a:solidFill>
                            <a:schemeClr val="accent6"/>
                          </a:solidFill>
                        </a:rPr>
                        <a:t>TT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6"/>
                          </a:solidFill>
                        </a:rPr>
                        <a:t>110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6"/>
                          </a:solidFill>
                        </a:rPr>
                        <a:t>108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6"/>
                          </a:solidFill>
                        </a:rPr>
                        <a:t>102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6"/>
                          </a:solidFill>
                        </a:rPr>
                        <a:t>95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6"/>
                          </a:solidFill>
                        </a:rPr>
                        <a:t>92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6"/>
                          </a:solidFill>
                        </a:rPr>
                        <a:t>86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6"/>
                          </a:solidFill>
                        </a:rPr>
                        <a:t>81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6"/>
                          </a:solidFill>
                        </a:rPr>
                        <a:t>74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6"/>
                          </a:solidFill>
                        </a:rPr>
                        <a:t>46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6"/>
                          </a:solidFill>
                        </a:rPr>
                        <a:t>18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80541496"/>
                  </a:ext>
                </a:extLst>
              </a:tr>
            </a:tbl>
          </a:graphicData>
        </a:graphic>
      </p:graphicFrame>
      <p:grpSp>
        <p:nvGrpSpPr>
          <p:cNvPr id="373" name="Gruppieren 372">
            <a:extLst>
              <a:ext uri="{FF2B5EF4-FFF2-40B4-BE49-F238E27FC236}">
                <a16:creationId xmlns:a16="http://schemas.microsoft.com/office/drawing/2014/main" id="{392C6CA0-EE0C-8069-D036-D56842F18B95}"/>
              </a:ext>
            </a:extLst>
          </p:cNvPr>
          <p:cNvGrpSpPr/>
          <p:nvPr/>
        </p:nvGrpSpPr>
        <p:grpSpPr>
          <a:xfrm>
            <a:off x="1032158" y="1722723"/>
            <a:ext cx="6467766" cy="2904924"/>
            <a:chOff x="986804" y="1563426"/>
            <a:chExt cx="6467766" cy="2904924"/>
          </a:xfrm>
        </p:grpSpPr>
        <p:graphicFrame>
          <p:nvGraphicFramePr>
            <p:cNvPr id="14" name="Diagramm 13">
              <a:extLst>
                <a:ext uri="{FF2B5EF4-FFF2-40B4-BE49-F238E27FC236}">
                  <a16:creationId xmlns:a16="http://schemas.microsoft.com/office/drawing/2014/main" id="{9DB41B25-3D0F-BE79-3559-28553AA4D2DE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2574736857"/>
                </p:ext>
              </p:extLst>
            </p:nvPr>
          </p:nvGraphicFramePr>
          <p:xfrm>
            <a:off x="986804" y="1641692"/>
            <a:ext cx="6467766" cy="282665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7"/>
            </a:graphicData>
          </a:graphic>
        </p:graphicFrame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0AE8E465-1919-DE5C-1BF5-F9DFA16F30CA}"/>
                </a:ext>
              </a:extLst>
            </p:cNvPr>
            <p:cNvCxnSpPr>
              <a:cxnSpLocks/>
            </p:cNvCxnSpPr>
            <p:nvPr/>
          </p:nvCxnSpPr>
          <p:spPr>
            <a:xfrm>
              <a:off x="6500186" y="2082800"/>
              <a:ext cx="0" cy="1891839"/>
            </a:xfrm>
            <a:prstGeom prst="line">
              <a:avLst/>
            </a:prstGeom>
            <a:ln w="6350"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r Verbinder 15">
              <a:extLst>
                <a:ext uri="{FF2B5EF4-FFF2-40B4-BE49-F238E27FC236}">
                  <a16:creationId xmlns:a16="http://schemas.microsoft.com/office/drawing/2014/main" id="{18E8FED2-B675-3DA6-EFA4-2E4C6AF21155}"/>
                </a:ext>
              </a:extLst>
            </p:cNvPr>
            <p:cNvCxnSpPr>
              <a:cxnSpLocks/>
            </p:cNvCxnSpPr>
            <p:nvPr/>
          </p:nvCxnSpPr>
          <p:spPr>
            <a:xfrm>
              <a:off x="3239461" y="1816100"/>
              <a:ext cx="0" cy="2158539"/>
            </a:xfrm>
            <a:prstGeom prst="line">
              <a:avLst/>
            </a:prstGeom>
            <a:ln w="6350"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20DBCC6E-040E-3DAE-6ED8-974D809F134B}"/>
                </a:ext>
              </a:extLst>
            </p:cNvPr>
            <p:cNvCxnSpPr>
              <a:cxnSpLocks/>
            </p:cNvCxnSpPr>
            <p:nvPr/>
          </p:nvCxnSpPr>
          <p:spPr>
            <a:xfrm>
              <a:off x="4317109" y="1987550"/>
              <a:ext cx="0" cy="1987089"/>
            </a:xfrm>
            <a:prstGeom prst="line">
              <a:avLst/>
            </a:prstGeom>
            <a:ln w="6350"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3DDF0E5B-62D5-2939-2DA4-3BC68BE29DD6}"/>
                </a:ext>
              </a:extLst>
            </p:cNvPr>
            <p:cNvCxnSpPr>
              <a:cxnSpLocks/>
            </p:cNvCxnSpPr>
            <p:nvPr/>
          </p:nvCxnSpPr>
          <p:spPr>
            <a:xfrm>
              <a:off x="5417245" y="2044700"/>
              <a:ext cx="0" cy="1929939"/>
            </a:xfrm>
            <a:prstGeom prst="line">
              <a:avLst/>
            </a:prstGeom>
            <a:ln w="6350"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82D7AE26-996A-6F08-3347-ABCCAE1F6787}"/>
                </a:ext>
              </a:extLst>
            </p:cNvPr>
            <p:cNvSpPr txBox="1"/>
            <p:nvPr/>
          </p:nvSpPr>
          <p:spPr>
            <a:xfrm>
              <a:off x="2779725" y="1930877"/>
              <a:ext cx="583000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kumimoji="0" lang="de-DE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585D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92 %</a:t>
              </a:r>
              <a:endParaRPr lang="de-DE" b="1" dirty="0"/>
            </a:p>
          </p:txBody>
        </p:sp>
        <p:sp>
          <p:nvSpPr>
            <p:cNvPr id="20" name="Textfeld 19">
              <a:extLst>
                <a:ext uri="{FF2B5EF4-FFF2-40B4-BE49-F238E27FC236}">
                  <a16:creationId xmlns:a16="http://schemas.microsoft.com/office/drawing/2014/main" id="{FB81DF2F-EFCE-0EDC-6DCC-C80FAD732071}"/>
                </a:ext>
              </a:extLst>
            </p:cNvPr>
            <p:cNvSpPr txBox="1"/>
            <p:nvPr/>
          </p:nvSpPr>
          <p:spPr>
            <a:xfrm>
              <a:off x="3875365" y="2105281"/>
              <a:ext cx="564645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de-DE" sz="1200" b="1" dirty="0">
                  <a:solidFill>
                    <a:srgbClr val="FF585D"/>
                  </a:solidFill>
                  <a:latin typeface="Arial" panose="020B0604020202020204"/>
                </a:rPr>
                <a:t>85 </a:t>
              </a:r>
              <a:r>
                <a:rPr kumimoji="0" lang="de-DE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585D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%</a:t>
              </a:r>
              <a:endParaRPr lang="de-DE" b="1" dirty="0"/>
            </a:p>
          </p:txBody>
        </p:sp>
        <p:sp>
          <p:nvSpPr>
            <p:cNvPr id="21" name="Textfeld 20">
              <a:extLst>
                <a:ext uri="{FF2B5EF4-FFF2-40B4-BE49-F238E27FC236}">
                  <a16:creationId xmlns:a16="http://schemas.microsoft.com/office/drawing/2014/main" id="{135E507E-D893-2BA5-CFDA-48CC660F33CD}"/>
                </a:ext>
              </a:extLst>
            </p:cNvPr>
            <p:cNvSpPr txBox="1"/>
            <p:nvPr/>
          </p:nvSpPr>
          <p:spPr>
            <a:xfrm>
              <a:off x="4971255" y="2202987"/>
              <a:ext cx="564645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de-DE" sz="1200" b="1" dirty="0">
                  <a:solidFill>
                    <a:srgbClr val="FF585D"/>
                  </a:solidFill>
                  <a:latin typeface="Arial" panose="020B0604020202020204"/>
                </a:rPr>
                <a:t>79 </a:t>
              </a:r>
              <a:r>
                <a:rPr kumimoji="0" lang="de-DE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585D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%</a:t>
              </a:r>
              <a:endParaRPr lang="de-DE" b="1" dirty="0"/>
            </a:p>
          </p:txBody>
        </p:sp>
        <p:sp>
          <p:nvSpPr>
            <p:cNvPr id="22" name="Textfeld 21">
              <a:extLst>
                <a:ext uri="{FF2B5EF4-FFF2-40B4-BE49-F238E27FC236}">
                  <a16:creationId xmlns:a16="http://schemas.microsoft.com/office/drawing/2014/main" id="{09C8065F-5571-21AC-6F61-35D785BE1511}"/>
                </a:ext>
              </a:extLst>
            </p:cNvPr>
            <p:cNvSpPr txBox="1"/>
            <p:nvPr/>
          </p:nvSpPr>
          <p:spPr>
            <a:xfrm>
              <a:off x="6049979" y="2384491"/>
              <a:ext cx="564646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de-DE" sz="1200" b="1" dirty="0">
                  <a:solidFill>
                    <a:srgbClr val="FF585D"/>
                  </a:solidFill>
                  <a:latin typeface="Arial" panose="020B0604020202020204"/>
                </a:rPr>
                <a:t>74 </a:t>
              </a:r>
              <a:r>
                <a:rPr kumimoji="0" lang="de-DE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585D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%</a:t>
              </a:r>
              <a:endParaRPr lang="de-DE" b="1" dirty="0"/>
            </a:p>
          </p:txBody>
        </p:sp>
        <p:sp>
          <p:nvSpPr>
            <p:cNvPr id="23" name="Textfeld 22">
              <a:extLst>
                <a:ext uri="{FF2B5EF4-FFF2-40B4-BE49-F238E27FC236}">
                  <a16:creationId xmlns:a16="http://schemas.microsoft.com/office/drawing/2014/main" id="{A2C6575C-824A-8140-533E-4B99406133EB}"/>
                </a:ext>
              </a:extLst>
            </p:cNvPr>
            <p:cNvSpPr txBox="1"/>
            <p:nvPr/>
          </p:nvSpPr>
          <p:spPr>
            <a:xfrm>
              <a:off x="5371305" y="1765845"/>
              <a:ext cx="564645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de-DE" sz="1200" b="1" dirty="0">
                  <a:solidFill>
                    <a:schemeClr val="accent6"/>
                  </a:solidFill>
                  <a:latin typeface="Arial" panose="020B0604020202020204"/>
                </a:rPr>
                <a:t>89 </a:t>
              </a:r>
              <a:r>
                <a:rPr kumimoji="0" lang="de-DE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%</a:t>
              </a:r>
              <a:endParaRPr lang="de-DE" b="1" dirty="0">
                <a:solidFill>
                  <a:schemeClr val="accent6"/>
                </a:solidFill>
              </a:endParaRPr>
            </a:p>
          </p:txBody>
        </p:sp>
        <p:sp>
          <p:nvSpPr>
            <p:cNvPr id="24" name="Textfeld 23">
              <a:extLst>
                <a:ext uri="{FF2B5EF4-FFF2-40B4-BE49-F238E27FC236}">
                  <a16:creationId xmlns:a16="http://schemas.microsoft.com/office/drawing/2014/main" id="{B15A2843-BF3A-DC29-6719-BA2BEFB6C777}"/>
                </a:ext>
              </a:extLst>
            </p:cNvPr>
            <p:cNvSpPr txBox="1"/>
            <p:nvPr/>
          </p:nvSpPr>
          <p:spPr>
            <a:xfrm>
              <a:off x="6443679" y="1788599"/>
              <a:ext cx="564645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kumimoji="0" lang="de-DE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87 %</a:t>
              </a:r>
              <a:endParaRPr lang="de-DE" b="1" dirty="0">
                <a:solidFill>
                  <a:schemeClr val="accent6"/>
                </a:solidFill>
              </a:endParaRPr>
            </a:p>
          </p:txBody>
        </p:sp>
        <p:sp>
          <p:nvSpPr>
            <p:cNvPr id="25" name="Textfeld 24">
              <a:extLst>
                <a:ext uri="{FF2B5EF4-FFF2-40B4-BE49-F238E27FC236}">
                  <a16:creationId xmlns:a16="http://schemas.microsoft.com/office/drawing/2014/main" id="{54C3E9BD-9130-E1DE-E0BD-535FB9EF668F}"/>
                </a:ext>
              </a:extLst>
            </p:cNvPr>
            <p:cNvSpPr txBox="1"/>
            <p:nvPr/>
          </p:nvSpPr>
          <p:spPr>
            <a:xfrm>
              <a:off x="1703403" y="3470706"/>
              <a:ext cx="1916004" cy="461665"/>
            </a:xfrm>
            <a:prstGeom prst="rect">
              <a:avLst/>
            </a:prstGeom>
            <a:noFill/>
          </p:spPr>
          <p:txBody>
            <a:bodyPr wrap="square" anchor="b">
              <a:spAutoFit/>
            </a:bodyPr>
            <a:lstStyle/>
            <a:p>
              <a:r>
                <a:rPr lang="de-DE" sz="800" b="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Ereignisse/</a:t>
              </a:r>
              <a:r>
                <a:rPr lang="de-DE" sz="8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P</a:t>
              </a:r>
              <a:r>
                <a:rPr lang="de-DE" sz="800" b="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atient*innen</a:t>
              </a:r>
              <a:br>
                <a:rPr lang="de-DE" sz="800" b="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</a:br>
              <a:r>
                <a:rPr lang="de-DE" sz="800" b="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RFS, </a:t>
              </a:r>
              <a:r>
                <a:rPr lang="de-DE" sz="8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M</a:t>
              </a:r>
              <a:r>
                <a:rPr lang="de-DE" sz="800" b="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onate, </a:t>
              </a:r>
              <a:r>
                <a:rPr lang="de-DE" sz="8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M</a:t>
              </a:r>
              <a:r>
                <a:rPr lang="de-DE" sz="800" b="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edian (95%-KI)</a:t>
              </a:r>
            </a:p>
            <a:p>
              <a:r>
                <a:rPr lang="de-DE" sz="8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HR (95%-KI)</a:t>
              </a:r>
            </a:p>
          </p:txBody>
        </p:sp>
        <p:sp>
          <p:nvSpPr>
            <p:cNvPr id="26" name="Textfeld 25">
              <a:extLst>
                <a:ext uri="{FF2B5EF4-FFF2-40B4-BE49-F238E27FC236}">
                  <a16:creationId xmlns:a16="http://schemas.microsoft.com/office/drawing/2014/main" id="{669CC49A-0D4D-C14F-7C0D-F67752D7EA72}"/>
                </a:ext>
              </a:extLst>
            </p:cNvPr>
            <p:cNvSpPr txBox="1"/>
            <p:nvPr/>
          </p:nvSpPr>
          <p:spPr>
            <a:xfrm>
              <a:off x="3239462" y="3347596"/>
              <a:ext cx="1077648" cy="584775"/>
            </a:xfrm>
            <a:prstGeom prst="rect">
              <a:avLst/>
            </a:prstGeom>
            <a:noFill/>
          </p:spPr>
          <p:txBody>
            <a:bodyPr wrap="square" anchor="b">
              <a:spAutoFit/>
            </a:bodyPr>
            <a:lstStyle/>
            <a:p>
              <a:pPr algn="ctr"/>
              <a:r>
                <a:rPr lang="de-DE" sz="800" b="1" dirty="0">
                  <a:solidFill>
                    <a:schemeClr val="accent2"/>
                  </a:solidFill>
                </a:rPr>
                <a:t>PD1</a:t>
              </a:r>
            </a:p>
            <a:p>
              <a:pPr algn="ctr"/>
              <a:r>
                <a:rPr lang="de-DE" sz="8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118/479</a:t>
              </a:r>
            </a:p>
            <a:p>
              <a:pPr algn="ctr"/>
              <a:r>
                <a:rPr lang="de-DE" sz="8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NR (NR–NR)</a:t>
              </a:r>
            </a:p>
            <a:p>
              <a:pPr algn="ctr"/>
              <a:r>
                <a:rPr lang="de-DE" sz="8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2,09 (1,14–3,83)</a:t>
              </a:r>
            </a:p>
          </p:txBody>
        </p:sp>
        <p:sp>
          <p:nvSpPr>
            <p:cNvPr id="27" name="Textfeld 26">
              <a:extLst>
                <a:ext uri="{FF2B5EF4-FFF2-40B4-BE49-F238E27FC236}">
                  <a16:creationId xmlns:a16="http://schemas.microsoft.com/office/drawing/2014/main" id="{328309CC-27B6-8E56-A854-5DC24B3CCEE1}"/>
                </a:ext>
              </a:extLst>
            </p:cNvPr>
            <p:cNvSpPr txBox="1"/>
            <p:nvPr/>
          </p:nvSpPr>
          <p:spPr>
            <a:xfrm>
              <a:off x="4318001" y="3347596"/>
              <a:ext cx="1104900" cy="584775"/>
            </a:xfrm>
            <a:prstGeom prst="rect">
              <a:avLst/>
            </a:prstGeom>
            <a:noFill/>
          </p:spPr>
          <p:txBody>
            <a:bodyPr wrap="square" anchor="b">
              <a:spAutoFit/>
            </a:bodyPr>
            <a:lstStyle/>
            <a:p>
              <a:pPr algn="ctr"/>
              <a:r>
                <a:rPr lang="de-DE" sz="800" b="1" dirty="0">
                  <a:solidFill>
                    <a:schemeClr val="accent6"/>
                  </a:solidFill>
                </a:rPr>
                <a:t>TT</a:t>
              </a:r>
            </a:p>
            <a:p>
              <a:pPr algn="ctr"/>
              <a:r>
                <a:rPr lang="de-DE" sz="8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14/110</a:t>
              </a:r>
            </a:p>
            <a:p>
              <a:pPr algn="ctr"/>
              <a:r>
                <a:rPr lang="de-DE" sz="8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NR (NR–NR)</a:t>
              </a:r>
            </a:p>
            <a:p>
              <a:pPr algn="ctr"/>
              <a:r>
                <a:rPr lang="de-DE" sz="8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Ref</a:t>
              </a:r>
              <a:r>
                <a:rPr lang="de-DE" sz="8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.</a:t>
              </a:r>
            </a:p>
          </p:txBody>
        </p:sp>
        <p:sp>
          <p:nvSpPr>
            <p:cNvPr id="28" name="Textfeld 27">
              <a:extLst>
                <a:ext uri="{FF2B5EF4-FFF2-40B4-BE49-F238E27FC236}">
                  <a16:creationId xmlns:a16="http://schemas.microsoft.com/office/drawing/2014/main" id="{D2A32A95-8D4D-61F7-0F6F-1DFE2F9AA3CB}"/>
                </a:ext>
              </a:extLst>
            </p:cNvPr>
            <p:cNvSpPr txBox="1"/>
            <p:nvPr/>
          </p:nvSpPr>
          <p:spPr>
            <a:xfrm>
              <a:off x="3186125" y="1563426"/>
              <a:ext cx="607748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de-DE" sz="1200" b="1" dirty="0">
                  <a:solidFill>
                    <a:schemeClr val="accent6"/>
                  </a:solidFill>
                  <a:latin typeface="Arial" panose="020B0604020202020204"/>
                </a:rPr>
                <a:t>98 </a:t>
              </a:r>
              <a:r>
                <a:rPr kumimoji="0" lang="de-DE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%</a:t>
              </a:r>
              <a:endParaRPr lang="de-DE" b="1" dirty="0">
                <a:solidFill>
                  <a:schemeClr val="accent6"/>
                </a:solidFill>
              </a:endParaRPr>
            </a:p>
          </p:txBody>
        </p:sp>
        <p:sp>
          <p:nvSpPr>
            <p:cNvPr id="29" name="Textfeld 28">
              <a:extLst>
                <a:ext uri="{FF2B5EF4-FFF2-40B4-BE49-F238E27FC236}">
                  <a16:creationId xmlns:a16="http://schemas.microsoft.com/office/drawing/2014/main" id="{FABF865B-CC96-09F9-95F7-A0A2838B65CB}"/>
                </a:ext>
              </a:extLst>
            </p:cNvPr>
            <p:cNvSpPr txBox="1"/>
            <p:nvPr/>
          </p:nvSpPr>
          <p:spPr>
            <a:xfrm>
              <a:off x="4262715" y="1737255"/>
              <a:ext cx="600861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de-DE" sz="1200" b="1" dirty="0">
                  <a:solidFill>
                    <a:schemeClr val="accent6"/>
                  </a:solidFill>
                  <a:latin typeface="Arial" panose="020B0604020202020204"/>
                </a:rPr>
                <a:t>91 </a:t>
              </a:r>
              <a:r>
                <a:rPr kumimoji="0" lang="de-DE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%</a:t>
              </a:r>
              <a:endParaRPr lang="de-DE" b="1" dirty="0">
                <a:solidFill>
                  <a:schemeClr val="accent6"/>
                </a:solidFill>
              </a:endParaRPr>
            </a:p>
          </p:txBody>
        </p:sp>
        <p:sp>
          <p:nvSpPr>
            <p:cNvPr id="30" name="Freihandform: Form 29">
              <a:extLst>
                <a:ext uri="{FF2B5EF4-FFF2-40B4-BE49-F238E27FC236}">
                  <a16:creationId xmlns:a16="http://schemas.microsoft.com/office/drawing/2014/main" id="{2AB41370-32CE-DA67-284E-E3D412E9A3DA}"/>
                </a:ext>
              </a:extLst>
            </p:cNvPr>
            <p:cNvSpPr/>
            <p:nvPr/>
          </p:nvSpPr>
          <p:spPr>
            <a:xfrm>
              <a:off x="2149064" y="1769278"/>
              <a:ext cx="5022545" cy="666980"/>
            </a:xfrm>
            <a:custGeom>
              <a:avLst/>
              <a:gdLst>
                <a:gd name="connsiteX0" fmla="*/ 0 w 5022545"/>
                <a:gd name="connsiteY0" fmla="*/ 13836 h 648883"/>
                <a:gd name="connsiteX1" fmla="*/ 77529 w 5022545"/>
                <a:gd name="connsiteY1" fmla="*/ 13836 h 648883"/>
                <a:gd name="connsiteX2" fmla="*/ 77529 w 5022545"/>
                <a:gd name="connsiteY2" fmla="*/ 6830 h 648883"/>
                <a:gd name="connsiteX3" fmla="*/ 71121 w 5022545"/>
                <a:gd name="connsiteY3" fmla="*/ 6830 h 648883"/>
                <a:gd name="connsiteX4" fmla="*/ 71121 w 5022545"/>
                <a:gd name="connsiteY4" fmla="*/ 10859 h 648883"/>
                <a:gd name="connsiteX5" fmla="*/ 73044 w 5022545"/>
                <a:gd name="connsiteY5" fmla="*/ 15762 h 648883"/>
                <a:gd name="connsiteX6" fmla="*/ 77529 w 5022545"/>
                <a:gd name="connsiteY6" fmla="*/ 17864 h 648883"/>
                <a:gd name="connsiteX7" fmla="*/ 80572 w 5022545"/>
                <a:gd name="connsiteY7" fmla="*/ 17864 h 648883"/>
                <a:gd name="connsiteX8" fmla="*/ 80572 w 5022545"/>
                <a:gd name="connsiteY8" fmla="*/ 10859 h 648883"/>
                <a:gd name="connsiteX9" fmla="*/ 74165 w 5022545"/>
                <a:gd name="connsiteY9" fmla="*/ 10859 h 648883"/>
                <a:gd name="connsiteX10" fmla="*/ 74165 w 5022545"/>
                <a:gd name="connsiteY10" fmla="*/ 15412 h 648883"/>
                <a:gd name="connsiteX11" fmla="*/ 76087 w 5022545"/>
                <a:gd name="connsiteY11" fmla="*/ 20316 h 648883"/>
                <a:gd name="connsiteX12" fmla="*/ 80572 w 5022545"/>
                <a:gd name="connsiteY12" fmla="*/ 22418 h 648883"/>
                <a:gd name="connsiteX13" fmla="*/ 155057 w 5022545"/>
                <a:gd name="connsiteY13" fmla="*/ 22418 h 648883"/>
                <a:gd name="connsiteX14" fmla="*/ 155057 w 5022545"/>
                <a:gd name="connsiteY14" fmla="*/ 15412 h 648883"/>
                <a:gd name="connsiteX15" fmla="*/ 148650 w 5022545"/>
                <a:gd name="connsiteY15" fmla="*/ 15412 h 648883"/>
                <a:gd name="connsiteX16" fmla="*/ 148650 w 5022545"/>
                <a:gd name="connsiteY16" fmla="*/ 19440 h 648883"/>
                <a:gd name="connsiteX17" fmla="*/ 150572 w 5022545"/>
                <a:gd name="connsiteY17" fmla="*/ 24344 h 648883"/>
                <a:gd name="connsiteX18" fmla="*/ 155057 w 5022545"/>
                <a:gd name="connsiteY18" fmla="*/ 26446 h 648883"/>
                <a:gd name="connsiteX19" fmla="*/ 158101 w 5022545"/>
                <a:gd name="connsiteY19" fmla="*/ 26446 h 648883"/>
                <a:gd name="connsiteX20" fmla="*/ 158101 w 5022545"/>
                <a:gd name="connsiteY20" fmla="*/ 19440 h 648883"/>
                <a:gd name="connsiteX21" fmla="*/ 151694 w 5022545"/>
                <a:gd name="connsiteY21" fmla="*/ 19440 h 648883"/>
                <a:gd name="connsiteX22" fmla="*/ 151694 w 5022545"/>
                <a:gd name="connsiteY22" fmla="*/ 27497 h 648883"/>
                <a:gd name="connsiteX23" fmla="*/ 153616 w 5022545"/>
                <a:gd name="connsiteY23" fmla="*/ 32400 h 648883"/>
                <a:gd name="connsiteX24" fmla="*/ 158101 w 5022545"/>
                <a:gd name="connsiteY24" fmla="*/ 34502 h 648883"/>
                <a:gd name="connsiteX25" fmla="*/ 229543 w 5022545"/>
                <a:gd name="connsiteY25" fmla="*/ 34502 h 648883"/>
                <a:gd name="connsiteX26" fmla="*/ 229543 w 5022545"/>
                <a:gd name="connsiteY26" fmla="*/ 27497 h 648883"/>
                <a:gd name="connsiteX27" fmla="*/ 223135 w 5022545"/>
                <a:gd name="connsiteY27" fmla="*/ 27497 h 648883"/>
                <a:gd name="connsiteX28" fmla="*/ 223135 w 5022545"/>
                <a:gd name="connsiteY28" fmla="*/ 31525 h 648883"/>
                <a:gd name="connsiteX29" fmla="*/ 225057 w 5022545"/>
                <a:gd name="connsiteY29" fmla="*/ 36429 h 648883"/>
                <a:gd name="connsiteX30" fmla="*/ 229543 w 5022545"/>
                <a:gd name="connsiteY30" fmla="*/ 38530 h 648883"/>
                <a:gd name="connsiteX31" fmla="*/ 232586 w 5022545"/>
                <a:gd name="connsiteY31" fmla="*/ 38530 h 648883"/>
                <a:gd name="connsiteX32" fmla="*/ 232586 w 5022545"/>
                <a:gd name="connsiteY32" fmla="*/ 31525 h 648883"/>
                <a:gd name="connsiteX33" fmla="*/ 226179 w 5022545"/>
                <a:gd name="connsiteY33" fmla="*/ 31525 h 648883"/>
                <a:gd name="connsiteX34" fmla="*/ 226179 w 5022545"/>
                <a:gd name="connsiteY34" fmla="*/ 35903 h 648883"/>
                <a:gd name="connsiteX35" fmla="*/ 228101 w 5022545"/>
                <a:gd name="connsiteY35" fmla="*/ 40807 h 648883"/>
                <a:gd name="connsiteX36" fmla="*/ 232586 w 5022545"/>
                <a:gd name="connsiteY36" fmla="*/ 42909 h 648883"/>
                <a:gd name="connsiteX37" fmla="*/ 271350 w 5022545"/>
                <a:gd name="connsiteY37" fmla="*/ 42909 h 648883"/>
                <a:gd name="connsiteX38" fmla="*/ 271350 w 5022545"/>
                <a:gd name="connsiteY38" fmla="*/ 35903 h 648883"/>
                <a:gd name="connsiteX39" fmla="*/ 264943 w 5022545"/>
                <a:gd name="connsiteY39" fmla="*/ 35903 h 648883"/>
                <a:gd name="connsiteX40" fmla="*/ 264943 w 5022545"/>
                <a:gd name="connsiteY40" fmla="*/ 40106 h 648883"/>
                <a:gd name="connsiteX41" fmla="*/ 266865 w 5022545"/>
                <a:gd name="connsiteY41" fmla="*/ 45010 h 648883"/>
                <a:gd name="connsiteX42" fmla="*/ 271350 w 5022545"/>
                <a:gd name="connsiteY42" fmla="*/ 47112 h 648883"/>
                <a:gd name="connsiteX43" fmla="*/ 274234 w 5022545"/>
                <a:gd name="connsiteY43" fmla="*/ 47112 h 648883"/>
                <a:gd name="connsiteX44" fmla="*/ 274234 w 5022545"/>
                <a:gd name="connsiteY44" fmla="*/ 40106 h 648883"/>
                <a:gd name="connsiteX45" fmla="*/ 267826 w 5022545"/>
                <a:gd name="connsiteY45" fmla="*/ 40106 h 648883"/>
                <a:gd name="connsiteX46" fmla="*/ 267826 w 5022545"/>
                <a:gd name="connsiteY46" fmla="*/ 44310 h 648883"/>
                <a:gd name="connsiteX47" fmla="*/ 269749 w 5022545"/>
                <a:gd name="connsiteY47" fmla="*/ 49214 h 648883"/>
                <a:gd name="connsiteX48" fmla="*/ 274234 w 5022545"/>
                <a:gd name="connsiteY48" fmla="*/ 51315 h 648883"/>
                <a:gd name="connsiteX49" fmla="*/ 295058 w 5022545"/>
                <a:gd name="connsiteY49" fmla="*/ 51315 h 648883"/>
                <a:gd name="connsiteX50" fmla="*/ 295058 w 5022545"/>
                <a:gd name="connsiteY50" fmla="*/ 44310 h 648883"/>
                <a:gd name="connsiteX51" fmla="*/ 288650 w 5022545"/>
                <a:gd name="connsiteY51" fmla="*/ 44310 h 648883"/>
                <a:gd name="connsiteX52" fmla="*/ 288650 w 5022545"/>
                <a:gd name="connsiteY52" fmla="*/ 49038 h 648883"/>
                <a:gd name="connsiteX53" fmla="*/ 290572 w 5022545"/>
                <a:gd name="connsiteY53" fmla="*/ 53942 h 648883"/>
                <a:gd name="connsiteX54" fmla="*/ 295058 w 5022545"/>
                <a:gd name="connsiteY54" fmla="*/ 56044 h 648883"/>
                <a:gd name="connsiteX55" fmla="*/ 304028 w 5022545"/>
                <a:gd name="connsiteY55" fmla="*/ 56044 h 648883"/>
                <a:gd name="connsiteX56" fmla="*/ 304028 w 5022545"/>
                <a:gd name="connsiteY56" fmla="*/ 49038 h 648883"/>
                <a:gd name="connsiteX57" fmla="*/ 297621 w 5022545"/>
                <a:gd name="connsiteY57" fmla="*/ 49038 h 648883"/>
                <a:gd name="connsiteX58" fmla="*/ 297621 w 5022545"/>
                <a:gd name="connsiteY58" fmla="*/ 53417 h 648883"/>
                <a:gd name="connsiteX59" fmla="*/ 299543 w 5022545"/>
                <a:gd name="connsiteY59" fmla="*/ 58321 h 648883"/>
                <a:gd name="connsiteX60" fmla="*/ 304028 w 5022545"/>
                <a:gd name="connsiteY60" fmla="*/ 60422 h 648883"/>
                <a:gd name="connsiteX61" fmla="*/ 312998 w 5022545"/>
                <a:gd name="connsiteY61" fmla="*/ 60422 h 648883"/>
                <a:gd name="connsiteX62" fmla="*/ 312998 w 5022545"/>
                <a:gd name="connsiteY62" fmla="*/ 53417 h 648883"/>
                <a:gd name="connsiteX63" fmla="*/ 306591 w 5022545"/>
                <a:gd name="connsiteY63" fmla="*/ 53417 h 648883"/>
                <a:gd name="connsiteX64" fmla="*/ 306591 w 5022545"/>
                <a:gd name="connsiteY64" fmla="*/ 57445 h 648883"/>
                <a:gd name="connsiteX65" fmla="*/ 308513 w 5022545"/>
                <a:gd name="connsiteY65" fmla="*/ 62349 h 648883"/>
                <a:gd name="connsiteX66" fmla="*/ 312998 w 5022545"/>
                <a:gd name="connsiteY66" fmla="*/ 64451 h 648883"/>
                <a:gd name="connsiteX67" fmla="*/ 369543 w 5022545"/>
                <a:gd name="connsiteY67" fmla="*/ 64451 h 648883"/>
                <a:gd name="connsiteX68" fmla="*/ 369543 w 5022545"/>
                <a:gd name="connsiteY68" fmla="*/ 57445 h 648883"/>
                <a:gd name="connsiteX69" fmla="*/ 363135 w 5022545"/>
                <a:gd name="connsiteY69" fmla="*/ 57445 h 648883"/>
                <a:gd name="connsiteX70" fmla="*/ 363135 w 5022545"/>
                <a:gd name="connsiteY70" fmla="*/ 61473 h 648883"/>
                <a:gd name="connsiteX71" fmla="*/ 365058 w 5022545"/>
                <a:gd name="connsiteY71" fmla="*/ 66377 h 648883"/>
                <a:gd name="connsiteX72" fmla="*/ 369543 w 5022545"/>
                <a:gd name="connsiteY72" fmla="*/ 68479 h 648883"/>
                <a:gd name="connsiteX73" fmla="*/ 375470 w 5022545"/>
                <a:gd name="connsiteY73" fmla="*/ 68479 h 648883"/>
                <a:gd name="connsiteX74" fmla="*/ 375470 w 5022545"/>
                <a:gd name="connsiteY74" fmla="*/ 61473 h 648883"/>
                <a:gd name="connsiteX75" fmla="*/ 369062 w 5022545"/>
                <a:gd name="connsiteY75" fmla="*/ 61473 h 648883"/>
                <a:gd name="connsiteX76" fmla="*/ 369062 w 5022545"/>
                <a:gd name="connsiteY76" fmla="*/ 65852 h 648883"/>
                <a:gd name="connsiteX77" fmla="*/ 370984 w 5022545"/>
                <a:gd name="connsiteY77" fmla="*/ 70755 h 648883"/>
                <a:gd name="connsiteX78" fmla="*/ 375470 w 5022545"/>
                <a:gd name="connsiteY78" fmla="*/ 72857 h 648883"/>
                <a:gd name="connsiteX79" fmla="*/ 423044 w 5022545"/>
                <a:gd name="connsiteY79" fmla="*/ 72857 h 648883"/>
                <a:gd name="connsiteX80" fmla="*/ 423044 w 5022545"/>
                <a:gd name="connsiteY80" fmla="*/ 65852 h 648883"/>
                <a:gd name="connsiteX81" fmla="*/ 416637 w 5022545"/>
                <a:gd name="connsiteY81" fmla="*/ 65852 h 648883"/>
                <a:gd name="connsiteX82" fmla="*/ 416637 w 5022545"/>
                <a:gd name="connsiteY82" fmla="*/ 70230 h 648883"/>
                <a:gd name="connsiteX83" fmla="*/ 418559 w 5022545"/>
                <a:gd name="connsiteY83" fmla="*/ 75134 h 648883"/>
                <a:gd name="connsiteX84" fmla="*/ 423044 w 5022545"/>
                <a:gd name="connsiteY84" fmla="*/ 77236 h 648883"/>
                <a:gd name="connsiteX85" fmla="*/ 443868 w 5022545"/>
                <a:gd name="connsiteY85" fmla="*/ 77236 h 648883"/>
                <a:gd name="connsiteX86" fmla="*/ 443868 w 5022545"/>
                <a:gd name="connsiteY86" fmla="*/ 70230 h 648883"/>
                <a:gd name="connsiteX87" fmla="*/ 437460 w 5022545"/>
                <a:gd name="connsiteY87" fmla="*/ 70230 h 648883"/>
                <a:gd name="connsiteX88" fmla="*/ 437460 w 5022545"/>
                <a:gd name="connsiteY88" fmla="*/ 74608 h 648883"/>
                <a:gd name="connsiteX89" fmla="*/ 439383 w 5022545"/>
                <a:gd name="connsiteY89" fmla="*/ 79512 h 648883"/>
                <a:gd name="connsiteX90" fmla="*/ 443868 w 5022545"/>
                <a:gd name="connsiteY90" fmla="*/ 81614 h 648883"/>
                <a:gd name="connsiteX91" fmla="*/ 452838 w 5022545"/>
                <a:gd name="connsiteY91" fmla="*/ 81614 h 648883"/>
                <a:gd name="connsiteX92" fmla="*/ 452838 w 5022545"/>
                <a:gd name="connsiteY92" fmla="*/ 74608 h 648883"/>
                <a:gd name="connsiteX93" fmla="*/ 446431 w 5022545"/>
                <a:gd name="connsiteY93" fmla="*/ 74608 h 648883"/>
                <a:gd name="connsiteX94" fmla="*/ 446431 w 5022545"/>
                <a:gd name="connsiteY94" fmla="*/ 79162 h 648883"/>
                <a:gd name="connsiteX95" fmla="*/ 448353 w 5022545"/>
                <a:gd name="connsiteY95" fmla="*/ 84066 h 648883"/>
                <a:gd name="connsiteX96" fmla="*/ 452838 w 5022545"/>
                <a:gd name="connsiteY96" fmla="*/ 86168 h 648883"/>
                <a:gd name="connsiteX97" fmla="*/ 500413 w 5022545"/>
                <a:gd name="connsiteY97" fmla="*/ 86168 h 648883"/>
                <a:gd name="connsiteX98" fmla="*/ 500413 w 5022545"/>
                <a:gd name="connsiteY98" fmla="*/ 79162 h 648883"/>
                <a:gd name="connsiteX99" fmla="*/ 494005 w 5022545"/>
                <a:gd name="connsiteY99" fmla="*/ 79162 h 648883"/>
                <a:gd name="connsiteX100" fmla="*/ 494005 w 5022545"/>
                <a:gd name="connsiteY100" fmla="*/ 83190 h 648883"/>
                <a:gd name="connsiteX101" fmla="*/ 495927 w 5022545"/>
                <a:gd name="connsiteY101" fmla="*/ 88094 h 648883"/>
                <a:gd name="connsiteX102" fmla="*/ 500413 w 5022545"/>
                <a:gd name="connsiteY102" fmla="*/ 90196 h 648883"/>
                <a:gd name="connsiteX103" fmla="*/ 515310 w 5022545"/>
                <a:gd name="connsiteY103" fmla="*/ 90196 h 648883"/>
                <a:gd name="connsiteX104" fmla="*/ 515310 w 5022545"/>
                <a:gd name="connsiteY104" fmla="*/ 83190 h 648883"/>
                <a:gd name="connsiteX105" fmla="*/ 508902 w 5022545"/>
                <a:gd name="connsiteY105" fmla="*/ 83190 h 648883"/>
                <a:gd name="connsiteX106" fmla="*/ 508902 w 5022545"/>
                <a:gd name="connsiteY106" fmla="*/ 87394 h 648883"/>
                <a:gd name="connsiteX107" fmla="*/ 510824 w 5022545"/>
                <a:gd name="connsiteY107" fmla="*/ 92297 h 648883"/>
                <a:gd name="connsiteX108" fmla="*/ 515310 w 5022545"/>
                <a:gd name="connsiteY108" fmla="*/ 94399 h 648883"/>
                <a:gd name="connsiteX109" fmla="*/ 574898 w 5022545"/>
                <a:gd name="connsiteY109" fmla="*/ 94399 h 648883"/>
                <a:gd name="connsiteX110" fmla="*/ 574898 w 5022545"/>
                <a:gd name="connsiteY110" fmla="*/ 87394 h 648883"/>
                <a:gd name="connsiteX111" fmla="*/ 568490 w 5022545"/>
                <a:gd name="connsiteY111" fmla="*/ 87394 h 648883"/>
                <a:gd name="connsiteX112" fmla="*/ 568490 w 5022545"/>
                <a:gd name="connsiteY112" fmla="*/ 91597 h 648883"/>
                <a:gd name="connsiteX113" fmla="*/ 570413 w 5022545"/>
                <a:gd name="connsiteY113" fmla="*/ 96501 h 648883"/>
                <a:gd name="connsiteX114" fmla="*/ 574898 w 5022545"/>
                <a:gd name="connsiteY114" fmla="*/ 98602 h 648883"/>
                <a:gd name="connsiteX115" fmla="*/ 589795 w 5022545"/>
                <a:gd name="connsiteY115" fmla="*/ 98602 h 648883"/>
                <a:gd name="connsiteX116" fmla="*/ 589795 w 5022545"/>
                <a:gd name="connsiteY116" fmla="*/ 91597 h 648883"/>
                <a:gd name="connsiteX117" fmla="*/ 583387 w 5022545"/>
                <a:gd name="connsiteY117" fmla="*/ 91597 h 648883"/>
                <a:gd name="connsiteX118" fmla="*/ 583387 w 5022545"/>
                <a:gd name="connsiteY118" fmla="*/ 96150 h 648883"/>
                <a:gd name="connsiteX119" fmla="*/ 585310 w 5022545"/>
                <a:gd name="connsiteY119" fmla="*/ 101054 h 648883"/>
                <a:gd name="connsiteX120" fmla="*/ 589795 w 5022545"/>
                <a:gd name="connsiteY120" fmla="*/ 103156 h 648883"/>
                <a:gd name="connsiteX121" fmla="*/ 595722 w 5022545"/>
                <a:gd name="connsiteY121" fmla="*/ 103156 h 648883"/>
                <a:gd name="connsiteX122" fmla="*/ 595722 w 5022545"/>
                <a:gd name="connsiteY122" fmla="*/ 96150 h 648883"/>
                <a:gd name="connsiteX123" fmla="*/ 589314 w 5022545"/>
                <a:gd name="connsiteY123" fmla="*/ 96150 h 648883"/>
                <a:gd name="connsiteX124" fmla="*/ 589314 w 5022545"/>
                <a:gd name="connsiteY124" fmla="*/ 100354 h 648883"/>
                <a:gd name="connsiteX125" fmla="*/ 591236 w 5022545"/>
                <a:gd name="connsiteY125" fmla="*/ 105258 h 648883"/>
                <a:gd name="connsiteX126" fmla="*/ 595722 w 5022545"/>
                <a:gd name="connsiteY126" fmla="*/ 107359 h 648883"/>
                <a:gd name="connsiteX127" fmla="*/ 598765 w 5022545"/>
                <a:gd name="connsiteY127" fmla="*/ 107359 h 648883"/>
                <a:gd name="connsiteX128" fmla="*/ 598765 w 5022545"/>
                <a:gd name="connsiteY128" fmla="*/ 100354 h 648883"/>
                <a:gd name="connsiteX129" fmla="*/ 592358 w 5022545"/>
                <a:gd name="connsiteY129" fmla="*/ 100354 h 648883"/>
                <a:gd name="connsiteX130" fmla="*/ 592358 w 5022545"/>
                <a:gd name="connsiteY130" fmla="*/ 104907 h 648883"/>
                <a:gd name="connsiteX131" fmla="*/ 594280 w 5022545"/>
                <a:gd name="connsiteY131" fmla="*/ 109811 h 648883"/>
                <a:gd name="connsiteX132" fmla="*/ 598765 w 5022545"/>
                <a:gd name="connsiteY132" fmla="*/ 111913 h 648883"/>
                <a:gd name="connsiteX133" fmla="*/ 697118 w 5022545"/>
                <a:gd name="connsiteY133" fmla="*/ 111913 h 648883"/>
                <a:gd name="connsiteX134" fmla="*/ 697118 w 5022545"/>
                <a:gd name="connsiteY134" fmla="*/ 104907 h 648883"/>
                <a:gd name="connsiteX135" fmla="*/ 690710 w 5022545"/>
                <a:gd name="connsiteY135" fmla="*/ 104907 h 648883"/>
                <a:gd name="connsiteX136" fmla="*/ 690710 w 5022545"/>
                <a:gd name="connsiteY136" fmla="*/ 110687 h 648883"/>
                <a:gd name="connsiteX137" fmla="*/ 692632 w 5022545"/>
                <a:gd name="connsiteY137" fmla="*/ 115591 h 648883"/>
                <a:gd name="connsiteX138" fmla="*/ 697118 w 5022545"/>
                <a:gd name="connsiteY138" fmla="*/ 117692 h 648883"/>
                <a:gd name="connsiteX139" fmla="*/ 703044 w 5022545"/>
                <a:gd name="connsiteY139" fmla="*/ 117692 h 648883"/>
                <a:gd name="connsiteX140" fmla="*/ 703044 w 5022545"/>
                <a:gd name="connsiteY140" fmla="*/ 110687 h 648883"/>
                <a:gd name="connsiteX141" fmla="*/ 696637 w 5022545"/>
                <a:gd name="connsiteY141" fmla="*/ 110687 h 648883"/>
                <a:gd name="connsiteX142" fmla="*/ 696637 w 5022545"/>
                <a:gd name="connsiteY142" fmla="*/ 114715 h 648883"/>
                <a:gd name="connsiteX143" fmla="*/ 698559 w 5022545"/>
                <a:gd name="connsiteY143" fmla="*/ 119619 h 648883"/>
                <a:gd name="connsiteX144" fmla="*/ 703044 w 5022545"/>
                <a:gd name="connsiteY144" fmla="*/ 121720 h 648883"/>
                <a:gd name="connsiteX145" fmla="*/ 720825 w 5022545"/>
                <a:gd name="connsiteY145" fmla="*/ 121720 h 648883"/>
                <a:gd name="connsiteX146" fmla="*/ 720825 w 5022545"/>
                <a:gd name="connsiteY146" fmla="*/ 114715 h 648883"/>
                <a:gd name="connsiteX147" fmla="*/ 714417 w 5022545"/>
                <a:gd name="connsiteY147" fmla="*/ 114715 h 648883"/>
                <a:gd name="connsiteX148" fmla="*/ 714417 w 5022545"/>
                <a:gd name="connsiteY148" fmla="*/ 118918 h 648883"/>
                <a:gd name="connsiteX149" fmla="*/ 716340 w 5022545"/>
                <a:gd name="connsiteY149" fmla="*/ 123822 h 648883"/>
                <a:gd name="connsiteX150" fmla="*/ 720825 w 5022545"/>
                <a:gd name="connsiteY150" fmla="*/ 125924 h 648883"/>
                <a:gd name="connsiteX151" fmla="*/ 813250 w 5022545"/>
                <a:gd name="connsiteY151" fmla="*/ 125924 h 648883"/>
                <a:gd name="connsiteX152" fmla="*/ 813250 w 5022545"/>
                <a:gd name="connsiteY152" fmla="*/ 118918 h 648883"/>
                <a:gd name="connsiteX153" fmla="*/ 806843 w 5022545"/>
                <a:gd name="connsiteY153" fmla="*/ 118918 h 648883"/>
                <a:gd name="connsiteX154" fmla="*/ 806843 w 5022545"/>
                <a:gd name="connsiteY154" fmla="*/ 123122 h 648883"/>
                <a:gd name="connsiteX155" fmla="*/ 808765 w 5022545"/>
                <a:gd name="connsiteY155" fmla="*/ 128025 h 648883"/>
                <a:gd name="connsiteX156" fmla="*/ 813250 w 5022545"/>
                <a:gd name="connsiteY156" fmla="*/ 130127 h 648883"/>
                <a:gd name="connsiteX157" fmla="*/ 860985 w 5022545"/>
                <a:gd name="connsiteY157" fmla="*/ 130127 h 648883"/>
                <a:gd name="connsiteX158" fmla="*/ 860985 w 5022545"/>
                <a:gd name="connsiteY158" fmla="*/ 123122 h 648883"/>
                <a:gd name="connsiteX159" fmla="*/ 854578 w 5022545"/>
                <a:gd name="connsiteY159" fmla="*/ 123122 h 648883"/>
                <a:gd name="connsiteX160" fmla="*/ 854578 w 5022545"/>
                <a:gd name="connsiteY160" fmla="*/ 127150 h 648883"/>
                <a:gd name="connsiteX161" fmla="*/ 856500 w 5022545"/>
                <a:gd name="connsiteY161" fmla="*/ 132054 h 648883"/>
                <a:gd name="connsiteX162" fmla="*/ 860985 w 5022545"/>
                <a:gd name="connsiteY162" fmla="*/ 134155 h 648883"/>
                <a:gd name="connsiteX163" fmla="*/ 920573 w 5022545"/>
                <a:gd name="connsiteY163" fmla="*/ 134155 h 648883"/>
                <a:gd name="connsiteX164" fmla="*/ 920573 w 5022545"/>
                <a:gd name="connsiteY164" fmla="*/ 127150 h 648883"/>
                <a:gd name="connsiteX165" fmla="*/ 914166 w 5022545"/>
                <a:gd name="connsiteY165" fmla="*/ 127150 h 648883"/>
                <a:gd name="connsiteX166" fmla="*/ 914166 w 5022545"/>
                <a:gd name="connsiteY166" fmla="*/ 131353 h 648883"/>
                <a:gd name="connsiteX167" fmla="*/ 916088 w 5022545"/>
                <a:gd name="connsiteY167" fmla="*/ 136257 h 648883"/>
                <a:gd name="connsiteX168" fmla="*/ 920573 w 5022545"/>
                <a:gd name="connsiteY168" fmla="*/ 138358 h 648883"/>
                <a:gd name="connsiteX169" fmla="*/ 929063 w 5022545"/>
                <a:gd name="connsiteY169" fmla="*/ 138358 h 648883"/>
                <a:gd name="connsiteX170" fmla="*/ 929063 w 5022545"/>
                <a:gd name="connsiteY170" fmla="*/ 140810 h 648883"/>
                <a:gd name="connsiteX171" fmla="*/ 930985 w 5022545"/>
                <a:gd name="connsiteY171" fmla="*/ 145714 h 648883"/>
                <a:gd name="connsiteX172" fmla="*/ 935470 w 5022545"/>
                <a:gd name="connsiteY172" fmla="*/ 147816 h 648883"/>
                <a:gd name="connsiteX173" fmla="*/ 944441 w 5022545"/>
                <a:gd name="connsiteY173" fmla="*/ 147816 h 648883"/>
                <a:gd name="connsiteX174" fmla="*/ 944441 w 5022545"/>
                <a:gd name="connsiteY174" fmla="*/ 140810 h 648883"/>
                <a:gd name="connsiteX175" fmla="*/ 938033 w 5022545"/>
                <a:gd name="connsiteY175" fmla="*/ 140810 h 648883"/>
                <a:gd name="connsiteX176" fmla="*/ 938033 w 5022545"/>
                <a:gd name="connsiteY176" fmla="*/ 145189 h 648883"/>
                <a:gd name="connsiteX177" fmla="*/ 939955 w 5022545"/>
                <a:gd name="connsiteY177" fmla="*/ 150093 h 648883"/>
                <a:gd name="connsiteX178" fmla="*/ 944441 w 5022545"/>
                <a:gd name="connsiteY178" fmla="*/ 152194 h 648883"/>
                <a:gd name="connsiteX179" fmla="*/ 971351 w 5022545"/>
                <a:gd name="connsiteY179" fmla="*/ 152194 h 648883"/>
                <a:gd name="connsiteX180" fmla="*/ 971351 w 5022545"/>
                <a:gd name="connsiteY180" fmla="*/ 145189 h 648883"/>
                <a:gd name="connsiteX181" fmla="*/ 964944 w 5022545"/>
                <a:gd name="connsiteY181" fmla="*/ 145189 h 648883"/>
                <a:gd name="connsiteX182" fmla="*/ 964944 w 5022545"/>
                <a:gd name="connsiteY182" fmla="*/ 149392 h 648883"/>
                <a:gd name="connsiteX183" fmla="*/ 966866 w 5022545"/>
                <a:gd name="connsiteY183" fmla="*/ 154296 h 648883"/>
                <a:gd name="connsiteX184" fmla="*/ 971351 w 5022545"/>
                <a:gd name="connsiteY184" fmla="*/ 156398 h 648883"/>
                <a:gd name="connsiteX185" fmla="*/ 977278 w 5022545"/>
                <a:gd name="connsiteY185" fmla="*/ 156398 h 648883"/>
                <a:gd name="connsiteX186" fmla="*/ 977278 w 5022545"/>
                <a:gd name="connsiteY186" fmla="*/ 149392 h 648883"/>
                <a:gd name="connsiteX187" fmla="*/ 970871 w 5022545"/>
                <a:gd name="connsiteY187" fmla="*/ 149392 h 648883"/>
                <a:gd name="connsiteX188" fmla="*/ 970871 w 5022545"/>
                <a:gd name="connsiteY188" fmla="*/ 153595 h 648883"/>
                <a:gd name="connsiteX189" fmla="*/ 972793 w 5022545"/>
                <a:gd name="connsiteY189" fmla="*/ 158499 h 648883"/>
                <a:gd name="connsiteX190" fmla="*/ 977278 w 5022545"/>
                <a:gd name="connsiteY190" fmla="*/ 160601 h 648883"/>
                <a:gd name="connsiteX191" fmla="*/ 983205 w 5022545"/>
                <a:gd name="connsiteY191" fmla="*/ 160601 h 648883"/>
                <a:gd name="connsiteX192" fmla="*/ 983205 w 5022545"/>
                <a:gd name="connsiteY192" fmla="*/ 153595 h 648883"/>
                <a:gd name="connsiteX193" fmla="*/ 976798 w 5022545"/>
                <a:gd name="connsiteY193" fmla="*/ 153595 h 648883"/>
                <a:gd name="connsiteX194" fmla="*/ 976798 w 5022545"/>
                <a:gd name="connsiteY194" fmla="*/ 157974 h 648883"/>
                <a:gd name="connsiteX195" fmla="*/ 978720 w 5022545"/>
                <a:gd name="connsiteY195" fmla="*/ 162878 h 648883"/>
                <a:gd name="connsiteX196" fmla="*/ 983205 w 5022545"/>
                <a:gd name="connsiteY196" fmla="*/ 164979 h 648883"/>
                <a:gd name="connsiteX197" fmla="*/ 1004029 w 5022545"/>
                <a:gd name="connsiteY197" fmla="*/ 164979 h 648883"/>
                <a:gd name="connsiteX198" fmla="*/ 1004029 w 5022545"/>
                <a:gd name="connsiteY198" fmla="*/ 157974 h 648883"/>
                <a:gd name="connsiteX199" fmla="*/ 997621 w 5022545"/>
                <a:gd name="connsiteY199" fmla="*/ 157974 h 648883"/>
                <a:gd name="connsiteX200" fmla="*/ 997621 w 5022545"/>
                <a:gd name="connsiteY200" fmla="*/ 162002 h 648883"/>
                <a:gd name="connsiteX201" fmla="*/ 999544 w 5022545"/>
                <a:gd name="connsiteY201" fmla="*/ 166906 h 648883"/>
                <a:gd name="connsiteX202" fmla="*/ 1004029 w 5022545"/>
                <a:gd name="connsiteY202" fmla="*/ 169007 h 648883"/>
                <a:gd name="connsiteX203" fmla="*/ 1063617 w 5022545"/>
                <a:gd name="connsiteY203" fmla="*/ 169007 h 648883"/>
                <a:gd name="connsiteX204" fmla="*/ 1063617 w 5022545"/>
                <a:gd name="connsiteY204" fmla="*/ 162002 h 648883"/>
                <a:gd name="connsiteX205" fmla="*/ 1057370 w 5022545"/>
                <a:gd name="connsiteY205" fmla="*/ 162002 h 648883"/>
                <a:gd name="connsiteX206" fmla="*/ 1057370 w 5022545"/>
                <a:gd name="connsiteY206" fmla="*/ 166380 h 648883"/>
                <a:gd name="connsiteX207" fmla="*/ 1059292 w 5022545"/>
                <a:gd name="connsiteY207" fmla="*/ 171284 h 648883"/>
                <a:gd name="connsiteX208" fmla="*/ 1063777 w 5022545"/>
                <a:gd name="connsiteY208" fmla="*/ 173386 h 648883"/>
                <a:gd name="connsiteX209" fmla="*/ 1084601 w 5022545"/>
                <a:gd name="connsiteY209" fmla="*/ 173386 h 648883"/>
                <a:gd name="connsiteX210" fmla="*/ 1084601 w 5022545"/>
                <a:gd name="connsiteY210" fmla="*/ 166380 h 648883"/>
                <a:gd name="connsiteX211" fmla="*/ 1078194 w 5022545"/>
                <a:gd name="connsiteY211" fmla="*/ 166380 h 648883"/>
                <a:gd name="connsiteX212" fmla="*/ 1078194 w 5022545"/>
                <a:gd name="connsiteY212" fmla="*/ 170934 h 648883"/>
                <a:gd name="connsiteX213" fmla="*/ 1080116 w 5022545"/>
                <a:gd name="connsiteY213" fmla="*/ 175838 h 648883"/>
                <a:gd name="connsiteX214" fmla="*/ 1084601 w 5022545"/>
                <a:gd name="connsiteY214" fmla="*/ 177939 h 648883"/>
                <a:gd name="connsiteX215" fmla="*/ 1111351 w 5022545"/>
                <a:gd name="connsiteY215" fmla="*/ 177939 h 648883"/>
                <a:gd name="connsiteX216" fmla="*/ 1111351 w 5022545"/>
                <a:gd name="connsiteY216" fmla="*/ 170934 h 648883"/>
                <a:gd name="connsiteX217" fmla="*/ 1104944 w 5022545"/>
                <a:gd name="connsiteY217" fmla="*/ 170934 h 648883"/>
                <a:gd name="connsiteX218" fmla="*/ 1104944 w 5022545"/>
                <a:gd name="connsiteY218" fmla="*/ 176013 h 648883"/>
                <a:gd name="connsiteX219" fmla="*/ 1106866 w 5022545"/>
                <a:gd name="connsiteY219" fmla="*/ 180917 h 648883"/>
                <a:gd name="connsiteX220" fmla="*/ 1111351 w 5022545"/>
                <a:gd name="connsiteY220" fmla="*/ 183018 h 648883"/>
                <a:gd name="connsiteX221" fmla="*/ 1114395 w 5022545"/>
                <a:gd name="connsiteY221" fmla="*/ 183018 h 648883"/>
                <a:gd name="connsiteX222" fmla="*/ 1114395 w 5022545"/>
                <a:gd name="connsiteY222" fmla="*/ 176013 h 648883"/>
                <a:gd name="connsiteX223" fmla="*/ 1107988 w 5022545"/>
                <a:gd name="connsiteY223" fmla="*/ 176013 h 648883"/>
                <a:gd name="connsiteX224" fmla="*/ 1107988 w 5022545"/>
                <a:gd name="connsiteY224" fmla="*/ 180216 h 648883"/>
                <a:gd name="connsiteX225" fmla="*/ 1109910 w 5022545"/>
                <a:gd name="connsiteY225" fmla="*/ 185120 h 648883"/>
                <a:gd name="connsiteX226" fmla="*/ 1114395 w 5022545"/>
                <a:gd name="connsiteY226" fmla="*/ 187222 h 648883"/>
                <a:gd name="connsiteX227" fmla="*/ 1182953 w 5022545"/>
                <a:gd name="connsiteY227" fmla="*/ 187222 h 648883"/>
                <a:gd name="connsiteX228" fmla="*/ 1182953 w 5022545"/>
                <a:gd name="connsiteY228" fmla="*/ 180216 h 648883"/>
                <a:gd name="connsiteX229" fmla="*/ 1176546 w 5022545"/>
                <a:gd name="connsiteY229" fmla="*/ 180216 h 648883"/>
                <a:gd name="connsiteX230" fmla="*/ 1176546 w 5022545"/>
                <a:gd name="connsiteY230" fmla="*/ 184595 h 648883"/>
                <a:gd name="connsiteX231" fmla="*/ 1178468 w 5022545"/>
                <a:gd name="connsiteY231" fmla="*/ 189499 h 648883"/>
                <a:gd name="connsiteX232" fmla="*/ 1182953 w 5022545"/>
                <a:gd name="connsiteY232" fmla="*/ 191600 h 648883"/>
                <a:gd name="connsiteX233" fmla="*/ 1188880 w 5022545"/>
                <a:gd name="connsiteY233" fmla="*/ 191600 h 648883"/>
                <a:gd name="connsiteX234" fmla="*/ 1188880 w 5022545"/>
                <a:gd name="connsiteY234" fmla="*/ 184595 h 648883"/>
                <a:gd name="connsiteX235" fmla="*/ 1182473 w 5022545"/>
                <a:gd name="connsiteY235" fmla="*/ 184595 h 648883"/>
                <a:gd name="connsiteX236" fmla="*/ 1182473 w 5022545"/>
                <a:gd name="connsiteY236" fmla="*/ 188973 h 648883"/>
                <a:gd name="connsiteX237" fmla="*/ 1184395 w 5022545"/>
                <a:gd name="connsiteY237" fmla="*/ 193877 h 648883"/>
                <a:gd name="connsiteX238" fmla="*/ 1188880 w 5022545"/>
                <a:gd name="connsiteY238" fmla="*/ 195979 h 648883"/>
                <a:gd name="connsiteX239" fmla="*/ 1194807 w 5022545"/>
                <a:gd name="connsiteY239" fmla="*/ 195979 h 648883"/>
                <a:gd name="connsiteX240" fmla="*/ 1194807 w 5022545"/>
                <a:gd name="connsiteY240" fmla="*/ 188973 h 648883"/>
                <a:gd name="connsiteX241" fmla="*/ 1188400 w 5022545"/>
                <a:gd name="connsiteY241" fmla="*/ 188973 h 648883"/>
                <a:gd name="connsiteX242" fmla="*/ 1188400 w 5022545"/>
                <a:gd name="connsiteY242" fmla="*/ 193702 h 648883"/>
                <a:gd name="connsiteX243" fmla="*/ 1190322 w 5022545"/>
                <a:gd name="connsiteY243" fmla="*/ 198606 h 648883"/>
                <a:gd name="connsiteX244" fmla="*/ 1194807 w 5022545"/>
                <a:gd name="connsiteY244" fmla="*/ 200707 h 648883"/>
                <a:gd name="connsiteX245" fmla="*/ 1302130 w 5022545"/>
                <a:gd name="connsiteY245" fmla="*/ 200707 h 648883"/>
                <a:gd name="connsiteX246" fmla="*/ 1302130 w 5022545"/>
                <a:gd name="connsiteY246" fmla="*/ 193702 h 648883"/>
                <a:gd name="connsiteX247" fmla="*/ 1295722 w 5022545"/>
                <a:gd name="connsiteY247" fmla="*/ 193702 h 648883"/>
                <a:gd name="connsiteX248" fmla="*/ 1295722 w 5022545"/>
                <a:gd name="connsiteY248" fmla="*/ 198255 h 648883"/>
                <a:gd name="connsiteX249" fmla="*/ 1297645 w 5022545"/>
                <a:gd name="connsiteY249" fmla="*/ 203159 h 648883"/>
                <a:gd name="connsiteX250" fmla="*/ 1302130 w 5022545"/>
                <a:gd name="connsiteY250" fmla="*/ 205261 h 648883"/>
                <a:gd name="connsiteX251" fmla="*/ 1319910 w 5022545"/>
                <a:gd name="connsiteY251" fmla="*/ 205261 h 648883"/>
                <a:gd name="connsiteX252" fmla="*/ 1319910 w 5022545"/>
                <a:gd name="connsiteY252" fmla="*/ 198255 h 648883"/>
                <a:gd name="connsiteX253" fmla="*/ 1313503 w 5022545"/>
                <a:gd name="connsiteY253" fmla="*/ 198255 h 648883"/>
                <a:gd name="connsiteX254" fmla="*/ 1313503 w 5022545"/>
                <a:gd name="connsiteY254" fmla="*/ 202984 h 648883"/>
                <a:gd name="connsiteX255" fmla="*/ 1315425 w 5022545"/>
                <a:gd name="connsiteY255" fmla="*/ 207888 h 648883"/>
                <a:gd name="connsiteX256" fmla="*/ 1319910 w 5022545"/>
                <a:gd name="connsiteY256" fmla="*/ 209990 h 648883"/>
                <a:gd name="connsiteX257" fmla="*/ 1343777 w 5022545"/>
                <a:gd name="connsiteY257" fmla="*/ 209990 h 648883"/>
                <a:gd name="connsiteX258" fmla="*/ 1343777 w 5022545"/>
                <a:gd name="connsiteY258" fmla="*/ 202984 h 648883"/>
                <a:gd name="connsiteX259" fmla="*/ 1337370 w 5022545"/>
                <a:gd name="connsiteY259" fmla="*/ 202984 h 648883"/>
                <a:gd name="connsiteX260" fmla="*/ 1337370 w 5022545"/>
                <a:gd name="connsiteY260" fmla="*/ 207888 h 648883"/>
                <a:gd name="connsiteX261" fmla="*/ 1339292 w 5022545"/>
                <a:gd name="connsiteY261" fmla="*/ 212792 h 648883"/>
                <a:gd name="connsiteX262" fmla="*/ 1343777 w 5022545"/>
                <a:gd name="connsiteY262" fmla="*/ 214893 h 648883"/>
                <a:gd name="connsiteX263" fmla="*/ 1412336 w 5022545"/>
                <a:gd name="connsiteY263" fmla="*/ 214893 h 648883"/>
                <a:gd name="connsiteX264" fmla="*/ 1412336 w 5022545"/>
                <a:gd name="connsiteY264" fmla="*/ 207888 h 648883"/>
                <a:gd name="connsiteX265" fmla="*/ 1405928 w 5022545"/>
                <a:gd name="connsiteY265" fmla="*/ 207888 h 648883"/>
                <a:gd name="connsiteX266" fmla="*/ 1405928 w 5022545"/>
                <a:gd name="connsiteY266" fmla="*/ 212617 h 648883"/>
                <a:gd name="connsiteX267" fmla="*/ 1407851 w 5022545"/>
                <a:gd name="connsiteY267" fmla="*/ 217520 h 648883"/>
                <a:gd name="connsiteX268" fmla="*/ 1412336 w 5022545"/>
                <a:gd name="connsiteY268" fmla="*/ 219622 h 648883"/>
                <a:gd name="connsiteX269" fmla="*/ 1442130 w 5022545"/>
                <a:gd name="connsiteY269" fmla="*/ 219622 h 648883"/>
                <a:gd name="connsiteX270" fmla="*/ 1442130 w 5022545"/>
                <a:gd name="connsiteY270" fmla="*/ 212617 h 648883"/>
                <a:gd name="connsiteX271" fmla="*/ 1435723 w 5022545"/>
                <a:gd name="connsiteY271" fmla="*/ 212617 h 648883"/>
                <a:gd name="connsiteX272" fmla="*/ 1435723 w 5022545"/>
                <a:gd name="connsiteY272" fmla="*/ 217170 h 648883"/>
                <a:gd name="connsiteX273" fmla="*/ 1437645 w 5022545"/>
                <a:gd name="connsiteY273" fmla="*/ 222074 h 648883"/>
                <a:gd name="connsiteX274" fmla="*/ 1442130 w 5022545"/>
                <a:gd name="connsiteY274" fmla="*/ 224176 h 648883"/>
                <a:gd name="connsiteX275" fmla="*/ 1465997 w 5022545"/>
                <a:gd name="connsiteY275" fmla="*/ 224176 h 648883"/>
                <a:gd name="connsiteX276" fmla="*/ 1465997 w 5022545"/>
                <a:gd name="connsiteY276" fmla="*/ 217170 h 648883"/>
                <a:gd name="connsiteX277" fmla="*/ 1459590 w 5022545"/>
                <a:gd name="connsiteY277" fmla="*/ 217170 h 648883"/>
                <a:gd name="connsiteX278" fmla="*/ 1459590 w 5022545"/>
                <a:gd name="connsiteY278" fmla="*/ 222249 h 648883"/>
                <a:gd name="connsiteX279" fmla="*/ 1461512 w 5022545"/>
                <a:gd name="connsiteY279" fmla="*/ 227153 h 648883"/>
                <a:gd name="connsiteX280" fmla="*/ 1465997 w 5022545"/>
                <a:gd name="connsiteY280" fmla="*/ 229255 h 648883"/>
                <a:gd name="connsiteX281" fmla="*/ 1474968 w 5022545"/>
                <a:gd name="connsiteY281" fmla="*/ 229255 h 648883"/>
                <a:gd name="connsiteX282" fmla="*/ 1474968 w 5022545"/>
                <a:gd name="connsiteY282" fmla="*/ 222249 h 648883"/>
                <a:gd name="connsiteX283" fmla="*/ 1468560 w 5022545"/>
                <a:gd name="connsiteY283" fmla="*/ 222249 h 648883"/>
                <a:gd name="connsiteX284" fmla="*/ 1468560 w 5022545"/>
                <a:gd name="connsiteY284" fmla="*/ 226803 h 648883"/>
                <a:gd name="connsiteX285" fmla="*/ 1470482 w 5022545"/>
                <a:gd name="connsiteY285" fmla="*/ 231707 h 648883"/>
                <a:gd name="connsiteX286" fmla="*/ 1474968 w 5022545"/>
                <a:gd name="connsiteY286" fmla="*/ 233808 h 648883"/>
                <a:gd name="connsiteX287" fmla="*/ 1489865 w 5022545"/>
                <a:gd name="connsiteY287" fmla="*/ 233808 h 648883"/>
                <a:gd name="connsiteX288" fmla="*/ 1489865 w 5022545"/>
                <a:gd name="connsiteY288" fmla="*/ 226803 h 648883"/>
                <a:gd name="connsiteX289" fmla="*/ 1483457 w 5022545"/>
                <a:gd name="connsiteY289" fmla="*/ 226803 h 648883"/>
                <a:gd name="connsiteX290" fmla="*/ 1483457 w 5022545"/>
                <a:gd name="connsiteY290" fmla="*/ 231006 h 648883"/>
                <a:gd name="connsiteX291" fmla="*/ 1485379 w 5022545"/>
                <a:gd name="connsiteY291" fmla="*/ 235910 h 648883"/>
                <a:gd name="connsiteX292" fmla="*/ 1489865 w 5022545"/>
                <a:gd name="connsiteY292" fmla="*/ 238012 h 648883"/>
                <a:gd name="connsiteX293" fmla="*/ 1513732 w 5022545"/>
                <a:gd name="connsiteY293" fmla="*/ 238012 h 648883"/>
                <a:gd name="connsiteX294" fmla="*/ 1513732 w 5022545"/>
                <a:gd name="connsiteY294" fmla="*/ 231006 h 648883"/>
                <a:gd name="connsiteX295" fmla="*/ 1507325 w 5022545"/>
                <a:gd name="connsiteY295" fmla="*/ 231006 h 648883"/>
                <a:gd name="connsiteX296" fmla="*/ 1507325 w 5022545"/>
                <a:gd name="connsiteY296" fmla="*/ 236085 h 648883"/>
                <a:gd name="connsiteX297" fmla="*/ 1509247 w 5022545"/>
                <a:gd name="connsiteY297" fmla="*/ 240989 h 648883"/>
                <a:gd name="connsiteX298" fmla="*/ 1513732 w 5022545"/>
                <a:gd name="connsiteY298" fmla="*/ 243091 h 648883"/>
                <a:gd name="connsiteX299" fmla="*/ 1665586 w 5022545"/>
                <a:gd name="connsiteY299" fmla="*/ 243091 h 648883"/>
                <a:gd name="connsiteX300" fmla="*/ 1665586 w 5022545"/>
                <a:gd name="connsiteY300" fmla="*/ 236085 h 648883"/>
                <a:gd name="connsiteX301" fmla="*/ 1659178 w 5022545"/>
                <a:gd name="connsiteY301" fmla="*/ 236085 h 648883"/>
                <a:gd name="connsiteX302" fmla="*/ 1659178 w 5022545"/>
                <a:gd name="connsiteY302" fmla="*/ 240463 h 648883"/>
                <a:gd name="connsiteX303" fmla="*/ 1661100 w 5022545"/>
                <a:gd name="connsiteY303" fmla="*/ 245367 h 648883"/>
                <a:gd name="connsiteX304" fmla="*/ 1665586 w 5022545"/>
                <a:gd name="connsiteY304" fmla="*/ 247469 h 648883"/>
                <a:gd name="connsiteX305" fmla="*/ 1743114 w 5022545"/>
                <a:gd name="connsiteY305" fmla="*/ 247469 h 648883"/>
                <a:gd name="connsiteX306" fmla="*/ 1743114 w 5022545"/>
                <a:gd name="connsiteY306" fmla="*/ 240463 h 648883"/>
                <a:gd name="connsiteX307" fmla="*/ 1736707 w 5022545"/>
                <a:gd name="connsiteY307" fmla="*/ 240463 h 648883"/>
                <a:gd name="connsiteX308" fmla="*/ 1736707 w 5022545"/>
                <a:gd name="connsiteY308" fmla="*/ 245367 h 648883"/>
                <a:gd name="connsiteX309" fmla="*/ 1738629 w 5022545"/>
                <a:gd name="connsiteY309" fmla="*/ 250271 h 648883"/>
                <a:gd name="connsiteX310" fmla="*/ 1743114 w 5022545"/>
                <a:gd name="connsiteY310" fmla="*/ 252373 h 648883"/>
                <a:gd name="connsiteX311" fmla="*/ 1758011 w 5022545"/>
                <a:gd name="connsiteY311" fmla="*/ 252373 h 648883"/>
                <a:gd name="connsiteX312" fmla="*/ 1758011 w 5022545"/>
                <a:gd name="connsiteY312" fmla="*/ 245367 h 648883"/>
                <a:gd name="connsiteX313" fmla="*/ 1751604 w 5022545"/>
                <a:gd name="connsiteY313" fmla="*/ 245367 h 648883"/>
                <a:gd name="connsiteX314" fmla="*/ 1751604 w 5022545"/>
                <a:gd name="connsiteY314" fmla="*/ 249921 h 648883"/>
                <a:gd name="connsiteX315" fmla="*/ 1753526 w 5022545"/>
                <a:gd name="connsiteY315" fmla="*/ 254825 h 648883"/>
                <a:gd name="connsiteX316" fmla="*/ 1758011 w 5022545"/>
                <a:gd name="connsiteY316" fmla="*/ 256926 h 648883"/>
                <a:gd name="connsiteX317" fmla="*/ 1790849 w 5022545"/>
                <a:gd name="connsiteY317" fmla="*/ 256926 h 648883"/>
                <a:gd name="connsiteX318" fmla="*/ 1790849 w 5022545"/>
                <a:gd name="connsiteY318" fmla="*/ 249921 h 648883"/>
                <a:gd name="connsiteX319" fmla="*/ 1784442 w 5022545"/>
                <a:gd name="connsiteY319" fmla="*/ 249921 h 648883"/>
                <a:gd name="connsiteX320" fmla="*/ 1784442 w 5022545"/>
                <a:gd name="connsiteY320" fmla="*/ 254124 h 648883"/>
                <a:gd name="connsiteX321" fmla="*/ 1786364 w 5022545"/>
                <a:gd name="connsiteY321" fmla="*/ 259028 h 648883"/>
                <a:gd name="connsiteX322" fmla="*/ 1790849 w 5022545"/>
                <a:gd name="connsiteY322" fmla="*/ 261130 h 648883"/>
                <a:gd name="connsiteX323" fmla="*/ 1832497 w 5022545"/>
                <a:gd name="connsiteY323" fmla="*/ 261130 h 648883"/>
                <a:gd name="connsiteX324" fmla="*/ 1832497 w 5022545"/>
                <a:gd name="connsiteY324" fmla="*/ 254124 h 648883"/>
                <a:gd name="connsiteX325" fmla="*/ 1826089 w 5022545"/>
                <a:gd name="connsiteY325" fmla="*/ 254124 h 648883"/>
                <a:gd name="connsiteX326" fmla="*/ 1826089 w 5022545"/>
                <a:gd name="connsiteY326" fmla="*/ 258678 h 648883"/>
                <a:gd name="connsiteX327" fmla="*/ 1828011 w 5022545"/>
                <a:gd name="connsiteY327" fmla="*/ 263582 h 648883"/>
                <a:gd name="connsiteX328" fmla="*/ 1832497 w 5022545"/>
                <a:gd name="connsiteY328" fmla="*/ 265683 h 648883"/>
                <a:gd name="connsiteX329" fmla="*/ 1838423 w 5022545"/>
                <a:gd name="connsiteY329" fmla="*/ 265683 h 648883"/>
                <a:gd name="connsiteX330" fmla="*/ 1838423 w 5022545"/>
                <a:gd name="connsiteY330" fmla="*/ 258678 h 648883"/>
                <a:gd name="connsiteX331" fmla="*/ 1832016 w 5022545"/>
                <a:gd name="connsiteY331" fmla="*/ 258678 h 648883"/>
                <a:gd name="connsiteX332" fmla="*/ 1832016 w 5022545"/>
                <a:gd name="connsiteY332" fmla="*/ 264107 h 648883"/>
                <a:gd name="connsiteX333" fmla="*/ 1833938 w 5022545"/>
                <a:gd name="connsiteY333" fmla="*/ 269011 h 648883"/>
                <a:gd name="connsiteX334" fmla="*/ 1838423 w 5022545"/>
                <a:gd name="connsiteY334" fmla="*/ 271113 h 648883"/>
                <a:gd name="connsiteX335" fmla="*/ 1847394 w 5022545"/>
                <a:gd name="connsiteY335" fmla="*/ 271113 h 648883"/>
                <a:gd name="connsiteX336" fmla="*/ 1847394 w 5022545"/>
                <a:gd name="connsiteY336" fmla="*/ 264107 h 648883"/>
                <a:gd name="connsiteX337" fmla="*/ 1840986 w 5022545"/>
                <a:gd name="connsiteY337" fmla="*/ 264107 h 648883"/>
                <a:gd name="connsiteX338" fmla="*/ 1840986 w 5022545"/>
                <a:gd name="connsiteY338" fmla="*/ 268310 h 648883"/>
                <a:gd name="connsiteX339" fmla="*/ 1842909 w 5022545"/>
                <a:gd name="connsiteY339" fmla="*/ 273214 h 648883"/>
                <a:gd name="connsiteX340" fmla="*/ 1847394 w 5022545"/>
                <a:gd name="connsiteY340" fmla="*/ 275316 h 648883"/>
                <a:gd name="connsiteX341" fmla="*/ 1853320 w 5022545"/>
                <a:gd name="connsiteY341" fmla="*/ 275316 h 648883"/>
                <a:gd name="connsiteX342" fmla="*/ 1853320 w 5022545"/>
                <a:gd name="connsiteY342" fmla="*/ 268310 h 648883"/>
                <a:gd name="connsiteX343" fmla="*/ 1846913 w 5022545"/>
                <a:gd name="connsiteY343" fmla="*/ 268310 h 648883"/>
                <a:gd name="connsiteX344" fmla="*/ 1846913 w 5022545"/>
                <a:gd name="connsiteY344" fmla="*/ 274790 h 648883"/>
                <a:gd name="connsiteX345" fmla="*/ 1848835 w 5022545"/>
                <a:gd name="connsiteY345" fmla="*/ 279694 h 648883"/>
                <a:gd name="connsiteX346" fmla="*/ 1853320 w 5022545"/>
                <a:gd name="connsiteY346" fmla="*/ 281796 h 648883"/>
                <a:gd name="connsiteX347" fmla="*/ 1859247 w 5022545"/>
                <a:gd name="connsiteY347" fmla="*/ 281796 h 648883"/>
                <a:gd name="connsiteX348" fmla="*/ 1859247 w 5022545"/>
                <a:gd name="connsiteY348" fmla="*/ 274790 h 648883"/>
                <a:gd name="connsiteX349" fmla="*/ 1852840 w 5022545"/>
                <a:gd name="connsiteY349" fmla="*/ 274790 h 648883"/>
                <a:gd name="connsiteX350" fmla="*/ 1852840 w 5022545"/>
                <a:gd name="connsiteY350" fmla="*/ 279344 h 648883"/>
                <a:gd name="connsiteX351" fmla="*/ 1854762 w 5022545"/>
                <a:gd name="connsiteY351" fmla="*/ 284248 h 648883"/>
                <a:gd name="connsiteX352" fmla="*/ 1859247 w 5022545"/>
                <a:gd name="connsiteY352" fmla="*/ 286349 h 648883"/>
                <a:gd name="connsiteX353" fmla="*/ 1915792 w 5022545"/>
                <a:gd name="connsiteY353" fmla="*/ 286349 h 648883"/>
                <a:gd name="connsiteX354" fmla="*/ 1915792 w 5022545"/>
                <a:gd name="connsiteY354" fmla="*/ 279344 h 648883"/>
                <a:gd name="connsiteX355" fmla="*/ 1909384 w 5022545"/>
                <a:gd name="connsiteY355" fmla="*/ 279344 h 648883"/>
                <a:gd name="connsiteX356" fmla="*/ 1909384 w 5022545"/>
                <a:gd name="connsiteY356" fmla="*/ 284248 h 648883"/>
                <a:gd name="connsiteX357" fmla="*/ 1911307 w 5022545"/>
                <a:gd name="connsiteY357" fmla="*/ 289152 h 648883"/>
                <a:gd name="connsiteX358" fmla="*/ 1915792 w 5022545"/>
                <a:gd name="connsiteY358" fmla="*/ 291253 h 648883"/>
                <a:gd name="connsiteX359" fmla="*/ 1963526 w 5022545"/>
                <a:gd name="connsiteY359" fmla="*/ 291253 h 648883"/>
                <a:gd name="connsiteX360" fmla="*/ 1963526 w 5022545"/>
                <a:gd name="connsiteY360" fmla="*/ 284248 h 648883"/>
                <a:gd name="connsiteX361" fmla="*/ 1957119 w 5022545"/>
                <a:gd name="connsiteY361" fmla="*/ 284248 h 648883"/>
                <a:gd name="connsiteX362" fmla="*/ 1957119 w 5022545"/>
                <a:gd name="connsiteY362" fmla="*/ 289152 h 648883"/>
                <a:gd name="connsiteX363" fmla="*/ 1959041 w 5022545"/>
                <a:gd name="connsiteY363" fmla="*/ 294055 h 648883"/>
                <a:gd name="connsiteX364" fmla="*/ 1963526 w 5022545"/>
                <a:gd name="connsiteY364" fmla="*/ 296157 h 648883"/>
                <a:gd name="connsiteX365" fmla="*/ 2023115 w 5022545"/>
                <a:gd name="connsiteY365" fmla="*/ 296157 h 648883"/>
                <a:gd name="connsiteX366" fmla="*/ 2023115 w 5022545"/>
                <a:gd name="connsiteY366" fmla="*/ 289152 h 648883"/>
                <a:gd name="connsiteX367" fmla="*/ 2016707 w 5022545"/>
                <a:gd name="connsiteY367" fmla="*/ 289152 h 648883"/>
                <a:gd name="connsiteX368" fmla="*/ 2016707 w 5022545"/>
                <a:gd name="connsiteY368" fmla="*/ 294055 h 648883"/>
                <a:gd name="connsiteX369" fmla="*/ 2018629 w 5022545"/>
                <a:gd name="connsiteY369" fmla="*/ 298959 h 648883"/>
                <a:gd name="connsiteX370" fmla="*/ 2023115 w 5022545"/>
                <a:gd name="connsiteY370" fmla="*/ 301061 h 648883"/>
                <a:gd name="connsiteX371" fmla="*/ 2055792 w 5022545"/>
                <a:gd name="connsiteY371" fmla="*/ 301061 h 648883"/>
                <a:gd name="connsiteX372" fmla="*/ 2055792 w 5022545"/>
                <a:gd name="connsiteY372" fmla="*/ 294055 h 648883"/>
                <a:gd name="connsiteX373" fmla="*/ 2049385 w 5022545"/>
                <a:gd name="connsiteY373" fmla="*/ 294055 h 648883"/>
                <a:gd name="connsiteX374" fmla="*/ 2049385 w 5022545"/>
                <a:gd name="connsiteY374" fmla="*/ 299134 h 648883"/>
                <a:gd name="connsiteX375" fmla="*/ 2051307 w 5022545"/>
                <a:gd name="connsiteY375" fmla="*/ 304038 h 648883"/>
                <a:gd name="connsiteX376" fmla="*/ 2055792 w 5022545"/>
                <a:gd name="connsiteY376" fmla="*/ 306140 h 648883"/>
                <a:gd name="connsiteX377" fmla="*/ 2070689 w 5022545"/>
                <a:gd name="connsiteY377" fmla="*/ 306140 h 648883"/>
                <a:gd name="connsiteX378" fmla="*/ 2070689 w 5022545"/>
                <a:gd name="connsiteY378" fmla="*/ 299134 h 648883"/>
                <a:gd name="connsiteX379" fmla="*/ 2064282 w 5022545"/>
                <a:gd name="connsiteY379" fmla="*/ 299134 h 648883"/>
                <a:gd name="connsiteX380" fmla="*/ 2064282 w 5022545"/>
                <a:gd name="connsiteY380" fmla="*/ 304038 h 648883"/>
                <a:gd name="connsiteX381" fmla="*/ 2066204 w 5022545"/>
                <a:gd name="connsiteY381" fmla="*/ 308942 h 648883"/>
                <a:gd name="connsiteX382" fmla="*/ 2070689 w 5022545"/>
                <a:gd name="connsiteY382" fmla="*/ 311044 h 648883"/>
                <a:gd name="connsiteX383" fmla="*/ 2076616 w 5022545"/>
                <a:gd name="connsiteY383" fmla="*/ 311044 h 648883"/>
                <a:gd name="connsiteX384" fmla="*/ 2076616 w 5022545"/>
                <a:gd name="connsiteY384" fmla="*/ 304038 h 648883"/>
                <a:gd name="connsiteX385" fmla="*/ 2070209 w 5022545"/>
                <a:gd name="connsiteY385" fmla="*/ 304038 h 648883"/>
                <a:gd name="connsiteX386" fmla="*/ 2070209 w 5022545"/>
                <a:gd name="connsiteY386" fmla="*/ 308942 h 648883"/>
                <a:gd name="connsiteX387" fmla="*/ 2072131 w 5022545"/>
                <a:gd name="connsiteY387" fmla="*/ 313846 h 648883"/>
                <a:gd name="connsiteX388" fmla="*/ 2076616 w 5022545"/>
                <a:gd name="connsiteY388" fmla="*/ 315948 h 648883"/>
                <a:gd name="connsiteX389" fmla="*/ 2085586 w 5022545"/>
                <a:gd name="connsiteY389" fmla="*/ 315948 h 648883"/>
                <a:gd name="connsiteX390" fmla="*/ 2085586 w 5022545"/>
                <a:gd name="connsiteY390" fmla="*/ 308942 h 648883"/>
                <a:gd name="connsiteX391" fmla="*/ 2079179 w 5022545"/>
                <a:gd name="connsiteY391" fmla="*/ 308942 h 648883"/>
                <a:gd name="connsiteX392" fmla="*/ 2079179 w 5022545"/>
                <a:gd name="connsiteY392" fmla="*/ 313496 h 648883"/>
                <a:gd name="connsiteX393" fmla="*/ 2081101 w 5022545"/>
                <a:gd name="connsiteY393" fmla="*/ 318400 h 648883"/>
                <a:gd name="connsiteX394" fmla="*/ 2085586 w 5022545"/>
                <a:gd name="connsiteY394" fmla="*/ 320501 h 648883"/>
                <a:gd name="connsiteX395" fmla="*/ 2109453 w 5022545"/>
                <a:gd name="connsiteY395" fmla="*/ 320501 h 648883"/>
                <a:gd name="connsiteX396" fmla="*/ 2109453 w 5022545"/>
                <a:gd name="connsiteY396" fmla="*/ 313496 h 648883"/>
                <a:gd name="connsiteX397" fmla="*/ 2103046 w 5022545"/>
                <a:gd name="connsiteY397" fmla="*/ 313496 h 648883"/>
                <a:gd name="connsiteX398" fmla="*/ 2103046 w 5022545"/>
                <a:gd name="connsiteY398" fmla="*/ 319100 h 648883"/>
                <a:gd name="connsiteX399" fmla="*/ 2104968 w 5022545"/>
                <a:gd name="connsiteY399" fmla="*/ 324004 h 648883"/>
                <a:gd name="connsiteX400" fmla="*/ 2109453 w 5022545"/>
                <a:gd name="connsiteY400" fmla="*/ 326106 h 648883"/>
                <a:gd name="connsiteX401" fmla="*/ 2136204 w 5022545"/>
                <a:gd name="connsiteY401" fmla="*/ 326106 h 648883"/>
                <a:gd name="connsiteX402" fmla="*/ 2136204 w 5022545"/>
                <a:gd name="connsiteY402" fmla="*/ 319100 h 648883"/>
                <a:gd name="connsiteX403" fmla="*/ 2129797 w 5022545"/>
                <a:gd name="connsiteY403" fmla="*/ 319100 h 648883"/>
                <a:gd name="connsiteX404" fmla="*/ 2129797 w 5022545"/>
                <a:gd name="connsiteY404" fmla="*/ 323654 h 648883"/>
                <a:gd name="connsiteX405" fmla="*/ 2131719 w 5022545"/>
                <a:gd name="connsiteY405" fmla="*/ 328558 h 648883"/>
                <a:gd name="connsiteX406" fmla="*/ 2136204 w 5022545"/>
                <a:gd name="connsiteY406" fmla="*/ 330659 h 648883"/>
                <a:gd name="connsiteX407" fmla="*/ 2154145 w 5022545"/>
                <a:gd name="connsiteY407" fmla="*/ 330659 h 648883"/>
                <a:gd name="connsiteX408" fmla="*/ 2154145 w 5022545"/>
                <a:gd name="connsiteY408" fmla="*/ 323654 h 648883"/>
                <a:gd name="connsiteX409" fmla="*/ 2147737 w 5022545"/>
                <a:gd name="connsiteY409" fmla="*/ 323654 h 648883"/>
                <a:gd name="connsiteX410" fmla="*/ 2147737 w 5022545"/>
                <a:gd name="connsiteY410" fmla="*/ 328207 h 648883"/>
                <a:gd name="connsiteX411" fmla="*/ 2149659 w 5022545"/>
                <a:gd name="connsiteY411" fmla="*/ 333111 h 648883"/>
                <a:gd name="connsiteX412" fmla="*/ 2154145 w 5022545"/>
                <a:gd name="connsiteY412" fmla="*/ 335213 h 648883"/>
                <a:gd name="connsiteX413" fmla="*/ 2169042 w 5022545"/>
                <a:gd name="connsiteY413" fmla="*/ 335213 h 648883"/>
                <a:gd name="connsiteX414" fmla="*/ 2169042 w 5022545"/>
                <a:gd name="connsiteY414" fmla="*/ 328207 h 648883"/>
                <a:gd name="connsiteX415" fmla="*/ 2162634 w 5022545"/>
                <a:gd name="connsiteY415" fmla="*/ 328207 h 648883"/>
                <a:gd name="connsiteX416" fmla="*/ 2162634 w 5022545"/>
                <a:gd name="connsiteY416" fmla="*/ 332761 h 648883"/>
                <a:gd name="connsiteX417" fmla="*/ 2164557 w 5022545"/>
                <a:gd name="connsiteY417" fmla="*/ 337665 h 648883"/>
                <a:gd name="connsiteX418" fmla="*/ 2169042 w 5022545"/>
                <a:gd name="connsiteY418" fmla="*/ 339766 h 648883"/>
                <a:gd name="connsiteX419" fmla="*/ 2225586 w 5022545"/>
                <a:gd name="connsiteY419" fmla="*/ 339766 h 648883"/>
                <a:gd name="connsiteX420" fmla="*/ 2225586 w 5022545"/>
                <a:gd name="connsiteY420" fmla="*/ 332761 h 648883"/>
                <a:gd name="connsiteX421" fmla="*/ 2219179 w 5022545"/>
                <a:gd name="connsiteY421" fmla="*/ 332761 h 648883"/>
                <a:gd name="connsiteX422" fmla="*/ 2219179 w 5022545"/>
                <a:gd name="connsiteY422" fmla="*/ 337314 h 648883"/>
                <a:gd name="connsiteX423" fmla="*/ 2221101 w 5022545"/>
                <a:gd name="connsiteY423" fmla="*/ 342218 h 648883"/>
                <a:gd name="connsiteX424" fmla="*/ 2225586 w 5022545"/>
                <a:gd name="connsiteY424" fmla="*/ 344145 h 648883"/>
                <a:gd name="connsiteX425" fmla="*/ 2341719 w 5022545"/>
                <a:gd name="connsiteY425" fmla="*/ 344145 h 648883"/>
                <a:gd name="connsiteX426" fmla="*/ 2341719 w 5022545"/>
                <a:gd name="connsiteY426" fmla="*/ 337314 h 648883"/>
                <a:gd name="connsiteX427" fmla="*/ 2335312 w 5022545"/>
                <a:gd name="connsiteY427" fmla="*/ 337314 h 648883"/>
                <a:gd name="connsiteX428" fmla="*/ 2335312 w 5022545"/>
                <a:gd name="connsiteY428" fmla="*/ 342393 h 648883"/>
                <a:gd name="connsiteX429" fmla="*/ 2337234 w 5022545"/>
                <a:gd name="connsiteY429" fmla="*/ 347297 h 648883"/>
                <a:gd name="connsiteX430" fmla="*/ 2341719 w 5022545"/>
                <a:gd name="connsiteY430" fmla="*/ 349399 h 648883"/>
                <a:gd name="connsiteX431" fmla="*/ 2347646 w 5022545"/>
                <a:gd name="connsiteY431" fmla="*/ 349399 h 648883"/>
                <a:gd name="connsiteX432" fmla="*/ 2347646 w 5022545"/>
                <a:gd name="connsiteY432" fmla="*/ 342393 h 648883"/>
                <a:gd name="connsiteX433" fmla="*/ 2341239 w 5022545"/>
                <a:gd name="connsiteY433" fmla="*/ 342393 h 648883"/>
                <a:gd name="connsiteX434" fmla="*/ 2341239 w 5022545"/>
                <a:gd name="connsiteY434" fmla="*/ 347122 h 648883"/>
                <a:gd name="connsiteX435" fmla="*/ 2343161 w 5022545"/>
                <a:gd name="connsiteY435" fmla="*/ 352026 h 648883"/>
                <a:gd name="connsiteX436" fmla="*/ 2347646 w 5022545"/>
                <a:gd name="connsiteY436" fmla="*/ 354128 h 648883"/>
                <a:gd name="connsiteX437" fmla="*/ 2380484 w 5022545"/>
                <a:gd name="connsiteY437" fmla="*/ 354128 h 648883"/>
                <a:gd name="connsiteX438" fmla="*/ 2380484 w 5022545"/>
                <a:gd name="connsiteY438" fmla="*/ 347122 h 648883"/>
                <a:gd name="connsiteX439" fmla="*/ 2374076 w 5022545"/>
                <a:gd name="connsiteY439" fmla="*/ 347122 h 648883"/>
                <a:gd name="connsiteX440" fmla="*/ 2374076 w 5022545"/>
                <a:gd name="connsiteY440" fmla="*/ 352376 h 648883"/>
                <a:gd name="connsiteX441" fmla="*/ 2375998 w 5022545"/>
                <a:gd name="connsiteY441" fmla="*/ 357280 h 648883"/>
                <a:gd name="connsiteX442" fmla="*/ 2380484 w 5022545"/>
                <a:gd name="connsiteY442" fmla="*/ 359382 h 648883"/>
                <a:gd name="connsiteX443" fmla="*/ 2440072 w 5022545"/>
                <a:gd name="connsiteY443" fmla="*/ 359382 h 648883"/>
                <a:gd name="connsiteX444" fmla="*/ 2440072 w 5022545"/>
                <a:gd name="connsiteY444" fmla="*/ 352376 h 648883"/>
                <a:gd name="connsiteX445" fmla="*/ 2433664 w 5022545"/>
                <a:gd name="connsiteY445" fmla="*/ 352376 h 648883"/>
                <a:gd name="connsiteX446" fmla="*/ 2433664 w 5022545"/>
                <a:gd name="connsiteY446" fmla="*/ 358681 h 648883"/>
                <a:gd name="connsiteX447" fmla="*/ 2435587 w 5022545"/>
                <a:gd name="connsiteY447" fmla="*/ 363585 h 648883"/>
                <a:gd name="connsiteX448" fmla="*/ 2440072 w 5022545"/>
                <a:gd name="connsiteY448" fmla="*/ 365687 h 648883"/>
                <a:gd name="connsiteX449" fmla="*/ 2487326 w 5022545"/>
                <a:gd name="connsiteY449" fmla="*/ 365687 h 648883"/>
                <a:gd name="connsiteX450" fmla="*/ 2487326 w 5022545"/>
                <a:gd name="connsiteY450" fmla="*/ 367788 h 648883"/>
                <a:gd name="connsiteX451" fmla="*/ 2489248 w 5022545"/>
                <a:gd name="connsiteY451" fmla="*/ 372692 h 648883"/>
                <a:gd name="connsiteX452" fmla="*/ 2493733 w 5022545"/>
                <a:gd name="connsiteY452" fmla="*/ 374794 h 648883"/>
                <a:gd name="connsiteX453" fmla="*/ 2499660 w 5022545"/>
                <a:gd name="connsiteY453" fmla="*/ 374794 h 648883"/>
                <a:gd name="connsiteX454" fmla="*/ 2499660 w 5022545"/>
                <a:gd name="connsiteY454" fmla="*/ 367788 h 648883"/>
                <a:gd name="connsiteX455" fmla="*/ 2493252 w 5022545"/>
                <a:gd name="connsiteY455" fmla="*/ 367788 h 648883"/>
                <a:gd name="connsiteX456" fmla="*/ 2493252 w 5022545"/>
                <a:gd name="connsiteY456" fmla="*/ 372517 h 648883"/>
                <a:gd name="connsiteX457" fmla="*/ 2495175 w 5022545"/>
                <a:gd name="connsiteY457" fmla="*/ 377421 h 648883"/>
                <a:gd name="connsiteX458" fmla="*/ 2499660 w 5022545"/>
                <a:gd name="connsiteY458" fmla="*/ 379522 h 648883"/>
                <a:gd name="connsiteX459" fmla="*/ 2529454 w 5022545"/>
                <a:gd name="connsiteY459" fmla="*/ 379522 h 648883"/>
                <a:gd name="connsiteX460" fmla="*/ 2529454 w 5022545"/>
                <a:gd name="connsiteY460" fmla="*/ 372517 h 648883"/>
                <a:gd name="connsiteX461" fmla="*/ 2523047 w 5022545"/>
                <a:gd name="connsiteY461" fmla="*/ 372517 h 648883"/>
                <a:gd name="connsiteX462" fmla="*/ 2523047 w 5022545"/>
                <a:gd name="connsiteY462" fmla="*/ 377596 h 648883"/>
                <a:gd name="connsiteX463" fmla="*/ 2524969 w 5022545"/>
                <a:gd name="connsiteY463" fmla="*/ 382500 h 648883"/>
                <a:gd name="connsiteX464" fmla="*/ 2529454 w 5022545"/>
                <a:gd name="connsiteY464" fmla="*/ 384601 h 648883"/>
                <a:gd name="connsiteX465" fmla="*/ 2615793 w 5022545"/>
                <a:gd name="connsiteY465" fmla="*/ 384601 h 648883"/>
                <a:gd name="connsiteX466" fmla="*/ 2615793 w 5022545"/>
                <a:gd name="connsiteY466" fmla="*/ 377596 h 648883"/>
                <a:gd name="connsiteX467" fmla="*/ 2609385 w 5022545"/>
                <a:gd name="connsiteY467" fmla="*/ 377596 h 648883"/>
                <a:gd name="connsiteX468" fmla="*/ 2609385 w 5022545"/>
                <a:gd name="connsiteY468" fmla="*/ 382150 h 648883"/>
                <a:gd name="connsiteX469" fmla="*/ 2611308 w 5022545"/>
                <a:gd name="connsiteY469" fmla="*/ 387053 h 648883"/>
                <a:gd name="connsiteX470" fmla="*/ 2615793 w 5022545"/>
                <a:gd name="connsiteY470" fmla="*/ 389155 h 648883"/>
                <a:gd name="connsiteX471" fmla="*/ 2660484 w 5022545"/>
                <a:gd name="connsiteY471" fmla="*/ 389155 h 648883"/>
                <a:gd name="connsiteX472" fmla="*/ 2660484 w 5022545"/>
                <a:gd name="connsiteY472" fmla="*/ 382150 h 648883"/>
                <a:gd name="connsiteX473" fmla="*/ 2654077 w 5022545"/>
                <a:gd name="connsiteY473" fmla="*/ 382150 h 648883"/>
                <a:gd name="connsiteX474" fmla="*/ 2654077 w 5022545"/>
                <a:gd name="connsiteY474" fmla="*/ 386878 h 648883"/>
                <a:gd name="connsiteX475" fmla="*/ 2655999 w 5022545"/>
                <a:gd name="connsiteY475" fmla="*/ 391782 h 648883"/>
                <a:gd name="connsiteX476" fmla="*/ 2660484 w 5022545"/>
                <a:gd name="connsiteY476" fmla="*/ 393884 h 648883"/>
                <a:gd name="connsiteX477" fmla="*/ 2740896 w 5022545"/>
                <a:gd name="connsiteY477" fmla="*/ 393884 h 648883"/>
                <a:gd name="connsiteX478" fmla="*/ 2740896 w 5022545"/>
                <a:gd name="connsiteY478" fmla="*/ 386878 h 648883"/>
                <a:gd name="connsiteX479" fmla="*/ 2734489 w 5022545"/>
                <a:gd name="connsiteY479" fmla="*/ 386878 h 648883"/>
                <a:gd name="connsiteX480" fmla="*/ 2734489 w 5022545"/>
                <a:gd name="connsiteY480" fmla="*/ 392132 h 648883"/>
                <a:gd name="connsiteX481" fmla="*/ 2736411 w 5022545"/>
                <a:gd name="connsiteY481" fmla="*/ 397036 h 648883"/>
                <a:gd name="connsiteX482" fmla="*/ 2740896 w 5022545"/>
                <a:gd name="connsiteY482" fmla="*/ 399138 h 648883"/>
                <a:gd name="connsiteX483" fmla="*/ 2809454 w 5022545"/>
                <a:gd name="connsiteY483" fmla="*/ 399138 h 648883"/>
                <a:gd name="connsiteX484" fmla="*/ 2809454 w 5022545"/>
                <a:gd name="connsiteY484" fmla="*/ 392132 h 648883"/>
                <a:gd name="connsiteX485" fmla="*/ 2803047 w 5022545"/>
                <a:gd name="connsiteY485" fmla="*/ 392132 h 648883"/>
                <a:gd name="connsiteX486" fmla="*/ 2803047 w 5022545"/>
                <a:gd name="connsiteY486" fmla="*/ 397386 h 648883"/>
                <a:gd name="connsiteX487" fmla="*/ 2804969 w 5022545"/>
                <a:gd name="connsiteY487" fmla="*/ 402290 h 648883"/>
                <a:gd name="connsiteX488" fmla="*/ 2809454 w 5022545"/>
                <a:gd name="connsiteY488" fmla="*/ 404392 h 648883"/>
                <a:gd name="connsiteX489" fmla="*/ 2812498 w 5022545"/>
                <a:gd name="connsiteY489" fmla="*/ 404392 h 648883"/>
                <a:gd name="connsiteX490" fmla="*/ 2812498 w 5022545"/>
                <a:gd name="connsiteY490" fmla="*/ 397386 h 648883"/>
                <a:gd name="connsiteX491" fmla="*/ 2806090 w 5022545"/>
                <a:gd name="connsiteY491" fmla="*/ 397386 h 648883"/>
                <a:gd name="connsiteX492" fmla="*/ 2806090 w 5022545"/>
                <a:gd name="connsiteY492" fmla="*/ 402991 h 648883"/>
                <a:gd name="connsiteX493" fmla="*/ 2808013 w 5022545"/>
                <a:gd name="connsiteY493" fmla="*/ 407895 h 648883"/>
                <a:gd name="connsiteX494" fmla="*/ 2812498 w 5022545"/>
                <a:gd name="connsiteY494" fmla="*/ 409996 h 648883"/>
                <a:gd name="connsiteX495" fmla="*/ 2842292 w 5022545"/>
                <a:gd name="connsiteY495" fmla="*/ 409996 h 648883"/>
                <a:gd name="connsiteX496" fmla="*/ 2842292 w 5022545"/>
                <a:gd name="connsiteY496" fmla="*/ 402991 h 648883"/>
                <a:gd name="connsiteX497" fmla="*/ 2835884 w 5022545"/>
                <a:gd name="connsiteY497" fmla="*/ 402991 h 648883"/>
                <a:gd name="connsiteX498" fmla="*/ 2835884 w 5022545"/>
                <a:gd name="connsiteY498" fmla="*/ 407895 h 648883"/>
                <a:gd name="connsiteX499" fmla="*/ 2837807 w 5022545"/>
                <a:gd name="connsiteY499" fmla="*/ 412799 h 648883"/>
                <a:gd name="connsiteX500" fmla="*/ 2842292 w 5022545"/>
                <a:gd name="connsiteY500" fmla="*/ 414900 h 648883"/>
                <a:gd name="connsiteX501" fmla="*/ 2967395 w 5022545"/>
                <a:gd name="connsiteY501" fmla="*/ 414900 h 648883"/>
                <a:gd name="connsiteX502" fmla="*/ 2967395 w 5022545"/>
                <a:gd name="connsiteY502" fmla="*/ 407895 h 648883"/>
                <a:gd name="connsiteX503" fmla="*/ 2960988 w 5022545"/>
                <a:gd name="connsiteY503" fmla="*/ 407895 h 648883"/>
                <a:gd name="connsiteX504" fmla="*/ 2960988 w 5022545"/>
                <a:gd name="connsiteY504" fmla="*/ 412799 h 648883"/>
                <a:gd name="connsiteX505" fmla="*/ 2962910 w 5022545"/>
                <a:gd name="connsiteY505" fmla="*/ 417702 h 648883"/>
                <a:gd name="connsiteX506" fmla="*/ 2967395 w 5022545"/>
                <a:gd name="connsiteY506" fmla="*/ 419804 h 648883"/>
                <a:gd name="connsiteX507" fmla="*/ 3002796 w 5022545"/>
                <a:gd name="connsiteY507" fmla="*/ 419804 h 648883"/>
                <a:gd name="connsiteX508" fmla="*/ 3002796 w 5022545"/>
                <a:gd name="connsiteY508" fmla="*/ 420329 h 648883"/>
                <a:gd name="connsiteX509" fmla="*/ 3004718 w 5022545"/>
                <a:gd name="connsiteY509" fmla="*/ 425233 h 648883"/>
                <a:gd name="connsiteX510" fmla="*/ 3009203 w 5022545"/>
                <a:gd name="connsiteY510" fmla="*/ 427160 h 648883"/>
                <a:gd name="connsiteX511" fmla="*/ 3113482 w 5022545"/>
                <a:gd name="connsiteY511" fmla="*/ 427160 h 648883"/>
                <a:gd name="connsiteX512" fmla="*/ 3113482 w 5022545"/>
                <a:gd name="connsiteY512" fmla="*/ 420329 h 648883"/>
                <a:gd name="connsiteX513" fmla="*/ 3107075 w 5022545"/>
                <a:gd name="connsiteY513" fmla="*/ 420329 h 648883"/>
                <a:gd name="connsiteX514" fmla="*/ 3107075 w 5022545"/>
                <a:gd name="connsiteY514" fmla="*/ 425759 h 648883"/>
                <a:gd name="connsiteX515" fmla="*/ 3108997 w 5022545"/>
                <a:gd name="connsiteY515" fmla="*/ 430663 h 648883"/>
                <a:gd name="connsiteX516" fmla="*/ 3113482 w 5022545"/>
                <a:gd name="connsiteY516" fmla="*/ 432764 h 648883"/>
                <a:gd name="connsiteX517" fmla="*/ 3178997 w 5022545"/>
                <a:gd name="connsiteY517" fmla="*/ 432764 h 648883"/>
                <a:gd name="connsiteX518" fmla="*/ 3178997 w 5022545"/>
                <a:gd name="connsiteY518" fmla="*/ 425759 h 648883"/>
                <a:gd name="connsiteX519" fmla="*/ 3172590 w 5022545"/>
                <a:gd name="connsiteY519" fmla="*/ 425759 h 648883"/>
                <a:gd name="connsiteX520" fmla="*/ 3172590 w 5022545"/>
                <a:gd name="connsiteY520" fmla="*/ 432064 h 648883"/>
                <a:gd name="connsiteX521" fmla="*/ 3174512 w 5022545"/>
                <a:gd name="connsiteY521" fmla="*/ 436968 h 648883"/>
                <a:gd name="connsiteX522" fmla="*/ 3178997 w 5022545"/>
                <a:gd name="connsiteY522" fmla="*/ 438894 h 648883"/>
                <a:gd name="connsiteX523" fmla="*/ 3199821 w 5022545"/>
                <a:gd name="connsiteY523" fmla="*/ 438894 h 648883"/>
                <a:gd name="connsiteX524" fmla="*/ 3199821 w 5022545"/>
                <a:gd name="connsiteY524" fmla="*/ 431889 h 648883"/>
                <a:gd name="connsiteX525" fmla="*/ 3193414 w 5022545"/>
                <a:gd name="connsiteY525" fmla="*/ 431889 h 648883"/>
                <a:gd name="connsiteX526" fmla="*/ 3193414 w 5022545"/>
                <a:gd name="connsiteY526" fmla="*/ 436792 h 648883"/>
                <a:gd name="connsiteX527" fmla="*/ 3195336 w 5022545"/>
                <a:gd name="connsiteY527" fmla="*/ 441696 h 648883"/>
                <a:gd name="connsiteX528" fmla="*/ 3199821 w 5022545"/>
                <a:gd name="connsiteY528" fmla="*/ 443798 h 648883"/>
                <a:gd name="connsiteX529" fmla="*/ 3223688 w 5022545"/>
                <a:gd name="connsiteY529" fmla="*/ 443798 h 648883"/>
                <a:gd name="connsiteX530" fmla="*/ 3223688 w 5022545"/>
                <a:gd name="connsiteY530" fmla="*/ 436792 h 648883"/>
                <a:gd name="connsiteX531" fmla="*/ 3217281 w 5022545"/>
                <a:gd name="connsiteY531" fmla="*/ 436792 h 648883"/>
                <a:gd name="connsiteX532" fmla="*/ 3217281 w 5022545"/>
                <a:gd name="connsiteY532" fmla="*/ 441871 h 648883"/>
                <a:gd name="connsiteX533" fmla="*/ 3219203 w 5022545"/>
                <a:gd name="connsiteY533" fmla="*/ 446775 h 648883"/>
                <a:gd name="connsiteX534" fmla="*/ 3223688 w 5022545"/>
                <a:gd name="connsiteY534" fmla="*/ 448877 h 648883"/>
                <a:gd name="connsiteX535" fmla="*/ 3232658 w 5022545"/>
                <a:gd name="connsiteY535" fmla="*/ 448877 h 648883"/>
                <a:gd name="connsiteX536" fmla="*/ 3232658 w 5022545"/>
                <a:gd name="connsiteY536" fmla="*/ 441871 h 648883"/>
                <a:gd name="connsiteX537" fmla="*/ 3226251 w 5022545"/>
                <a:gd name="connsiteY537" fmla="*/ 441871 h 648883"/>
                <a:gd name="connsiteX538" fmla="*/ 3226251 w 5022545"/>
                <a:gd name="connsiteY538" fmla="*/ 447125 h 648883"/>
                <a:gd name="connsiteX539" fmla="*/ 3228173 w 5022545"/>
                <a:gd name="connsiteY539" fmla="*/ 452029 h 648883"/>
                <a:gd name="connsiteX540" fmla="*/ 3232658 w 5022545"/>
                <a:gd name="connsiteY540" fmla="*/ 454131 h 648883"/>
                <a:gd name="connsiteX541" fmla="*/ 3256526 w 5022545"/>
                <a:gd name="connsiteY541" fmla="*/ 454131 h 648883"/>
                <a:gd name="connsiteX542" fmla="*/ 3256526 w 5022545"/>
                <a:gd name="connsiteY542" fmla="*/ 447125 h 648883"/>
                <a:gd name="connsiteX543" fmla="*/ 3250118 w 5022545"/>
                <a:gd name="connsiteY543" fmla="*/ 447125 h 648883"/>
                <a:gd name="connsiteX544" fmla="*/ 3250118 w 5022545"/>
                <a:gd name="connsiteY544" fmla="*/ 452730 h 648883"/>
                <a:gd name="connsiteX545" fmla="*/ 3252041 w 5022545"/>
                <a:gd name="connsiteY545" fmla="*/ 457634 h 648883"/>
                <a:gd name="connsiteX546" fmla="*/ 3256526 w 5022545"/>
                <a:gd name="connsiteY546" fmla="*/ 459735 h 648883"/>
                <a:gd name="connsiteX547" fmla="*/ 3271423 w 5022545"/>
                <a:gd name="connsiteY547" fmla="*/ 459735 h 648883"/>
                <a:gd name="connsiteX548" fmla="*/ 3271423 w 5022545"/>
                <a:gd name="connsiteY548" fmla="*/ 452730 h 648883"/>
                <a:gd name="connsiteX549" fmla="*/ 3265016 w 5022545"/>
                <a:gd name="connsiteY549" fmla="*/ 452730 h 648883"/>
                <a:gd name="connsiteX550" fmla="*/ 3265016 w 5022545"/>
                <a:gd name="connsiteY550" fmla="*/ 458685 h 648883"/>
                <a:gd name="connsiteX551" fmla="*/ 3266938 w 5022545"/>
                <a:gd name="connsiteY551" fmla="*/ 463588 h 648883"/>
                <a:gd name="connsiteX552" fmla="*/ 3271423 w 5022545"/>
                <a:gd name="connsiteY552" fmla="*/ 465690 h 648883"/>
                <a:gd name="connsiteX553" fmla="*/ 3369615 w 5022545"/>
                <a:gd name="connsiteY553" fmla="*/ 465690 h 648883"/>
                <a:gd name="connsiteX554" fmla="*/ 3369615 w 5022545"/>
                <a:gd name="connsiteY554" fmla="*/ 458685 h 648883"/>
                <a:gd name="connsiteX555" fmla="*/ 3363208 w 5022545"/>
                <a:gd name="connsiteY555" fmla="*/ 458685 h 648883"/>
                <a:gd name="connsiteX556" fmla="*/ 3363208 w 5022545"/>
                <a:gd name="connsiteY556" fmla="*/ 464114 h 648883"/>
                <a:gd name="connsiteX557" fmla="*/ 3365130 w 5022545"/>
                <a:gd name="connsiteY557" fmla="*/ 469018 h 648883"/>
                <a:gd name="connsiteX558" fmla="*/ 3369615 w 5022545"/>
                <a:gd name="connsiteY558" fmla="*/ 471119 h 648883"/>
                <a:gd name="connsiteX559" fmla="*/ 3372659 w 5022545"/>
                <a:gd name="connsiteY559" fmla="*/ 471119 h 648883"/>
                <a:gd name="connsiteX560" fmla="*/ 3372659 w 5022545"/>
                <a:gd name="connsiteY560" fmla="*/ 464114 h 648883"/>
                <a:gd name="connsiteX561" fmla="*/ 3366251 w 5022545"/>
                <a:gd name="connsiteY561" fmla="*/ 464114 h 648883"/>
                <a:gd name="connsiteX562" fmla="*/ 3366251 w 5022545"/>
                <a:gd name="connsiteY562" fmla="*/ 469193 h 648883"/>
                <a:gd name="connsiteX563" fmla="*/ 3368174 w 5022545"/>
                <a:gd name="connsiteY563" fmla="*/ 474097 h 648883"/>
                <a:gd name="connsiteX564" fmla="*/ 3372659 w 5022545"/>
                <a:gd name="connsiteY564" fmla="*/ 476198 h 648883"/>
                <a:gd name="connsiteX565" fmla="*/ 3432247 w 5022545"/>
                <a:gd name="connsiteY565" fmla="*/ 476198 h 648883"/>
                <a:gd name="connsiteX566" fmla="*/ 3432247 w 5022545"/>
                <a:gd name="connsiteY566" fmla="*/ 469193 h 648883"/>
                <a:gd name="connsiteX567" fmla="*/ 3425839 w 5022545"/>
                <a:gd name="connsiteY567" fmla="*/ 469193 h 648883"/>
                <a:gd name="connsiteX568" fmla="*/ 3425839 w 5022545"/>
                <a:gd name="connsiteY568" fmla="*/ 474622 h 648883"/>
                <a:gd name="connsiteX569" fmla="*/ 3427762 w 5022545"/>
                <a:gd name="connsiteY569" fmla="*/ 479526 h 648883"/>
                <a:gd name="connsiteX570" fmla="*/ 3432247 w 5022545"/>
                <a:gd name="connsiteY570" fmla="*/ 481628 h 648883"/>
                <a:gd name="connsiteX571" fmla="*/ 3440737 w 5022545"/>
                <a:gd name="connsiteY571" fmla="*/ 481628 h 648883"/>
                <a:gd name="connsiteX572" fmla="*/ 3440737 w 5022545"/>
                <a:gd name="connsiteY572" fmla="*/ 487407 h 648883"/>
                <a:gd name="connsiteX573" fmla="*/ 3442659 w 5022545"/>
                <a:gd name="connsiteY573" fmla="*/ 492311 h 648883"/>
                <a:gd name="connsiteX574" fmla="*/ 3447144 w 5022545"/>
                <a:gd name="connsiteY574" fmla="*/ 494413 h 648883"/>
                <a:gd name="connsiteX575" fmla="*/ 3530599 w 5022545"/>
                <a:gd name="connsiteY575" fmla="*/ 494413 h 648883"/>
                <a:gd name="connsiteX576" fmla="*/ 3530599 w 5022545"/>
                <a:gd name="connsiteY576" fmla="*/ 487407 h 648883"/>
                <a:gd name="connsiteX577" fmla="*/ 3524192 w 5022545"/>
                <a:gd name="connsiteY577" fmla="*/ 487407 h 648883"/>
                <a:gd name="connsiteX578" fmla="*/ 3524192 w 5022545"/>
                <a:gd name="connsiteY578" fmla="*/ 492836 h 648883"/>
                <a:gd name="connsiteX579" fmla="*/ 3526114 w 5022545"/>
                <a:gd name="connsiteY579" fmla="*/ 497740 h 648883"/>
                <a:gd name="connsiteX580" fmla="*/ 3530599 w 5022545"/>
                <a:gd name="connsiteY580" fmla="*/ 499842 h 648883"/>
                <a:gd name="connsiteX581" fmla="*/ 3673643 w 5022545"/>
                <a:gd name="connsiteY581" fmla="*/ 499842 h 648883"/>
                <a:gd name="connsiteX582" fmla="*/ 3673643 w 5022545"/>
                <a:gd name="connsiteY582" fmla="*/ 492836 h 648883"/>
                <a:gd name="connsiteX583" fmla="*/ 3667236 w 5022545"/>
                <a:gd name="connsiteY583" fmla="*/ 492836 h 648883"/>
                <a:gd name="connsiteX584" fmla="*/ 3667236 w 5022545"/>
                <a:gd name="connsiteY584" fmla="*/ 499316 h 648883"/>
                <a:gd name="connsiteX585" fmla="*/ 3669158 w 5022545"/>
                <a:gd name="connsiteY585" fmla="*/ 504220 h 648883"/>
                <a:gd name="connsiteX586" fmla="*/ 3673643 w 5022545"/>
                <a:gd name="connsiteY586" fmla="*/ 506322 h 648883"/>
                <a:gd name="connsiteX587" fmla="*/ 3727304 w 5022545"/>
                <a:gd name="connsiteY587" fmla="*/ 506322 h 648883"/>
                <a:gd name="connsiteX588" fmla="*/ 3727304 w 5022545"/>
                <a:gd name="connsiteY588" fmla="*/ 499316 h 648883"/>
                <a:gd name="connsiteX589" fmla="*/ 3720897 w 5022545"/>
                <a:gd name="connsiteY589" fmla="*/ 499316 h 648883"/>
                <a:gd name="connsiteX590" fmla="*/ 3720897 w 5022545"/>
                <a:gd name="connsiteY590" fmla="*/ 504395 h 648883"/>
                <a:gd name="connsiteX591" fmla="*/ 3722819 w 5022545"/>
                <a:gd name="connsiteY591" fmla="*/ 509299 h 648883"/>
                <a:gd name="connsiteX592" fmla="*/ 3727304 w 5022545"/>
                <a:gd name="connsiteY592" fmla="*/ 511401 h 648883"/>
                <a:gd name="connsiteX593" fmla="*/ 3757099 w 5022545"/>
                <a:gd name="connsiteY593" fmla="*/ 511401 h 648883"/>
                <a:gd name="connsiteX594" fmla="*/ 3757099 w 5022545"/>
                <a:gd name="connsiteY594" fmla="*/ 504395 h 648883"/>
                <a:gd name="connsiteX595" fmla="*/ 3750691 w 5022545"/>
                <a:gd name="connsiteY595" fmla="*/ 504395 h 648883"/>
                <a:gd name="connsiteX596" fmla="*/ 3750691 w 5022545"/>
                <a:gd name="connsiteY596" fmla="*/ 510175 h 648883"/>
                <a:gd name="connsiteX597" fmla="*/ 3752613 w 5022545"/>
                <a:gd name="connsiteY597" fmla="*/ 515079 h 648883"/>
                <a:gd name="connsiteX598" fmla="*/ 3757099 w 5022545"/>
                <a:gd name="connsiteY598" fmla="*/ 517180 h 648883"/>
                <a:gd name="connsiteX599" fmla="*/ 3956687 w 5022545"/>
                <a:gd name="connsiteY599" fmla="*/ 517180 h 648883"/>
                <a:gd name="connsiteX600" fmla="*/ 3956687 w 5022545"/>
                <a:gd name="connsiteY600" fmla="*/ 510175 h 648883"/>
                <a:gd name="connsiteX601" fmla="*/ 3950279 w 5022545"/>
                <a:gd name="connsiteY601" fmla="*/ 510175 h 648883"/>
                <a:gd name="connsiteX602" fmla="*/ 3950279 w 5022545"/>
                <a:gd name="connsiteY602" fmla="*/ 516480 h 648883"/>
                <a:gd name="connsiteX603" fmla="*/ 3952202 w 5022545"/>
                <a:gd name="connsiteY603" fmla="*/ 521384 h 648883"/>
                <a:gd name="connsiteX604" fmla="*/ 3956687 w 5022545"/>
                <a:gd name="connsiteY604" fmla="*/ 523485 h 648883"/>
                <a:gd name="connsiteX605" fmla="*/ 3962614 w 5022545"/>
                <a:gd name="connsiteY605" fmla="*/ 523485 h 648883"/>
                <a:gd name="connsiteX606" fmla="*/ 3962614 w 5022545"/>
                <a:gd name="connsiteY606" fmla="*/ 516480 h 648883"/>
                <a:gd name="connsiteX607" fmla="*/ 3956206 w 5022545"/>
                <a:gd name="connsiteY607" fmla="*/ 516480 h 648883"/>
                <a:gd name="connsiteX608" fmla="*/ 3956206 w 5022545"/>
                <a:gd name="connsiteY608" fmla="*/ 522785 h 648883"/>
                <a:gd name="connsiteX609" fmla="*/ 3958129 w 5022545"/>
                <a:gd name="connsiteY609" fmla="*/ 527689 h 648883"/>
                <a:gd name="connsiteX610" fmla="*/ 3962614 w 5022545"/>
                <a:gd name="connsiteY610" fmla="*/ 529790 h 648883"/>
                <a:gd name="connsiteX611" fmla="*/ 3977511 w 5022545"/>
                <a:gd name="connsiteY611" fmla="*/ 529790 h 648883"/>
                <a:gd name="connsiteX612" fmla="*/ 3977511 w 5022545"/>
                <a:gd name="connsiteY612" fmla="*/ 522785 h 648883"/>
                <a:gd name="connsiteX613" fmla="*/ 3971103 w 5022545"/>
                <a:gd name="connsiteY613" fmla="*/ 522785 h 648883"/>
                <a:gd name="connsiteX614" fmla="*/ 3971103 w 5022545"/>
                <a:gd name="connsiteY614" fmla="*/ 528915 h 648883"/>
                <a:gd name="connsiteX615" fmla="*/ 3973025 w 5022545"/>
                <a:gd name="connsiteY615" fmla="*/ 533818 h 648883"/>
                <a:gd name="connsiteX616" fmla="*/ 3977511 w 5022545"/>
                <a:gd name="connsiteY616" fmla="*/ 535920 h 648883"/>
                <a:gd name="connsiteX617" fmla="*/ 4033735 w 5022545"/>
                <a:gd name="connsiteY617" fmla="*/ 535920 h 648883"/>
                <a:gd name="connsiteX618" fmla="*/ 4035657 w 5022545"/>
                <a:gd name="connsiteY618" fmla="*/ 540999 h 648883"/>
                <a:gd name="connsiteX619" fmla="*/ 4040142 w 5022545"/>
                <a:gd name="connsiteY619" fmla="*/ 543101 h 648883"/>
                <a:gd name="connsiteX620" fmla="*/ 4209937 w 5022545"/>
                <a:gd name="connsiteY620" fmla="*/ 543101 h 648883"/>
                <a:gd name="connsiteX621" fmla="*/ 4209937 w 5022545"/>
                <a:gd name="connsiteY621" fmla="*/ 536095 h 648883"/>
                <a:gd name="connsiteX622" fmla="*/ 4203530 w 5022545"/>
                <a:gd name="connsiteY622" fmla="*/ 536095 h 648883"/>
                <a:gd name="connsiteX623" fmla="*/ 4203530 w 5022545"/>
                <a:gd name="connsiteY623" fmla="*/ 542750 h 648883"/>
                <a:gd name="connsiteX624" fmla="*/ 4205452 w 5022545"/>
                <a:gd name="connsiteY624" fmla="*/ 547654 h 648883"/>
                <a:gd name="connsiteX625" fmla="*/ 4209937 w 5022545"/>
                <a:gd name="connsiteY625" fmla="*/ 549756 h 648883"/>
                <a:gd name="connsiteX626" fmla="*/ 4233804 w 5022545"/>
                <a:gd name="connsiteY626" fmla="*/ 549756 h 648883"/>
                <a:gd name="connsiteX627" fmla="*/ 4233804 w 5022545"/>
                <a:gd name="connsiteY627" fmla="*/ 542750 h 648883"/>
                <a:gd name="connsiteX628" fmla="*/ 4227397 w 5022545"/>
                <a:gd name="connsiteY628" fmla="*/ 542750 h 648883"/>
                <a:gd name="connsiteX629" fmla="*/ 4227397 w 5022545"/>
                <a:gd name="connsiteY629" fmla="*/ 549231 h 648883"/>
                <a:gd name="connsiteX630" fmla="*/ 4229319 w 5022545"/>
                <a:gd name="connsiteY630" fmla="*/ 554134 h 648883"/>
                <a:gd name="connsiteX631" fmla="*/ 4233804 w 5022545"/>
                <a:gd name="connsiteY631" fmla="*/ 556236 h 648883"/>
                <a:gd name="connsiteX632" fmla="*/ 4266481 w 5022545"/>
                <a:gd name="connsiteY632" fmla="*/ 556236 h 648883"/>
                <a:gd name="connsiteX633" fmla="*/ 4266481 w 5022545"/>
                <a:gd name="connsiteY633" fmla="*/ 549231 h 648883"/>
                <a:gd name="connsiteX634" fmla="*/ 4260074 w 5022545"/>
                <a:gd name="connsiteY634" fmla="*/ 549231 h 648883"/>
                <a:gd name="connsiteX635" fmla="*/ 4260074 w 5022545"/>
                <a:gd name="connsiteY635" fmla="*/ 555711 h 648883"/>
                <a:gd name="connsiteX636" fmla="*/ 4261996 w 5022545"/>
                <a:gd name="connsiteY636" fmla="*/ 560614 h 648883"/>
                <a:gd name="connsiteX637" fmla="*/ 4266481 w 5022545"/>
                <a:gd name="connsiteY637" fmla="*/ 562716 h 648883"/>
                <a:gd name="connsiteX638" fmla="*/ 4299319 w 5022545"/>
                <a:gd name="connsiteY638" fmla="*/ 562716 h 648883"/>
                <a:gd name="connsiteX639" fmla="*/ 4299319 w 5022545"/>
                <a:gd name="connsiteY639" fmla="*/ 555711 h 648883"/>
                <a:gd name="connsiteX640" fmla="*/ 4292912 w 5022545"/>
                <a:gd name="connsiteY640" fmla="*/ 555711 h 648883"/>
                <a:gd name="connsiteX641" fmla="*/ 4292912 w 5022545"/>
                <a:gd name="connsiteY641" fmla="*/ 562541 h 648883"/>
                <a:gd name="connsiteX642" fmla="*/ 4294834 w 5022545"/>
                <a:gd name="connsiteY642" fmla="*/ 567445 h 648883"/>
                <a:gd name="connsiteX643" fmla="*/ 4299319 w 5022545"/>
                <a:gd name="connsiteY643" fmla="*/ 569546 h 648883"/>
                <a:gd name="connsiteX644" fmla="*/ 4310852 w 5022545"/>
                <a:gd name="connsiteY644" fmla="*/ 569546 h 648883"/>
                <a:gd name="connsiteX645" fmla="*/ 4310852 w 5022545"/>
                <a:gd name="connsiteY645" fmla="*/ 570247 h 648883"/>
                <a:gd name="connsiteX646" fmla="*/ 4312774 w 5022545"/>
                <a:gd name="connsiteY646" fmla="*/ 575151 h 648883"/>
                <a:gd name="connsiteX647" fmla="*/ 4317259 w 5022545"/>
                <a:gd name="connsiteY647" fmla="*/ 577252 h 648883"/>
                <a:gd name="connsiteX648" fmla="*/ 4426985 w 5022545"/>
                <a:gd name="connsiteY648" fmla="*/ 577252 h 648883"/>
                <a:gd name="connsiteX649" fmla="*/ 4426985 w 5022545"/>
                <a:gd name="connsiteY649" fmla="*/ 578128 h 648883"/>
                <a:gd name="connsiteX650" fmla="*/ 4428907 w 5022545"/>
                <a:gd name="connsiteY650" fmla="*/ 583032 h 648883"/>
                <a:gd name="connsiteX651" fmla="*/ 4433392 w 5022545"/>
                <a:gd name="connsiteY651" fmla="*/ 585134 h 648883"/>
                <a:gd name="connsiteX652" fmla="*/ 4522294 w 5022545"/>
                <a:gd name="connsiteY652" fmla="*/ 585134 h 648883"/>
                <a:gd name="connsiteX653" fmla="*/ 4522294 w 5022545"/>
                <a:gd name="connsiteY653" fmla="*/ 586885 h 648883"/>
                <a:gd name="connsiteX654" fmla="*/ 4524216 w 5022545"/>
                <a:gd name="connsiteY654" fmla="*/ 591789 h 648883"/>
                <a:gd name="connsiteX655" fmla="*/ 4528701 w 5022545"/>
                <a:gd name="connsiteY655" fmla="*/ 593891 h 648883"/>
                <a:gd name="connsiteX656" fmla="*/ 4650441 w 5022545"/>
                <a:gd name="connsiteY656" fmla="*/ 593891 h 648883"/>
                <a:gd name="connsiteX657" fmla="*/ 4650441 w 5022545"/>
                <a:gd name="connsiteY657" fmla="*/ 596868 h 648883"/>
                <a:gd name="connsiteX658" fmla="*/ 4652363 w 5022545"/>
                <a:gd name="connsiteY658" fmla="*/ 601772 h 648883"/>
                <a:gd name="connsiteX659" fmla="*/ 4656848 w 5022545"/>
                <a:gd name="connsiteY659" fmla="*/ 603873 h 648883"/>
                <a:gd name="connsiteX660" fmla="*/ 4805338 w 5022545"/>
                <a:gd name="connsiteY660" fmla="*/ 603873 h 648883"/>
                <a:gd name="connsiteX661" fmla="*/ 4805338 w 5022545"/>
                <a:gd name="connsiteY661" fmla="*/ 608952 h 648883"/>
                <a:gd name="connsiteX662" fmla="*/ 4807260 w 5022545"/>
                <a:gd name="connsiteY662" fmla="*/ 613856 h 648883"/>
                <a:gd name="connsiteX663" fmla="*/ 4811745 w 5022545"/>
                <a:gd name="connsiteY663" fmla="*/ 615958 h 648883"/>
                <a:gd name="connsiteX664" fmla="*/ 4829205 w 5022545"/>
                <a:gd name="connsiteY664" fmla="*/ 615958 h 648883"/>
                <a:gd name="connsiteX665" fmla="*/ 4829205 w 5022545"/>
                <a:gd name="connsiteY665" fmla="*/ 622088 h 648883"/>
                <a:gd name="connsiteX666" fmla="*/ 4831127 w 5022545"/>
                <a:gd name="connsiteY666" fmla="*/ 626991 h 648883"/>
                <a:gd name="connsiteX667" fmla="*/ 4835613 w 5022545"/>
                <a:gd name="connsiteY667" fmla="*/ 629093 h 648883"/>
                <a:gd name="connsiteX668" fmla="*/ 4984102 w 5022545"/>
                <a:gd name="connsiteY668" fmla="*/ 629093 h 648883"/>
                <a:gd name="connsiteX669" fmla="*/ 4984102 w 5022545"/>
                <a:gd name="connsiteY669" fmla="*/ 641878 h 648883"/>
                <a:gd name="connsiteX670" fmla="*/ 4986024 w 5022545"/>
                <a:gd name="connsiteY670" fmla="*/ 646782 h 648883"/>
                <a:gd name="connsiteX671" fmla="*/ 4990509 w 5022545"/>
                <a:gd name="connsiteY671" fmla="*/ 648884 h 648883"/>
                <a:gd name="connsiteX672" fmla="*/ 5022546 w 5022545"/>
                <a:gd name="connsiteY672" fmla="*/ 648884 h 648883"/>
                <a:gd name="connsiteX673" fmla="*/ 5022546 w 5022545"/>
                <a:gd name="connsiteY673" fmla="*/ 635048 h 648883"/>
                <a:gd name="connsiteX674" fmla="*/ 4996917 w 5022545"/>
                <a:gd name="connsiteY674" fmla="*/ 635048 h 648883"/>
                <a:gd name="connsiteX675" fmla="*/ 4996917 w 5022545"/>
                <a:gd name="connsiteY675" fmla="*/ 622263 h 648883"/>
                <a:gd name="connsiteX676" fmla="*/ 4994995 w 5022545"/>
                <a:gd name="connsiteY676" fmla="*/ 617359 h 648883"/>
                <a:gd name="connsiteX677" fmla="*/ 4990509 w 5022545"/>
                <a:gd name="connsiteY677" fmla="*/ 615257 h 648883"/>
                <a:gd name="connsiteX678" fmla="*/ 4842020 w 5022545"/>
                <a:gd name="connsiteY678" fmla="*/ 615257 h 648883"/>
                <a:gd name="connsiteX679" fmla="*/ 4842020 w 5022545"/>
                <a:gd name="connsiteY679" fmla="*/ 609127 h 648883"/>
                <a:gd name="connsiteX680" fmla="*/ 4840098 w 5022545"/>
                <a:gd name="connsiteY680" fmla="*/ 604224 h 648883"/>
                <a:gd name="connsiteX681" fmla="*/ 4835613 w 5022545"/>
                <a:gd name="connsiteY681" fmla="*/ 602122 h 648883"/>
                <a:gd name="connsiteX682" fmla="*/ 4818153 w 5022545"/>
                <a:gd name="connsiteY682" fmla="*/ 602122 h 648883"/>
                <a:gd name="connsiteX683" fmla="*/ 4818153 w 5022545"/>
                <a:gd name="connsiteY683" fmla="*/ 597043 h 648883"/>
                <a:gd name="connsiteX684" fmla="*/ 4816231 w 5022545"/>
                <a:gd name="connsiteY684" fmla="*/ 592139 h 648883"/>
                <a:gd name="connsiteX685" fmla="*/ 4811745 w 5022545"/>
                <a:gd name="connsiteY685" fmla="*/ 590037 h 648883"/>
                <a:gd name="connsiteX686" fmla="*/ 4663255 w 5022545"/>
                <a:gd name="connsiteY686" fmla="*/ 590037 h 648883"/>
                <a:gd name="connsiteX687" fmla="*/ 4663255 w 5022545"/>
                <a:gd name="connsiteY687" fmla="*/ 587060 h 648883"/>
                <a:gd name="connsiteX688" fmla="*/ 4661333 w 5022545"/>
                <a:gd name="connsiteY688" fmla="*/ 582156 h 648883"/>
                <a:gd name="connsiteX689" fmla="*/ 4656848 w 5022545"/>
                <a:gd name="connsiteY689" fmla="*/ 580055 h 648883"/>
                <a:gd name="connsiteX690" fmla="*/ 4535109 w 5022545"/>
                <a:gd name="connsiteY690" fmla="*/ 580055 h 648883"/>
                <a:gd name="connsiteX691" fmla="*/ 4535109 w 5022545"/>
                <a:gd name="connsiteY691" fmla="*/ 578303 h 648883"/>
                <a:gd name="connsiteX692" fmla="*/ 4533186 w 5022545"/>
                <a:gd name="connsiteY692" fmla="*/ 573399 h 648883"/>
                <a:gd name="connsiteX693" fmla="*/ 4528701 w 5022545"/>
                <a:gd name="connsiteY693" fmla="*/ 571298 h 648883"/>
                <a:gd name="connsiteX694" fmla="*/ 4439800 w 5022545"/>
                <a:gd name="connsiteY694" fmla="*/ 571298 h 648883"/>
                <a:gd name="connsiteX695" fmla="*/ 4439800 w 5022545"/>
                <a:gd name="connsiteY695" fmla="*/ 570422 h 648883"/>
                <a:gd name="connsiteX696" fmla="*/ 4437877 w 5022545"/>
                <a:gd name="connsiteY696" fmla="*/ 565518 h 648883"/>
                <a:gd name="connsiteX697" fmla="*/ 4433392 w 5022545"/>
                <a:gd name="connsiteY697" fmla="*/ 563417 h 648883"/>
                <a:gd name="connsiteX698" fmla="*/ 4323667 w 5022545"/>
                <a:gd name="connsiteY698" fmla="*/ 563417 h 648883"/>
                <a:gd name="connsiteX699" fmla="*/ 4323667 w 5022545"/>
                <a:gd name="connsiteY699" fmla="*/ 562716 h 648883"/>
                <a:gd name="connsiteX700" fmla="*/ 4321744 w 5022545"/>
                <a:gd name="connsiteY700" fmla="*/ 557812 h 648883"/>
                <a:gd name="connsiteX701" fmla="*/ 4317259 w 5022545"/>
                <a:gd name="connsiteY701" fmla="*/ 555711 h 648883"/>
                <a:gd name="connsiteX702" fmla="*/ 4299319 w 5022545"/>
                <a:gd name="connsiteY702" fmla="*/ 555711 h 648883"/>
                <a:gd name="connsiteX703" fmla="*/ 4299319 w 5022545"/>
                <a:gd name="connsiteY703" fmla="*/ 562716 h 648883"/>
                <a:gd name="connsiteX704" fmla="*/ 4305726 w 5022545"/>
                <a:gd name="connsiteY704" fmla="*/ 562716 h 648883"/>
                <a:gd name="connsiteX705" fmla="*/ 4305726 w 5022545"/>
                <a:gd name="connsiteY705" fmla="*/ 555886 h 648883"/>
                <a:gd name="connsiteX706" fmla="*/ 4303804 w 5022545"/>
                <a:gd name="connsiteY706" fmla="*/ 550982 h 648883"/>
                <a:gd name="connsiteX707" fmla="*/ 4299319 w 5022545"/>
                <a:gd name="connsiteY707" fmla="*/ 548880 h 648883"/>
                <a:gd name="connsiteX708" fmla="*/ 4266481 w 5022545"/>
                <a:gd name="connsiteY708" fmla="*/ 548880 h 648883"/>
                <a:gd name="connsiteX709" fmla="*/ 4266481 w 5022545"/>
                <a:gd name="connsiteY709" fmla="*/ 555886 h 648883"/>
                <a:gd name="connsiteX710" fmla="*/ 4272889 w 5022545"/>
                <a:gd name="connsiteY710" fmla="*/ 555886 h 648883"/>
                <a:gd name="connsiteX711" fmla="*/ 4272889 w 5022545"/>
                <a:gd name="connsiteY711" fmla="*/ 549406 h 648883"/>
                <a:gd name="connsiteX712" fmla="*/ 4270967 w 5022545"/>
                <a:gd name="connsiteY712" fmla="*/ 544502 h 648883"/>
                <a:gd name="connsiteX713" fmla="*/ 4266481 w 5022545"/>
                <a:gd name="connsiteY713" fmla="*/ 542400 h 648883"/>
                <a:gd name="connsiteX714" fmla="*/ 4233804 w 5022545"/>
                <a:gd name="connsiteY714" fmla="*/ 542400 h 648883"/>
                <a:gd name="connsiteX715" fmla="*/ 4233804 w 5022545"/>
                <a:gd name="connsiteY715" fmla="*/ 549406 h 648883"/>
                <a:gd name="connsiteX716" fmla="*/ 4240211 w 5022545"/>
                <a:gd name="connsiteY716" fmla="*/ 549406 h 648883"/>
                <a:gd name="connsiteX717" fmla="*/ 4240211 w 5022545"/>
                <a:gd name="connsiteY717" fmla="*/ 542926 h 648883"/>
                <a:gd name="connsiteX718" fmla="*/ 4238289 w 5022545"/>
                <a:gd name="connsiteY718" fmla="*/ 538022 h 648883"/>
                <a:gd name="connsiteX719" fmla="*/ 4233804 w 5022545"/>
                <a:gd name="connsiteY719" fmla="*/ 535920 h 648883"/>
                <a:gd name="connsiteX720" fmla="*/ 4209937 w 5022545"/>
                <a:gd name="connsiteY720" fmla="*/ 535920 h 648883"/>
                <a:gd name="connsiteX721" fmla="*/ 4209937 w 5022545"/>
                <a:gd name="connsiteY721" fmla="*/ 542926 h 648883"/>
                <a:gd name="connsiteX722" fmla="*/ 4216344 w 5022545"/>
                <a:gd name="connsiteY722" fmla="*/ 542926 h 648883"/>
                <a:gd name="connsiteX723" fmla="*/ 4216344 w 5022545"/>
                <a:gd name="connsiteY723" fmla="*/ 536270 h 648883"/>
                <a:gd name="connsiteX724" fmla="*/ 4214422 w 5022545"/>
                <a:gd name="connsiteY724" fmla="*/ 531367 h 648883"/>
                <a:gd name="connsiteX725" fmla="*/ 4209937 w 5022545"/>
                <a:gd name="connsiteY725" fmla="*/ 529265 h 648883"/>
                <a:gd name="connsiteX726" fmla="*/ 4046550 w 5022545"/>
                <a:gd name="connsiteY726" fmla="*/ 529265 h 648883"/>
                <a:gd name="connsiteX727" fmla="*/ 4044627 w 5022545"/>
                <a:gd name="connsiteY727" fmla="*/ 524186 h 648883"/>
                <a:gd name="connsiteX728" fmla="*/ 4040142 w 5022545"/>
                <a:gd name="connsiteY728" fmla="*/ 522084 h 648883"/>
                <a:gd name="connsiteX729" fmla="*/ 3977671 w 5022545"/>
                <a:gd name="connsiteY729" fmla="*/ 522084 h 648883"/>
                <a:gd name="connsiteX730" fmla="*/ 3977671 w 5022545"/>
                <a:gd name="connsiteY730" fmla="*/ 529090 h 648883"/>
                <a:gd name="connsiteX731" fmla="*/ 3984078 w 5022545"/>
                <a:gd name="connsiteY731" fmla="*/ 529090 h 648883"/>
                <a:gd name="connsiteX732" fmla="*/ 3984078 w 5022545"/>
                <a:gd name="connsiteY732" fmla="*/ 522960 h 648883"/>
                <a:gd name="connsiteX733" fmla="*/ 3982156 w 5022545"/>
                <a:gd name="connsiteY733" fmla="*/ 518056 h 648883"/>
                <a:gd name="connsiteX734" fmla="*/ 3977671 w 5022545"/>
                <a:gd name="connsiteY734" fmla="*/ 515954 h 648883"/>
                <a:gd name="connsiteX735" fmla="*/ 3962774 w 5022545"/>
                <a:gd name="connsiteY735" fmla="*/ 515954 h 648883"/>
                <a:gd name="connsiteX736" fmla="*/ 3962774 w 5022545"/>
                <a:gd name="connsiteY736" fmla="*/ 522960 h 648883"/>
                <a:gd name="connsiteX737" fmla="*/ 3969181 w 5022545"/>
                <a:gd name="connsiteY737" fmla="*/ 522960 h 648883"/>
                <a:gd name="connsiteX738" fmla="*/ 3969181 w 5022545"/>
                <a:gd name="connsiteY738" fmla="*/ 516655 h 648883"/>
                <a:gd name="connsiteX739" fmla="*/ 3967259 w 5022545"/>
                <a:gd name="connsiteY739" fmla="*/ 511751 h 648883"/>
                <a:gd name="connsiteX740" fmla="*/ 3962774 w 5022545"/>
                <a:gd name="connsiteY740" fmla="*/ 509649 h 648883"/>
                <a:gd name="connsiteX741" fmla="*/ 3956847 w 5022545"/>
                <a:gd name="connsiteY741" fmla="*/ 509649 h 648883"/>
                <a:gd name="connsiteX742" fmla="*/ 3956847 w 5022545"/>
                <a:gd name="connsiteY742" fmla="*/ 516655 h 648883"/>
                <a:gd name="connsiteX743" fmla="*/ 3963254 w 5022545"/>
                <a:gd name="connsiteY743" fmla="*/ 516655 h 648883"/>
                <a:gd name="connsiteX744" fmla="*/ 3963254 w 5022545"/>
                <a:gd name="connsiteY744" fmla="*/ 510350 h 648883"/>
                <a:gd name="connsiteX745" fmla="*/ 3961332 w 5022545"/>
                <a:gd name="connsiteY745" fmla="*/ 505446 h 648883"/>
                <a:gd name="connsiteX746" fmla="*/ 3956847 w 5022545"/>
                <a:gd name="connsiteY746" fmla="*/ 503345 h 648883"/>
                <a:gd name="connsiteX747" fmla="*/ 3757259 w 5022545"/>
                <a:gd name="connsiteY747" fmla="*/ 503345 h 648883"/>
                <a:gd name="connsiteX748" fmla="*/ 3757259 w 5022545"/>
                <a:gd name="connsiteY748" fmla="*/ 510350 h 648883"/>
                <a:gd name="connsiteX749" fmla="*/ 3763666 w 5022545"/>
                <a:gd name="connsiteY749" fmla="*/ 510350 h 648883"/>
                <a:gd name="connsiteX750" fmla="*/ 3763666 w 5022545"/>
                <a:gd name="connsiteY750" fmla="*/ 504570 h 648883"/>
                <a:gd name="connsiteX751" fmla="*/ 3761744 w 5022545"/>
                <a:gd name="connsiteY751" fmla="*/ 499667 h 648883"/>
                <a:gd name="connsiteX752" fmla="*/ 3757259 w 5022545"/>
                <a:gd name="connsiteY752" fmla="*/ 497565 h 648883"/>
                <a:gd name="connsiteX753" fmla="*/ 3727465 w 5022545"/>
                <a:gd name="connsiteY753" fmla="*/ 497565 h 648883"/>
                <a:gd name="connsiteX754" fmla="*/ 3727465 w 5022545"/>
                <a:gd name="connsiteY754" fmla="*/ 504570 h 648883"/>
                <a:gd name="connsiteX755" fmla="*/ 3733872 w 5022545"/>
                <a:gd name="connsiteY755" fmla="*/ 504570 h 648883"/>
                <a:gd name="connsiteX756" fmla="*/ 3733872 w 5022545"/>
                <a:gd name="connsiteY756" fmla="*/ 499492 h 648883"/>
                <a:gd name="connsiteX757" fmla="*/ 3731950 w 5022545"/>
                <a:gd name="connsiteY757" fmla="*/ 494588 h 648883"/>
                <a:gd name="connsiteX758" fmla="*/ 3727465 w 5022545"/>
                <a:gd name="connsiteY758" fmla="*/ 492486 h 648883"/>
                <a:gd name="connsiteX759" fmla="*/ 3673803 w 5022545"/>
                <a:gd name="connsiteY759" fmla="*/ 492486 h 648883"/>
                <a:gd name="connsiteX760" fmla="*/ 3673803 w 5022545"/>
                <a:gd name="connsiteY760" fmla="*/ 499492 h 648883"/>
                <a:gd name="connsiteX761" fmla="*/ 3680210 w 5022545"/>
                <a:gd name="connsiteY761" fmla="*/ 499492 h 648883"/>
                <a:gd name="connsiteX762" fmla="*/ 3680210 w 5022545"/>
                <a:gd name="connsiteY762" fmla="*/ 493011 h 648883"/>
                <a:gd name="connsiteX763" fmla="*/ 3678288 w 5022545"/>
                <a:gd name="connsiteY763" fmla="*/ 488108 h 648883"/>
                <a:gd name="connsiteX764" fmla="*/ 3673803 w 5022545"/>
                <a:gd name="connsiteY764" fmla="*/ 486006 h 648883"/>
                <a:gd name="connsiteX765" fmla="*/ 3530759 w 5022545"/>
                <a:gd name="connsiteY765" fmla="*/ 486006 h 648883"/>
                <a:gd name="connsiteX766" fmla="*/ 3530759 w 5022545"/>
                <a:gd name="connsiteY766" fmla="*/ 493011 h 648883"/>
                <a:gd name="connsiteX767" fmla="*/ 3537167 w 5022545"/>
                <a:gd name="connsiteY767" fmla="*/ 493011 h 648883"/>
                <a:gd name="connsiteX768" fmla="*/ 3537167 w 5022545"/>
                <a:gd name="connsiteY768" fmla="*/ 487582 h 648883"/>
                <a:gd name="connsiteX769" fmla="*/ 3535245 w 5022545"/>
                <a:gd name="connsiteY769" fmla="*/ 482678 h 648883"/>
                <a:gd name="connsiteX770" fmla="*/ 3530759 w 5022545"/>
                <a:gd name="connsiteY770" fmla="*/ 480577 h 648883"/>
                <a:gd name="connsiteX771" fmla="*/ 3453711 w 5022545"/>
                <a:gd name="connsiteY771" fmla="*/ 480577 h 648883"/>
                <a:gd name="connsiteX772" fmla="*/ 3453711 w 5022545"/>
                <a:gd name="connsiteY772" fmla="*/ 474797 h 648883"/>
                <a:gd name="connsiteX773" fmla="*/ 3451789 w 5022545"/>
                <a:gd name="connsiteY773" fmla="*/ 469893 h 648883"/>
                <a:gd name="connsiteX774" fmla="*/ 3447304 w 5022545"/>
                <a:gd name="connsiteY774" fmla="*/ 467792 h 648883"/>
                <a:gd name="connsiteX775" fmla="*/ 3432407 w 5022545"/>
                <a:gd name="connsiteY775" fmla="*/ 467792 h 648883"/>
                <a:gd name="connsiteX776" fmla="*/ 3432407 w 5022545"/>
                <a:gd name="connsiteY776" fmla="*/ 474797 h 648883"/>
                <a:gd name="connsiteX777" fmla="*/ 3438814 w 5022545"/>
                <a:gd name="connsiteY777" fmla="*/ 474797 h 648883"/>
                <a:gd name="connsiteX778" fmla="*/ 3438814 w 5022545"/>
                <a:gd name="connsiteY778" fmla="*/ 469368 h 648883"/>
                <a:gd name="connsiteX779" fmla="*/ 3436892 w 5022545"/>
                <a:gd name="connsiteY779" fmla="*/ 464464 h 648883"/>
                <a:gd name="connsiteX780" fmla="*/ 3432407 w 5022545"/>
                <a:gd name="connsiteY780" fmla="*/ 462362 h 648883"/>
                <a:gd name="connsiteX781" fmla="*/ 3372819 w 5022545"/>
                <a:gd name="connsiteY781" fmla="*/ 462362 h 648883"/>
                <a:gd name="connsiteX782" fmla="*/ 3372819 w 5022545"/>
                <a:gd name="connsiteY782" fmla="*/ 469368 h 648883"/>
                <a:gd name="connsiteX783" fmla="*/ 3379226 w 5022545"/>
                <a:gd name="connsiteY783" fmla="*/ 469368 h 648883"/>
                <a:gd name="connsiteX784" fmla="*/ 3379226 w 5022545"/>
                <a:gd name="connsiteY784" fmla="*/ 464289 h 648883"/>
                <a:gd name="connsiteX785" fmla="*/ 3377304 w 5022545"/>
                <a:gd name="connsiteY785" fmla="*/ 459385 h 648883"/>
                <a:gd name="connsiteX786" fmla="*/ 3372819 w 5022545"/>
                <a:gd name="connsiteY786" fmla="*/ 457283 h 648883"/>
                <a:gd name="connsiteX787" fmla="*/ 3369775 w 5022545"/>
                <a:gd name="connsiteY787" fmla="*/ 457283 h 648883"/>
                <a:gd name="connsiteX788" fmla="*/ 3369775 w 5022545"/>
                <a:gd name="connsiteY788" fmla="*/ 464289 h 648883"/>
                <a:gd name="connsiteX789" fmla="*/ 3376183 w 5022545"/>
                <a:gd name="connsiteY789" fmla="*/ 464289 h 648883"/>
                <a:gd name="connsiteX790" fmla="*/ 3376183 w 5022545"/>
                <a:gd name="connsiteY790" fmla="*/ 458860 h 648883"/>
                <a:gd name="connsiteX791" fmla="*/ 3374260 w 5022545"/>
                <a:gd name="connsiteY791" fmla="*/ 453956 h 648883"/>
                <a:gd name="connsiteX792" fmla="*/ 3369775 w 5022545"/>
                <a:gd name="connsiteY792" fmla="*/ 451854 h 648883"/>
                <a:gd name="connsiteX793" fmla="*/ 3271583 w 5022545"/>
                <a:gd name="connsiteY793" fmla="*/ 451854 h 648883"/>
                <a:gd name="connsiteX794" fmla="*/ 3271583 w 5022545"/>
                <a:gd name="connsiteY794" fmla="*/ 458860 h 648883"/>
                <a:gd name="connsiteX795" fmla="*/ 3277990 w 5022545"/>
                <a:gd name="connsiteY795" fmla="*/ 458860 h 648883"/>
                <a:gd name="connsiteX796" fmla="*/ 3277990 w 5022545"/>
                <a:gd name="connsiteY796" fmla="*/ 452905 h 648883"/>
                <a:gd name="connsiteX797" fmla="*/ 3276068 w 5022545"/>
                <a:gd name="connsiteY797" fmla="*/ 448001 h 648883"/>
                <a:gd name="connsiteX798" fmla="*/ 3271583 w 5022545"/>
                <a:gd name="connsiteY798" fmla="*/ 445900 h 648883"/>
                <a:gd name="connsiteX799" fmla="*/ 3256686 w 5022545"/>
                <a:gd name="connsiteY799" fmla="*/ 445900 h 648883"/>
                <a:gd name="connsiteX800" fmla="*/ 3256686 w 5022545"/>
                <a:gd name="connsiteY800" fmla="*/ 452905 h 648883"/>
                <a:gd name="connsiteX801" fmla="*/ 3263093 w 5022545"/>
                <a:gd name="connsiteY801" fmla="*/ 452905 h 648883"/>
                <a:gd name="connsiteX802" fmla="*/ 3263093 w 5022545"/>
                <a:gd name="connsiteY802" fmla="*/ 447301 h 648883"/>
                <a:gd name="connsiteX803" fmla="*/ 3261171 w 5022545"/>
                <a:gd name="connsiteY803" fmla="*/ 442397 h 648883"/>
                <a:gd name="connsiteX804" fmla="*/ 3256686 w 5022545"/>
                <a:gd name="connsiteY804" fmla="*/ 440295 h 648883"/>
                <a:gd name="connsiteX805" fmla="*/ 3232819 w 5022545"/>
                <a:gd name="connsiteY805" fmla="*/ 440295 h 648883"/>
                <a:gd name="connsiteX806" fmla="*/ 3232819 w 5022545"/>
                <a:gd name="connsiteY806" fmla="*/ 447301 h 648883"/>
                <a:gd name="connsiteX807" fmla="*/ 3239226 w 5022545"/>
                <a:gd name="connsiteY807" fmla="*/ 447301 h 648883"/>
                <a:gd name="connsiteX808" fmla="*/ 3239226 w 5022545"/>
                <a:gd name="connsiteY808" fmla="*/ 442046 h 648883"/>
                <a:gd name="connsiteX809" fmla="*/ 3237304 w 5022545"/>
                <a:gd name="connsiteY809" fmla="*/ 437143 h 648883"/>
                <a:gd name="connsiteX810" fmla="*/ 3232819 w 5022545"/>
                <a:gd name="connsiteY810" fmla="*/ 435041 h 648883"/>
                <a:gd name="connsiteX811" fmla="*/ 3223848 w 5022545"/>
                <a:gd name="connsiteY811" fmla="*/ 435041 h 648883"/>
                <a:gd name="connsiteX812" fmla="*/ 3223848 w 5022545"/>
                <a:gd name="connsiteY812" fmla="*/ 442046 h 648883"/>
                <a:gd name="connsiteX813" fmla="*/ 3230256 w 5022545"/>
                <a:gd name="connsiteY813" fmla="*/ 442046 h 648883"/>
                <a:gd name="connsiteX814" fmla="*/ 3230256 w 5022545"/>
                <a:gd name="connsiteY814" fmla="*/ 436968 h 648883"/>
                <a:gd name="connsiteX815" fmla="*/ 3228333 w 5022545"/>
                <a:gd name="connsiteY815" fmla="*/ 432064 h 648883"/>
                <a:gd name="connsiteX816" fmla="*/ 3223848 w 5022545"/>
                <a:gd name="connsiteY816" fmla="*/ 430137 h 648883"/>
                <a:gd name="connsiteX817" fmla="*/ 3199981 w 5022545"/>
                <a:gd name="connsiteY817" fmla="*/ 430137 h 648883"/>
                <a:gd name="connsiteX818" fmla="*/ 3199981 w 5022545"/>
                <a:gd name="connsiteY818" fmla="*/ 437143 h 648883"/>
                <a:gd name="connsiteX819" fmla="*/ 3206388 w 5022545"/>
                <a:gd name="connsiteY819" fmla="*/ 437143 h 648883"/>
                <a:gd name="connsiteX820" fmla="*/ 3206388 w 5022545"/>
                <a:gd name="connsiteY820" fmla="*/ 432239 h 648883"/>
                <a:gd name="connsiteX821" fmla="*/ 3204466 w 5022545"/>
                <a:gd name="connsiteY821" fmla="*/ 427335 h 648883"/>
                <a:gd name="connsiteX822" fmla="*/ 3199981 w 5022545"/>
                <a:gd name="connsiteY822" fmla="*/ 425233 h 648883"/>
                <a:gd name="connsiteX823" fmla="*/ 3179157 w 5022545"/>
                <a:gd name="connsiteY823" fmla="*/ 425233 h 648883"/>
                <a:gd name="connsiteX824" fmla="*/ 3179157 w 5022545"/>
                <a:gd name="connsiteY824" fmla="*/ 432239 h 648883"/>
                <a:gd name="connsiteX825" fmla="*/ 3185565 w 5022545"/>
                <a:gd name="connsiteY825" fmla="*/ 432239 h 648883"/>
                <a:gd name="connsiteX826" fmla="*/ 3185565 w 5022545"/>
                <a:gd name="connsiteY826" fmla="*/ 425934 h 648883"/>
                <a:gd name="connsiteX827" fmla="*/ 3183642 w 5022545"/>
                <a:gd name="connsiteY827" fmla="*/ 421030 h 648883"/>
                <a:gd name="connsiteX828" fmla="*/ 3179157 w 5022545"/>
                <a:gd name="connsiteY828" fmla="*/ 418928 h 648883"/>
                <a:gd name="connsiteX829" fmla="*/ 3113642 w 5022545"/>
                <a:gd name="connsiteY829" fmla="*/ 418928 h 648883"/>
                <a:gd name="connsiteX830" fmla="*/ 3113642 w 5022545"/>
                <a:gd name="connsiteY830" fmla="*/ 425934 h 648883"/>
                <a:gd name="connsiteX831" fmla="*/ 3120050 w 5022545"/>
                <a:gd name="connsiteY831" fmla="*/ 425934 h 648883"/>
                <a:gd name="connsiteX832" fmla="*/ 3120050 w 5022545"/>
                <a:gd name="connsiteY832" fmla="*/ 420505 h 648883"/>
                <a:gd name="connsiteX833" fmla="*/ 3118127 w 5022545"/>
                <a:gd name="connsiteY833" fmla="*/ 415601 h 648883"/>
                <a:gd name="connsiteX834" fmla="*/ 3113642 w 5022545"/>
                <a:gd name="connsiteY834" fmla="*/ 413674 h 648883"/>
                <a:gd name="connsiteX835" fmla="*/ 3015770 w 5022545"/>
                <a:gd name="connsiteY835" fmla="*/ 413674 h 648883"/>
                <a:gd name="connsiteX836" fmla="*/ 3015770 w 5022545"/>
                <a:gd name="connsiteY836" fmla="*/ 413149 h 648883"/>
                <a:gd name="connsiteX837" fmla="*/ 3013848 w 5022545"/>
                <a:gd name="connsiteY837" fmla="*/ 408245 h 648883"/>
                <a:gd name="connsiteX838" fmla="*/ 3009363 w 5022545"/>
                <a:gd name="connsiteY838" fmla="*/ 406143 h 648883"/>
                <a:gd name="connsiteX839" fmla="*/ 2967715 w 5022545"/>
                <a:gd name="connsiteY839" fmla="*/ 406143 h 648883"/>
                <a:gd name="connsiteX840" fmla="*/ 2967715 w 5022545"/>
                <a:gd name="connsiteY840" fmla="*/ 413149 h 648883"/>
                <a:gd name="connsiteX841" fmla="*/ 2974123 w 5022545"/>
                <a:gd name="connsiteY841" fmla="*/ 413149 h 648883"/>
                <a:gd name="connsiteX842" fmla="*/ 2974123 w 5022545"/>
                <a:gd name="connsiteY842" fmla="*/ 408245 h 648883"/>
                <a:gd name="connsiteX843" fmla="*/ 2972201 w 5022545"/>
                <a:gd name="connsiteY843" fmla="*/ 403341 h 648883"/>
                <a:gd name="connsiteX844" fmla="*/ 2967715 w 5022545"/>
                <a:gd name="connsiteY844" fmla="*/ 401240 h 648883"/>
                <a:gd name="connsiteX845" fmla="*/ 2842612 w 5022545"/>
                <a:gd name="connsiteY845" fmla="*/ 401240 h 648883"/>
                <a:gd name="connsiteX846" fmla="*/ 2842612 w 5022545"/>
                <a:gd name="connsiteY846" fmla="*/ 408245 h 648883"/>
                <a:gd name="connsiteX847" fmla="*/ 2849020 w 5022545"/>
                <a:gd name="connsiteY847" fmla="*/ 408245 h 648883"/>
                <a:gd name="connsiteX848" fmla="*/ 2849020 w 5022545"/>
                <a:gd name="connsiteY848" fmla="*/ 403341 h 648883"/>
                <a:gd name="connsiteX849" fmla="*/ 2847097 w 5022545"/>
                <a:gd name="connsiteY849" fmla="*/ 398437 h 648883"/>
                <a:gd name="connsiteX850" fmla="*/ 2842612 w 5022545"/>
                <a:gd name="connsiteY850" fmla="*/ 396336 h 648883"/>
                <a:gd name="connsiteX851" fmla="*/ 2812818 w 5022545"/>
                <a:gd name="connsiteY851" fmla="*/ 396336 h 648883"/>
                <a:gd name="connsiteX852" fmla="*/ 2812818 w 5022545"/>
                <a:gd name="connsiteY852" fmla="*/ 403166 h 648883"/>
                <a:gd name="connsiteX853" fmla="*/ 2819225 w 5022545"/>
                <a:gd name="connsiteY853" fmla="*/ 403166 h 648883"/>
                <a:gd name="connsiteX854" fmla="*/ 2819225 w 5022545"/>
                <a:gd name="connsiteY854" fmla="*/ 397562 h 648883"/>
                <a:gd name="connsiteX855" fmla="*/ 2817303 w 5022545"/>
                <a:gd name="connsiteY855" fmla="*/ 392658 h 648883"/>
                <a:gd name="connsiteX856" fmla="*/ 2812818 w 5022545"/>
                <a:gd name="connsiteY856" fmla="*/ 390556 h 648883"/>
                <a:gd name="connsiteX857" fmla="*/ 2809775 w 5022545"/>
                <a:gd name="connsiteY857" fmla="*/ 390556 h 648883"/>
                <a:gd name="connsiteX858" fmla="*/ 2809775 w 5022545"/>
                <a:gd name="connsiteY858" fmla="*/ 397562 h 648883"/>
                <a:gd name="connsiteX859" fmla="*/ 2816182 w 5022545"/>
                <a:gd name="connsiteY859" fmla="*/ 397562 h 648883"/>
                <a:gd name="connsiteX860" fmla="*/ 2816182 w 5022545"/>
                <a:gd name="connsiteY860" fmla="*/ 392308 h 648883"/>
                <a:gd name="connsiteX861" fmla="*/ 2814260 w 5022545"/>
                <a:gd name="connsiteY861" fmla="*/ 387404 h 648883"/>
                <a:gd name="connsiteX862" fmla="*/ 2809775 w 5022545"/>
                <a:gd name="connsiteY862" fmla="*/ 385302 h 648883"/>
                <a:gd name="connsiteX863" fmla="*/ 2741216 w 5022545"/>
                <a:gd name="connsiteY863" fmla="*/ 385302 h 648883"/>
                <a:gd name="connsiteX864" fmla="*/ 2741216 w 5022545"/>
                <a:gd name="connsiteY864" fmla="*/ 392308 h 648883"/>
                <a:gd name="connsiteX865" fmla="*/ 2747624 w 5022545"/>
                <a:gd name="connsiteY865" fmla="*/ 392308 h 648883"/>
                <a:gd name="connsiteX866" fmla="*/ 2747624 w 5022545"/>
                <a:gd name="connsiteY866" fmla="*/ 387053 h 648883"/>
                <a:gd name="connsiteX867" fmla="*/ 2745701 w 5022545"/>
                <a:gd name="connsiteY867" fmla="*/ 382150 h 648883"/>
                <a:gd name="connsiteX868" fmla="*/ 2741216 w 5022545"/>
                <a:gd name="connsiteY868" fmla="*/ 380048 h 648883"/>
                <a:gd name="connsiteX869" fmla="*/ 2660804 w 5022545"/>
                <a:gd name="connsiteY869" fmla="*/ 380048 h 648883"/>
                <a:gd name="connsiteX870" fmla="*/ 2660804 w 5022545"/>
                <a:gd name="connsiteY870" fmla="*/ 387053 h 648883"/>
                <a:gd name="connsiteX871" fmla="*/ 2667211 w 5022545"/>
                <a:gd name="connsiteY871" fmla="*/ 387053 h 648883"/>
                <a:gd name="connsiteX872" fmla="*/ 2667211 w 5022545"/>
                <a:gd name="connsiteY872" fmla="*/ 382325 h 648883"/>
                <a:gd name="connsiteX873" fmla="*/ 2665289 w 5022545"/>
                <a:gd name="connsiteY873" fmla="*/ 377421 h 648883"/>
                <a:gd name="connsiteX874" fmla="*/ 2660804 w 5022545"/>
                <a:gd name="connsiteY874" fmla="*/ 375319 h 648883"/>
                <a:gd name="connsiteX875" fmla="*/ 2616113 w 5022545"/>
                <a:gd name="connsiteY875" fmla="*/ 375319 h 648883"/>
                <a:gd name="connsiteX876" fmla="*/ 2616113 w 5022545"/>
                <a:gd name="connsiteY876" fmla="*/ 382325 h 648883"/>
                <a:gd name="connsiteX877" fmla="*/ 2622520 w 5022545"/>
                <a:gd name="connsiteY877" fmla="*/ 382325 h 648883"/>
                <a:gd name="connsiteX878" fmla="*/ 2622520 w 5022545"/>
                <a:gd name="connsiteY878" fmla="*/ 377771 h 648883"/>
                <a:gd name="connsiteX879" fmla="*/ 2620598 w 5022545"/>
                <a:gd name="connsiteY879" fmla="*/ 372867 h 648883"/>
                <a:gd name="connsiteX880" fmla="*/ 2616113 w 5022545"/>
                <a:gd name="connsiteY880" fmla="*/ 370766 h 648883"/>
                <a:gd name="connsiteX881" fmla="*/ 2529774 w 5022545"/>
                <a:gd name="connsiteY881" fmla="*/ 370766 h 648883"/>
                <a:gd name="connsiteX882" fmla="*/ 2529774 w 5022545"/>
                <a:gd name="connsiteY882" fmla="*/ 377771 h 648883"/>
                <a:gd name="connsiteX883" fmla="*/ 2536182 w 5022545"/>
                <a:gd name="connsiteY883" fmla="*/ 377771 h 648883"/>
                <a:gd name="connsiteX884" fmla="*/ 2536182 w 5022545"/>
                <a:gd name="connsiteY884" fmla="*/ 372692 h 648883"/>
                <a:gd name="connsiteX885" fmla="*/ 2534260 w 5022545"/>
                <a:gd name="connsiteY885" fmla="*/ 367788 h 648883"/>
                <a:gd name="connsiteX886" fmla="*/ 2529774 w 5022545"/>
                <a:gd name="connsiteY886" fmla="*/ 365687 h 648883"/>
                <a:gd name="connsiteX887" fmla="*/ 2499980 w 5022545"/>
                <a:gd name="connsiteY887" fmla="*/ 365687 h 648883"/>
                <a:gd name="connsiteX888" fmla="*/ 2499980 w 5022545"/>
                <a:gd name="connsiteY888" fmla="*/ 372692 h 648883"/>
                <a:gd name="connsiteX889" fmla="*/ 2506388 w 5022545"/>
                <a:gd name="connsiteY889" fmla="*/ 372692 h 648883"/>
                <a:gd name="connsiteX890" fmla="*/ 2506388 w 5022545"/>
                <a:gd name="connsiteY890" fmla="*/ 367963 h 648883"/>
                <a:gd name="connsiteX891" fmla="*/ 2504465 w 5022545"/>
                <a:gd name="connsiteY891" fmla="*/ 363060 h 648883"/>
                <a:gd name="connsiteX892" fmla="*/ 2499980 w 5022545"/>
                <a:gd name="connsiteY892" fmla="*/ 360958 h 648883"/>
                <a:gd name="connsiteX893" fmla="*/ 2494053 w 5022545"/>
                <a:gd name="connsiteY893" fmla="*/ 360958 h 648883"/>
                <a:gd name="connsiteX894" fmla="*/ 2494053 w 5022545"/>
                <a:gd name="connsiteY894" fmla="*/ 367963 h 648883"/>
                <a:gd name="connsiteX895" fmla="*/ 2500461 w 5022545"/>
                <a:gd name="connsiteY895" fmla="*/ 367963 h 648883"/>
                <a:gd name="connsiteX896" fmla="*/ 2500461 w 5022545"/>
                <a:gd name="connsiteY896" fmla="*/ 358856 h 648883"/>
                <a:gd name="connsiteX897" fmla="*/ 2498539 w 5022545"/>
                <a:gd name="connsiteY897" fmla="*/ 353952 h 648883"/>
                <a:gd name="connsiteX898" fmla="*/ 2494053 w 5022545"/>
                <a:gd name="connsiteY898" fmla="*/ 351851 h 648883"/>
                <a:gd name="connsiteX899" fmla="*/ 2440392 w 5022545"/>
                <a:gd name="connsiteY899" fmla="*/ 351851 h 648883"/>
                <a:gd name="connsiteX900" fmla="*/ 2440392 w 5022545"/>
                <a:gd name="connsiteY900" fmla="*/ 358856 h 648883"/>
                <a:gd name="connsiteX901" fmla="*/ 2446799 w 5022545"/>
                <a:gd name="connsiteY901" fmla="*/ 358856 h 648883"/>
                <a:gd name="connsiteX902" fmla="*/ 2446799 w 5022545"/>
                <a:gd name="connsiteY902" fmla="*/ 352551 h 648883"/>
                <a:gd name="connsiteX903" fmla="*/ 2444877 w 5022545"/>
                <a:gd name="connsiteY903" fmla="*/ 347647 h 648883"/>
                <a:gd name="connsiteX904" fmla="*/ 2440392 w 5022545"/>
                <a:gd name="connsiteY904" fmla="*/ 345546 h 648883"/>
                <a:gd name="connsiteX905" fmla="*/ 2380804 w 5022545"/>
                <a:gd name="connsiteY905" fmla="*/ 345546 h 648883"/>
                <a:gd name="connsiteX906" fmla="*/ 2380804 w 5022545"/>
                <a:gd name="connsiteY906" fmla="*/ 352551 h 648883"/>
                <a:gd name="connsiteX907" fmla="*/ 2387211 w 5022545"/>
                <a:gd name="connsiteY907" fmla="*/ 352551 h 648883"/>
                <a:gd name="connsiteX908" fmla="*/ 2387211 w 5022545"/>
                <a:gd name="connsiteY908" fmla="*/ 347297 h 648883"/>
                <a:gd name="connsiteX909" fmla="*/ 2385289 w 5022545"/>
                <a:gd name="connsiteY909" fmla="*/ 342393 h 648883"/>
                <a:gd name="connsiteX910" fmla="*/ 2380804 w 5022545"/>
                <a:gd name="connsiteY910" fmla="*/ 340292 h 648883"/>
                <a:gd name="connsiteX911" fmla="*/ 2347966 w 5022545"/>
                <a:gd name="connsiteY911" fmla="*/ 340292 h 648883"/>
                <a:gd name="connsiteX912" fmla="*/ 2347966 w 5022545"/>
                <a:gd name="connsiteY912" fmla="*/ 347297 h 648883"/>
                <a:gd name="connsiteX913" fmla="*/ 2354374 w 5022545"/>
                <a:gd name="connsiteY913" fmla="*/ 347297 h 648883"/>
                <a:gd name="connsiteX914" fmla="*/ 2354374 w 5022545"/>
                <a:gd name="connsiteY914" fmla="*/ 342569 h 648883"/>
                <a:gd name="connsiteX915" fmla="*/ 2352451 w 5022545"/>
                <a:gd name="connsiteY915" fmla="*/ 337665 h 648883"/>
                <a:gd name="connsiteX916" fmla="*/ 2347966 w 5022545"/>
                <a:gd name="connsiteY916" fmla="*/ 335563 h 648883"/>
                <a:gd name="connsiteX917" fmla="*/ 2342040 w 5022545"/>
                <a:gd name="connsiteY917" fmla="*/ 335563 h 648883"/>
                <a:gd name="connsiteX918" fmla="*/ 2342040 w 5022545"/>
                <a:gd name="connsiteY918" fmla="*/ 342569 h 648883"/>
                <a:gd name="connsiteX919" fmla="*/ 2348447 w 5022545"/>
                <a:gd name="connsiteY919" fmla="*/ 342569 h 648883"/>
                <a:gd name="connsiteX920" fmla="*/ 2348447 w 5022545"/>
                <a:gd name="connsiteY920" fmla="*/ 337490 h 648883"/>
                <a:gd name="connsiteX921" fmla="*/ 2346525 w 5022545"/>
                <a:gd name="connsiteY921" fmla="*/ 332586 h 648883"/>
                <a:gd name="connsiteX922" fmla="*/ 2342040 w 5022545"/>
                <a:gd name="connsiteY922" fmla="*/ 330484 h 648883"/>
                <a:gd name="connsiteX923" fmla="*/ 2225907 w 5022545"/>
                <a:gd name="connsiteY923" fmla="*/ 330484 h 648883"/>
                <a:gd name="connsiteX924" fmla="*/ 2225907 w 5022545"/>
                <a:gd name="connsiteY924" fmla="*/ 337490 h 648883"/>
                <a:gd name="connsiteX925" fmla="*/ 2232314 w 5022545"/>
                <a:gd name="connsiteY925" fmla="*/ 337490 h 648883"/>
                <a:gd name="connsiteX926" fmla="*/ 2232314 w 5022545"/>
                <a:gd name="connsiteY926" fmla="*/ 332936 h 648883"/>
                <a:gd name="connsiteX927" fmla="*/ 2230392 w 5022545"/>
                <a:gd name="connsiteY927" fmla="*/ 328032 h 648883"/>
                <a:gd name="connsiteX928" fmla="*/ 2225907 w 5022545"/>
                <a:gd name="connsiteY928" fmla="*/ 325930 h 648883"/>
                <a:gd name="connsiteX929" fmla="*/ 2169362 w 5022545"/>
                <a:gd name="connsiteY929" fmla="*/ 325930 h 648883"/>
                <a:gd name="connsiteX930" fmla="*/ 2169362 w 5022545"/>
                <a:gd name="connsiteY930" fmla="*/ 332936 h 648883"/>
                <a:gd name="connsiteX931" fmla="*/ 2175769 w 5022545"/>
                <a:gd name="connsiteY931" fmla="*/ 332936 h 648883"/>
                <a:gd name="connsiteX932" fmla="*/ 2175769 w 5022545"/>
                <a:gd name="connsiteY932" fmla="*/ 328382 h 648883"/>
                <a:gd name="connsiteX933" fmla="*/ 2173847 w 5022545"/>
                <a:gd name="connsiteY933" fmla="*/ 323479 h 648883"/>
                <a:gd name="connsiteX934" fmla="*/ 2169362 w 5022545"/>
                <a:gd name="connsiteY934" fmla="*/ 321377 h 648883"/>
                <a:gd name="connsiteX935" fmla="*/ 2154465 w 5022545"/>
                <a:gd name="connsiteY935" fmla="*/ 321377 h 648883"/>
                <a:gd name="connsiteX936" fmla="*/ 2154465 w 5022545"/>
                <a:gd name="connsiteY936" fmla="*/ 328382 h 648883"/>
                <a:gd name="connsiteX937" fmla="*/ 2160872 w 5022545"/>
                <a:gd name="connsiteY937" fmla="*/ 328382 h 648883"/>
                <a:gd name="connsiteX938" fmla="*/ 2160872 w 5022545"/>
                <a:gd name="connsiteY938" fmla="*/ 323829 h 648883"/>
                <a:gd name="connsiteX939" fmla="*/ 2158950 w 5022545"/>
                <a:gd name="connsiteY939" fmla="*/ 318925 h 648883"/>
                <a:gd name="connsiteX940" fmla="*/ 2154465 w 5022545"/>
                <a:gd name="connsiteY940" fmla="*/ 316823 h 648883"/>
                <a:gd name="connsiteX941" fmla="*/ 2136525 w 5022545"/>
                <a:gd name="connsiteY941" fmla="*/ 316823 h 648883"/>
                <a:gd name="connsiteX942" fmla="*/ 2136525 w 5022545"/>
                <a:gd name="connsiteY942" fmla="*/ 323829 h 648883"/>
                <a:gd name="connsiteX943" fmla="*/ 2142932 w 5022545"/>
                <a:gd name="connsiteY943" fmla="*/ 323829 h 648883"/>
                <a:gd name="connsiteX944" fmla="*/ 2142932 w 5022545"/>
                <a:gd name="connsiteY944" fmla="*/ 319275 h 648883"/>
                <a:gd name="connsiteX945" fmla="*/ 2141010 w 5022545"/>
                <a:gd name="connsiteY945" fmla="*/ 314371 h 648883"/>
                <a:gd name="connsiteX946" fmla="*/ 2136525 w 5022545"/>
                <a:gd name="connsiteY946" fmla="*/ 312270 h 648883"/>
                <a:gd name="connsiteX947" fmla="*/ 2109774 w 5022545"/>
                <a:gd name="connsiteY947" fmla="*/ 312270 h 648883"/>
                <a:gd name="connsiteX948" fmla="*/ 2109774 w 5022545"/>
                <a:gd name="connsiteY948" fmla="*/ 319275 h 648883"/>
                <a:gd name="connsiteX949" fmla="*/ 2116181 w 5022545"/>
                <a:gd name="connsiteY949" fmla="*/ 319275 h 648883"/>
                <a:gd name="connsiteX950" fmla="*/ 2116181 w 5022545"/>
                <a:gd name="connsiteY950" fmla="*/ 313671 h 648883"/>
                <a:gd name="connsiteX951" fmla="*/ 2114259 w 5022545"/>
                <a:gd name="connsiteY951" fmla="*/ 308767 h 648883"/>
                <a:gd name="connsiteX952" fmla="*/ 2109774 w 5022545"/>
                <a:gd name="connsiteY952" fmla="*/ 306665 h 648883"/>
                <a:gd name="connsiteX953" fmla="*/ 2085906 w 5022545"/>
                <a:gd name="connsiteY953" fmla="*/ 306665 h 648883"/>
                <a:gd name="connsiteX954" fmla="*/ 2085906 w 5022545"/>
                <a:gd name="connsiteY954" fmla="*/ 313671 h 648883"/>
                <a:gd name="connsiteX955" fmla="*/ 2092314 w 5022545"/>
                <a:gd name="connsiteY955" fmla="*/ 313671 h 648883"/>
                <a:gd name="connsiteX956" fmla="*/ 2092314 w 5022545"/>
                <a:gd name="connsiteY956" fmla="*/ 309117 h 648883"/>
                <a:gd name="connsiteX957" fmla="*/ 2090392 w 5022545"/>
                <a:gd name="connsiteY957" fmla="*/ 304213 h 648883"/>
                <a:gd name="connsiteX958" fmla="*/ 2085906 w 5022545"/>
                <a:gd name="connsiteY958" fmla="*/ 302112 h 648883"/>
                <a:gd name="connsiteX959" fmla="*/ 2076936 w 5022545"/>
                <a:gd name="connsiteY959" fmla="*/ 302112 h 648883"/>
                <a:gd name="connsiteX960" fmla="*/ 2076936 w 5022545"/>
                <a:gd name="connsiteY960" fmla="*/ 309117 h 648883"/>
                <a:gd name="connsiteX961" fmla="*/ 2083343 w 5022545"/>
                <a:gd name="connsiteY961" fmla="*/ 309117 h 648883"/>
                <a:gd name="connsiteX962" fmla="*/ 2083343 w 5022545"/>
                <a:gd name="connsiteY962" fmla="*/ 304213 h 648883"/>
                <a:gd name="connsiteX963" fmla="*/ 2081421 w 5022545"/>
                <a:gd name="connsiteY963" fmla="*/ 299310 h 648883"/>
                <a:gd name="connsiteX964" fmla="*/ 2076936 w 5022545"/>
                <a:gd name="connsiteY964" fmla="*/ 297208 h 648883"/>
                <a:gd name="connsiteX965" fmla="*/ 2071009 w 5022545"/>
                <a:gd name="connsiteY965" fmla="*/ 297208 h 648883"/>
                <a:gd name="connsiteX966" fmla="*/ 2071009 w 5022545"/>
                <a:gd name="connsiteY966" fmla="*/ 304213 h 648883"/>
                <a:gd name="connsiteX967" fmla="*/ 2077417 w 5022545"/>
                <a:gd name="connsiteY967" fmla="*/ 304213 h 648883"/>
                <a:gd name="connsiteX968" fmla="*/ 2077417 w 5022545"/>
                <a:gd name="connsiteY968" fmla="*/ 299310 h 648883"/>
                <a:gd name="connsiteX969" fmla="*/ 2075495 w 5022545"/>
                <a:gd name="connsiteY969" fmla="*/ 294406 h 648883"/>
                <a:gd name="connsiteX970" fmla="*/ 2071009 w 5022545"/>
                <a:gd name="connsiteY970" fmla="*/ 292304 h 648883"/>
                <a:gd name="connsiteX971" fmla="*/ 2056112 w 5022545"/>
                <a:gd name="connsiteY971" fmla="*/ 292304 h 648883"/>
                <a:gd name="connsiteX972" fmla="*/ 2056112 w 5022545"/>
                <a:gd name="connsiteY972" fmla="*/ 299310 h 648883"/>
                <a:gd name="connsiteX973" fmla="*/ 2062520 w 5022545"/>
                <a:gd name="connsiteY973" fmla="*/ 299310 h 648883"/>
                <a:gd name="connsiteX974" fmla="*/ 2062520 w 5022545"/>
                <a:gd name="connsiteY974" fmla="*/ 294231 h 648883"/>
                <a:gd name="connsiteX975" fmla="*/ 2060597 w 5022545"/>
                <a:gd name="connsiteY975" fmla="*/ 289327 h 648883"/>
                <a:gd name="connsiteX976" fmla="*/ 2056112 w 5022545"/>
                <a:gd name="connsiteY976" fmla="*/ 287225 h 648883"/>
                <a:gd name="connsiteX977" fmla="*/ 2023435 w 5022545"/>
                <a:gd name="connsiteY977" fmla="*/ 287225 h 648883"/>
                <a:gd name="connsiteX978" fmla="*/ 2023435 w 5022545"/>
                <a:gd name="connsiteY978" fmla="*/ 294231 h 648883"/>
                <a:gd name="connsiteX979" fmla="*/ 2029842 w 5022545"/>
                <a:gd name="connsiteY979" fmla="*/ 294231 h 648883"/>
                <a:gd name="connsiteX980" fmla="*/ 2029842 w 5022545"/>
                <a:gd name="connsiteY980" fmla="*/ 289327 h 648883"/>
                <a:gd name="connsiteX981" fmla="*/ 2027920 w 5022545"/>
                <a:gd name="connsiteY981" fmla="*/ 284423 h 648883"/>
                <a:gd name="connsiteX982" fmla="*/ 2023435 w 5022545"/>
                <a:gd name="connsiteY982" fmla="*/ 282321 h 648883"/>
                <a:gd name="connsiteX983" fmla="*/ 1963847 w 5022545"/>
                <a:gd name="connsiteY983" fmla="*/ 282321 h 648883"/>
                <a:gd name="connsiteX984" fmla="*/ 1963847 w 5022545"/>
                <a:gd name="connsiteY984" fmla="*/ 289327 h 648883"/>
                <a:gd name="connsiteX985" fmla="*/ 1970254 w 5022545"/>
                <a:gd name="connsiteY985" fmla="*/ 289327 h 648883"/>
                <a:gd name="connsiteX986" fmla="*/ 1970254 w 5022545"/>
                <a:gd name="connsiteY986" fmla="*/ 284423 h 648883"/>
                <a:gd name="connsiteX987" fmla="*/ 1968332 w 5022545"/>
                <a:gd name="connsiteY987" fmla="*/ 279519 h 648883"/>
                <a:gd name="connsiteX988" fmla="*/ 1963847 w 5022545"/>
                <a:gd name="connsiteY988" fmla="*/ 277417 h 648883"/>
                <a:gd name="connsiteX989" fmla="*/ 1916112 w 5022545"/>
                <a:gd name="connsiteY989" fmla="*/ 277417 h 648883"/>
                <a:gd name="connsiteX990" fmla="*/ 1916112 w 5022545"/>
                <a:gd name="connsiteY990" fmla="*/ 284423 h 648883"/>
                <a:gd name="connsiteX991" fmla="*/ 1922519 w 5022545"/>
                <a:gd name="connsiteY991" fmla="*/ 284423 h 648883"/>
                <a:gd name="connsiteX992" fmla="*/ 1922519 w 5022545"/>
                <a:gd name="connsiteY992" fmla="*/ 279519 h 648883"/>
                <a:gd name="connsiteX993" fmla="*/ 1920597 w 5022545"/>
                <a:gd name="connsiteY993" fmla="*/ 274615 h 648883"/>
                <a:gd name="connsiteX994" fmla="*/ 1916112 w 5022545"/>
                <a:gd name="connsiteY994" fmla="*/ 272514 h 648883"/>
                <a:gd name="connsiteX995" fmla="*/ 1859567 w 5022545"/>
                <a:gd name="connsiteY995" fmla="*/ 272514 h 648883"/>
                <a:gd name="connsiteX996" fmla="*/ 1859567 w 5022545"/>
                <a:gd name="connsiteY996" fmla="*/ 279519 h 648883"/>
                <a:gd name="connsiteX997" fmla="*/ 1865975 w 5022545"/>
                <a:gd name="connsiteY997" fmla="*/ 279519 h 648883"/>
                <a:gd name="connsiteX998" fmla="*/ 1865975 w 5022545"/>
                <a:gd name="connsiteY998" fmla="*/ 274966 h 648883"/>
                <a:gd name="connsiteX999" fmla="*/ 1864053 w 5022545"/>
                <a:gd name="connsiteY999" fmla="*/ 270062 h 648883"/>
                <a:gd name="connsiteX1000" fmla="*/ 1859567 w 5022545"/>
                <a:gd name="connsiteY1000" fmla="*/ 267960 h 648883"/>
                <a:gd name="connsiteX1001" fmla="*/ 1853641 w 5022545"/>
                <a:gd name="connsiteY1001" fmla="*/ 267960 h 648883"/>
                <a:gd name="connsiteX1002" fmla="*/ 1853641 w 5022545"/>
                <a:gd name="connsiteY1002" fmla="*/ 274966 h 648883"/>
                <a:gd name="connsiteX1003" fmla="*/ 1860048 w 5022545"/>
                <a:gd name="connsiteY1003" fmla="*/ 274966 h 648883"/>
                <a:gd name="connsiteX1004" fmla="*/ 1860048 w 5022545"/>
                <a:gd name="connsiteY1004" fmla="*/ 268485 h 648883"/>
                <a:gd name="connsiteX1005" fmla="*/ 1858126 w 5022545"/>
                <a:gd name="connsiteY1005" fmla="*/ 263582 h 648883"/>
                <a:gd name="connsiteX1006" fmla="*/ 1853641 w 5022545"/>
                <a:gd name="connsiteY1006" fmla="*/ 261480 h 648883"/>
                <a:gd name="connsiteX1007" fmla="*/ 1847714 w 5022545"/>
                <a:gd name="connsiteY1007" fmla="*/ 261480 h 648883"/>
                <a:gd name="connsiteX1008" fmla="*/ 1847714 w 5022545"/>
                <a:gd name="connsiteY1008" fmla="*/ 268485 h 648883"/>
                <a:gd name="connsiteX1009" fmla="*/ 1854121 w 5022545"/>
                <a:gd name="connsiteY1009" fmla="*/ 268485 h 648883"/>
                <a:gd name="connsiteX1010" fmla="*/ 1854121 w 5022545"/>
                <a:gd name="connsiteY1010" fmla="*/ 264282 h 648883"/>
                <a:gd name="connsiteX1011" fmla="*/ 1852199 w 5022545"/>
                <a:gd name="connsiteY1011" fmla="*/ 259378 h 648883"/>
                <a:gd name="connsiteX1012" fmla="*/ 1847714 w 5022545"/>
                <a:gd name="connsiteY1012" fmla="*/ 257277 h 648883"/>
                <a:gd name="connsiteX1013" fmla="*/ 1838744 w 5022545"/>
                <a:gd name="connsiteY1013" fmla="*/ 257277 h 648883"/>
                <a:gd name="connsiteX1014" fmla="*/ 1838744 w 5022545"/>
                <a:gd name="connsiteY1014" fmla="*/ 264282 h 648883"/>
                <a:gd name="connsiteX1015" fmla="*/ 1845151 w 5022545"/>
                <a:gd name="connsiteY1015" fmla="*/ 264282 h 648883"/>
                <a:gd name="connsiteX1016" fmla="*/ 1845151 w 5022545"/>
                <a:gd name="connsiteY1016" fmla="*/ 258853 h 648883"/>
                <a:gd name="connsiteX1017" fmla="*/ 1843229 w 5022545"/>
                <a:gd name="connsiteY1017" fmla="*/ 253949 h 648883"/>
                <a:gd name="connsiteX1018" fmla="*/ 1838744 w 5022545"/>
                <a:gd name="connsiteY1018" fmla="*/ 251847 h 648883"/>
                <a:gd name="connsiteX1019" fmla="*/ 1832817 w 5022545"/>
                <a:gd name="connsiteY1019" fmla="*/ 251847 h 648883"/>
                <a:gd name="connsiteX1020" fmla="*/ 1832817 w 5022545"/>
                <a:gd name="connsiteY1020" fmla="*/ 258853 h 648883"/>
                <a:gd name="connsiteX1021" fmla="*/ 1839224 w 5022545"/>
                <a:gd name="connsiteY1021" fmla="*/ 258853 h 648883"/>
                <a:gd name="connsiteX1022" fmla="*/ 1839224 w 5022545"/>
                <a:gd name="connsiteY1022" fmla="*/ 254299 h 648883"/>
                <a:gd name="connsiteX1023" fmla="*/ 1837302 w 5022545"/>
                <a:gd name="connsiteY1023" fmla="*/ 249395 h 648883"/>
                <a:gd name="connsiteX1024" fmla="*/ 1832817 w 5022545"/>
                <a:gd name="connsiteY1024" fmla="*/ 247294 h 648883"/>
                <a:gd name="connsiteX1025" fmla="*/ 1791169 w 5022545"/>
                <a:gd name="connsiteY1025" fmla="*/ 247294 h 648883"/>
                <a:gd name="connsiteX1026" fmla="*/ 1791169 w 5022545"/>
                <a:gd name="connsiteY1026" fmla="*/ 254299 h 648883"/>
                <a:gd name="connsiteX1027" fmla="*/ 1797577 w 5022545"/>
                <a:gd name="connsiteY1027" fmla="*/ 254299 h 648883"/>
                <a:gd name="connsiteX1028" fmla="*/ 1797577 w 5022545"/>
                <a:gd name="connsiteY1028" fmla="*/ 250096 h 648883"/>
                <a:gd name="connsiteX1029" fmla="*/ 1795654 w 5022545"/>
                <a:gd name="connsiteY1029" fmla="*/ 245192 h 648883"/>
                <a:gd name="connsiteX1030" fmla="*/ 1791169 w 5022545"/>
                <a:gd name="connsiteY1030" fmla="*/ 243091 h 648883"/>
                <a:gd name="connsiteX1031" fmla="*/ 1758332 w 5022545"/>
                <a:gd name="connsiteY1031" fmla="*/ 243091 h 648883"/>
                <a:gd name="connsiteX1032" fmla="*/ 1758332 w 5022545"/>
                <a:gd name="connsiteY1032" fmla="*/ 250096 h 648883"/>
                <a:gd name="connsiteX1033" fmla="*/ 1764739 w 5022545"/>
                <a:gd name="connsiteY1033" fmla="*/ 250096 h 648883"/>
                <a:gd name="connsiteX1034" fmla="*/ 1764739 w 5022545"/>
                <a:gd name="connsiteY1034" fmla="*/ 245542 h 648883"/>
                <a:gd name="connsiteX1035" fmla="*/ 1762817 w 5022545"/>
                <a:gd name="connsiteY1035" fmla="*/ 240639 h 648883"/>
                <a:gd name="connsiteX1036" fmla="*/ 1758332 w 5022545"/>
                <a:gd name="connsiteY1036" fmla="*/ 238537 h 648883"/>
                <a:gd name="connsiteX1037" fmla="*/ 1743435 w 5022545"/>
                <a:gd name="connsiteY1037" fmla="*/ 238537 h 648883"/>
                <a:gd name="connsiteX1038" fmla="*/ 1743435 w 5022545"/>
                <a:gd name="connsiteY1038" fmla="*/ 245542 h 648883"/>
                <a:gd name="connsiteX1039" fmla="*/ 1749842 w 5022545"/>
                <a:gd name="connsiteY1039" fmla="*/ 245542 h 648883"/>
                <a:gd name="connsiteX1040" fmla="*/ 1749842 w 5022545"/>
                <a:gd name="connsiteY1040" fmla="*/ 240639 h 648883"/>
                <a:gd name="connsiteX1041" fmla="*/ 1747920 w 5022545"/>
                <a:gd name="connsiteY1041" fmla="*/ 235735 h 648883"/>
                <a:gd name="connsiteX1042" fmla="*/ 1743435 w 5022545"/>
                <a:gd name="connsiteY1042" fmla="*/ 233633 h 648883"/>
                <a:gd name="connsiteX1043" fmla="*/ 1665906 w 5022545"/>
                <a:gd name="connsiteY1043" fmla="*/ 233633 h 648883"/>
                <a:gd name="connsiteX1044" fmla="*/ 1665906 w 5022545"/>
                <a:gd name="connsiteY1044" fmla="*/ 240639 h 648883"/>
                <a:gd name="connsiteX1045" fmla="*/ 1672313 w 5022545"/>
                <a:gd name="connsiteY1045" fmla="*/ 240639 h 648883"/>
                <a:gd name="connsiteX1046" fmla="*/ 1672313 w 5022545"/>
                <a:gd name="connsiteY1046" fmla="*/ 236260 h 648883"/>
                <a:gd name="connsiteX1047" fmla="*/ 1670391 w 5022545"/>
                <a:gd name="connsiteY1047" fmla="*/ 231356 h 648883"/>
                <a:gd name="connsiteX1048" fmla="*/ 1665906 w 5022545"/>
                <a:gd name="connsiteY1048" fmla="*/ 229255 h 648883"/>
                <a:gd name="connsiteX1049" fmla="*/ 1514052 w 5022545"/>
                <a:gd name="connsiteY1049" fmla="*/ 229255 h 648883"/>
                <a:gd name="connsiteX1050" fmla="*/ 1514052 w 5022545"/>
                <a:gd name="connsiteY1050" fmla="*/ 236260 h 648883"/>
                <a:gd name="connsiteX1051" fmla="*/ 1520460 w 5022545"/>
                <a:gd name="connsiteY1051" fmla="*/ 236260 h 648883"/>
                <a:gd name="connsiteX1052" fmla="*/ 1520460 w 5022545"/>
                <a:gd name="connsiteY1052" fmla="*/ 231181 h 648883"/>
                <a:gd name="connsiteX1053" fmla="*/ 1518537 w 5022545"/>
                <a:gd name="connsiteY1053" fmla="*/ 226277 h 648883"/>
                <a:gd name="connsiteX1054" fmla="*/ 1514052 w 5022545"/>
                <a:gd name="connsiteY1054" fmla="*/ 224176 h 648883"/>
                <a:gd name="connsiteX1055" fmla="*/ 1490185 w 5022545"/>
                <a:gd name="connsiteY1055" fmla="*/ 224176 h 648883"/>
                <a:gd name="connsiteX1056" fmla="*/ 1490185 w 5022545"/>
                <a:gd name="connsiteY1056" fmla="*/ 231181 h 648883"/>
                <a:gd name="connsiteX1057" fmla="*/ 1496592 w 5022545"/>
                <a:gd name="connsiteY1057" fmla="*/ 231181 h 648883"/>
                <a:gd name="connsiteX1058" fmla="*/ 1496592 w 5022545"/>
                <a:gd name="connsiteY1058" fmla="*/ 226978 h 648883"/>
                <a:gd name="connsiteX1059" fmla="*/ 1494670 w 5022545"/>
                <a:gd name="connsiteY1059" fmla="*/ 222074 h 648883"/>
                <a:gd name="connsiteX1060" fmla="*/ 1490185 w 5022545"/>
                <a:gd name="connsiteY1060" fmla="*/ 219972 h 648883"/>
                <a:gd name="connsiteX1061" fmla="*/ 1475288 w 5022545"/>
                <a:gd name="connsiteY1061" fmla="*/ 219972 h 648883"/>
                <a:gd name="connsiteX1062" fmla="*/ 1475288 w 5022545"/>
                <a:gd name="connsiteY1062" fmla="*/ 226978 h 648883"/>
                <a:gd name="connsiteX1063" fmla="*/ 1481695 w 5022545"/>
                <a:gd name="connsiteY1063" fmla="*/ 226978 h 648883"/>
                <a:gd name="connsiteX1064" fmla="*/ 1481695 w 5022545"/>
                <a:gd name="connsiteY1064" fmla="*/ 222424 h 648883"/>
                <a:gd name="connsiteX1065" fmla="*/ 1479773 w 5022545"/>
                <a:gd name="connsiteY1065" fmla="*/ 217520 h 648883"/>
                <a:gd name="connsiteX1066" fmla="*/ 1475288 w 5022545"/>
                <a:gd name="connsiteY1066" fmla="*/ 215419 h 648883"/>
                <a:gd name="connsiteX1067" fmla="*/ 1466318 w 5022545"/>
                <a:gd name="connsiteY1067" fmla="*/ 215419 h 648883"/>
                <a:gd name="connsiteX1068" fmla="*/ 1466318 w 5022545"/>
                <a:gd name="connsiteY1068" fmla="*/ 222424 h 648883"/>
                <a:gd name="connsiteX1069" fmla="*/ 1472725 w 5022545"/>
                <a:gd name="connsiteY1069" fmla="*/ 222424 h 648883"/>
                <a:gd name="connsiteX1070" fmla="*/ 1472725 w 5022545"/>
                <a:gd name="connsiteY1070" fmla="*/ 217345 h 648883"/>
                <a:gd name="connsiteX1071" fmla="*/ 1470803 w 5022545"/>
                <a:gd name="connsiteY1071" fmla="*/ 212442 h 648883"/>
                <a:gd name="connsiteX1072" fmla="*/ 1466318 w 5022545"/>
                <a:gd name="connsiteY1072" fmla="*/ 210340 h 648883"/>
                <a:gd name="connsiteX1073" fmla="*/ 1442450 w 5022545"/>
                <a:gd name="connsiteY1073" fmla="*/ 210340 h 648883"/>
                <a:gd name="connsiteX1074" fmla="*/ 1442450 w 5022545"/>
                <a:gd name="connsiteY1074" fmla="*/ 217345 h 648883"/>
                <a:gd name="connsiteX1075" fmla="*/ 1448858 w 5022545"/>
                <a:gd name="connsiteY1075" fmla="*/ 217345 h 648883"/>
                <a:gd name="connsiteX1076" fmla="*/ 1448858 w 5022545"/>
                <a:gd name="connsiteY1076" fmla="*/ 212792 h 648883"/>
                <a:gd name="connsiteX1077" fmla="*/ 1446935 w 5022545"/>
                <a:gd name="connsiteY1077" fmla="*/ 207888 h 648883"/>
                <a:gd name="connsiteX1078" fmla="*/ 1442450 w 5022545"/>
                <a:gd name="connsiteY1078" fmla="*/ 205786 h 648883"/>
                <a:gd name="connsiteX1079" fmla="*/ 1412656 w 5022545"/>
                <a:gd name="connsiteY1079" fmla="*/ 205786 h 648883"/>
                <a:gd name="connsiteX1080" fmla="*/ 1412656 w 5022545"/>
                <a:gd name="connsiteY1080" fmla="*/ 212792 h 648883"/>
                <a:gd name="connsiteX1081" fmla="*/ 1419063 w 5022545"/>
                <a:gd name="connsiteY1081" fmla="*/ 212792 h 648883"/>
                <a:gd name="connsiteX1082" fmla="*/ 1419063 w 5022545"/>
                <a:gd name="connsiteY1082" fmla="*/ 208063 h 648883"/>
                <a:gd name="connsiteX1083" fmla="*/ 1417141 w 5022545"/>
                <a:gd name="connsiteY1083" fmla="*/ 203159 h 648883"/>
                <a:gd name="connsiteX1084" fmla="*/ 1412656 w 5022545"/>
                <a:gd name="connsiteY1084" fmla="*/ 201058 h 648883"/>
                <a:gd name="connsiteX1085" fmla="*/ 1344098 w 5022545"/>
                <a:gd name="connsiteY1085" fmla="*/ 201058 h 648883"/>
                <a:gd name="connsiteX1086" fmla="*/ 1344098 w 5022545"/>
                <a:gd name="connsiteY1086" fmla="*/ 208063 h 648883"/>
                <a:gd name="connsiteX1087" fmla="*/ 1350505 w 5022545"/>
                <a:gd name="connsiteY1087" fmla="*/ 208063 h 648883"/>
                <a:gd name="connsiteX1088" fmla="*/ 1350505 w 5022545"/>
                <a:gd name="connsiteY1088" fmla="*/ 203159 h 648883"/>
                <a:gd name="connsiteX1089" fmla="*/ 1348583 w 5022545"/>
                <a:gd name="connsiteY1089" fmla="*/ 198255 h 648883"/>
                <a:gd name="connsiteX1090" fmla="*/ 1344098 w 5022545"/>
                <a:gd name="connsiteY1090" fmla="*/ 196154 h 648883"/>
                <a:gd name="connsiteX1091" fmla="*/ 1320230 w 5022545"/>
                <a:gd name="connsiteY1091" fmla="*/ 196154 h 648883"/>
                <a:gd name="connsiteX1092" fmla="*/ 1320230 w 5022545"/>
                <a:gd name="connsiteY1092" fmla="*/ 203159 h 648883"/>
                <a:gd name="connsiteX1093" fmla="*/ 1326638 w 5022545"/>
                <a:gd name="connsiteY1093" fmla="*/ 203159 h 648883"/>
                <a:gd name="connsiteX1094" fmla="*/ 1326638 w 5022545"/>
                <a:gd name="connsiteY1094" fmla="*/ 198431 h 648883"/>
                <a:gd name="connsiteX1095" fmla="*/ 1324716 w 5022545"/>
                <a:gd name="connsiteY1095" fmla="*/ 193527 h 648883"/>
                <a:gd name="connsiteX1096" fmla="*/ 1320230 w 5022545"/>
                <a:gd name="connsiteY1096" fmla="*/ 191425 h 648883"/>
                <a:gd name="connsiteX1097" fmla="*/ 1302450 w 5022545"/>
                <a:gd name="connsiteY1097" fmla="*/ 191425 h 648883"/>
                <a:gd name="connsiteX1098" fmla="*/ 1302450 w 5022545"/>
                <a:gd name="connsiteY1098" fmla="*/ 198431 h 648883"/>
                <a:gd name="connsiteX1099" fmla="*/ 1308857 w 5022545"/>
                <a:gd name="connsiteY1099" fmla="*/ 198431 h 648883"/>
                <a:gd name="connsiteX1100" fmla="*/ 1308857 w 5022545"/>
                <a:gd name="connsiteY1100" fmla="*/ 193877 h 648883"/>
                <a:gd name="connsiteX1101" fmla="*/ 1306935 w 5022545"/>
                <a:gd name="connsiteY1101" fmla="*/ 188973 h 648883"/>
                <a:gd name="connsiteX1102" fmla="*/ 1302450 w 5022545"/>
                <a:gd name="connsiteY1102" fmla="*/ 186871 h 648883"/>
                <a:gd name="connsiteX1103" fmla="*/ 1195127 w 5022545"/>
                <a:gd name="connsiteY1103" fmla="*/ 186871 h 648883"/>
                <a:gd name="connsiteX1104" fmla="*/ 1195127 w 5022545"/>
                <a:gd name="connsiteY1104" fmla="*/ 193877 h 648883"/>
                <a:gd name="connsiteX1105" fmla="*/ 1201535 w 5022545"/>
                <a:gd name="connsiteY1105" fmla="*/ 193877 h 648883"/>
                <a:gd name="connsiteX1106" fmla="*/ 1201535 w 5022545"/>
                <a:gd name="connsiteY1106" fmla="*/ 189148 h 648883"/>
                <a:gd name="connsiteX1107" fmla="*/ 1199612 w 5022545"/>
                <a:gd name="connsiteY1107" fmla="*/ 184244 h 648883"/>
                <a:gd name="connsiteX1108" fmla="*/ 1195127 w 5022545"/>
                <a:gd name="connsiteY1108" fmla="*/ 182143 h 648883"/>
                <a:gd name="connsiteX1109" fmla="*/ 1189201 w 5022545"/>
                <a:gd name="connsiteY1109" fmla="*/ 182143 h 648883"/>
                <a:gd name="connsiteX1110" fmla="*/ 1189201 w 5022545"/>
                <a:gd name="connsiteY1110" fmla="*/ 189148 h 648883"/>
                <a:gd name="connsiteX1111" fmla="*/ 1195608 w 5022545"/>
                <a:gd name="connsiteY1111" fmla="*/ 189148 h 648883"/>
                <a:gd name="connsiteX1112" fmla="*/ 1195608 w 5022545"/>
                <a:gd name="connsiteY1112" fmla="*/ 184770 h 648883"/>
                <a:gd name="connsiteX1113" fmla="*/ 1193686 w 5022545"/>
                <a:gd name="connsiteY1113" fmla="*/ 179866 h 648883"/>
                <a:gd name="connsiteX1114" fmla="*/ 1189201 w 5022545"/>
                <a:gd name="connsiteY1114" fmla="*/ 177764 h 648883"/>
                <a:gd name="connsiteX1115" fmla="*/ 1183274 w 5022545"/>
                <a:gd name="connsiteY1115" fmla="*/ 177764 h 648883"/>
                <a:gd name="connsiteX1116" fmla="*/ 1183274 w 5022545"/>
                <a:gd name="connsiteY1116" fmla="*/ 184770 h 648883"/>
                <a:gd name="connsiteX1117" fmla="*/ 1189681 w 5022545"/>
                <a:gd name="connsiteY1117" fmla="*/ 184770 h 648883"/>
                <a:gd name="connsiteX1118" fmla="*/ 1189681 w 5022545"/>
                <a:gd name="connsiteY1118" fmla="*/ 180391 h 648883"/>
                <a:gd name="connsiteX1119" fmla="*/ 1187759 w 5022545"/>
                <a:gd name="connsiteY1119" fmla="*/ 175488 h 648883"/>
                <a:gd name="connsiteX1120" fmla="*/ 1183274 w 5022545"/>
                <a:gd name="connsiteY1120" fmla="*/ 173386 h 648883"/>
                <a:gd name="connsiteX1121" fmla="*/ 1114715 w 5022545"/>
                <a:gd name="connsiteY1121" fmla="*/ 173386 h 648883"/>
                <a:gd name="connsiteX1122" fmla="*/ 1114715 w 5022545"/>
                <a:gd name="connsiteY1122" fmla="*/ 180391 h 648883"/>
                <a:gd name="connsiteX1123" fmla="*/ 1121123 w 5022545"/>
                <a:gd name="connsiteY1123" fmla="*/ 180391 h 648883"/>
                <a:gd name="connsiteX1124" fmla="*/ 1121123 w 5022545"/>
                <a:gd name="connsiteY1124" fmla="*/ 176188 h 648883"/>
                <a:gd name="connsiteX1125" fmla="*/ 1119201 w 5022545"/>
                <a:gd name="connsiteY1125" fmla="*/ 171284 h 648883"/>
                <a:gd name="connsiteX1126" fmla="*/ 1114715 w 5022545"/>
                <a:gd name="connsiteY1126" fmla="*/ 169183 h 648883"/>
                <a:gd name="connsiteX1127" fmla="*/ 1111672 w 5022545"/>
                <a:gd name="connsiteY1127" fmla="*/ 169183 h 648883"/>
                <a:gd name="connsiteX1128" fmla="*/ 1111672 w 5022545"/>
                <a:gd name="connsiteY1128" fmla="*/ 176188 h 648883"/>
                <a:gd name="connsiteX1129" fmla="*/ 1118079 w 5022545"/>
                <a:gd name="connsiteY1129" fmla="*/ 176188 h 648883"/>
                <a:gd name="connsiteX1130" fmla="*/ 1118079 w 5022545"/>
                <a:gd name="connsiteY1130" fmla="*/ 171109 h 648883"/>
                <a:gd name="connsiteX1131" fmla="*/ 1116157 w 5022545"/>
                <a:gd name="connsiteY1131" fmla="*/ 166205 h 648883"/>
                <a:gd name="connsiteX1132" fmla="*/ 1111672 w 5022545"/>
                <a:gd name="connsiteY1132" fmla="*/ 164104 h 648883"/>
                <a:gd name="connsiteX1133" fmla="*/ 1084921 w 5022545"/>
                <a:gd name="connsiteY1133" fmla="*/ 164104 h 648883"/>
                <a:gd name="connsiteX1134" fmla="*/ 1084921 w 5022545"/>
                <a:gd name="connsiteY1134" fmla="*/ 171109 h 648883"/>
                <a:gd name="connsiteX1135" fmla="*/ 1091329 w 5022545"/>
                <a:gd name="connsiteY1135" fmla="*/ 171109 h 648883"/>
                <a:gd name="connsiteX1136" fmla="*/ 1091329 w 5022545"/>
                <a:gd name="connsiteY1136" fmla="*/ 166556 h 648883"/>
                <a:gd name="connsiteX1137" fmla="*/ 1089406 w 5022545"/>
                <a:gd name="connsiteY1137" fmla="*/ 161652 h 648883"/>
                <a:gd name="connsiteX1138" fmla="*/ 1084921 w 5022545"/>
                <a:gd name="connsiteY1138" fmla="*/ 159550 h 648883"/>
                <a:gd name="connsiteX1139" fmla="*/ 1064097 w 5022545"/>
                <a:gd name="connsiteY1139" fmla="*/ 159550 h 648883"/>
                <a:gd name="connsiteX1140" fmla="*/ 1064097 w 5022545"/>
                <a:gd name="connsiteY1140" fmla="*/ 166556 h 648883"/>
                <a:gd name="connsiteX1141" fmla="*/ 1070505 w 5022545"/>
                <a:gd name="connsiteY1141" fmla="*/ 166556 h 648883"/>
                <a:gd name="connsiteX1142" fmla="*/ 1070505 w 5022545"/>
                <a:gd name="connsiteY1142" fmla="*/ 162177 h 648883"/>
                <a:gd name="connsiteX1143" fmla="*/ 1068583 w 5022545"/>
                <a:gd name="connsiteY1143" fmla="*/ 157273 h 648883"/>
                <a:gd name="connsiteX1144" fmla="*/ 1064097 w 5022545"/>
                <a:gd name="connsiteY1144" fmla="*/ 155172 h 648883"/>
                <a:gd name="connsiteX1145" fmla="*/ 1004509 w 5022545"/>
                <a:gd name="connsiteY1145" fmla="*/ 155172 h 648883"/>
                <a:gd name="connsiteX1146" fmla="*/ 1004509 w 5022545"/>
                <a:gd name="connsiteY1146" fmla="*/ 162177 h 648883"/>
                <a:gd name="connsiteX1147" fmla="*/ 1010917 w 5022545"/>
                <a:gd name="connsiteY1147" fmla="*/ 162177 h 648883"/>
                <a:gd name="connsiteX1148" fmla="*/ 1010917 w 5022545"/>
                <a:gd name="connsiteY1148" fmla="*/ 158149 h 648883"/>
                <a:gd name="connsiteX1149" fmla="*/ 1008994 w 5022545"/>
                <a:gd name="connsiteY1149" fmla="*/ 153245 h 648883"/>
                <a:gd name="connsiteX1150" fmla="*/ 1004509 w 5022545"/>
                <a:gd name="connsiteY1150" fmla="*/ 151143 h 648883"/>
                <a:gd name="connsiteX1151" fmla="*/ 983685 w 5022545"/>
                <a:gd name="connsiteY1151" fmla="*/ 151143 h 648883"/>
                <a:gd name="connsiteX1152" fmla="*/ 983685 w 5022545"/>
                <a:gd name="connsiteY1152" fmla="*/ 158149 h 648883"/>
                <a:gd name="connsiteX1153" fmla="*/ 990093 w 5022545"/>
                <a:gd name="connsiteY1153" fmla="*/ 158149 h 648883"/>
                <a:gd name="connsiteX1154" fmla="*/ 990093 w 5022545"/>
                <a:gd name="connsiteY1154" fmla="*/ 153771 h 648883"/>
                <a:gd name="connsiteX1155" fmla="*/ 988171 w 5022545"/>
                <a:gd name="connsiteY1155" fmla="*/ 148867 h 648883"/>
                <a:gd name="connsiteX1156" fmla="*/ 983685 w 5022545"/>
                <a:gd name="connsiteY1156" fmla="*/ 146765 h 648883"/>
                <a:gd name="connsiteX1157" fmla="*/ 977759 w 5022545"/>
                <a:gd name="connsiteY1157" fmla="*/ 146765 h 648883"/>
                <a:gd name="connsiteX1158" fmla="*/ 977759 w 5022545"/>
                <a:gd name="connsiteY1158" fmla="*/ 153771 h 648883"/>
                <a:gd name="connsiteX1159" fmla="*/ 984166 w 5022545"/>
                <a:gd name="connsiteY1159" fmla="*/ 153771 h 648883"/>
                <a:gd name="connsiteX1160" fmla="*/ 984166 w 5022545"/>
                <a:gd name="connsiteY1160" fmla="*/ 149567 h 648883"/>
                <a:gd name="connsiteX1161" fmla="*/ 982244 w 5022545"/>
                <a:gd name="connsiteY1161" fmla="*/ 144663 h 648883"/>
                <a:gd name="connsiteX1162" fmla="*/ 977759 w 5022545"/>
                <a:gd name="connsiteY1162" fmla="*/ 142562 h 648883"/>
                <a:gd name="connsiteX1163" fmla="*/ 971832 w 5022545"/>
                <a:gd name="connsiteY1163" fmla="*/ 142562 h 648883"/>
                <a:gd name="connsiteX1164" fmla="*/ 971832 w 5022545"/>
                <a:gd name="connsiteY1164" fmla="*/ 149567 h 648883"/>
                <a:gd name="connsiteX1165" fmla="*/ 978239 w 5022545"/>
                <a:gd name="connsiteY1165" fmla="*/ 149567 h 648883"/>
                <a:gd name="connsiteX1166" fmla="*/ 978239 w 5022545"/>
                <a:gd name="connsiteY1166" fmla="*/ 145364 h 648883"/>
                <a:gd name="connsiteX1167" fmla="*/ 976317 w 5022545"/>
                <a:gd name="connsiteY1167" fmla="*/ 140460 h 648883"/>
                <a:gd name="connsiteX1168" fmla="*/ 971832 w 5022545"/>
                <a:gd name="connsiteY1168" fmla="*/ 138358 h 648883"/>
                <a:gd name="connsiteX1169" fmla="*/ 944921 w 5022545"/>
                <a:gd name="connsiteY1169" fmla="*/ 138358 h 648883"/>
                <a:gd name="connsiteX1170" fmla="*/ 944921 w 5022545"/>
                <a:gd name="connsiteY1170" fmla="*/ 145364 h 648883"/>
                <a:gd name="connsiteX1171" fmla="*/ 951328 w 5022545"/>
                <a:gd name="connsiteY1171" fmla="*/ 145364 h 648883"/>
                <a:gd name="connsiteX1172" fmla="*/ 951328 w 5022545"/>
                <a:gd name="connsiteY1172" fmla="*/ 140986 h 648883"/>
                <a:gd name="connsiteX1173" fmla="*/ 949406 w 5022545"/>
                <a:gd name="connsiteY1173" fmla="*/ 136082 h 648883"/>
                <a:gd name="connsiteX1174" fmla="*/ 944921 w 5022545"/>
                <a:gd name="connsiteY1174" fmla="*/ 133980 h 648883"/>
                <a:gd name="connsiteX1175" fmla="*/ 942358 w 5022545"/>
                <a:gd name="connsiteY1175" fmla="*/ 133980 h 648883"/>
                <a:gd name="connsiteX1176" fmla="*/ 942358 w 5022545"/>
                <a:gd name="connsiteY1176" fmla="*/ 131528 h 648883"/>
                <a:gd name="connsiteX1177" fmla="*/ 940436 w 5022545"/>
                <a:gd name="connsiteY1177" fmla="*/ 126624 h 648883"/>
                <a:gd name="connsiteX1178" fmla="*/ 935951 w 5022545"/>
                <a:gd name="connsiteY1178" fmla="*/ 124523 h 648883"/>
                <a:gd name="connsiteX1179" fmla="*/ 921054 w 5022545"/>
                <a:gd name="connsiteY1179" fmla="*/ 124523 h 648883"/>
                <a:gd name="connsiteX1180" fmla="*/ 921054 w 5022545"/>
                <a:gd name="connsiteY1180" fmla="*/ 131528 h 648883"/>
                <a:gd name="connsiteX1181" fmla="*/ 927461 w 5022545"/>
                <a:gd name="connsiteY1181" fmla="*/ 131528 h 648883"/>
                <a:gd name="connsiteX1182" fmla="*/ 927461 w 5022545"/>
                <a:gd name="connsiteY1182" fmla="*/ 127325 h 648883"/>
                <a:gd name="connsiteX1183" fmla="*/ 925539 w 5022545"/>
                <a:gd name="connsiteY1183" fmla="*/ 122421 h 648883"/>
                <a:gd name="connsiteX1184" fmla="*/ 921054 w 5022545"/>
                <a:gd name="connsiteY1184" fmla="*/ 120319 h 648883"/>
                <a:gd name="connsiteX1185" fmla="*/ 861466 w 5022545"/>
                <a:gd name="connsiteY1185" fmla="*/ 120319 h 648883"/>
                <a:gd name="connsiteX1186" fmla="*/ 861466 w 5022545"/>
                <a:gd name="connsiteY1186" fmla="*/ 127325 h 648883"/>
                <a:gd name="connsiteX1187" fmla="*/ 867873 w 5022545"/>
                <a:gd name="connsiteY1187" fmla="*/ 127325 h 648883"/>
                <a:gd name="connsiteX1188" fmla="*/ 867873 w 5022545"/>
                <a:gd name="connsiteY1188" fmla="*/ 123297 h 648883"/>
                <a:gd name="connsiteX1189" fmla="*/ 865951 w 5022545"/>
                <a:gd name="connsiteY1189" fmla="*/ 118393 h 648883"/>
                <a:gd name="connsiteX1190" fmla="*/ 861466 w 5022545"/>
                <a:gd name="connsiteY1190" fmla="*/ 116291 h 648883"/>
                <a:gd name="connsiteX1191" fmla="*/ 813731 w 5022545"/>
                <a:gd name="connsiteY1191" fmla="*/ 116291 h 648883"/>
                <a:gd name="connsiteX1192" fmla="*/ 813731 w 5022545"/>
                <a:gd name="connsiteY1192" fmla="*/ 123297 h 648883"/>
                <a:gd name="connsiteX1193" fmla="*/ 820138 w 5022545"/>
                <a:gd name="connsiteY1193" fmla="*/ 123297 h 648883"/>
                <a:gd name="connsiteX1194" fmla="*/ 820138 w 5022545"/>
                <a:gd name="connsiteY1194" fmla="*/ 119093 h 648883"/>
                <a:gd name="connsiteX1195" fmla="*/ 818216 w 5022545"/>
                <a:gd name="connsiteY1195" fmla="*/ 114190 h 648883"/>
                <a:gd name="connsiteX1196" fmla="*/ 813731 w 5022545"/>
                <a:gd name="connsiteY1196" fmla="*/ 112088 h 648883"/>
                <a:gd name="connsiteX1197" fmla="*/ 721305 w 5022545"/>
                <a:gd name="connsiteY1197" fmla="*/ 112088 h 648883"/>
                <a:gd name="connsiteX1198" fmla="*/ 721305 w 5022545"/>
                <a:gd name="connsiteY1198" fmla="*/ 119093 h 648883"/>
                <a:gd name="connsiteX1199" fmla="*/ 727713 w 5022545"/>
                <a:gd name="connsiteY1199" fmla="*/ 119093 h 648883"/>
                <a:gd name="connsiteX1200" fmla="*/ 727713 w 5022545"/>
                <a:gd name="connsiteY1200" fmla="*/ 114890 h 648883"/>
                <a:gd name="connsiteX1201" fmla="*/ 725790 w 5022545"/>
                <a:gd name="connsiteY1201" fmla="*/ 109986 h 648883"/>
                <a:gd name="connsiteX1202" fmla="*/ 721305 w 5022545"/>
                <a:gd name="connsiteY1202" fmla="*/ 107885 h 648883"/>
                <a:gd name="connsiteX1203" fmla="*/ 703525 w 5022545"/>
                <a:gd name="connsiteY1203" fmla="*/ 107885 h 648883"/>
                <a:gd name="connsiteX1204" fmla="*/ 703525 w 5022545"/>
                <a:gd name="connsiteY1204" fmla="*/ 114890 h 648883"/>
                <a:gd name="connsiteX1205" fmla="*/ 709932 w 5022545"/>
                <a:gd name="connsiteY1205" fmla="*/ 114890 h 648883"/>
                <a:gd name="connsiteX1206" fmla="*/ 709932 w 5022545"/>
                <a:gd name="connsiteY1206" fmla="*/ 110862 h 648883"/>
                <a:gd name="connsiteX1207" fmla="*/ 708010 w 5022545"/>
                <a:gd name="connsiteY1207" fmla="*/ 105958 h 648883"/>
                <a:gd name="connsiteX1208" fmla="*/ 703525 w 5022545"/>
                <a:gd name="connsiteY1208" fmla="*/ 103856 h 648883"/>
                <a:gd name="connsiteX1209" fmla="*/ 697598 w 5022545"/>
                <a:gd name="connsiteY1209" fmla="*/ 103856 h 648883"/>
                <a:gd name="connsiteX1210" fmla="*/ 697598 w 5022545"/>
                <a:gd name="connsiteY1210" fmla="*/ 110862 h 648883"/>
                <a:gd name="connsiteX1211" fmla="*/ 704005 w 5022545"/>
                <a:gd name="connsiteY1211" fmla="*/ 110862 h 648883"/>
                <a:gd name="connsiteX1212" fmla="*/ 704005 w 5022545"/>
                <a:gd name="connsiteY1212" fmla="*/ 105082 h 648883"/>
                <a:gd name="connsiteX1213" fmla="*/ 702083 w 5022545"/>
                <a:gd name="connsiteY1213" fmla="*/ 100179 h 648883"/>
                <a:gd name="connsiteX1214" fmla="*/ 697598 w 5022545"/>
                <a:gd name="connsiteY1214" fmla="*/ 98077 h 648883"/>
                <a:gd name="connsiteX1215" fmla="*/ 599246 w 5022545"/>
                <a:gd name="connsiteY1215" fmla="*/ 98077 h 648883"/>
                <a:gd name="connsiteX1216" fmla="*/ 599246 w 5022545"/>
                <a:gd name="connsiteY1216" fmla="*/ 105082 h 648883"/>
                <a:gd name="connsiteX1217" fmla="*/ 605653 w 5022545"/>
                <a:gd name="connsiteY1217" fmla="*/ 105082 h 648883"/>
                <a:gd name="connsiteX1218" fmla="*/ 605653 w 5022545"/>
                <a:gd name="connsiteY1218" fmla="*/ 100529 h 648883"/>
                <a:gd name="connsiteX1219" fmla="*/ 603731 w 5022545"/>
                <a:gd name="connsiteY1219" fmla="*/ 95625 h 648883"/>
                <a:gd name="connsiteX1220" fmla="*/ 599246 w 5022545"/>
                <a:gd name="connsiteY1220" fmla="*/ 93523 h 648883"/>
                <a:gd name="connsiteX1221" fmla="*/ 596202 w 5022545"/>
                <a:gd name="connsiteY1221" fmla="*/ 93523 h 648883"/>
                <a:gd name="connsiteX1222" fmla="*/ 596202 w 5022545"/>
                <a:gd name="connsiteY1222" fmla="*/ 100529 h 648883"/>
                <a:gd name="connsiteX1223" fmla="*/ 602609 w 5022545"/>
                <a:gd name="connsiteY1223" fmla="*/ 100529 h 648883"/>
                <a:gd name="connsiteX1224" fmla="*/ 602609 w 5022545"/>
                <a:gd name="connsiteY1224" fmla="*/ 96326 h 648883"/>
                <a:gd name="connsiteX1225" fmla="*/ 600687 w 5022545"/>
                <a:gd name="connsiteY1225" fmla="*/ 91422 h 648883"/>
                <a:gd name="connsiteX1226" fmla="*/ 596202 w 5022545"/>
                <a:gd name="connsiteY1226" fmla="*/ 89320 h 648883"/>
                <a:gd name="connsiteX1227" fmla="*/ 590275 w 5022545"/>
                <a:gd name="connsiteY1227" fmla="*/ 89320 h 648883"/>
                <a:gd name="connsiteX1228" fmla="*/ 590275 w 5022545"/>
                <a:gd name="connsiteY1228" fmla="*/ 96326 h 648883"/>
                <a:gd name="connsiteX1229" fmla="*/ 596683 w 5022545"/>
                <a:gd name="connsiteY1229" fmla="*/ 96326 h 648883"/>
                <a:gd name="connsiteX1230" fmla="*/ 596683 w 5022545"/>
                <a:gd name="connsiteY1230" fmla="*/ 91772 h 648883"/>
                <a:gd name="connsiteX1231" fmla="*/ 594760 w 5022545"/>
                <a:gd name="connsiteY1231" fmla="*/ 86868 h 648883"/>
                <a:gd name="connsiteX1232" fmla="*/ 590275 w 5022545"/>
                <a:gd name="connsiteY1232" fmla="*/ 84766 h 648883"/>
                <a:gd name="connsiteX1233" fmla="*/ 575378 w 5022545"/>
                <a:gd name="connsiteY1233" fmla="*/ 84766 h 648883"/>
                <a:gd name="connsiteX1234" fmla="*/ 575378 w 5022545"/>
                <a:gd name="connsiteY1234" fmla="*/ 91772 h 648883"/>
                <a:gd name="connsiteX1235" fmla="*/ 581786 w 5022545"/>
                <a:gd name="connsiteY1235" fmla="*/ 91772 h 648883"/>
                <a:gd name="connsiteX1236" fmla="*/ 581786 w 5022545"/>
                <a:gd name="connsiteY1236" fmla="*/ 87569 h 648883"/>
                <a:gd name="connsiteX1237" fmla="*/ 579863 w 5022545"/>
                <a:gd name="connsiteY1237" fmla="*/ 82665 h 648883"/>
                <a:gd name="connsiteX1238" fmla="*/ 575378 w 5022545"/>
                <a:gd name="connsiteY1238" fmla="*/ 80563 h 648883"/>
                <a:gd name="connsiteX1239" fmla="*/ 515790 w 5022545"/>
                <a:gd name="connsiteY1239" fmla="*/ 80563 h 648883"/>
                <a:gd name="connsiteX1240" fmla="*/ 515790 w 5022545"/>
                <a:gd name="connsiteY1240" fmla="*/ 87569 h 648883"/>
                <a:gd name="connsiteX1241" fmla="*/ 522197 w 5022545"/>
                <a:gd name="connsiteY1241" fmla="*/ 87569 h 648883"/>
                <a:gd name="connsiteX1242" fmla="*/ 522197 w 5022545"/>
                <a:gd name="connsiteY1242" fmla="*/ 83365 h 648883"/>
                <a:gd name="connsiteX1243" fmla="*/ 520275 w 5022545"/>
                <a:gd name="connsiteY1243" fmla="*/ 78462 h 648883"/>
                <a:gd name="connsiteX1244" fmla="*/ 515790 w 5022545"/>
                <a:gd name="connsiteY1244" fmla="*/ 76360 h 648883"/>
                <a:gd name="connsiteX1245" fmla="*/ 500893 w 5022545"/>
                <a:gd name="connsiteY1245" fmla="*/ 76360 h 648883"/>
                <a:gd name="connsiteX1246" fmla="*/ 500893 w 5022545"/>
                <a:gd name="connsiteY1246" fmla="*/ 83365 h 648883"/>
                <a:gd name="connsiteX1247" fmla="*/ 507300 w 5022545"/>
                <a:gd name="connsiteY1247" fmla="*/ 83365 h 648883"/>
                <a:gd name="connsiteX1248" fmla="*/ 507300 w 5022545"/>
                <a:gd name="connsiteY1248" fmla="*/ 79337 h 648883"/>
                <a:gd name="connsiteX1249" fmla="*/ 505378 w 5022545"/>
                <a:gd name="connsiteY1249" fmla="*/ 74433 h 648883"/>
                <a:gd name="connsiteX1250" fmla="*/ 500893 w 5022545"/>
                <a:gd name="connsiteY1250" fmla="*/ 72332 h 648883"/>
                <a:gd name="connsiteX1251" fmla="*/ 453319 w 5022545"/>
                <a:gd name="connsiteY1251" fmla="*/ 72332 h 648883"/>
                <a:gd name="connsiteX1252" fmla="*/ 453319 w 5022545"/>
                <a:gd name="connsiteY1252" fmla="*/ 79337 h 648883"/>
                <a:gd name="connsiteX1253" fmla="*/ 459726 w 5022545"/>
                <a:gd name="connsiteY1253" fmla="*/ 79337 h 648883"/>
                <a:gd name="connsiteX1254" fmla="*/ 459726 w 5022545"/>
                <a:gd name="connsiteY1254" fmla="*/ 74784 h 648883"/>
                <a:gd name="connsiteX1255" fmla="*/ 457804 w 5022545"/>
                <a:gd name="connsiteY1255" fmla="*/ 69880 h 648883"/>
                <a:gd name="connsiteX1256" fmla="*/ 453319 w 5022545"/>
                <a:gd name="connsiteY1256" fmla="*/ 67778 h 648883"/>
                <a:gd name="connsiteX1257" fmla="*/ 444348 w 5022545"/>
                <a:gd name="connsiteY1257" fmla="*/ 67778 h 648883"/>
                <a:gd name="connsiteX1258" fmla="*/ 444348 w 5022545"/>
                <a:gd name="connsiteY1258" fmla="*/ 74784 h 648883"/>
                <a:gd name="connsiteX1259" fmla="*/ 450756 w 5022545"/>
                <a:gd name="connsiteY1259" fmla="*/ 74784 h 648883"/>
                <a:gd name="connsiteX1260" fmla="*/ 450756 w 5022545"/>
                <a:gd name="connsiteY1260" fmla="*/ 70405 h 648883"/>
                <a:gd name="connsiteX1261" fmla="*/ 448834 w 5022545"/>
                <a:gd name="connsiteY1261" fmla="*/ 65501 h 648883"/>
                <a:gd name="connsiteX1262" fmla="*/ 444348 w 5022545"/>
                <a:gd name="connsiteY1262" fmla="*/ 63400 h 648883"/>
                <a:gd name="connsiteX1263" fmla="*/ 423525 w 5022545"/>
                <a:gd name="connsiteY1263" fmla="*/ 63400 h 648883"/>
                <a:gd name="connsiteX1264" fmla="*/ 423525 w 5022545"/>
                <a:gd name="connsiteY1264" fmla="*/ 70405 h 648883"/>
                <a:gd name="connsiteX1265" fmla="*/ 429932 w 5022545"/>
                <a:gd name="connsiteY1265" fmla="*/ 70405 h 648883"/>
                <a:gd name="connsiteX1266" fmla="*/ 429932 w 5022545"/>
                <a:gd name="connsiteY1266" fmla="*/ 66027 h 648883"/>
                <a:gd name="connsiteX1267" fmla="*/ 428010 w 5022545"/>
                <a:gd name="connsiteY1267" fmla="*/ 61123 h 648883"/>
                <a:gd name="connsiteX1268" fmla="*/ 423525 w 5022545"/>
                <a:gd name="connsiteY1268" fmla="*/ 59021 h 648883"/>
                <a:gd name="connsiteX1269" fmla="*/ 375950 w 5022545"/>
                <a:gd name="connsiteY1269" fmla="*/ 59021 h 648883"/>
                <a:gd name="connsiteX1270" fmla="*/ 375950 w 5022545"/>
                <a:gd name="connsiteY1270" fmla="*/ 66027 h 648883"/>
                <a:gd name="connsiteX1271" fmla="*/ 382357 w 5022545"/>
                <a:gd name="connsiteY1271" fmla="*/ 66027 h 648883"/>
                <a:gd name="connsiteX1272" fmla="*/ 382357 w 5022545"/>
                <a:gd name="connsiteY1272" fmla="*/ 61648 h 648883"/>
                <a:gd name="connsiteX1273" fmla="*/ 380435 w 5022545"/>
                <a:gd name="connsiteY1273" fmla="*/ 56744 h 648883"/>
                <a:gd name="connsiteX1274" fmla="*/ 375950 w 5022545"/>
                <a:gd name="connsiteY1274" fmla="*/ 54643 h 648883"/>
                <a:gd name="connsiteX1275" fmla="*/ 370023 w 5022545"/>
                <a:gd name="connsiteY1275" fmla="*/ 54643 h 648883"/>
                <a:gd name="connsiteX1276" fmla="*/ 370023 w 5022545"/>
                <a:gd name="connsiteY1276" fmla="*/ 61648 h 648883"/>
                <a:gd name="connsiteX1277" fmla="*/ 376431 w 5022545"/>
                <a:gd name="connsiteY1277" fmla="*/ 61648 h 648883"/>
                <a:gd name="connsiteX1278" fmla="*/ 376431 w 5022545"/>
                <a:gd name="connsiteY1278" fmla="*/ 57620 h 648883"/>
                <a:gd name="connsiteX1279" fmla="*/ 374508 w 5022545"/>
                <a:gd name="connsiteY1279" fmla="*/ 52716 h 648883"/>
                <a:gd name="connsiteX1280" fmla="*/ 370023 w 5022545"/>
                <a:gd name="connsiteY1280" fmla="*/ 50615 h 648883"/>
                <a:gd name="connsiteX1281" fmla="*/ 313479 w 5022545"/>
                <a:gd name="connsiteY1281" fmla="*/ 50615 h 648883"/>
                <a:gd name="connsiteX1282" fmla="*/ 313479 w 5022545"/>
                <a:gd name="connsiteY1282" fmla="*/ 57620 h 648883"/>
                <a:gd name="connsiteX1283" fmla="*/ 319886 w 5022545"/>
                <a:gd name="connsiteY1283" fmla="*/ 57620 h 648883"/>
                <a:gd name="connsiteX1284" fmla="*/ 319886 w 5022545"/>
                <a:gd name="connsiteY1284" fmla="*/ 53592 h 648883"/>
                <a:gd name="connsiteX1285" fmla="*/ 317964 w 5022545"/>
                <a:gd name="connsiteY1285" fmla="*/ 48688 h 648883"/>
                <a:gd name="connsiteX1286" fmla="*/ 313479 w 5022545"/>
                <a:gd name="connsiteY1286" fmla="*/ 46587 h 648883"/>
                <a:gd name="connsiteX1287" fmla="*/ 304508 w 5022545"/>
                <a:gd name="connsiteY1287" fmla="*/ 46587 h 648883"/>
                <a:gd name="connsiteX1288" fmla="*/ 304508 w 5022545"/>
                <a:gd name="connsiteY1288" fmla="*/ 53592 h 648883"/>
                <a:gd name="connsiteX1289" fmla="*/ 310916 w 5022545"/>
                <a:gd name="connsiteY1289" fmla="*/ 53592 h 648883"/>
                <a:gd name="connsiteX1290" fmla="*/ 310916 w 5022545"/>
                <a:gd name="connsiteY1290" fmla="*/ 49214 h 648883"/>
                <a:gd name="connsiteX1291" fmla="*/ 308994 w 5022545"/>
                <a:gd name="connsiteY1291" fmla="*/ 44310 h 648883"/>
                <a:gd name="connsiteX1292" fmla="*/ 304508 w 5022545"/>
                <a:gd name="connsiteY1292" fmla="*/ 42208 h 648883"/>
                <a:gd name="connsiteX1293" fmla="*/ 295538 w 5022545"/>
                <a:gd name="connsiteY1293" fmla="*/ 42208 h 648883"/>
                <a:gd name="connsiteX1294" fmla="*/ 295538 w 5022545"/>
                <a:gd name="connsiteY1294" fmla="*/ 49214 h 648883"/>
                <a:gd name="connsiteX1295" fmla="*/ 301945 w 5022545"/>
                <a:gd name="connsiteY1295" fmla="*/ 49214 h 648883"/>
                <a:gd name="connsiteX1296" fmla="*/ 301945 w 5022545"/>
                <a:gd name="connsiteY1296" fmla="*/ 44485 h 648883"/>
                <a:gd name="connsiteX1297" fmla="*/ 300023 w 5022545"/>
                <a:gd name="connsiteY1297" fmla="*/ 39581 h 648883"/>
                <a:gd name="connsiteX1298" fmla="*/ 295538 w 5022545"/>
                <a:gd name="connsiteY1298" fmla="*/ 37479 h 648883"/>
                <a:gd name="connsiteX1299" fmla="*/ 274714 w 5022545"/>
                <a:gd name="connsiteY1299" fmla="*/ 37479 h 648883"/>
                <a:gd name="connsiteX1300" fmla="*/ 274714 w 5022545"/>
                <a:gd name="connsiteY1300" fmla="*/ 44485 h 648883"/>
                <a:gd name="connsiteX1301" fmla="*/ 281122 w 5022545"/>
                <a:gd name="connsiteY1301" fmla="*/ 44485 h 648883"/>
                <a:gd name="connsiteX1302" fmla="*/ 281122 w 5022545"/>
                <a:gd name="connsiteY1302" fmla="*/ 40282 h 648883"/>
                <a:gd name="connsiteX1303" fmla="*/ 279199 w 5022545"/>
                <a:gd name="connsiteY1303" fmla="*/ 35378 h 648883"/>
                <a:gd name="connsiteX1304" fmla="*/ 274714 w 5022545"/>
                <a:gd name="connsiteY1304" fmla="*/ 33276 h 648883"/>
                <a:gd name="connsiteX1305" fmla="*/ 271831 w 5022545"/>
                <a:gd name="connsiteY1305" fmla="*/ 33276 h 648883"/>
                <a:gd name="connsiteX1306" fmla="*/ 271831 w 5022545"/>
                <a:gd name="connsiteY1306" fmla="*/ 40282 h 648883"/>
                <a:gd name="connsiteX1307" fmla="*/ 278238 w 5022545"/>
                <a:gd name="connsiteY1307" fmla="*/ 40282 h 648883"/>
                <a:gd name="connsiteX1308" fmla="*/ 278238 w 5022545"/>
                <a:gd name="connsiteY1308" fmla="*/ 36078 h 648883"/>
                <a:gd name="connsiteX1309" fmla="*/ 276316 w 5022545"/>
                <a:gd name="connsiteY1309" fmla="*/ 31174 h 648883"/>
                <a:gd name="connsiteX1310" fmla="*/ 271831 w 5022545"/>
                <a:gd name="connsiteY1310" fmla="*/ 29073 h 648883"/>
                <a:gd name="connsiteX1311" fmla="*/ 233067 w 5022545"/>
                <a:gd name="connsiteY1311" fmla="*/ 29073 h 648883"/>
                <a:gd name="connsiteX1312" fmla="*/ 233067 w 5022545"/>
                <a:gd name="connsiteY1312" fmla="*/ 36078 h 648883"/>
                <a:gd name="connsiteX1313" fmla="*/ 239474 w 5022545"/>
                <a:gd name="connsiteY1313" fmla="*/ 36078 h 648883"/>
                <a:gd name="connsiteX1314" fmla="*/ 239474 w 5022545"/>
                <a:gd name="connsiteY1314" fmla="*/ 31700 h 648883"/>
                <a:gd name="connsiteX1315" fmla="*/ 237552 w 5022545"/>
                <a:gd name="connsiteY1315" fmla="*/ 26796 h 648883"/>
                <a:gd name="connsiteX1316" fmla="*/ 233067 w 5022545"/>
                <a:gd name="connsiteY1316" fmla="*/ 24694 h 648883"/>
                <a:gd name="connsiteX1317" fmla="*/ 230023 w 5022545"/>
                <a:gd name="connsiteY1317" fmla="*/ 24694 h 648883"/>
                <a:gd name="connsiteX1318" fmla="*/ 230023 w 5022545"/>
                <a:gd name="connsiteY1318" fmla="*/ 31700 h 648883"/>
                <a:gd name="connsiteX1319" fmla="*/ 236431 w 5022545"/>
                <a:gd name="connsiteY1319" fmla="*/ 31700 h 648883"/>
                <a:gd name="connsiteX1320" fmla="*/ 236431 w 5022545"/>
                <a:gd name="connsiteY1320" fmla="*/ 27672 h 648883"/>
                <a:gd name="connsiteX1321" fmla="*/ 234508 w 5022545"/>
                <a:gd name="connsiteY1321" fmla="*/ 22768 h 648883"/>
                <a:gd name="connsiteX1322" fmla="*/ 230023 w 5022545"/>
                <a:gd name="connsiteY1322" fmla="*/ 20666 h 648883"/>
                <a:gd name="connsiteX1323" fmla="*/ 164829 w 5022545"/>
                <a:gd name="connsiteY1323" fmla="*/ 20666 h 648883"/>
                <a:gd name="connsiteX1324" fmla="*/ 164829 w 5022545"/>
                <a:gd name="connsiteY1324" fmla="*/ 19615 h 648883"/>
                <a:gd name="connsiteX1325" fmla="*/ 162906 w 5022545"/>
                <a:gd name="connsiteY1325" fmla="*/ 14712 h 648883"/>
                <a:gd name="connsiteX1326" fmla="*/ 158421 w 5022545"/>
                <a:gd name="connsiteY1326" fmla="*/ 12610 h 648883"/>
                <a:gd name="connsiteX1327" fmla="*/ 155378 w 5022545"/>
                <a:gd name="connsiteY1327" fmla="*/ 12610 h 648883"/>
                <a:gd name="connsiteX1328" fmla="*/ 155378 w 5022545"/>
                <a:gd name="connsiteY1328" fmla="*/ 19615 h 648883"/>
                <a:gd name="connsiteX1329" fmla="*/ 161785 w 5022545"/>
                <a:gd name="connsiteY1329" fmla="*/ 19615 h 648883"/>
                <a:gd name="connsiteX1330" fmla="*/ 161785 w 5022545"/>
                <a:gd name="connsiteY1330" fmla="*/ 15587 h 648883"/>
                <a:gd name="connsiteX1331" fmla="*/ 159863 w 5022545"/>
                <a:gd name="connsiteY1331" fmla="*/ 10683 h 648883"/>
                <a:gd name="connsiteX1332" fmla="*/ 155378 w 5022545"/>
                <a:gd name="connsiteY1332" fmla="*/ 8582 h 648883"/>
                <a:gd name="connsiteX1333" fmla="*/ 80893 w 5022545"/>
                <a:gd name="connsiteY1333" fmla="*/ 8582 h 648883"/>
                <a:gd name="connsiteX1334" fmla="*/ 80893 w 5022545"/>
                <a:gd name="connsiteY1334" fmla="*/ 15587 h 648883"/>
                <a:gd name="connsiteX1335" fmla="*/ 87300 w 5022545"/>
                <a:gd name="connsiteY1335" fmla="*/ 15587 h 648883"/>
                <a:gd name="connsiteX1336" fmla="*/ 87300 w 5022545"/>
                <a:gd name="connsiteY1336" fmla="*/ 11034 h 648883"/>
                <a:gd name="connsiteX1337" fmla="*/ 85378 w 5022545"/>
                <a:gd name="connsiteY1337" fmla="*/ 6130 h 648883"/>
                <a:gd name="connsiteX1338" fmla="*/ 80893 w 5022545"/>
                <a:gd name="connsiteY1338" fmla="*/ 4028 h 648883"/>
                <a:gd name="connsiteX1339" fmla="*/ 77849 w 5022545"/>
                <a:gd name="connsiteY1339" fmla="*/ 4028 h 648883"/>
                <a:gd name="connsiteX1340" fmla="*/ 77849 w 5022545"/>
                <a:gd name="connsiteY1340" fmla="*/ 11034 h 648883"/>
                <a:gd name="connsiteX1341" fmla="*/ 84256 w 5022545"/>
                <a:gd name="connsiteY1341" fmla="*/ 11034 h 648883"/>
                <a:gd name="connsiteX1342" fmla="*/ 84256 w 5022545"/>
                <a:gd name="connsiteY1342" fmla="*/ 7005 h 648883"/>
                <a:gd name="connsiteX1343" fmla="*/ 82334 w 5022545"/>
                <a:gd name="connsiteY1343" fmla="*/ 2102 h 648883"/>
                <a:gd name="connsiteX1344" fmla="*/ 77849 w 5022545"/>
                <a:gd name="connsiteY1344" fmla="*/ 0 h 648883"/>
                <a:gd name="connsiteX1345" fmla="*/ 0 w 5022545"/>
                <a:gd name="connsiteY1345" fmla="*/ 0 h 648883"/>
                <a:gd name="connsiteX1346" fmla="*/ 0 w 5022545"/>
                <a:gd name="connsiteY1346" fmla="*/ 13836 h 648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</a:cxnLst>
              <a:rect l="l" t="t" r="r" b="b"/>
              <a:pathLst>
                <a:path w="5022545" h="648883">
                  <a:moveTo>
                    <a:pt x="0" y="13836"/>
                  </a:moveTo>
                  <a:lnTo>
                    <a:pt x="77529" y="13836"/>
                  </a:lnTo>
                  <a:lnTo>
                    <a:pt x="77529" y="6830"/>
                  </a:lnTo>
                  <a:lnTo>
                    <a:pt x="71121" y="6830"/>
                  </a:lnTo>
                  <a:lnTo>
                    <a:pt x="71121" y="10859"/>
                  </a:lnTo>
                  <a:cubicBezTo>
                    <a:pt x="71121" y="12610"/>
                    <a:pt x="71762" y="14536"/>
                    <a:pt x="73044" y="15762"/>
                  </a:cubicBezTo>
                  <a:cubicBezTo>
                    <a:pt x="74165" y="16988"/>
                    <a:pt x="75927" y="17864"/>
                    <a:pt x="77529" y="17864"/>
                  </a:cubicBezTo>
                  <a:lnTo>
                    <a:pt x="80572" y="17864"/>
                  </a:lnTo>
                  <a:lnTo>
                    <a:pt x="80572" y="10859"/>
                  </a:lnTo>
                  <a:lnTo>
                    <a:pt x="74165" y="10859"/>
                  </a:lnTo>
                  <a:lnTo>
                    <a:pt x="74165" y="15412"/>
                  </a:lnTo>
                  <a:cubicBezTo>
                    <a:pt x="74165" y="17163"/>
                    <a:pt x="74806" y="19090"/>
                    <a:pt x="76087" y="20316"/>
                  </a:cubicBezTo>
                  <a:cubicBezTo>
                    <a:pt x="77208" y="21542"/>
                    <a:pt x="78970" y="22418"/>
                    <a:pt x="80572" y="22418"/>
                  </a:cubicBezTo>
                  <a:lnTo>
                    <a:pt x="155057" y="22418"/>
                  </a:lnTo>
                  <a:lnTo>
                    <a:pt x="155057" y="15412"/>
                  </a:lnTo>
                  <a:lnTo>
                    <a:pt x="148650" y="15412"/>
                  </a:lnTo>
                  <a:lnTo>
                    <a:pt x="148650" y="19440"/>
                  </a:lnTo>
                  <a:cubicBezTo>
                    <a:pt x="148650" y="21192"/>
                    <a:pt x="149291" y="23118"/>
                    <a:pt x="150572" y="24344"/>
                  </a:cubicBezTo>
                  <a:cubicBezTo>
                    <a:pt x="151694" y="25570"/>
                    <a:pt x="153456" y="26446"/>
                    <a:pt x="155057" y="26446"/>
                  </a:cubicBezTo>
                  <a:lnTo>
                    <a:pt x="158101" y="26446"/>
                  </a:lnTo>
                  <a:lnTo>
                    <a:pt x="158101" y="19440"/>
                  </a:lnTo>
                  <a:lnTo>
                    <a:pt x="151694" y="19440"/>
                  </a:lnTo>
                  <a:lnTo>
                    <a:pt x="151694" y="27497"/>
                  </a:lnTo>
                  <a:cubicBezTo>
                    <a:pt x="151694" y="29248"/>
                    <a:pt x="152334" y="31174"/>
                    <a:pt x="153616" y="32400"/>
                  </a:cubicBezTo>
                  <a:cubicBezTo>
                    <a:pt x="154737" y="33626"/>
                    <a:pt x="156499" y="34502"/>
                    <a:pt x="158101" y="34502"/>
                  </a:cubicBezTo>
                  <a:lnTo>
                    <a:pt x="229543" y="34502"/>
                  </a:lnTo>
                  <a:lnTo>
                    <a:pt x="229543" y="27497"/>
                  </a:lnTo>
                  <a:lnTo>
                    <a:pt x="223135" y="27497"/>
                  </a:lnTo>
                  <a:lnTo>
                    <a:pt x="223135" y="31525"/>
                  </a:lnTo>
                  <a:cubicBezTo>
                    <a:pt x="223135" y="33276"/>
                    <a:pt x="223776" y="35203"/>
                    <a:pt x="225057" y="36429"/>
                  </a:cubicBezTo>
                  <a:cubicBezTo>
                    <a:pt x="226179" y="37655"/>
                    <a:pt x="227941" y="38530"/>
                    <a:pt x="229543" y="38530"/>
                  </a:cubicBezTo>
                  <a:lnTo>
                    <a:pt x="232586" y="38530"/>
                  </a:lnTo>
                  <a:lnTo>
                    <a:pt x="232586" y="31525"/>
                  </a:lnTo>
                  <a:lnTo>
                    <a:pt x="226179" y="31525"/>
                  </a:lnTo>
                  <a:lnTo>
                    <a:pt x="226179" y="35903"/>
                  </a:lnTo>
                  <a:cubicBezTo>
                    <a:pt x="226179" y="37655"/>
                    <a:pt x="226819" y="39581"/>
                    <a:pt x="228101" y="40807"/>
                  </a:cubicBezTo>
                  <a:cubicBezTo>
                    <a:pt x="229222" y="42033"/>
                    <a:pt x="230984" y="42909"/>
                    <a:pt x="232586" y="42909"/>
                  </a:cubicBezTo>
                  <a:lnTo>
                    <a:pt x="271350" y="42909"/>
                  </a:lnTo>
                  <a:lnTo>
                    <a:pt x="271350" y="35903"/>
                  </a:lnTo>
                  <a:lnTo>
                    <a:pt x="264943" y="35903"/>
                  </a:lnTo>
                  <a:lnTo>
                    <a:pt x="264943" y="40106"/>
                  </a:lnTo>
                  <a:cubicBezTo>
                    <a:pt x="264943" y="42033"/>
                    <a:pt x="265584" y="43784"/>
                    <a:pt x="266865" y="45010"/>
                  </a:cubicBezTo>
                  <a:cubicBezTo>
                    <a:pt x="268147" y="46236"/>
                    <a:pt x="269749" y="47112"/>
                    <a:pt x="271350" y="47112"/>
                  </a:cubicBezTo>
                  <a:lnTo>
                    <a:pt x="274234" y="47112"/>
                  </a:lnTo>
                  <a:lnTo>
                    <a:pt x="274234" y="40106"/>
                  </a:lnTo>
                  <a:lnTo>
                    <a:pt x="267826" y="40106"/>
                  </a:lnTo>
                  <a:lnTo>
                    <a:pt x="267826" y="44310"/>
                  </a:lnTo>
                  <a:cubicBezTo>
                    <a:pt x="267826" y="46061"/>
                    <a:pt x="268467" y="47988"/>
                    <a:pt x="269749" y="49214"/>
                  </a:cubicBezTo>
                  <a:cubicBezTo>
                    <a:pt x="270870" y="50440"/>
                    <a:pt x="272632" y="51315"/>
                    <a:pt x="274234" y="51315"/>
                  </a:cubicBezTo>
                  <a:lnTo>
                    <a:pt x="295058" y="51315"/>
                  </a:lnTo>
                  <a:lnTo>
                    <a:pt x="295058" y="44310"/>
                  </a:lnTo>
                  <a:lnTo>
                    <a:pt x="288650" y="44310"/>
                  </a:lnTo>
                  <a:lnTo>
                    <a:pt x="288650" y="49038"/>
                  </a:lnTo>
                  <a:cubicBezTo>
                    <a:pt x="288650" y="50965"/>
                    <a:pt x="289291" y="52716"/>
                    <a:pt x="290572" y="53942"/>
                  </a:cubicBezTo>
                  <a:cubicBezTo>
                    <a:pt x="291854" y="55168"/>
                    <a:pt x="293296" y="56044"/>
                    <a:pt x="295058" y="56044"/>
                  </a:cubicBezTo>
                  <a:lnTo>
                    <a:pt x="304028" y="56044"/>
                  </a:lnTo>
                  <a:lnTo>
                    <a:pt x="304028" y="49038"/>
                  </a:lnTo>
                  <a:lnTo>
                    <a:pt x="297621" y="49038"/>
                  </a:lnTo>
                  <a:lnTo>
                    <a:pt x="297621" y="53417"/>
                  </a:lnTo>
                  <a:cubicBezTo>
                    <a:pt x="297621" y="55343"/>
                    <a:pt x="298261" y="57095"/>
                    <a:pt x="299543" y="58321"/>
                  </a:cubicBezTo>
                  <a:cubicBezTo>
                    <a:pt x="300824" y="59547"/>
                    <a:pt x="302426" y="60422"/>
                    <a:pt x="304028" y="60422"/>
                  </a:cubicBezTo>
                  <a:lnTo>
                    <a:pt x="312998" y="60422"/>
                  </a:lnTo>
                  <a:lnTo>
                    <a:pt x="312998" y="53417"/>
                  </a:lnTo>
                  <a:lnTo>
                    <a:pt x="306591" y="53417"/>
                  </a:lnTo>
                  <a:lnTo>
                    <a:pt x="306591" y="57445"/>
                  </a:lnTo>
                  <a:cubicBezTo>
                    <a:pt x="306591" y="59196"/>
                    <a:pt x="307232" y="61123"/>
                    <a:pt x="308513" y="62349"/>
                  </a:cubicBezTo>
                  <a:cubicBezTo>
                    <a:pt x="309634" y="63575"/>
                    <a:pt x="311396" y="64451"/>
                    <a:pt x="312998" y="64451"/>
                  </a:cubicBezTo>
                  <a:lnTo>
                    <a:pt x="369543" y="64451"/>
                  </a:lnTo>
                  <a:lnTo>
                    <a:pt x="369543" y="57445"/>
                  </a:lnTo>
                  <a:lnTo>
                    <a:pt x="363135" y="57445"/>
                  </a:lnTo>
                  <a:lnTo>
                    <a:pt x="363135" y="61473"/>
                  </a:lnTo>
                  <a:cubicBezTo>
                    <a:pt x="363135" y="63400"/>
                    <a:pt x="363776" y="65151"/>
                    <a:pt x="365058" y="66377"/>
                  </a:cubicBezTo>
                  <a:cubicBezTo>
                    <a:pt x="366179" y="67603"/>
                    <a:pt x="367941" y="68479"/>
                    <a:pt x="369543" y="68479"/>
                  </a:cubicBezTo>
                  <a:lnTo>
                    <a:pt x="375470" y="68479"/>
                  </a:lnTo>
                  <a:lnTo>
                    <a:pt x="375470" y="61473"/>
                  </a:lnTo>
                  <a:lnTo>
                    <a:pt x="369062" y="61473"/>
                  </a:lnTo>
                  <a:lnTo>
                    <a:pt x="369062" y="65852"/>
                  </a:lnTo>
                  <a:cubicBezTo>
                    <a:pt x="369062" y="67603"/>
                    <a:pt x="369703" y="69529"/>
                    <a:pt x="370984" y="70755"/>
                  </a:cubicBezTo>
                  <a:cubicBezTo>
                    <a:pt x="372266" y="71981"/>
                    <a:pt x="373868" y="72857"/>
                    <a:pt x="375470" y="72857"/>
                  </a:cubicBezTo>
                  <a:lnTo>
                    <a:pt x="423044" y="72857"/>
                  </a:lnTo>
                  <a:lnTo>
                    <a:pt x="423044" y="65852"/>
                  </a:lnTo>
                  <a:lnTo>
                    <a:pt x="416637" y="65852"/>
                  </a:lnTo>
                  <a:lnTo>
                    <a:pt x="416637" y="70230"/>
                  </a:lnTo>
                  <a:cubicBezTo>
                    <a:pt x="416637" y="72157"/>
                    <a:pt x="417277" y="73908"/>
                    <a:pt x="418559" y="75134"/>
                  </a:cubicBezTo>
                  <a:cubicBezTo>
                    <a:pt x="419680" y="76360"/>
                    <a:pt x="421442" y="77236"/>
                    <a:pt x="423044" y="77236"/>
                  </a:cubicBezTo>
                  <a:lnTo>
                    <a:pt x="443868" y="77236"/>
                  </a:lnTo>
                  <a:lnTo>
                    <a:pt x="443868" y="70230"/>
                  </a:lnTo>
                  <a:lnTo>
                    <a:pt x="437460" y="70230"/>
                  </a:lnTo>
                  <a:lnTo>
                    <a:pt x="437460" y="74608"/>
                  </a:lnTo>
                  <a:cubicBezTo>
                    <a:pt x="437460" y="76360"/>
                    <a:pt x="438101" y="78286"/>
                    <a:pt x="439383" y="79512"/>
                  </a:cubicBezTo>
                  <a:cubicBezTo>
                    <a:pt x="440504" y="80738"/>
                    <a:pt x="442266" y="81614"/>
                    <a:pt x="443868" y="81614"/>
                  </a:cubicBezTo>
                  <a:lnTo>
                    <a:pt x="452838" y="81614"/>
                  </a:lnTo>
                  <a:lnTo>
                    <a:pt x="452838" y="74608"/>
                  </a:lnTo>
                  <a:lnTo>
                    <a:pt x="446431" y="74608"/>
                  </a:lnTo>
                  <a:lnTo>
                    <a:pt x="446431" y="79162"/>
                  </a:lnTo>
                  <a:cubicBezTo>
                    <a:pt x="446431" y="80913"/>
                    <a:pt x="447071" y="82840"/>
                    <a:pt x="448353" y="84066"/>
                  </a:cubicBezTo>
                  <a:cubicBezTo>
                    <a:pt x="449474" y="85292"/>
                    <a:pt x="451236" y="86168"/>
                    <a:pt x="452838" y="86168"/>
                  </a:cubicBezTo>
                  <a:lnTo>
                    <a:pt x="500413" y="86168"/>
                  </a:lnTo>
                  <a:lnTo>
                    <a:pt x="500413" y="79162"/>
                  </a:lnTo>
                  <a:lnTo>
                    <a:pt x="494005" y="79162"/>
                  </a:lnTo>
                  <a:lnTo>
                    <a:pt x="494005" y="83190"/>
                  </a:lnTo>
                  <a:cubicBezTo>
                    <a:pt x="494005" y="84942"/>
                    <a:pt x="494646" y="86868"/>
                    <a:pt x="495927" y="88094"/>
                  </a:cubicBezTo>
                  <a:cubicBezTo>
                    <a:pt x="497049" y="89320"/>
                    <a:pt x="498811" y="90196"/>
                    <a:pt x="500413" y="90196"/>
                  </a:cubicBezTo>
                  <a:lnTo>
                    <a:pt x="515310" y="90196"/>
                  </a:lnTo>
                  <a:lnTo>
                    <a:pt x="515310" y="83190"/>
                  </a:lnTo>
                  <a:lnTo>
                    <a:pt x="508902" y="83190"/>
                  </a:lnTo>
                  <a:lnTo>
                    <a:pt x="508902" y="87394"/>
                  </a:lnTo>
                  <a:cubicBezTo>
                    <a:pt x="508902" y="89145"/>
                    <a:pt x="509543" y="91071"/>
                    <a:pt x="510824" y="92297"/>
                  </a:cubicBezTo>
                  <a:cubicBezTo>
                    <a:pt x="511946" y="93523"/>
                    <a:pt x="513708" y="94399"/>
                    <a:pt x="515310" y="94399"/>
                  </a:cubicBezTo>
                  <a:lnTo>
                    <a:pt x="574898" y="94399"/>
                  </a:lnTo>
                  <a:lnTo>
                    <a:pt x="574898" y="87394"/>
                  </a:lnTo>
                  <a:lnTo>
                    <a:pt x="568490" y="87394"/>
                  </a:lnTo>
                  <a:lnTo>
                    <a:pt x="568490" y="91597"/>
                  </a:lnTo>
                  <a:cubicBezTo>
                    <a:pt x="568490" y="93348"/>
                    <a:pt x="569131" y="95275"/>
                    <a:pt x="570413" y="96501"/>
                  </a:cubicBezTo>
                  <a:cubicBezTo>
                    <a:pt x="571694" y="97727"/>
                    <a:pt x="573296" y="98602"/>
                    <a:pt x="574898" y="98602"/>
                  </a:cubicBezTo>
                  <a:lnTo>
                    <a:pt x="589795" y="98602"/>
                  </a:lnTo>
                  <a:lnTo>
                    <a:pt x="589795" y="91597"/>
                  </a:lnTo>
                  <a:lnTo>
                    <a:pt x="583387" y="91597"/>
                  </a:lnTo>
                  <a:lnTo>
                    <a:pt x="583387" y="96150"/>
                  </a:lnTo>
                  <a:cubicBezTo>
                    <a:pt x="583387" y="97902"/>
                    <a:pt x="584028" y="99828"/>
                    <a:pt x="585310" y="101054"/>
                  </a:cubicBezTo>
                  <a:cubicBezTo>
                    <a:pt x="586431" y="102280"/>
                    <a:pt x="588193" y="103156"/>
                    <a:pt x="589795" y="103156"/>
                  </a:cubicBezTo>
                  <a:lnTo>
                    <a:pt x="595722" y="103156"/>
                  </a:lnTo>
                  <a:lnTo>
                    <a:pt x="595722" y="96150"/>
                  </a:lnTo>
                  <a:lnTo>
                    <a:pt x="589314" y="96150"/>
                  </a:lnTo>
                  <a:lnTo>
                    <a:pt x="589314" y="100354"/>
                  </a:lnTo>
                  <a:cubicBezTo>
                    <a:pt x="589314" y="102105"/>
                    <a:pt x="589955" y="104032"/>
                    <a:pt x="591236" y="105258"/>
                  </a:cubicBezTo>
                  <a:cubicBezTo>
                    <a:pt x="592358" y="106483"/>
                    <a:pt x="594120" y="107359"/>
                    <a:pt x="595722" y="107359"/>
                  </a:cubicBezTo>
                  <a:lnTo>
                    <a:pt x="598765" y="107359"/>
                  </a:lnTo>
                  <a:lnTo>
                    <a:pt x="598765" y="100354"/>
                  </a:lnTo>
                  <a:lnTo>
                    <a:pt x="592358" y="100354"/>
                  </a:lnTo>
                  <a:lnTo>
                    <a:pt x="592358" y="104907"/>
                  </a:lnTo>
                  <a:cubicBezTo>
                    <a:pt x="592358" y="106659"/>
                    <a:pt x="592998" y="108585"/>
                    <a:pt x="594280" y="109811"/>
                  </a:cubicBezTo>
                  <a:cubicBezTo>
                    <a:pt x="595561" y="111037"/>
                    <a:pt x="597163" y="111913"/>
                    <a:pt x="598765" y="111913"/>
                  </a:cubicBezTo>
                  <a:lnTo>
                    <a:pt x="697118" y="111913"/>
                  </a:lnTo>
                  <a:lnTo>
                    <a:pt x="697118" y="104907"/>
                  </a:lnTo>
                  <a:lnTo>
                    <a:pt x="690710" y="104907"/>
                  </a:lnTo>
                  <a:lnTo>
                    <a:pt x="690710" y="110687"/>
                  </a:lnTo>
                  <a:cubicBezTo>
                    <a:pt x="690710" y="112438"/>
                    <a:pt x="691351" y="114365"/>
                    <a:pt x="692632" y="115591"/>
                  </a:cubicBezTo>
                  <a:cubicBezTo>
                    <a:pt x="693754" y="116817"/>
                    <a:pt x="695516" y="117692"/>
                    <a:pt x="697118" y="117692"/>
                  </a:cubicBezTo>
                  <a:lnTo>
                    <a:pt x="703044" y="117692"/>
                  </a:lnTo>
                  <a:lnTo>
                    <a:pt x="703044" y="110687"/>
                  </a:lnTo>
                  <a:lnTo>
                    <a:pt x="696637" y="110687"/>
                  </a:lnTo>
                  <a:lnTo>
                    <a:pt x="696637" y="114715"/>
                  </a:lnTo>
                  <a:cubicBezTo>
                    <a:pt x="696637" y="116466"/>
                    <a:pt x="697278" y="118393"/>
                    <a:pt x="698559" y="119619"/>
                  </a:cubicBezTo>
                  <a:cubicBezTo>
                    <a:pt x="699681" y="120845"/>
                    <a:pt x="701443" y="121720"/>
                    <a:pt x="703044" y="121720"/>
                  </a:cubicBezTo>
                  <a:lnTo>
                    <a:pt x="720825" y="121720"/>
                  </a:lnTo>
                  <a:lnTo>
                    <a:pt x="720825" y="114715"/>
                  </a:lnTo>
                  <a:lnTo>
                    <a:pt x="714417" y="114715"/>
                  </a:lnTo>
                  <a:lnTo>
                    <a:pt x="714417" y="118918"/>
                  </a:lnTo>
                  <a:cubicBezTo>
                    <a:pt x="714417" y="120845"/>
                    <a:pt x="715058" y="122596"/>
                    <a:pt x="716340" y="123822"/>
                  </a:cubicBezTo>
                  <a:cubicBezTo>
                    <a:pt x="717461" y="125048"/>
                    <a:pt x="719223" y="125924"/>
                    <a:pt x="720825" y="125924"/>
                  </a:cubicBezTo>
                  <a:lnTo>
                    <a:pt x="813250" y="125924"/>
                  </a:lnTo>
                  <a:lnTo>
                    <a:pt x="813250" y="118918"/>
                  </a:lnTo>
                  <a:lnTo>
                    <a:pt x="806843" y="118918"/>
                  </a:lnTo>
                  <a:lnTo>
                    <a:pt x="806843" y="123122"/>
                  </a:lnTo>
                  <a:cubicBezTo>
                    <a:pt x="806843" y="124873"/>
                    <a:pt x="807484" y="126799"/>
                    <a:pt x="808765" y="128025"/>
                  </a:cubicBezTo>
                  <a:cubicBezTo>
                    <a:pt x="810047" y="129251"/>
                    <a:pt x="811649" y="130127"/>
                    <a:pt x="813250" y="130127"/>
                  </a:cubicBezTo>
                  <a:lnTo>
                    <a:pt x="860985" y="130127"/>
                  </a:lnTo>
                  <a:lnTo>
                    <a:pt x="860985" y="123122"/>
                  </a:lnTo>
                  <a:lnTo>
                    <a:pt x="854578" y="123122"/>
                  </a:lnTo>
                  <a:lnTo>
                    <a:pt x="854578" y="127150"/>
                  </a:lnTo>
                  <a:cubicBezTo>
                    <a:pt x="854578" y="128901"/>
                    <a:pt x="855218" y="130828"/>
                    <a:pt x="856500" y="132054"/>
                  </a:cubicBezTo>
                  <a:cubicBezTo>
                    <a:pt x="857621" y="133279"/>
                    <a:pt x="859383" y="134155"/>
                    <a:pt x="860985" y="134155"/>
                  </a:cubicBezTo>
                  <a:lnTo>
                    <a:pt x="920573" y="134155"/>
                  </a:lnTo>
                  <a:lnTo>
                    <a:pt x="920573" y="127150"/>
                  </a:lnTo>
                  <a:lnTo>
                    <a:pt x="914166" y="127150"/>
                  </a:lnTo>
                  <a:lnTo>
                    <a:pt x="914166" y="131353"/>
                  </a:lnTo>
                  <a:cubicBezTo>
                    <a:pt x="914166" y="133279"/>
                    <a:pt x="914807" y="135031"/>
                    <a:pt x="916088" y="136257"/>
                  </a:cubicBezTo>
                  <a:cubicBezTo>
                    <a:pt x="917209" y="137483"/>
                    <a:pt x="918971" y="138358"/>
                    <a:pt x="920573" y="138358"/>
                  </a:cubicBezTo>
                  <a:lnTo>
                    <a:pt x="929063" y="138358"/>
                  </a:lnTo>
                  <a:lnTo>
                    <a:pt x="929063" y="140810"/>
                  </a:lnTo>
                  <a:cubicBezTo>
                    <a:pt x="929063" y="142737"/>
                    <a:pt x="929704" y="144488"/>
                    <a:pt x="930985" y="145714"/>
                  </a:cubicBezTo>
                  <a:cubicBezTo>
                    <a:pt x="932106" y="146940"/>
                    <a:pt x="933868" y="147816"/>
                    <a:pt x="935470" y="147816"/>
                  </a:cubicBezTo>
                  <a:lnTo>
                    <a:pt x="944441" y="147816"/>
                  </a:lnTo>
                  <a:lnTo>
                    <a:pt x="944441" y="140810"/>
                  </a:lnTo>
                  <a:lnTo>
                    <a:pt x="938033" y="140810"/>
                  </a:lnTo>
                  <a:lnTo>
                    <a:pt x="938033" y="145189"/>
                  </a:lnTo>
                  <a:cubicBezTo>
                    <a:pt x="938033" y="146940"/>
                    <a:pt x="938674" y="148867"/>
                    <a:pt x="939955" y="150093"/>
                  </a:cubicBezTo>
                  <a:cubicBezTo>
                    <a:pt x="941077" y="151319"/>
                    <a:pt x="942839" y="152194"/>
                    <a:pt x="944441" y="152194"/>
                  </a:cubicBezTo>
                  <a:lnTo>
                    <a:pt x="971351" y="152194"/>
                  </a:lnTo>
                  <a:lnTo>
                    <a:pt x="971351" y="145189"/>
                  </a:lnTo>
                  <a:lnTo>
                    <a:pt x="964944" y="145189"/>
                  </a:lnTo>
                  <a:lnTo>
                    <a:pt x="964944" y="149392"/>
                  </a:lnTo>
                  <a:cubicBezTo>
                    <a:pt x="964944" y="151143"/>
                    <a:pt x="965585" y="153070"/>
                    <a:pt x="966866" y="154296"/>
                  </a:cubicBezTo>
                  <a:cubicBezTo>
                    <a:pt x="968148" y="155522"/>
                    <a:pt x="969749" y="156398"/>
                    <a:pt x="971351" y="156398"/>
                  </a:cubicBezTo>
                  <a:lnTo>
                    <a:pt x="977278" y="156398"/>
                  </a:lnTo>
                  <a:lnTo>
                    <a:pt x="977278" y="149392"/>
                  </a:lnTo>
                  <a:lnTo>
                    <a:pt x="970871" y="149392"/>
                  </a:lnTo>
                  <a:lnTo>
                    <a:pt x="970871" y="153595"/>
                  </a:lnTo>
                  <a:cubicBezTo>
                    <a:pt x="970871" y="155347"/>
                    <a:pt x="971512" y="157273"/>
                    <a:pt x="972793" y="158499"/>
                  </a:cubicBezTo>
                  <a:cubicBezTo>
                    <a:pt x="973914" y="159725"/>
                    <a:pt x="975676" y="160601"/>
                    <a:pt x="977278" y="160601"/>
                  </a:cubicBezTo>
                  <a:lnTo>
                    <a:pt x="983205" y="160601"/>
                  </a:lnTo>
                  <a:lnTo>
                    <a:pt x="983205" y="153595"/>
                  </a:lnTo>
                  <a:lnTo>
                    <a:pt x="976798" y="153595"/>
                  </a:lnTo>
                  <a:lnTo>
                    <a:pt x="976798" y="157974"/>
                  </a:lnTo>
                  <a:cubicBezTo>
                    <a:pt x="976798" y="159725"/>
                    <a:pt x="977438" y="161652"/>
                    <a:pt x="978720" y="162878"/>
                  </a:cubicBezTo>
                  <a:cubicBezTo>
                    <a:pt x="979841" y="164104"/>
                    <a:pt x="981603" y="164979"/>
                    <a:pt x="983205" y="164979"/>
                  </a:cubicBezTo>
                  <a:lnTo>
                    <a:pt x="1004029" y="164979"/>
                  </a:lnTo>
                  <a:lnTo>
                    <a:pt x="1004029" y="157974"/>
                  </a:lnTo>
                  <a:lnTo>
                    <a:pt x="997621" y="157974"/>
                  </a:lnTo>
                  <a:lnTo>
                    <a:pt x="997621" y="162002"/>
                  </a:lnTo>
                  <a:cubicBezTo>
                    <a:pt x="997621" y="163753"/>
                    <a:pt x="998262" y="165680"/>
                    <a:pt x="999544" y="166906"/>
                  </a:cubicBezTo>
                  <a:cubicBezTo>
                    <a:pt x="1000665" y="168132"/>
                    <a:pt x="1002427" y="169007"/>
                    <a:pt x="1004029" y="169007"/>
                  </a:cubicBezTo>
                  <a:lnTo>
                    <a:pt x="1063617" y="169007"/>
                  </a:lnTo>
                  <a:lnTo>
                    <a:pt x="1063617" y="162002"/>
                  </a:lnTo>
                  <a:lnTo>
                    <a:pt x="1057370" y="162002"/>
                  </a:lnTo>
                  <a:lnTo>
                    <a:pt x="1057370" y="166380"/>
                  </a:lnTo>
                  <a:cubicBezTo>
                    <a:pt x="1057370" y="168307"/>
                    <a:pt x="1058011" y="170058"/>
                    <a:pt x="1059292" y="171284"/>
                  </a:cubicBezTo>
                  <a:cubicBezTo>
                    <a:pt x="1060413" y="172510"/>
                    <a:pt x="1062175" y="173386"/>
                    <a:pt x="1063777" y="173386"/>
                  </a:cubicBezTo>
                  <a:lnTo>
                    <a:pt x="1084601" y="173386"/>
                  </a:lnTo>
                  <a:lnTo>
                    <a:pt x="1084601" y="166380"/>
                  </a:lnTo>
                  <a:lnTo>
                    <a:pt x="1078194" y="166380"/>
                  </a:lnTo>
                  <a:lnTo>
                    <a:pt x="1078194" y="170934"/>
                  </a:lnTo>
                  <a:cubicBezTo>
                    <a:pt x="1078194" y="172685"/>
                    <a:pt x="1078834" y="174612"/>
                    <a:pt x="1080116" y="175838"/>
                  </a:cubicBezTo>
                  <a:cubicBezTo>
                    <a:pt x="1081237" y="177064"/>
                    <a:pt x="1082999" y="177939"/>
                    <a:pt x="1084601" y="177939"/>
                  </a:cubicBezTo>
                  <a:lnTo>
                    <a:pt x="1111351" y="177939"/>
                  </a:lnTo>
                  <a:lnTo>
                    <a:pt x="1111351" y="170934"/>
                  </a:lnTo>
                  <a:lnTo>
                    <a:pt x="1104944" y="170934"/>
                  </a:lnTo>
                  <a:lnTo>
                    <a:pt x="1104944" y="176013"/>
                  </a:lnTo>
                  <a:cubicBezTo>
                    <a:pt x="1104944" y="177764"/>
                    <a:pt x="1105585" y="179691"/>
                    <a:pt x="1106866" y="180917"/>
                  </a:cubicBezTo>
                  <a:cubicBezTo>
                    <a:pt x="1107988" y="182143"/>
                    <a:pt x="1109750" y="183018"/>
                    <a:pt x="1111351" y="183018"/>
                  </a:cubicBezTo>
                  <a:lnTo>
                    <a:pt x="1114395" y="183018"/>
                  </a:lnTo>
                  <a:lnTo>
                    <a:pt x="1114395" y="176013"/>
                  </a:lnTo>
                  <a:lnTo>
                    <a:pt x="1107988" y="176013"/>
                  </a:lnTo>
                  <a:lnTo>
                    <a:pt x="1107988" y="180216"/>
                  </a:lnTo>
                  <a:cubicBezTo>
                    <a:pt x="1107988" y="181968"/>
                    <a:pt x="1108628" y="183894"/>
                    <a:pt x="1109910" y="185120"/>
                  </a:cubicBezTo>
                  <a:cubicBezTo>
                    <a:pt x="1111031" y="186346"/>
                    <a:pt x="1112793" y="187222"/>
                    <a:pt x="1114395" y="187222"/>
                  </a:cubicBezTo>
                  <a:lnTo>
                    <a:pt x="1182953" y="187222"/>
                  </a:lnTo>
                  <a:lnTo>
                    <a:pt x="1182953" y="180216"/>
                  </a:lnTo>
                  <a:lnTo>
                    <a:pt x="1176546" y="180216"/>
                  </a:lnTo>
                  <a:lnTo>
                    <a:pt x="1176546" y="184595"/>
                  </a:lnTo>
                  <a:cubicBezTo>
                    <a:pt x="1176546" y="186346"/>
                    <a:pt x="1177187" y="188273"/>
                    <a:pt x="1178468" y="189499"/>
                  </a:cubicBezTo>
                  <a:cubicBezTo>
                    <a:pt x="1179590" y="190724"/>
                    <a:pt x="1181352" y="191600"/>
                    <a:pt x="1182953" y="191600"/>
                  </a:cubicBezTo>
                  <a:lnTo>
                    <a:pt x="1188880" y="191600"/>
                  </a:lnTo>
                  <a:lnTo>
                    <a:pt x="1188880" y="184595"/>
                  </a:lnTo>
                  <a:lnTo>
                    <a:pt x="1182473" y="184595"/>
                  </a:lnTo>
                  <a:lnTo>
                    <a:pt x="1182473" y="188973"/>
                  </a:lnTo>
                  <a:cubicBezTo>
                    <a:pt x="1182473" y="190724"/>
                    <a:pt x="1183114" y="192651"/>
                    <a:pt x="1184395" y="193877"/>
                  </a:cubicBezTo>
                  <a:cubicBezTo>
                    <a:pt x="1185516" y="195103"/>
                    <a:pt x="1187278" y="195979"/>
                    <a:pt x="1188880" y="195979"/>
                  </a:cubicBezTo>
                  <a:lnTo>
                    <a:pt x="1194807" y="195979"/>
                  </a:lnTo>
                  <a:lnTo>
                    <a:pt x="1194807" y="188973"/>
                  </a:lnTo>
                  <a:lnTo>
                    <a:pt x="1188400" y="188973"/>
                  </a:lnTo>
                  <a:lnTo>
                    <a:pt x="1188400" y="193702"/>
                  </a:lnTo>
                  <a:cubicBezTo>
                    <a:pt x="1188400" y="195453"/>
                    <a:pt x="1189040" y="197380"/>
                    <a:pt x="1190322" y="198606"/>
                  </a:cubicBezTo>
                  <a:cubicBezTo>
                    <a:pt x="1191443" y="199832"/>
                    <a:pt x="1193205" y="200707"/>
                    <a:pt x="1194807" y="200707"/>
                  </a:cubicBezTo>
                  <a:lnTo>
                    <a:pt x="1302130" y="200707"/>
                  </a:lnTo>
                  <a:lnTo>
                    <a:pt x="1302130" y="193702"/>
                  </a:lnTo>
                  <a:lnTo>
                    <a:pt x="1295722" y="193702"/>
                  </a:lnTo>
                  <a:lnTo>
                    <a:pt x="1295722" y="198255"/>
                  </a:lnTo>
                  <a:cubicBezTo>
                    <a:pt x="1295722" y="200007"/>
                    <a:pt x="1296363" y="201933"/>
                    <a:pt x="1297645" y="203159"/>
                  </a:cubicBezTo>
                  <a:cubicBezTo>
                    <a:pt x="1298766" y="204385"/>
                    <a:pt x="1300528" y="205261"/>
                    <a:pt x="1302130" y="205261"/>
                  </a:cubicBezTo>
                  <a:lnTo>
                    <a:pt x="1319910" y="205261"/>
                  </a:lnTo>
                  <a:lnTo>
                    <a:pt x="1319910" y="198255"/>
                  </a:lnTo>
                  <a:lnTo>
                    <a:pt x="1313503" y="198255"/>
                  </a:lnTo>
                  <a:lnTo>
                    <a:pt x="1313503" y="202984"/>
                  </a:lnTo>
                  <a:cubicBezTo>
                    <a:pt x="1313503" y="204911"/>
                    <a:pt x="1314144" y="206662"/>
                    <a:pt x="1315425" y="207888"/>
                  </a:cubicBezTo>
                  <a:cubicBezTo>
                    <a:pt x="1316546" y="209114"/>
                    <a:pt x="1318308" y="209990"/>
                    <a:pt x="1319910" y="209990"/>
                  </a:cubicBezTo>
                  <a:lnTo>
                    <a:pt x="1343777" y="209990"/>
                  </a:lnTo>
                  <a:lnTo>
                    <a:pt x="1343777" y="202984"/>
                  </a:lnTo>
                  <a:lnTo>
                    <a:pt x="1337370" y="202984"/>
                  </a:lnTo>
                  <a:lnTo>
                    <a:pt x="1337370" y="207888"/>
                  </a:lnTo>
                  <a:cubicBezTo>
                    <a:pt x="1337370" y="209639"/>
                    <a:pt x="1338011" y="211566"/>
                    <a:pt x="1339292" y="212792"/>
                  </a:cubicBezTo>
                  <a:cubicBezTo>
                    <a:pt x="1340414" y="214018"/>
                    <a:pt x="1342176" y="214893"/>
                    <a:pt x="1343777" y="214893"/>
                  </a:cubicBezTo>
                  <a:lnTo>
                    <a:pt x="1412336" y="214893"/>
                  </a:lnTo>
                  <a:lnTo>
                    <a:pt x="1412336" y="207888"/>
                  </a:lnTo>
                  <a:lnTo>
                    <a:pt x="1405928" y="207888"/>
                  </a:lnTo>
                  <a:lnTo>
                    <a:pt x="1405928" y="212617"/>
                  </a:lnTo>
                  <a:cubicBezTo>
                    <a:pt x="1405928" y="214543"/>
                    <a:pt x="1406569" y="216295"/>
                    <a:pt x="1407851" y="217520"/>
                  </a:cubicBezTo>
                  <a:cubicBezTo>
                    <a:pt x="1409132" y="218746"/>
                    <a:pt x="1410734" y="219622"/>
                    <a:pt x="1412336" y="219622"/>
                  </a:cubicBezTo>
                  <a:lnTo>
                    <a:pt x="1442130" y="219622"/>
                  </a:lnTo>
                  <a:lnTo>
                    <a:pt x="1442130" y="212617"/>
                  </a:lnTo>
                  <a:lnTo>
                    <a:pt x="1435723" y="212617"/>
                  </a:lnTo>
                  <a:lnTo>
                    <a:pt x="1435723" y="217170"/>
                  </a:lnTo>
                  <a:cubicBezTo>
                    <a:pt x="1435723" y="218922"/>
                    <a:pt x="1436363" y="220848"/>
                    <a:pt x="1437645" y="222074"/>
                  </a:cubicBezTo>
                  <a:cubicBezTo>
                    <a:pt x="1438766" y="223300"/>
                    <a:pt x="1440528" y="224176"/>
                    <a:pt x="1442130" y="224176"/>
                  </a:cubicBezTo>
                  <a:lnTo>
                    <a:pt x="1465997" y="224176"/>
                  </a:lnTo>
                  <a:lnTo>
                    <a:pt x="1465997" y="217170"/>
                  </a:lnTo>
                  <a:lnTo>
                    <a:pt x="1459590" y="217170"/>
                  </a:lnTo>
                  <a:lnTo>
                    <a:pt x="1459590" y="222249"/>
                  </a:lnTo>
                  <a:cubicBezTo>
                    <a:pt x="1459590" y="224001"/>
                    <a:pt x="1460231" y="225927"/>
                    <a:pt x="1461512" y="227153"/>
                  </a:cubicBezTo>
                  <a:cubicBezTo>
                    <a:pt x="1462633" y="228379"/>
                    <a:pt x="1464395" y="229255"/>
                    <a:pt x="1465997" y="229255"/>
                  </a:cubicBezTo>
                  <a:lnTo>
                    <a:pt x="1474968" y="229255"/>
                  </a:lnTo>
                  <a:lnTo>
                    <a:pt x="1474968" y="222249"/>
                  </a:lnTo>
                  <a:lnTo>
                    <a:pt x="1468560" y="222249"/>
                  </a:lnTo>
                  <a:lnTo>
                    <a:pt x="1468560" y="226803"/>
                  </a:lnTo>
                  <a:cubicBezTo>
                    <a:pt x="1468560" y="228554"/>
                    <a:pt x="1469201" y="230481"/>
                    <a:pt x="1470482" y="231707"/>
                  </a:cubicBezTo>
                  <a:cubicBezTo>
                    <a:pt x="1471604" y="232933"/>
                    <a:pt x="1473366" y="233808"/>
                    <a:pt x="1474968" y="233808"/>
                  </a:cubicBezTo>
                  <a:lnTo>
                    <a:pt x="1489865" y="233808"/>
                  </a:lnTo>
                  <a:lnTo>
                    <a:pt x="1489865" y="226803"/>
                  </a:lnTo>
                  <a:lnTo>
                    <a:pt x="1483457" y="226803"/>
                  </a:lnTo>
                  <a:lnTo>
                    <a:pt x="1483457" y="231006"/>
                  </a:lnTo>
                  <a:cubicBezTo>
                    <a:pt x="1483457" y="232757"/>
                    <a:pt x="1484098" y="234684"/>
                    <a:pt x="1485379" y="235910"/>
                  </a:cubicBezTo>
                  <a:cubicBezTo>
                    <a:pt x="1486501" y="237136"/>
                    <a:pt x="1488263" y="238012"/>
                    <a:pt x="1489865" y="238012"/>
                  </a:cubicBezTo>
                  <a:lnTo>
                    <a:pt x="1513732" y="238012"/>
                  </a:lnTo>
                  <a:lnTo>
                    <a:pt x="1513732" y="231006"/>
                  </a:lnTo>
                  <a:lnTo>
                    <a:pt x="1507325" y="231006"/>
                  </a:lnTo>
                  <a:lnTo>
                    <a:pt x="1507325" y="236085"/>
                  </a:lnTo>
                  <a:cubicBezTo>
                    <a:pt x="1507325" y="237836"/>
                    <a:pt x="1507965" y="239763"/>
                    <a:pt x="1509247" y="240989"/>
                  </a:cubicBezTo>
                  <a:cubicBezTo>
                    <a:pt x="1510368" y="242215"/>
                    <a:pt x="1512130" y="243091"/>
                    <a:pt x="1513732" y="243091"/>
                  </a:cubicBezTo>
                  <a:lnTo>
                    <a:pt x="1665586" y="243091"/>
                  </a:lnTo>
                  <a:lnTo>
                    <a:pt x="1665586" y="236085"/>
                  </a:lnTo>
                  <a:lnTo>
                    <a:pt x="1659178" y="236085"/>
                  </a:lnTo>
                  <a:lnTo>
                    <a:pt x="1659178" y="240463"/>
                  </a:lnTo>
                  <a:cubicBezTo>
                    <a:pt x="1659178" y="242215"/>
                    <a:pt x="1659819" y="244141"/>
                    <a:pt x="1661100" y="245367"/>
                  </a:cubicBezTo>
                  <a:cubicBezTo>
                    <a:pt x="1662222" y="246593"/>
                    <a:pt x="1663984" y="247469"/>
                    <a:pt x="1665586" y="247469"/>
                  </a:cubicBezTo>
                  <a:lnTo>
                    <a:pt x="1743114" y="247469"/>
                  </a:lnTo>
                  <a:lnTo>
                    <a:pt x="1743114" y="240463"/>
                  </a:lnTo>
                  <a:lnTo>
                    <a:pt x="1736707" y="240463"/>
                  </a:lnTo>
                  <a:lnTo>
                    <a:pt x="1736707" y="245367"/>
                  </a:lnTo>
                  <a:cubicBezTo>
                    <a:pt x="1736707" y="247119"/>
                    <a:pt x="1737348" y="249045"/>
                    <a:pt x="1738629" y="250271"/>
                  </a:cubicBezTo>
                  <a:cubicBezTo>
                    <a:pt x="1739750" y="251497"/>
                    <a:pt x="1741512" y="252373"/>
                    <a:pt x="1743114" y="252373"/>
                  </a:cubicBezTo>
                  <a:lnTo>
                    <a:pt x="1758011" y="252373"/>
                  </a:lnTo>
                  <a:lnTo>
                    <a:pt x="1758011" y="245367"/>
                  </a:lnTo>
                  <a:lnTo>
                    <a:pt x="1751604" y="245367"/>
                  </a:lnTo>
                  <a:lnTo>
                    <a:pt x="1751604" y="249921"/>
                  </a:lnTo>
                  <a:cubicBezTo>
                    <a:pt x="1751604" y="251672"/>
                    <a:pt x="1752245" y="253599"/>
                    <a:pt x="1753526" y="254825"/>
                  </a:cubicBezTo>
                  <a:cubicBezTo>
                    <a:pt x="1754647" y="256051"/>
                    <a:pt x="1756410" y="256926"/>
                    <a:pt x="1758011" y="256926"/>
                  </a:cubicBezTo>
                  <a:lnTo>
                    <a:pt x="1790849" y="256926"/>
                  </a:lnTo>
                  <a:lnTo>
                    <a:pt x="1790849" y="249921"/>
                  </a:lnTo>
                  <a:lnTo>
                    <a:pt x="1784442" y="249921"/>
                  </a:lnTo>
                  <a:lnTo>
                    <a:pt x="1784442" y="254124"/>
                  </a:lnTo>
                  <a:cubicBezTo>
                    <a:pt x="1784442" y="256051"/>
                    <a:pt x="1785082" y="257802"/>
                    <a:pt x="1786364" y="259028"/>
                  </a:cubicBezTo>
                  <a:cubicBezTo>
                    <a:pt x="1787485" y="260254"/>
                    <a:pt x="1789247" y="261130"/>
                    <a:pt x="1790849" y="261130"/>
                  </a:cubicBezTo>
                  <a:lnTo>
                    <a:pt x="1832497" y="261130"/>
                  </a:lnTo>
                  <a:lnTo>
                    <a:pt x="1832497" y="254124"/>
                  </a:lnTo>
                  <a:lnTo>
                    <a:pt x="1826089" y="254124"/>
                  </a:lnTo>
                  <a:lnTo>
                    <a:pt x="1826089" y="258678"/>
                  </a:lnTo>
                  <a:cubicBezTo>
                    <a:pt x="1826089" y="260429"/>
                    <a:pt x="1826730" y="262356"/>
                    <a:pt x="1828011" y="263582"/>
                  </a:cubicBezTo>
                  <a:cubicBezTo>
                    <a:pt x="1829133" y="264808"/>
                    <a:pt x="1830735" y="265683"/>
                    <a:pt x="1832497" y="265683"/>
                  </a:cubicBezTo>
                  <a:lnTo>
                    <a:pt x="1838423" y="265683"/>
                  </a:lnTo>
                  <a:lnTo>
                    <a:pt x="1838423" y="258678"/>
                  </a:lnTo>
                  <a:lnTo>
                    <a:pt x="1832016" y="258678"/>
                  </a:lnTo>
                  <a:lnTo>
                    <a:pt x="1832016" y="264107"/>
                  </a:lnTo>
                  <a:cubicBezTo>
                    <a:pt x="1832016" y="265858"/>
                    <a:pt x="1832657" y="267785"/>
                    <a:pt x="1833938" y="269011"/>
                  </a:cubicBezTo>
                  <a:cubicBezTo>
                    <a:pt x="1835059" y="270237"/>
                    <a:pt x="1836661" y="271113"/>
                    <a:pt x="1838423" y="271113"/>
                  </a:cubicBezTo>
                  <a:lnTo>
                    <a:pt x="1847394" y="271113"/>
                  </a:lnTo>
                  <a:lnTo>
                    <a:pt x="1847394" y="264107"/>
                  </a:lnTo>
                  <a:lnTo>
                    <a:pt x="1840986" y="264107"/>
                  </a:lnTo>
                  <a:lnTo>
                    <a:pt x="1840986" y="268310"/>
                  </a:lnTo>
                  <a:cubicBezTo>
                    <a:pt x="1840986" y="270062"/>
                    <a:pt x="1841627" y="271988"/>
                    <a:pt x="1842909" y="273214"/>
                  </a:cubicBezTo>
                  <a:cubicBezTo>
                    <a:pt x="1844030" y="274440"/>
                    <a:pt x="1845792" y="275316"/>
                    <a:pt x="1847394" y="275316"/>
                  </a:cubicBezTo>
                  <a:lnTo>
                    <a:pt x="1853320" y="275316"/>
                  </a:lnTo>
                  <a:lnTo>
                    <a:pt x="1853320" y="268310"/>
                  </a:lnTo>
                  <a:lnTo>
                    <a:pt x="1846913" y="268310"/>
                  </a:lnTo>
                  <a:lnTo>
                    <a:pt x="1846913" y="274790"/>
                  </a:lnTo>
                  <a:cubicBezTo>
                    <a:pt x="1846913" y="276542"/>
                    <a:pt x="1847554" y="278468"/>
                    <a:pt x="1848835" y="279694"/>
                  </a:cubicBezTo>
                  <a:cubicBezTo>
                    <a:pt x="1849956" y="280920"/>
                    <a:pt x="1851719" y="281796"/>
                    <a:pt x="1853320" y="281796"/>
                  </a:cubicBezTo>
                  <a:lnTo>
                    <a:pt x="1859247" y="281796"/>
                  </a:lnTo>
                  <a:lnTo>
                    <a:pt x="1859247" y="274790"/>
                  </a:lnTo>
                  <a:lnTo>
                    <a:pt x="1852840" y="274790"/>
                  </a:lnTo>
                  <a:lnTo>
                    <a:pt x="1852840" y="279344"/>
                  </a:lnTo>
                  <a:cubicBezTo>
                    <a:pt x="1852840" y="281095"/>
                    <a:pt x="1853481" y="283022"/>
                    <a:pt x="1854762" y="284248"/>
                  </a:cubicBezTo>
                  <a:cubicBezTo>
                    <a:pt x="1855883" y="285474"/>
                    <a:pt x="1857645" y="286349"/>
                    <a:pt x="1859247" y="286349"/>
                  </a:cubicBezTo>
                  <a:lnTo>
                    <a:pt x="1915792" y="286349"/>
                  </a:lnTo>
                  <a:lnTo>
                    <a:pt x="1915792" y="279344"/>
                  </a:lnTo>
                  <a:lnTo>
                    <a:pt x="1909384" y="279344"/>
                  </a:lnTo>
                  <a:lnTo>
                    <a:pt x="1909384" y="284248"/>
                  </a:lnTo>
                  <a:cubicBezTo>
                    <a:pt x="1909384" y="286174"/>
                    <a:pt x="1910025" y="287926"/>
                    <a:pt x="1911307" y="289152"/>
                  </a:cubicBezTo>
                  <a:cubicBezTo>
                    <a:pt x="1912428" y="290378"/>
                    <a:pt x="1914190" y="291253"/>
                    <a:pt x="1915792" y="291253"/>
                  </a:cubicBezTo>
                  <a:lnTo>
                    <a:pt x="1963526" y="291253"/>
                  </a:lnTo>
                  <a:lnTo>
                    <a:pt x="1963526" y="284248"/>
                  </a:lnTo>
                  <a:lnTo>
                    <a:pt x="1957119" y="284248"/>
                  </a:lnTo>
                  <a:lnTo>
                    <a:pt x="1957119" y="289152"/>
                  </a:lnTo>
                  <a:cubicBezTo>
                    <a:pt x="1957119" y="290903"/>
                    <a:pt x="1957760" y="292830"/>
                    <a:pt x="1959041" y="294055"/>
                  </a:cubicBezTo>
                  <a:cubicBezTo>
                    <a:pt x="1960163" y="295281"/>
                    <a:pt x="1961925" y="296157"/>
                    <a:pt x="1963526" y="296157"/>
                  </a:cubicBezTo>
                  <a:lnTo>
                    <a:pt x="2023115" y="296157"/>
                  </a:lnTo>
                  <a:lnTo>
                    <a:pt x="2023115" y="289152"/>
                  </a:lnTo>
                  <a:lnTo>
                    <a:pt x="2016707" y="289152"/>
                  </a:lnTo>
                  <a:lnTo>
                    <a:pt x="2016707" y="294055"/>
                  </a:lnTo>
                  <a:cubicBezTo>
                    <a:pt x="2016707" y="295807"/>
                    <a:pt x="2017348" y="297733"/>
                    <a:pt x="2018629" y="298959"/>
                  </a:cubicBezTo>
                  <a:cubicBezTo>
                    <a:pt x="2019751" y="300185"/>
                    <a:pt x="2021513" y="301061"/>
                    <a:pt x="2023115" y="301061"/>
                  </a:cubicBezTo>
                  <a:lnTo>
                    <a:pt x="2055792" y="301061"/>
                  </a:lnTo>
                  <a:lnTo>
                    <a:pt x="2055792" y="294055"/>
                  </a:lnTo>
                  <a:lnTo>
                    <a:pt x="2049385" y="294055"/>
                  </a:lnTo>
                  <a:lnTo>
                    <a:pt x="2049385" y="299134"/>
                  </a:lnTo>
                  <a:cubicBezTo>
                    <a:pt x="2049385" y="300886"/>
                    <a:pt x="2050025" y="302812"/>
                    <a:pt x="2051307" y="304038"/>
                  </a:cubicBezTo>
                  <a:cubicBezTo>
                    <a:pt x="2052428" y="305264"/>
                    <a:pt x="2054190" y="306140"/>
                    <a:pt x="2055792" y="306140"/>
                  </a:cubicBezTo>
                  <a:lnTo>
                    <a:pt x="2070689" y="306140"/>
                  </a:lnTo>
                  <a:lnTo>
                    <a:pt x="2070689" y="299134"/>
                  </a:lnTo>
                  <a:lnTo>
                    <a:pt x="2064282" y="299134"/>
                  </a:lnTo>
                  <a:lnTo>
                    <a:pt x="2064282" y="304038"/>
                  </a:lnTo>
                  <a:cubicBezTo>
                    <a:pt x="2064282" y="305965"/>
                    <a:pt x="2064923" y="307716"/>
                    <a:pt x="2066204" y="308942"/>
                  </a:cubicBezTo>
                  <a:cubicBezTo>
                    <a:pt x="2067325" y="310168"/>
                    <a:pt x="2068927" y="311044"/>
                    <a:pt x="2070689" y="311044"/>
                  </a:cubicBezTo>
                  <a:lnTo>
                    <a:pt x="2076616" y="311044"/>
                  </a:lnTo>
                  <a:lnTo>
                    <a:pt x="2076616" y="304038"/>
                  </a:lnTo>
                  <a:lnTo>
                    <a:pt x="2070209" y="304038"/>
                  </a:lnTo>
                  <a:lnTo>
                    <a:pt x="2070209" y="308942"/>
                  </a:lnTo>
                  <a:cubicBezTo>
                    <a:pt x="2070209" y="310694"/>
                    <a:pt x="2070849" y="312620"/>
                    <a:pt x="2072131" y="313846"/>
                  </a:cubicBezTo>
                  <a:cubicBezTo>
                    <a:pt x="2073252" y="315072"/>
                    <a:pt x="2075014" y="315948"/>
                    <a:pt x="2076616" y="315948"/>
                  </a:cubicBezTo>
                  <a:lnTo>
                    <a:pt x="2085586" y="315948"/>
                  </a:lnTo>
                  <a:lnTo>
                    <a:pt x="2085586" y="308942"/>
                  </a:lnTo>
                  <a:lnTo>
                    <a:pt x="2079179" y="308942"/>
                  </a:lnTo>
                  <a:lnTo>
                    <a:pt x="2079179" y="313496"/>
                  </a:lnTo>
                  <a:cubicBezTo>
                    <a:pt x="2079179" y="315422"/>
                    <a:pt x="2079819" y="317174"/>
                    <a:pt x="2081101" y="318400"/>
                  </a:cubicBezTo>
                  <a:cubicBezTo>
                    <a:pt x="2082222" y="319626"/>
                    <a:pt x="2083984" y="320501"/>
                    <a:pt x="2085586" y="320501"/>
                  </a:cubicBezTo>
                  <a:lnTo>
                    <a:pt x="2109453" y="320501"/>
                  </a:lnTo>
                  <a:lnTo>
                    <a:pt x="2109453" y="313496"/>
                  </a:lnTo>
                  <a:lnTo>
                    <a:pt x="2103046" y="313496"/>
                  </a:lnTo>
                  <a:lnTo>
                    <a:pt x="2103046" y="319100"/>
                  </a:lnTo>
                  <a:cubicBezTo>
                    <a:pt x="2103046" y="321027"/>
                    <a:pt x="2103687" y="322778"/>
                    <a:pt x="2104968" y="324004"/>
                  </a:cubicBezTo>
                  <a:cubicBezTo>
                    <a:pt x="2106090" y="325230"/>
                    <a:pt x="2107852" y="326106"/>
                    <a:pt x="2109453" y="326106"/>
                  </a:cubicBezTo>
                  <a:lnTo>
                    <a:pt x="2136204" y="326106"/>
                  </a:lnTo>
                  <a:lnTo>
                    <a:pt x="2136204" y="319100"/>
                  </a:lnTo>
                  <a:lnTo>
                    <a:pt x="2129797" y="319100"/>
                  </a:lnTo>
                  <a:lnTo>
                    <a:pt x="2129797" y="323654"/>
                  </a:lnTo>
                  <a:cubicBezTo>
                    <a:pt x="2129797" y="325580"/>
                    <a:pt x="2130437" y="327332"/>
                    <a:pt x="2131719" y="328558"/>
                  </a:cubicBezTo>
                  <a:cubicBezTo>
                    <a:pt x="2132840" y="329784"/>
                    <a:pt x="2134602" y="330659"/>
                    <a:pt x="2136204" y="330659"/>
                  </a:cubicBezTo>
                  <a:lnTo>
                    <a:pt x="2154145" y="330659"/>
                  </a:lnTo>
                  <a:lnTo>
                    <a:pt x="2154145" y="323654"/>
                  </a:lnTo>
                  <a:lnTo>
                    <a:pt x="2147737" y="323654"/>
                  </a:lnTo>
                  <a:lnTo>
                    <a:pt x="2147737" y="328207"/>
                  </a:lnTo>
                  <a:cubicBezTo>
                    <a:pt x="2147737" y="329959"/>
                    <a:pt x="2148378" y="331885"/>
                    <a:pt x="2149659" y="333111"/>
                  </a:cubicBezTo>
                  <a:cubicBezTo>
                    <a:pt x="2150781" y="334337"/>
                    <a:pt x="2152382" y="335213"/>
                    <a:pt x="2154145" y="335213"/>
                  </a:cubicBezTo>
                  <a:lnTo>
                    <a:pt x="2169042" y="335213"/>
                  </a:lnTo>
                  <a:lnTo>
                    <a:pt x="2169042" y="328207"/>
                  </a:lnTo>
                  <a:lnTo>
                    <a:pt x="2162634" y="328207"/>
                  </a:lnTo>
                  <a:lnTo>
                    <a:pt x="2162634" y="332761"/>
                  </a:lnTo>
                  <a:cubicBezTo>
                    <a:pt x="2162634" y="334512"/>
                    <a:pt x="2163275" y="336439"/>
                    <a:pt x="2164557" y="337665"/>
                  </a:cubicBezTo>
                  <a:cubicBezTo>
                    <a:pt x="2165838" y="338891"/>
                    <a:pt x="2167440" y="339766"/>
                    <a:pt x="2169042" y="339766"/>
                  </a:cubicBezTo>
                  <a:lnTo>
                    <a:pt x="2225586" y="339766"/>
                  </a:lnTo>
                  <a:lnTo>
                    <a:pt x="2225586" y="332761"/>
                  </a:lnTo>
                  <a:lnTo>
                    <a:pt x="2219179" y="332761"/>
                  </a:lnTo>
                  <a:lnTo>
                    <a:pt x="2219179" y="337314"/>
                  </a:lnTo>
                  <a:cubicBezTo>
                    <a:pt x="2219179" y="339066"/>
                    <a:pt x="2219820" y="340992"/>
                    <a:pt x="2221101" y="342218"/>
                  </a:cubicBezTo>
                  <a:cubicBezTo>
                    <a:pt x="2222222" y="343444"/>
                    <a:pt x="2223984" y="344145"/>
                    <a:pt x="2225586" y="344145"/>
                  </a:cubicBezTo>
                  <a:lnTo>
                    <a:pt x="2341719" y="344145"/>
                  </a:lnTo>
                  <a:lnTo>
                    <a:pt x="2341719" y="337314"/>
                  </a:lnTo>
                  <a:lnTo>
                    <a:pt x="2335312" y="337314"/>
                  </a:lnTo>
                  <a:lnTo>
                    <a:pt x="2335312" y="342393"/>
                  </a:lnTo>
                  <a:cubicBezTo>
                    <a:pt x="2335312" y="344145"/>
                    <a:pt x="2335953" y="346071"/>
                    <a:pt x="2337234" y="347297"/>
                  </a:cubicBezTo>
                  <a:cubicBezTo>
                    <a:pt x="2338355" y="348523"/>
                    <a:pt x="2340117" y="349399"/>
                    <a:pt x="2341719" y="349399"/>
                  </a:cubicBezTo>
                  <a:lnTo>
                    <a:pt x="2347646" y="349399"/>
                  </a:lnTo>
                  <a:lnTo>
                    <a:pt x="2347646" y="342393"/>
                  </a:lnTo>
                  <a:lnTo>
                    <a:pt x="2341239" y="342393"/>
                  </a:lnTo>
                  <a:lnTo>
                    <a:pt x="2341239" y="347122"/>
                  </a:lnTo>
                  <a:cubicBezTo>
                    <a:pt x="2341239" y="349049"/>
                    <a:pt x="2341879" y="350800"/>
                    <a:pt x="2343161" y="352026"/>
                  </a:cubicBezTo>
                  <a:cubicBezTo>
                    <a:pt x="2344282" y="353252"/>
                    <a:pt x="2346044" y="354128"/>
                    <a:pt x="2347646" y="354128"/>
                  </a:cubicBezTo>
                  <a:lnTo>
                    <a:pt x="2380484" y="354128"/>
                  </a:lnTo>
                  <a:lnTo>
                    <a:pt x="2380484" y="347122"/>
                  </a:lnTo>
                  <a:lnTo>
                    <a:pt x="2374076" y="347122"/>
                  </a:lnTo>
                  <a:lnTo>
                    <a:pt x="2374076" y="352376"/>
                  </a:lnTo>
                  <a:cubicBezTo>
                    <a:pt x="2374076" y="354128"/>
                    <a:pt x="2374717" y="356054"/>
                    <a:pt x="2375998" y="357280"/>
                  </a:cubicBezTo>
                  <a:cubicBezTo>
                    <a:pt x="2377120" y="358506"/>
                    <a:pt x="2378882" y="359382"/>
                    <a:pt x="2380484" y="359382"/>
                  </a:cubicBezTo>
                  <a:lnTo>
                    <a:pt x="2440072" y="359382"/>
                  </a:lnTo>
                  <a:lnTo>
                    <a:pt x="2440072" y="352376"/>
                  </a:lnTo>
                  <a:lnTo>
                    <a:pt x="2433664" y="352376"/>
                  </a:lnTo>
                  <a:lnTo>
                    <a:pt x="2433664" y="358681"/>
                  </a:lnTo>
                  <a:cubicBezTo>
                    <a:pt x="2433664" y="360433"/>
                    <a:pt x="2434305" y="362359"/>
                    <a:pt x="2435587" y="363585"/>
                  </a:cubicBezTo>
                  <a:cubicBezTo>
                    <a:pt x="2436708" y="364811"/>
                    <a:pt x="2438470" y="365687"/>
                    <a:pt x="2440072" y="365687"/>
                  </a:cubicBezTo>
                  <a:lnTo>
                    <a:pt x="2487326" y="365687"/>
                  </a:lnTo>
                  <a:lnTo>
                    <a:pt x="2487326" y="367788"/>
                  </a:lnTo>
                  <a:cubicBezTo>
                    <a:pt x="2487326" y="369540"/>
                    <a:pt x="2487967" y="371466"/>
                    <a:pt x="2489248" y="372692"/>
                  </a:cubicBezTo>
                  <a:cubicBezTo>
                    <a:pt x="2490529" y="373918"/>
                    <a:pt x="2492131" y="374794"/>
                    <a:pt x="2493733" y="374794"/>
                  </a:cubicBezTo>
                  <a:lnTo>
                    <a:pt x="2499660" y="374794"/>
                  </a:lnTo>
                  <a:lnTo>
                    <a:pt x="2499660" y="367788"/>
                  </a:lnTo>
                  <a:lnTo>
                    <a:pt x="2493252" y="367788"/>
                  </a:lnTo>
                  <a:lnTo>
                    <a:pt x="2493252" y="372517"/>
                  </a:lnTo>
                  <a:cubicBezTo>
                    <a:pt x="2493252" y="374444"/>
                    <a:pt x="2493893" y="376195"/>
                    <a:pt x="2495175" y="377421"/>
                  </a:cubicBezTo>
                  <a:cubicBezTo>
                    <a:pt x="2496296" y="378647"/>
                    <a:pt x="2498058" y="379522"/>
                    <a:pt x="2499660" y="379522"/>
                  </a:cubicBezTo>
                  <a:lnTo>
                    <a:pt x="2529454" y="379522"/>
                  </a:lnTo>
                  <a:lnTo>
                    <a:pt x="2529454" y="372517"/>
                  </a:lnTo>
                  <a:lnTo>
                    <a:pt x="2523047" y="372517"/>
                  </a:lnTo>
                  <a:lnTo>
                    <a:pt x="2523047" y="377596"/>
                  </a:lnTo>
                  <a:cubicBezTo>
                    <a:pt x="2523047" y="379347"/>
                    <a:pt x="2523687" y="381274"/>
                    <a:pt x="2524969" y="382500"/>
                  </a:cubicBezTo>
                  <a:cubicBezTo>
                    <a:pt x="2526090" y="383726"/>
                    <a:pt x="2527852" y="384601"/>
                    <a:pt x="2529454" y="384601"/>
                  </a:cubicBezTo>
                  <a:lnTo>
                    <a:pt x="2615793" y="384601"/>
                  </a:lnTo>
                  <a:lnTo>
                    <a:pt x="2615793" y="377596"/>
                  </a:lnTo>
                  <a:lnTo>
                    <a:pt x="2609385" y="377596"/>
                  </a:lnTo>
                  <a:lnTo>
                    <a:pt x="2609385" y="382150"/>
                  </a:lnTo>
                  <a:cubicBezTo>
                    <a:pt x="2609385" y="383901"/>
                    <a:pt x="2610026" y="385827"/>
                    <a:pt x="2611308" y="387053"/>
                  </a:cubicBezTo>
                  <a:cubicBezTo>
                    <a:pt x="2612589" y="388279"/>
                    <a:pt x="2614191" y="389155"/>
                    <a:pt x="2615793" y="389155"/>
                  </a:cubicBezTo>
                  <a:lnTo>
                    <a:pt x="2660484" y="389155"/>
                  </a:lnTo>
                  <a:lnTo>
                    <a:pt x="2660484" y="382150"/>
                  </a:lnTo>
                  <a:lnTo>
                    <a:pt x="2654077" y="382150"/>
                  </a:lnTo>
                  <a:lnTo>
                    <a:pt x="2654077" y="386878"/>
                  </a:lnTo>
                  <a:cubicBezTo>
                    <a:pt x="2654077" y="388805"/>
                    <a:pt x="2654717" y="390556"/>
                    <a:pt x="2655999" y="391782"/>
                  </a:cubicBezTo>
                  <a:cubicBezTo>
                    <a:pt x="2657120" y="393008"/>
                    <a:pt x="2658882" y="393884"/>
                    <a:pt x="2660484" y="393884"/>
                  </a:cubicBezTo>
                  <a:lnTo>
                    <a:pt x="2740896" y="393884"/>
                  </a:lnTo>
                  <a:lnTo>
                    <a:pt x="2740896" y="386878"/>
                  </a:lnTo>
                  <a:lnTo>
                    <a:pt x="2734489" y="386878"/>
                  </a:lnTo>
                  <a:lnTo>
                    <a:pt x="2734489" y="392132"/>
                  </a:lnTo>
                  <a:cubicBezTo>
                    <a:pt x="2734489" y="393884"/>
                    <a:pt x="2735129" y="395810"/>
                    <a:pt x="2736411" y="397036"/>
                  </a:cubicBezTo>
                  <a:cubicBezTo>
                    <a:pt x="2737532" y="398262"/>
                    <a:pt x="2739294" y="399138"/>
                    <a:pt x="2740896" y="399138"/>
                  </a:cubicBezTo>
                  <a:lnTo>
                    <a:pt x="2809454" y="399138"/>
                  </a:lnTo>
                  <a:lnTo>
                    <a:pt x="2809454" y="392132"/>
                  </a:lnTo>
                  <a:lnTo>
                    <a:pt x="2803047" y="392132"/>
                  </a:lnTo>
                  <a:lnTo>
                    <a:pt x="2803047" y="397386"/>
                  </a:lnTo>
                  <a:cubicBezTo>
                    <a:pt x="2803047" y="399138"/>
                    <a:pt x="2803688" y="401064"/>
                    <a:pt x="2804969" y="402290"/>
                  </a:cubicBezTo>
                  <a:cubicBezTo>
                    <a:pt x="2806090" y="403691"/>
                    <a:pt x="2807852" y="404392"/>
                    <a:pt x="2809454" y="404392"/>
                  </a:cubicBezTo>
                  <a:lnTo>
                    <a:pt x="2812498" y="404392"/>
                  </a:lnTo>
                  <a:lnTo>
                    <a:pt x="2812498" y="397386"/>
                  </a:lnTo>
                  <a:lnTo>
                    <a:pt x="2806090" y="397386"/>
                  </a:lnTo>
                  <a:lnTo>
                    <a:pt x="2806090" y="402991"/>
                  </a:lnTo>
                  <a:cubicBezTo>
                    <a:pt x="2806090" y="404917"/>
                    <a:pt x="2806731" y="406669"/>
                    <a:pt x="2808013" y="407895"/>
                  </a:cubicBezTo>
                  <a:cubicBezTo>
                    <a:pt x="2809134" y="409296"/>
                    <a:pt x="2810896" y="409996"/>
                    <a:pt x="2812498" y="409996"/>
                  </a:cubicBezTo>
                  <a:lnTo>
                    <a:pt x="2842292" y="409996"/>
                  </a:lnTo>
                  <a:lnTo>
                    <a:pt x="2842292" y="402991"/>
                  </a:lnTo>
                  <a:lnTo>
                    <a:pt x="2835884" y="402991"/>
                  </a:lnTo>
                  <a:lnTo>
                    <a:pt x="2835884" y="407895"/>
                  </a:lnTo>
                  <a:cubicBezTo>
                    <a:pt x="2835884" y="409646"/>
                    <a:pt x="2836525" y="411573"/>
                    <a:pt x="2837807" y="412799"/>
                  </a:cubicBezTo>
                  <a:cubicBezTo>
                    <a:pt x="2838928" y="414025"/>
                    <a:pt x="2840530" y="414900"/>
                    <a:pt x="2842292" y="414900"/>
                  </a:cubicBezTo>
                  <a:lnTo>
                    <a:pt x="2967395" y="414900"/>
                  </a:lnTo>
                  <a:lnTo>
                    <a:pt x="2967395" y="407895"/>
                  </a:lnTo>
                  <a:lnTo>
                    <a:pt x="2960988" y="407895"/>
                  </a:lnTo>
                  <a:lnTo>
                    <a:pt x="2960988" y="412799"/>
                  </a:lnTo>
                  <a:cubicBezTo>
                    <a:pt x="2960988" y="414550"/>
                    <a:pt x="2961628" y="416301"/>
                    <a:pt x="2962910" y="417702"/>
                  </a:cubicBezTo>
                  <a:cubicBezTo>
                    <a:pt x="2964031" y="418928"/>
                    <a:pt x="2965793" y="419804"/>
                    <a:pt x="2967395" y="419804"/>
                  </a:cubicBezTo>
                  <a:lnTo>
                    <a:pt x="3002796" y="419804"/>
                  </a:lnTo>
                  <a:lnTo>
                    <a:pt x="3002796" y="420329"/>
                  </a:lnTo>
                  <a:cubicBezTo>
                    <a:pt x="3002796" y="422081"/>
                    <a:pt x="3003436" y="423832"/>
                    <a:pt x="3004718" y="425233"/>
                  </a:cubicBezTo>
                  <a:cubicBezTo>
                    <a:pt x="3005839" y="426459"/>
                    <a:pt x="3007601" y="427160"/>
                    <a:pt x="3009203" y="427160"/>
                  </a:cubicBezTo>
                  <a:lnTo>
                    <a:pt x="3113482" y="427160"/>
                  </a:lnTo>
                  <a:lnTo>
                    <a:pt x="3113482" y="420329"/>
                  </a:lnTo>
                  <a:lnTo>
                    <a:pt x="3107075" y="420329"/>
                  </a:lnTo>
                  <a:lnTo>
                    <a:pt x="3107075" y="425759"/>
                  </a:lnTo>
                  <a:cubicBezTo>
                    <a:pt x="3107075" y="427510"/>
                    <a:pt x="3107715" y="429437"/>
                    <a:pt x="3108997" y="430663"/>
                  </a:cubicBezTo>
                  <a:cubicBezTo>
                    <a:pt x="3110118" y="431889"/>
                    <a:pt x="3111720" y="432764"/>
                    <a:pt x="3113482" y="432764"/>
                  </a:cubicBezTo>
                  <a:lnTo>
                    <a:pt x="3178997" y="432764"/>
                  </a:lnTo>
                  <a:lnTo>
                    <a:pt x="3178997" y="425759"/>
                  </a:lnTo>
                  <a:lnTo>
                    <a:pt x="3172590" y="425759"/>
                  </a:lnTo>
                  <a:lnTo>
                    <a:pt x="3172590" y="432064"/>
                  </a:lnTo>
                  <a:cubicBezTo>
                    <a:pt x="3172590" y="433990"/>
                    <a:pt x="3173231" y="435742"/>
                    <a:pt x="3174512" y="436968"/>
                  </a:cubicBezTo>
                  <a:cubicBezTo>
                    <a:pt x="3175633" y="438193"/>
                    <a:pt x="3177395" y="438894"/>
                    <a:pt x="3178997" y="438894"/>
                  </a:cubicBezTo>
                  <a:lnTo>
                    <a:pt x="3199821" y="438894"/>
                  </a:lnTo>
                  <a:lnTo>
                    <a:pt x="3199821" y="431889"/>
                  </a:lnTo>
                  <a:lnTo>
                    <a:pt x="3193414" y="431889"/>
                  </a:lnTo>
                  <a:lnTo>
                    <a:pt x="3193414" y="436792"/>
                  </a:lnTo>
                  <a:cubicBezTo>
                    <a:pt x="3193414" y="438544"/>
                    <a:pt x="3194054" y="440470"/>
                    <a:pt x="3195336" y="441696"/>
                  </a:cubicBezTo>
                  <a:cubicBezTo>
                    <a:pt x="3196617" y="442922"/>
                    <a:pt x="3198219" y="443798"/>
                    <a:pt x="3199821" y="443798"/>
                  </a:cubicBezTo>
                  <a:lnTo>
                    <a:pt x="3223688" y="443798"/>
                  </a:lnTo>
                  <a:lnTo>
                    <a:pt x="3223688" y="436792"/>
                  </a:lnTo>
                  <a:lnTo>
                    <a:pt x="3217281" y="436792"/>
                  </a:lnTo>
                  <a:lnTo>
                    <a:pt x="3217281" y="441871"/>
                  </a:lnTo>
                  <a:cubicBezTo>
                    <a:pt x="3217281" y="443623"/>
                    <a:pt x="3217922" y="445549"/>
                    <a:pt x="3219203" y="446775"/>
                  </a:cubicBezTo>
                  <a:cubicBezTo>
                    <a:pt x="3220324" y="448001"/>
                    <a:pt x="3222086" y="448877"/>
                    <a:pt x="3223688" y="448877"/>
                  </a:cubicBezTo>
                  <a:lnTo>
                    <a:pt x="3232658" y="448877"/>
                  </a:lnTo>
                  <a:lnTo>
                    <a:pt x="3232658" y="441871"/>
                  </a:lnTo>
                  <a:lnTo>
                    <a:pt x="3226251" y="441871"/>
                  </a:lnTo>
                  <a:lnTo>
                    <a:pt x="3226251" y="447125"/>
                  </a:lnTo>
                  <a:cubicBezTo>
                    <a:pt x="3226251" y="448877"/>
                    <a:pt x="3226892" y="450803"/>
                    <a:pt x="3228173" y="452029"/>
                  </a:cubicBezTo>
                  <a:cubicBezTo>
                    <a:pt x="3229295" y="453255"/>
                    <a:pt x="3231057" y="454131"/>
                    <a:pt x="3232658" y="454131"/>
                  </a:cubicBezTo>
                  <a:lnTo>
                    <a:pt x="3256526" y="454131"/>
                  </a:lnTo>
                  <a:lnTo>
                    <a:pt x="3256526" y="447125"/>
                  </a:lnTo>
                  <a:lnTo>
                    <a:pt x="3250118" y="447125"/>
                  </a:lnTo>
                  <a:lnTo>
                    <a:pt x="3250118" y="452730"/>
                  </a:lnTo>
                  <a:cubicBezTo>
                    <a:pt x="3250118" y="454481"/>
                    <a:pt x="3250759" y="456408"/>
                    <a:pt x="3252041" y="457634"/>
                  </a:cubicBezTo>
                  <a:cubicBezTo>
                    <a:pt x="3253162" y="458860"/>
                    <a:pt x="3254924" y="459735"/>
                    <a:pt x="3256526" y="459735"/>
                  </a:cubicBezTo>
                  <a:lnTo>
                    <a:pt x="3271423" y="459735"/>
                  </a:lnTo>
                  <a:lnTo>
                    <a:pt x="3271423" y="452730"/>
                  </a:lnTo>
                  <a:lnTo>
                    <a:pt x="3265016" y="452730"/>
                  </a:lnTo>
                  <a:lnTo>
                    <a:pt x="3265016" y="458685"/>
                  </a:lnTo>
                  <a:cubicBezTo>
                    <a:pt x="3265016" y="460436"/>
                    <a:pt x="3265656" y="462362"/>
                    <a:pt x="3266938" y="463588"/>
                  </a:cubicBezTo>
                  <a:cubicBezTo>
                    <a:pt x="3268219" y="464814"/>
                    <a:pt x="3269821" y="465690"/>
                    <a:pt x="3271423" y="465690"/>
                  </a:cubicBezTo>
                  <a:lnTo>
                    <a:pt x="3369615" y="465690"/>
                  </a:lnTo>
                  <a:lnTo>
                    <a:pt x="3369615" y="458685"/>
                  </a:lnTo>
                  <a:lnTo>
                    <a:pt x="3363208" y="458685"/>
                  </a:lnTo>
                  <a:lnTo>
                    <a:pt x="3363208" y="464114"/>
                  </a:lnTo>
                  <a:cubicBezTo>
                    <a:pt x="3363208" y="465865"/>
                    <a:pt x="3363849" y="467792"/>
                    <a:pt x="3365130" y="469018"/>
                  </a:cubicBezTo>
                  <a:cubicBezTo>
                    <a:pt x="3366412" y="470244"/>
                    <a:pt x="3368013" y="471119"/>
                    <a:pt x="3369615" y="471119"/>
                  </a:cubicBezTo>
                  <a:lnTo>
                    <a:pt x="3372659" y="471119"/>
                  </a:lnTo>
                  <a:lnTo>
                    <a:pt x="3372659" y="464114"/>
                  </a:lnTo>
                  <a:lnTo>
                    <a:pt x="3366251" y="464114"/>
                  </a:lnTo>
                  <a:lnTo>
                    <a:pt x="3366251" y="469193"/>
                  </a:lnTo>
                  <a:cubicBezTo>
                    <a:pt x="3366251" y="470944"/>
                    <a:pt x="3366892" y="472871"/>
                    <a:pt x="3368174" y="474097"/>
                  </a:cubicBezTo>
                  <a:cubicBezTo>
                    <a:pt x="3369295" y="475323"/>
                    <a:pt x="3371057" y="476198"/>
                    <a:pt x="3372659" y="476198"/>
                  </a:cubicBezTo>
                  <a:lnTo>
                    <a:pt x="3432247" y="476198"/>
                  </a:lnTo>
                  <a:lnTo>
                    <a:pt x="3432247" y="469193"/>
                  </a:lnTo>
                  <a:lnTo>
                    <a:pt x="3425839" y="469193"/>
                  </a:lnTo>
                  <a:lnTo>
                    <a:pt x="3425839" y="474622"/>
                  </a:lnTo>
                  <a:cubicBezTo>
                    <a:pt x="3425839" y="476373"/>
                    <a:pt x="3426480" y="478300"/>
                    <a:pt x="3427762" y="479526"/>
                  </a:cubicBezTo>
                  <a:cubicBezTo>
                    <a:pt x="3428883" y="480752"/>
                    <a:pt x="3430645" y="481628"/>
                    <a:pt x="3432247" y="481628"/>
                  </a:cubicBezTo>
                  <a:lnTo>
                    <a:pt x="3440737" y="481628"/>
                  </a:lnTo>
                  <a:lnTo>
                    <a:pt x="3440737" y="487407"/>
                  </a:lnTo>
                  <a:cubicBezTo>
                    <a:pt x="3440737" y="489158"/>
                    <a:pt x="3441377" y="491085"/>
                    <a:pt x="3442659" y="492311"/>
                  </a:cubicBezTo>
                  <a:cubicBezTo>
                    <a:pt x="3443780" y="493537"/>
                    <a:pt x="3445542" y="494413"/>
                    <a:pt x="3447144" y="494413"/>
                  </a:cubicBezTo>
                  <a:lnTo>
                    <a:pt x="3530599" y="494413"/>
                  </a:lnTo>
                  <a:lnTo>
                    <a:pt x="3530599" y="487407"/>
                  </a:lnTo>
                  <a:lnTo>
                    <a:pt x="3524192" y="487407"/>
                  </a:lnTo>
                  <a:lnTo>
                    <a:pt x="3524192" y="492836"/>
                  </a:lnTo>
                  <a:cubicBezTo>
                    <a:pt x="3524192" y="494763"/>
                    <a:pt x="3524833" y="496514"/>
                    <a:pt x="3526114" y="497740"/>
                  </a:cubicBezTo>
                  <a:cubicBezTo>
                    <a:pt x="3527235" y="498966"/>
                    <a:pt x="3528997" y="499842"/>
                    <a:pt x="3530599" y="499842"/>
                  </a:cubicBezTo>
                  <a:lnTo>
                    <a:pt x="3673643" y="499842"/>
                  </a:lnTo>
                  <a:lnTo>
                    <a:pt x="3673643" y="492836"/>
                  </a:lnTo>
                  <a:lnTo>
                    <a:pt x="3667236" y="492836"/>
                  </a:lnTo>
                  <a:lnTo>
                    <a:pt x="3667236" y="499316"/>
                  </a:lnTo>
                  <a:cubicBezTo>
                    <a:pt x="3667236" y="501068"/>
                    <a:pt x="3667876" y="502994"/>
                    <a:pt x="3669158" y="504220"/>
                  </a:cubicBezTo>
                  <a:cubicBezTo>
                    <a:pt x="3670439" y="505446"/>
                    <a:pt x="3672041" y="506322"/>
                    <a:pt x="3673643" y="506322"/>
                  </a:cubicBezTo>
                  <a:lnTo>
                    <a:pt x="3727304" y="506322"/>
                  </a:lnTo>
                  <a:lnTo>
                    <a:pt x="3727304" y="499316"/>
                  </a:lnTo>
                  <a:lnTo>
                    <a:pt x="3720897" y="499316"/>
                  </a:lnTo>
                  <a:lnTo>
                    <a:pt x="3720897" y="504395"/>
                  </a:lnTo>
                  <a:cubicBezTo>
                    <a:pt x="3720897" y="506147"/>
                    <a:pt x="3721538" y="508073"/>
                    <a:pt x="3722819" y="509299"/>
                  </a:cubicBezTo>
                  <a:cubicBezTo>
                    <a:pt x="3723940" y="510525"/>
                    <a:pt x="3725702" y="511401"/>
                    <a:pt x="3727304" y="511401"/>
                  </a:cubicBezTo>
                  <a:lnTo>
                    <a:pt x="3757099" y="511401"/>
                  </a:lnTo>
                  <a:lnTo>
                    <a:pt x="3757099" y="504395"/>
                  </a:lnTo>
                  <a:lnTo>
                    <a:pt x="3750691" y="504395"/>
                  </a:lnTo>
                  <a:lnTo>
                    <a:pt x="3750691" y="510175"/>
                  </a:lnTo>
                  <a:cubicBezTo>
                    <a:pt x="3750691" y="512101"/>
                    <a:pt x="3751332" y="513853"/>
                    <a:pt x="3752613" y="515079"/>
                  </a:cubicBezTo>
                  <a:cubicBezTo>
                    <a:pt x="3753735" y="516305"/>
                    <a:pt x="3755497" y="517180"/>
                    <a:pt x="3757099" y="517180"/>
                  </a:cubicBezTo>
                  <a:lnTo>
                    <a:pt x="3956687" y="517180"/>
                  </a:lnTo>
                  <a:lnTo>
                    <a:pt x="3956687" y="510175"/>
                  </a:lnTo>
                  <a:lnTo>
                    <a:pt x="3950279" y="510175"/>
                  </a:lnTo>
                  <a:lnTo>
                    <a:pt x="3950279" y="516480"/>
                  </a:lnTo>
                  <a:cubicBezTo>
                    <a:pt x="3950279" y="518231"/>
                    <a:pt x="3950920" y="520158"/>
                    <a:pt x="3952202" y="521384"/>
                  </a:cubicBezTo>
                  <a:cubicBezTo>
                    <a:pt x="3953483" y="522610"/>
                    <a:pt x="3955085" y="523485"/>
                    <a:pt x="3956687" y="523485"/>
                  </a:cubicBezTo>
                  <a:lnTo>
                    <a:pt x="3962614" y="523485"/>
                  </a:lnTo>
                  <a:lnTo>
                    <a:pt x="3962614" y="516480"/>
                  </a:lnTo>
                  <a:lnTo>
                    <a:pt x="3956206" y="516480"/>
                  </a:lnTo>
                  <a:lnTo>
                    <a:pt x="3956206" y="522785"/>
                  </a:lnTo>
                  <a:cubicBezTo>
                    <a:pt x="3956206" y="524711"/>
                    <a:pt x="3956847" y="526463"/>
                    <a:pt x="3958129" y="527689"/>
                  </a:cubicBezTo>
                  <a:cubicBezTo>
                    <a:pt x="3959250" y="528915"/>
                    <a:pt x="3961012" y="529790"/>
                    <a:pt x="3962614" y="529790"/>
                  </a:cubicBezTo>
                  <a:lnTo>
                    <a:pt x="3977511" y="529790"/>
                  </a:lnTo>
                  <a:lnTo>
                    <a:pt x="3977511" y="522785"/>
                  </a:lnTo>
                  <a:lnTo>
                    <a:pt x="3971103" y="522785"/>
                  </a:lnTo>
                  <a:lnTo>
                    <a:pt x="3971103" y="528915"/>
                  </a:lnTo>
                  <a:cubicBezTo>
                    <a:pt x="3971103" y="530666"/>
                    <a:pt x="3971744" y="532592"/>
                    <a:pt x="3973025" y="533818"/>
                  </a:cubicBezTo>
                  <a:cubicBezTo>
                    <a:pt x="3974307" y="535044"/>
                    <a:pt x="3975909" y="535920"/>
                    <a:pt x="3977511" y="535920"/>
                  </a:cubicBezTo>
                  <a:lnTo>
                    <a:pt x="4033735" y="535920"/>
                  </a:lnTo>
                  <a:cubicBezTo>
                    <a:pt x="4033735" y="537847"/>
                    <a:pt x="4034376" y="539773"/>
                    <a:pt x="4035657" y="540999"/>
                  </a:cubicBezTo>
                  <a:cubicBezTo>
                    <a:pt x="4036778" y="542225"/>
                    <a:pt x="4038540" y="543101"/>
                    <a:pt x="4040142" y="543101"/>
                  </a:cubicBezTo>
                  <a:lnTo>
                    <a:pt x="4209937" y="543101"/>
                  </a:lnTo>
                  <a:lnTo>
                    <a:pt x="4209937" y="536095"/>
                  </a:lnTo>
                  <a:lnTo>
                    <a:pt x="4203530" y="536095"/>
                  </a:lnTo>
                  <a:lnTo>
                    <a:pt x="4203530" y="542750"/>
                  </a:lnTo>
                  <a:cubicBezTo>
                    <a:pt x="4203530" y="544502"/>
                    <a:pt x="4204170" y="546428"/>
                    <a:pt x="4205452" y="547654"/>
                  </a:cubicBezTo>
                  <a:cubicBezTo>
                    <a:pt x="4206573" y="548880"/>
                    <a:pt x="4208335" y="549756"/>
                    <a:pt x="4209937" y="549756"/>
                  </a:cubicBezTo>
                  <a:lnTo>
                    <a:pt x="4233804" y="549756"/>
                  </a:lnTo>
                  <a:lnTo>
                    <a:pt x="4233804" y="542750"/>
                  </a:lnTo>
                  <a:lnTo>
                    <a:pt x="4227397" y="542750"/>
                  </a:lnTo>
                  <a:lnTo>
                    <a:pt x="4227397" y="549231"/>
                  </a:lnTo>
                  <a:cubicBezTo>
                    <a:pt x="4227397" y="550982"/>
                    <a:pt x="4228038" y="552908"/>
                    <a:pt x="4229319" y="554134"/>
                  </a:cubicBezTo>
                  <a:cubicBezTo>
                    <a:pt x="4230440" y="555360"/>
                    <a:pt x="4232202" y="556236"/>
                    <a:pt x="4233804" y="556236"/>
                  </a:cubicBezTo>
                  <a:lnTo>
                    <a:pt x="4266481" y="556236"/>
                  </a:lnTo>
                  <a:lnTo>
                    <a:pt x="4266481" y="549231"/>
                  </a:lnTo>
                  <a:lnTo>
                    <a:pt x="4260074" y="549231"/>
                  </a:lnTo>
                  <a:lnTo>
                    <a:pt x="4260074" y="555711"/>
                  </a:lnTo>
                  <a:cubicBezTo>
                    <a:pt x="4260074" y="557462"/>
                    <a:pt x="4260715" y="559388"/>
                    <a:pt x="4261996" y="560614"/>
                  </a:cubicBezTo>
                  <a:cubicBezTo>
                    <a:pt x="4263118" y="561840"/>
                    <a:pt x="4264880" y="562716"/>
                    <a:pt x="4266481" y="562716"/>
                  </a:cubicBezTo>
                  <a:lnTo>
                    <a:pt x="4299319" y="562716"/>
                  </a:lnTo>
                  <a:lnTo>
                    <a:pt x="4299319" y="555711"/>
                  </a:lnTo>
                  <a:lnTo>
                    <a:pt x="4292912" y="555711"/>
                  </a:lnTo>
                  <a:lnTo>
                    <a:pt x="4292912" y="562541"/>
                  </a:lnTo>
                  <a:cubicBezTo>
                    <a:pt x="4292912" y="564292"/>
                    <a:pt x="4293552" y="566219"/>
                    <a:pt x="4294834" y="567445"/>
                  </a:cubicBezTo>
                  <a:cubicBezTo>
                    <a:pt x="4296115" y="568671"/>
                    <a:pt x="4297717" y="569546"/>
                    <a:pt x="4299319" y="569546"/>
                  </a:cubicBezTo>
                  <a:lnTo>
                    <a:pt x="4310852" y="569546"/>
                  </a:lnTo>
                  <a:lnTo>
                    <a:pt x="4310852" y="570247"/>
                  </a:lnTo>
                  <a:cubicBezTo>
                    <a:pt x="4310852" y="571998"/>
                    <a:pt x="4311493" y="573925"/>
                    <a:pt x="4312774" y="575151"/>
                  </a:cubicBezTo>
                  <a:cubicBezTo>
                    <a:pt x="4314056" y="576377"/>
                    <a:pt x="4315658" y="577252"/>
                    <a:pt x="4317259" y="577252"/>
                  </a:cubicBezTo>
                  <a:lnTo>
                    <a:pt x="4426985" y="577252"/>
                  </a:lnTo>
                  <a:lnTo>
                    <a:pt x="4426985" y="578128"/>
                  </a:lnTo>
                  <a:cubicBezTo>
                    <a:pt x="4426985" y="579880"/>
                    <a:pt x="4427626" y="581806"/>
                    <a:pt x="4428907" y="583032"/>
                  </a:cubicBezTo>
                  <a:cubicBezTo>
                    <a:pt x="4430028" y="584258"/>
                    <a:pt x="4431791" y="585134"/>
                    <a:pt x="4433392" y="585134"/>
                  </a:cubicBezTo>
                  <a:lnTo>
                    <a:pt x="4522294" y="585134"/>
                  </a:lnTo>
                  <a:lnTo>
                    <a:pt x="4522294" y="586885"/>
                  </a:lnTo>
                  <a:cubicBezTo>
                    <a:pt x="4522294" y="588636"/>
                    <a:pt x="4522935" y="590563"/>
                    <a:pt x="4524216" y="591789"/>
                  </a:cubicBezTo>
                  <a:cubicBezTo>
                    <a:pt x="4525338" y="593015"/>
                    <a:pt x="4527099" y="593891"/>
                    <a:pt x="4528701" y="593891"/>
                  </a:cubicBezTo>
                  <a:lnTo>
                    <a:pt x="4650441" y="593891"/>
                  </a:lnTo>
                  <a:lnTo>
                    <a:pt x="4650441" y="596868"/>
                  </a:lnTo>
                  <a:cubicBezTo>
                    <a:pt x="4650441" y="598794"/>
                    <a:pt x="4651081" y="600546"/>
                    <a:pt x="4652363" y="601772"/>
                  </a:cubicBezTo>
                  <a:cubicBezTo>
                    <a:pt x="4653484" y="602998"/>
                    <a:pt x="4655246" y="603873"/>
                    <a:pt x="4656848" y="603873"/>
                  </a:cubicBezTo>
                  <a:lnTo>
                    <a:pt x="4805338" y="603873"/>
                  </a:lnTo>
                  <a:lnTo>
                    <a:pt x="4805338" y="608952"/>
                  </a:lnTo>
                  <a:cubicBezTo>
                    <a:pt x="4805338" y="610704"/>
                    <a:pt x="4805979" y="612630"/>
                    <a:pt x="4807260" y="613856"/>
                  </a:cubicBezTo>
                  <a:cubicBezTo>
                    <a:pt x="4808542" y="615082"/>
                    <a:pt x="4810143" y="615958"/>
                    <a:pt x="4811745" y="615958"/>
                  </a:cubicBezTo>
                  <a:lnTo>
                    <a:pt x="4829205" y="615958"/>
                  </a:lnTo>
                  <a:lnTo>
                    <a:pt x="4829205" y="622088"/>
                  </a:lnTo>
                  <a:cubicBezTo>
                    <a:pt x="4829205" y="623839"/>
                    <a:pt x="4829846" y="625766"/>
                    <a:pt x="4831127" y="626991"/>
                  </a:cubicBezTo>
                  <a:cubicBezTo>
                    <a:pt x="4832249" y="628217"/>
                    <a:pt x="4834011" y="629093"/>
                    <a:pt x="4835613" y="629093"/>
                  </a:cubicBezTo>
                  <a:lnTo>
                    <a:pt x="4984102" y="629093"/>
                  </a:lnTo>
                  <a:lnTo>
                    <a:pt x="4984102" y="641878"/>
                  </a:lnTo>
                  <a:cubicBezTo>
                    <a:pt x="4984102" y="643630"/>
                    <a:pt x="4984743" y="645556"/>
                    <a:pt x="4986024" y="646782"/>
                  </a:cubicBezTo>
                  <a:cubicBezTo>
                    <a:pt x="4987146" y="648008"/>
                    <a:pt x="4988908" y="648884"/>
                    <a:pt x="4990509" y="648884"/>
                  </a:cubicBezTo>
                  <a:lnTo>
                    <a:pt x="5022546" y="648884"/>
                  </a:lnTo>
                  <a:lnTo>
                    <a:pt x="5022546" y="635048"/>
                  </a:lnTo>
                  <a:lnTo>
                    <a:pt x="4996917" y="635048"/>
                  </a:lnTo>
                  <a:lnTo>
                    <a:pt x="4996917" y="622263"/>
                  </a:lnTo>
                  <a:cubicBezTo>
                    <a:pt x="4996917" y="620511"/>
                    <a:pt x="4996276" y="618585"/>
                    <a:pt x="4994995" y="617359"/>
                  </a:cubicBezTo>
                  <a:cubicBezTo>
                    <a:pt x="4993713" y="616133"/>
                    <a:pt x="4992111" y="615257"/>
                    <a:pt x="4990509" y="615257"/>
                  </a:cubicBezTo>
                  <a:lnTo>
                    <a:pt x="4842020" y="615257"/>
                  </a:lnTo>
                  <a:lnTo>
                    <a:pt x="4842020" y="609127"/>
                  </a:lnTo>
                  <a:cubicBezTo>
                    <a:pt x="4842020" y="607376"/>
                    <a:pt x="4841379" y="605450"/>
                    <a:pt x="4840098" y="604224"/>
                  </a:cubicBezTo>
                  <a:cubicBezTo>
                    <a:pt x="4838976" y="602998"/>
                    <a:pt x="4837214" y="602122"/>
                    <a:pt x="4835613" y="602122"/>
                  </a:cubicBezTo>
                  <a:lnTo>
                    <a:pt x="4818153" y="602122"/>
                  </a:lnTo>
                  <a:lnTo>
                    <a:pt x="4818153" y="597043"/>
                  </a:lnTo>
                  <a:cubicBezTo>
                    <a:pt x="4818153" y="595292"/>
                    <a:pt x="4817512" y="593365"/>
                    <a:pt x="4816231" y="592139"/>
                  </a:cubicBezTo>
                  <a:cubicBezTo>
                    <a:pt x="4814949" y="590913"/>
                    <a:pt x="4813347" y="590037"/>
                    <a:pt x="4811745" y="590037"/>
                  </a:cubicBezTo>
                  <a:lnTo>
                    <a:pt x="4663255" y="590037"/>
                  </a:lnTo>
                  <a:lnTo>
                    <a:pt x="4663255" y="587060"/>
                  </a:lnTo>
                  <a:cubicBezTo>
                    <a:pt x="4663255" y="585309"/>
                    <a:pt x="4662614" y="583382"/>
                    <a:pt x="4661333" y="582156"/>
                  </a:cubicBezTo>
                  <a:cubicBezTo>
                    <a:pt x="4660212" y="580930"/>
                    <a:pt x="4658450" y="580055"/>
                    <a:pt x="4656848" y="580055"/>
                  </a:cubicBezTo>
                  <a:lnTo>
                    <a:pt x="4535109" y="580055"/>
                  </a:lnTo>
                  <a:lnTo>
                    <a:pt x="4535109" y="578303"/>
                  </a:lnTo>
                  <a:cubicBezTo>
                    <a:pt x="4535109" y="576552"/>
                    <a:pt x="4534468" y="574625"/>
                    <a:pt x="4533186" y="573399"/>
                  </a:cubicBezTo>
                  <a:cubicBezTo>
                    <a:pt x="4532065" y="572173"/>
                    <a:pt x="4530303" y="571298"/>
                    <a:pt x="4528701" y="571298"/>
                  </a:cubicBezTo>
                  <a:lnTo>
                    <a:pt x="4439800" y="571298"/>
                  </a:lnTo>
                  <a:lnTo>
                    <a:pt x="4439800" y="570422"/>
                  </a:lnTo>
                  <a:cubicBezTo>
                    <a:pt x="4439800" y="568496"/>
                    <a:pt x="4439159" y="566744"/>
                    <a:pt x="4437877" y="565518"/>
                  </a:cubicBezTo>
                  <a:cubicBezTo>
                    <a:pt x="4436756" y="564292"/>
                    <a:pt x="4435154" y="563417"/>
                    <a:pt x="4433392" y="563417"/>
                  </a:cubicBezTo>
                  <a:lnTo>
                    <a:pt x="4323667" y="563417"/>
                  </a:lnTo>
                  <a:lnTo>
                    <a:pt x="4323667" y="562716"/>
                  </a:lnTo>
                  <a:cubicBezTo>
                    <a:pt x="4323667" y="560790"/>
                    <a:pt x="4323026" y="559038"/>
                    <a:pt x="4321744" y="557812"/>
                  </a:cubicBezTo>
                  <a:cubicBezTo>
                    <a:pt x="4320463" y="556586"/>
                    <a:pt x="4318861" y="555711"/>
                    <a:pt x="4317259" y="555711"/>
                  </a:cubicBezTo>
                  <a:lnTo>
                    <a:pt x="4299319" y="555711"/>
                  </a:lnTo>
                  <a:lnTo>
                    <a:pt x="4299319" y="562716"/>
                  </a:lnTo>
                  <a:lnTo>
                    <a:pt x="4305726" y="562716"/>
                  </a:lnTo>
                  <a:lnTo>
                    <a:pt x="4305726" y="555886"/>
                  </a:lnTo>
                  <a:cubicBezTo>
                    <a:pt x="4305726" y="554134"/>
                    <a:pt x="4305086" y="552208"/>
                    <a:pt x="4303804" y="550982"/>
                  </a:cubicBezTo>
                  <a:cubicBezTo>
                    <a:pt x="4302683" y="549756"/>
                    <a:pt x="4300921" y="548880"/>
                    <a:pt x="4299319" y="548880"/>
                  </a:cubicBezTo>
                  <a:lnTo>
                    <a:pt x="4266481" y="548880"/>
                  </a:lnTo>
                  <a:lnTo>
                    <a:pt x="4266481" y="555886"/>
                  </a:lnTo>
                  <a:lnTo>
                    <a:pt x="4272889" y="555886"/>
                  </a:lnTo>
                  <a:lnTo>
                    <a:pt x="4272889" y="549406"/>
                  </a:lnTo>
                  <a:cubicBezTo>
                    <a:pt x="4272889" y="547654"/>
                    <a:pt x="4272248" y="545728"/>
                    <a:pt x="4270967" y="544502"/>
                  </a:cubicBezTo>
                  <a:cubicBezTo>
                    <a:pt x="4269845" y="543276"/>
                    <a:pt x="4268243" y="542400"/>
                    <a:pt x="4266481" y="542400"/>
                  </a:cubicBezTo>
                  <a:lnTo>
                    <a:pt x="4233804" y="542400"/>
                  </a:lnTo>
                  <a:lnTo>
                    <a:pt x="4233804" y="549406"/>
                  </a:lnTo>
                  <a:lnTo>
                    <a:pt x="4240211" y="549406"/>
                  </a:lnTo>
                  <a:lnTo>
                    <a:pt x="4240211" y="542926"/>
                  </a:lnTo>
                  <a:cubicBezTo>
                    <a:pt x="4240211" y="541174"/>
                    <a:pt x="4239571" y="539248"/>
                    <a:pt x="4238289" y="538022"/>
                  </a:cubicBezTo>
                  <a:cubicBezTo>
                    <a:pt x="4237168" y="536796"/>
                    <a:pt x="4235406" y="535920"/>
                    <a:pt x="4233804" y="535920"/>
                  </a:cubicBezTo>
                  <a:lnTo>
                    <a:pt x="4209937" y="535920"/>
                  </a:lnTo>
                  <a:lnTo>
                    <a:pt x="4209937" y="542926"/>
                  </a:lnTo>
                  <a:lnTo>
                    <a:pt x="4216344" y="542926"/>
                  </a:lnTo>
                  <a:lnTo>
                    <a:pt x="4216344" y="536270"/>
                  </a:lnTo>
                  <a:cubicBezTo>
                    <a:pt x="4216344" y="534519"/>
                    <a:pt x="4215703" y="532592"/>
                    <a:pt x="4214422" y="531367"/>
                  </a:cubicBezTo>
                  <a:cubicBezTo>
                    <a:pt x="4213300" y="530141"/>
                    <a:pt x="4211539" y="529265"/>
                    <a:pt x="4209937" y="529265"/>
                  </a:cubicBezTo>
                  <a:lnTo>
                    <a:pt x="4046550" y="529265"/>
                  </a:lnTo>
                  <a:cubicBezTo>
                    <a:pt x="4046550" y="527163"/>
                    <a:pt x="4045909" y="525412"/>
                    <a:pt x="4044627" y="524186"/>
                  </a:cubicBezTo>
                  <a:cubicBezTo>
                    <a:pt x="4043506" y="522960"/>
                    <a:pt x="4041744" y="522084"/>
                    <a:pt x="4040142" y="522084"/>
                  </a:cubicBezTo>
                  <a:lnTo>
                    <a:pt x="3977671" y="522084"/>
                  </a:lnTo>
                  <a:lnTo>
                    <a:pt x="3977671" y="529090"/>
                  </a:lnTo>
                  <a:lnTo>
                    <a:pt x="3984078" y="529090"/>
                  </a:lnTo>
                  <a:lnTo>
                    <a:pt x="3984078" y="522960"/>
                  </a:lnTo>
                  <a:cubicBezTo>
                    <a:pt x="3984078" y="521209"/>
                    <a:pt x="3983437" y="519282"/>
                    <a:pt x="3982156" y="518056"/>
                  </a:cubicBezTo>
                  <a:cubicBezTo>
                    <a:pt x="3981035" y="516830"/>
                    <a:pt x="3979273" y="515954"/>
                    <a:pt x="3977671" y="515954"/>
                  </a:cubicBezTo>
                  <a:lnTo>
                    <a:pt x="3962774" y="515954"/>
                  </a:lnTo>
                  <a:lnTo>
                    <a:pt x="3962774" y="522960"/>
                  </a:lnTo>
                  <a:lnTo>
                    <a:pt x="3969181" y="522960"/>
                  </a:lnTo>
                  <a:lnTo>
                    <a:pt x="3969181" y="516655"/>
                  </a:lnTo>
                  <a:cubicBezTo>
                    <a:pt x="3969181" y="514728"/>
                    <a:pt x="3968540" y="512977"/>
                    <a:pt x="3967259" y="511751"/>
                  </a:cubicBezTo>
                  <a:cubicBezTo>
                    <a:pt x="3966138" y="510525"/>
                    <a:pt x="3964376" y="509649"/>
                    <a:pt x="3962774" y="509649"/>
                  </a:cubicBezTo>
                  <a:lnTo>
                    <a:pt x="3956847" y="509649"/>
                  </a:lnTo>
                  <a:lnTo>
                    <a:pt x="3956847" y="516655"/>
                  </a:lnTo>
                  <a:lnTo>
                    <a:pt x="3963254" y="516655"/>
                  </a:lnTo>
                  <a:lnTo>
                    <a:pt x="3963254" y="510350"/>
                  </a:lnTo>
                  <a:cubicBezTo>
                    <a:pt x="3963254" y="508599"/>
                    <a:pt x="3962614" y="506672"/>
                    <a:pt x="3961332" y="505446"/>
                  </a:cubicBezTo>
                  <a:cubicBezTo>
                    <a:pt x="3960211" y="504220"/>
                    <a:pt x="3958449" y="503345"/>
                    <a:pt x="3956847" y="503345"/>
                  </a:cubicBezTo>
                  <a:lnTo>
                    <a:pt x="3757259" y="503345"/>
                  </a:lnTo>
                  <a:lnTo>
                    <a:pt x="3757259" y="510350"/>
                  </a:lnTo>
                  <a:lnTo>
                    <a:pt x="3763666" y="510350"/>
                  </a:lnTo>
                  <a:lnTo>
                    <a:pt x="3763666" y="504570"/>
                  </a:lnTo>
                  <a:cubicBezTo>
                    <a:pt x="3763666" y="502819"/>
                    <a:pt x="3763025" y="500893"/>
                    <a:pt x="3761744" y="499667"/>
                  </a:cubicBezTo>
                  <a:cubicBezTo>
                    <a:pt x="3760623" y="498441"/>
                    <a:pt x="3758861" y="497565"/>
                    <a:pt x="3757259" y="497565"/>
                  </a:cubicBezTo>
                  <a:lnTo>
                    <a:pt x="3727465" y="497565"/>
                  </a:lnTo>
                  <a:lnTo>
                    <a:pt x="3727465" y="504570"/>
                  </a:lnTo>
                  <a:lnTo>
                    <a:pt x="3733872" y="504570"/>
                  </a:lnTo>
                  <a:lnTo>
                    <a:pt x="3733872" y="499492"/>
                  </a:lnTo>
                  <a:cubicBezTo>
                    <a:pt x="3733872" y="497740"/>
                    <a:pt x="3733231" y="495814"/>
                    <a:pt x="3731950" y="494588"/>
                  </a:cubicBezTo>
                  <a:cubicBezTo>
                    <a:pt x="3730828" y="493362"/>
                    <a:pt x="3729066" y="492486"/>
                    <a:pt x="3727465" y="492486"/>
                  </a:cubicBezTo>
                  <a:lnTo>
                    <a:pt x="3673803" y="492486"/>
                  </a:lnTo>
                  <a:lnTo>
                    <a:pt x="3673803" y="499492"/>
                  </a:lnTo>
                  <a:lnTo>
                    <a:pt x="3680210" y="499492"/>
                  </a:lnTo>
                  <a:lnTo>
                    <a:pt x="3680210" y="493011"/>
                  </a:lnTo>
                  <a:cubicBezTo>
                    <a:pt x="3680210" y="491260"/>
                    <a:pt x="3679570" y="489334"/>
                    <a:pt x="3678288" y="488108"/>
                  </a:cubicBezTo>
                  <a:cubicBezTo>
                    <a:pt x="3677167" y="486882"/>
                    <a:pt x="3675405" y="486006"/>
                    <a:pt x="3673803" y="486006"/>
                  </a:cubicBezTo>
                  <a:lnTo>
                    <a:pt x="3530759" y="486006"/>
                  </a:lnTo>
                  <a:lnTo>
                    <a:pt x="3530759" y="493011"/>
                  </a:lnTo>
                  <a:lnTo>
                    <a:pt x="3537167" y="493011"/>
                  </a:lnTo>
                  <a:lnTo>
                    <a:pt x="3537167" y="487582"/>
                  </a:lnTo>
                  <a:cubicBezTo>
                    <a:pt x="3537167" y="485656"/>
                    <a:pt x="3536526" y="483904"/>
                    <a:pt x="3535245" y="482678"/>
                  </a:cubicBezTo>
                  <a:cubicBezTo>
                    <a:pt x="3533963" y="481452"/>
                    <a:pt x="3532361" y="480577"/>
                    <a:pt x="3530759" y="480577"/>
                  </a:cubicBezTo>
                  <a:lnTo>
                    <a:pt x="3453711" y="480577"/>
                  </a:lnTo>
                  <a:lnTo>
                    <a:pt x="3453711" y="474797"/>
                  </a:lnTo>
                  <a:cubicBezTo>
                    <a:pt x="3453711" y="473046"/>
                    <a:pt x="3453071" y="471119"/>
                    <a:pt x="3451789" y="469893"/>
                  </a:cubicBezTo>
                  <a:cubicBezTo>
                    <a:pt x="3450668" y="468667"/>
                    <a:pt x="3448906" y="467792"/>
                    <a:pt x="3447304" y="467792"/>
                  </a:cubicBezTo>
                  <a:lnTo>
                    <a:pt x="3432407" y="467792"/>
                  </a:lnTo>
                  <a:lnTo>
                    <a:pt x="3432407" y="474797"/>
                  </a:lnTo>
                  <a:lnTo>
                    <a:pt x="3438814" y="474797"/>
                  </a:lnTo>
                  <a:lnTo>
                    <a:pt x="3438814" y="469368"/>
                  </a:lnTo>
                  <a:cubicBezTo>
                    <a:pt x="3438814" y="467441"/>
                    <a:pt x="3438174" y="465690"/>
                    <a:pt x="3436892" y="464464"/>
                  </a:cubicBezTo>
                  <a:cubicBezTo>
                    <a:pt x="3435771" y="463238"/>
                    <a:pt x="3434009" y="462362"/>
                    <a:pt x="3432407" y="462362"/>
                  </a:cubicBezTo>
                  <a:lnTo>
                    <a:pt x="3372819" y="462362"/>
                  </a:lnTo>
                  <a:lnTo>
                    <a:pt x="3372819" y="469368"/>
                  </a:lnTo>
                  <a:lnTo>
                    <a:pt x="3379226" y="469368"/>
                  </a:lnTo>
                  <a:lnTo>
                    <a:pt x="3379226" y="464289"/>
                  </a:lnTo>
                  <a:cubicBezTo>
                    <a:pt x="3379226" y="462362"/>
                    <a:pt x="3378585" y="460611"/>
                    <a:pt x="3377304" y="459385"/>
                  </a:cubicBezTo>
                  <a:cubicBezTo>
                    <a:pt x="3376022" y="458159"/>
                    <a:pt x="3374421" y="457283"/>
                    <a:pt x="3372819" y="457283"/>
                  </a:cubicBezTo>
                  <a:lnTo>
                    <a:pt x="3369775" y="457283"/>
                  </a:lnTo>
                  <a:lnTo>
                    <a:pt x="3369775" y="464289"/>
                  </a:lnTo>
                  <a:lnTo>
                    <a:pt x="3376183" y="464289"/>
                  </a:lnTo>
                  <a:lnTo>
                    <a:pt x="3376183" y="458860"/>
                  </a:lnTo>
                  <a:cubicBezTo>
                    <a:pt x="3376183" y="457108"/>
                    <a:pt x="3375542" y="455182"/>
                    <a:pt x="3374260" y="453956"/>
                  </a:cubicBezTo>
                  <a:cubicBezTo>
                    <a:pt x="3373139" y="452730"/>
                    <a:pt x="3371377" y="451854"/>
                    <a:pt x="3369775" y="451854"/>
                  </a:cubicBezTo>
                  <a:lnTo>
                    <a:pt x="3271583" y="451854"/>
                  </a:lnTo>
                  <a:lnTo>
                    <a:pt x="3271583" y="458860"/>
                  </a:lnTo>
                  <a:lnTo>
                    <a:pt x="3277990" y="458860"/>
                  </a:lnTo>
                  <a:lnTo>
                    <a:pt x="3277990" y="452905"/>
                  </a:lnTo>
                  <a:cubicBezTo>
                    <a:pt x="3277990" y="451154"/>
                    <a:pt x="3277350" y="449227"/>
                    <a:pt x="3276068" y="448001"/>
                  </a:cubicBezTo>
                  <a:cubicBezTo>
                    <a:pt x="3274947" y="446775"/>
                    <a:pt x="3273185" y="445900"/>
                    <a:pt x="3271583" y="445900"/>
                  </a:cubicBezTo>
                  <a:lnTo>
                    <a:pt x="3256686" y="445900"/>
                  </a:lnTo>
                  <a:lnTo>
                    <a:pt x="3256686" y="452905"/>
                  </a:lnTo>
                  <a:lnTo>
                    <a:pt x="3263093" y="452905"/>
                  </a:lnTo>
                  <a:lnTo>
                    <a:pt x="3263093" y="447301"/>
                  </a:lnTo>
                  <a:cubicBezTo>
                    <a:pt x="3263093" y="445374"/>
                    <a:pt x="3262453" y="443623"/>
                    <a:pt x="3261171" y="442397"/>
                  </a:cubicBezTo>
                  <a:cubicBezTo>
                    <a:pt x="3260050" y="441171"/>
                    <a:pt x="3258288" y="440295"/>
                    <a:pt x="3256686" y="440295"/>
                  </a:cubicBezTo>
                  <a:lnTo>
                    <a:pt x="3232819" y="440295"/>
                  </a:lnTo>
                  <a:lnTo>
                    <a:pt x="3232819" y="447301"/>
                  </a:lnTo>
                  <a:lnTo>
                    <a:pt x="3239226" y="447301"/>
                  </a:lnTo>
                  <a:lnTo>
                    <a:pt x="3239226" y="442046"/>
                  </a:lnTo>
                  <a:cubicBezTo>
                    <a:pt x="3239226" y="440295"/>
                    <a:pt x="3238585" y="438369"/>
                    <a:pt x="3237304" y="437143"/>
                  </a:cubicBezTo>
                  <a:cubicBezTo>
                    <a:pt x="3236182" y="435917"/>
                    <a:pt x="3234420" y="435041"/>
                    <a:pt x="3232819" y="435041"/>
                  </a:cubicBezTo>
                  <a:lnTo>
                    <a:pt x="3223848" y="435041"/>
                  </a:lnTo>
                  <a:lnTo>
                    <a:pt x="3223848" y="442046"/>
                  </a:lnTo>
                  <a:lnTo>
                    <a:pt x="3230256" y="442046"/>
                  </a:lnTo>
                  <a:lnTo>
                    <a:pt x="3230256" y="436968"/>
                  </a:lnTo>
                  <a:cubicBezTo>
                    <a:pt x="3230256" y="435216"/>
                    <a:pt x="3229615" y="433290"/>
                    <a:pt x="3228333" y="432064"/>
                  </a:cubicBezTo>
                  <a:cubicBezTo>
                    <a:pt x="3227212" y="430838"/>
                    <a:pt x="3225450" y="430137"/>
                    <a:pt x="3223848" y="430137"/>
                  </a:cubicBezTo>
                  <a:lnTo>
                    <a:pt x="3199981" y="430137"/>
                  </a:lnTo>
                  <a:lnTo>
                    <a:pt x="3199981" y="437143"/>
                  </a:lnTo>
                  <a:lnTo>
                    <a:pt x="3206388" y="437143"/>
                  </a:lnTo>
                  <a:lnTo>
                    <a:pt x="3206388" y="432239"/>
                  </a:lnTo>
                  <a:cubicBezTo>
                    <a:pt x="3206388" y="430487"/>
                    <a:pt x="3205748" y="428561"/>
                    <a:pt x="3204466" y="427335"/>
                  </a:cubicBezTo>
                  <a:cubicBezTo>
                    <a:pt x="3203185" y="426109"/>
                    <a:pt x="3201583" y="425233"/>
                    <a:pt x="3199981" y="425233"/>
                  </a:cubicBezTo>
                  <a:lnTo>
                    <a:pt x="3179157" y="425233"/>
                  </a:lnTo>
                  <a:lnTo>
                    <a:pt x="3179157" y="432239"/>
                  </a:lnTo>
                  <a:lnTo>
                    <a:pt x="3185565" y="432239"/>
                  </a:lnTo>
                  <a:lnTo>
                    <a:pt x="3185565" y="425934"/>
                  </a:lnTo>
                  <a:cubicBezTo>
                    <a:pt x="3185565" y="424182"/>
                    <a:pt x="3184924" y="422256"/>
                    <a:pt x="3183642" y="421030"/>
                  </a:cubicBezTo>
                  <a:cubicBezTo>
                    <a:pt x="3182521" y="419804"/>
                    <a:pt x="3180759" y="418928"/>
                    <a:pt x="3179157" y="418928"/>
                  </a:cubicBezTo>
                  <a:lnTo>
                    <a:pt x="3113642" y="418928"/>
                  </a:lnTo>
                  <a:lnTo>
                    <a:pt x="3113642" y="425934"/>
                  </a:lnTo>
                  <a:lnTo>
                    <a:pt x="3120050" y="425934"/>
                  </a:lnTo>
                  <a:lnTo>
                    <a:pt x="3120050" y="420505"/>
                  </a:lnTo>
                  <a:cubicBezTo>
                    <a:pt x="3120050" y="418578"/>
                    <a:pt x="3119409" y="416827"/>
                    <a:pt x="3118127" y="415601"/>
                  </a:cubicBezTo>
                  <a:cubicBezTo>
                    <a:pt x="3117006" y="414375"/>
                    <a:pt x="3115244" y="413674"/>
                    <a:pt x="3113642" y="413674"/>
                  </a:cubicBezTo>
                  <a:lnTo>
                    <a:pt x="3015770" y="413674"/>
                  </a:lnTo>
                  <a:lnTo>
                    <a:pt x="3015770" y="413149"/>
                  </a:lnTo>
                  <a:cubicBezTo>
                    <a:pt x="3015770" y="411222"/>
                    <a:pt x="3015130" y="409471"/>
                    <a:pt x="3013848" y="408245"/>
                  </a:cubicBezTo>
                  <a:cubicBezTo>
                    <a:pt x="3012567" y="407019"/>
                    <a:pt x="3010965" y="406143"/>
                    <a:pt x="3009363" y="406143"/>
                  </a:cubicBezTo>
                  <a:lnTo>
                    <a:pt x="2967715" y="406143"/>
                  </a:lnTo>
                  <a:lnTo>
                    <a:pt x="2967715" y="413149"/>
                  </a:lnTo>
                  <a:lnTo>
                    <a:pt x="2974123" y="413149"/>
                  </a:lnTo>
                  <a:lnTo>
                    <a:pt x="2974123" y="408245"/>
                  </a:lnTo>
                  <a:cubicBezTo>
                    <a:pt x="2974123" y="406494"/>
                    <a:pt x="2973482" y="404567"/>
                    <a:pt x="2972201" y="403341"/>
                  </a:cubicBezTo>
                  <a:cubicBezTo>
                    <a:pt x="2971079" y="402115"/>
                    <a:pt x="2969317" y="401240"/>
                    <a:pt x="2967715" y="401240"/>
                  </a:cubicBezTo>
                  <a:lnTo>
                    <a:pt x="2842612" y="401240"/>
                  </a:lnTo>
                  <a:lnTo>
                    <a:pt x="2842612" y="408245"/>
                  </a:lnTo>
                  <a:lnTo>
                    <a:pt x="2849020" y="408245"/>
                  </a:lnTo>
                  <a:lnTo>
                    <a:pt x="2849020" y="403341"/>
                  </a:lnTo>
                  <a:cubicBezTo>
                    <a:pt x="2849020" y="401590"/>
                    <a:pt x="2848379" y="399838"/>
                    <a:pt x="2847097" y="398437"/>
                  </a:cubicBezTo>
                  <a:cubicBezTo>
                    <a:pt x="2845816" y="397036"/>
                    <a:pt x="2844214" y="396336"/>
                    <a:pt x="2842612" y="396336"/>
                  </a:cubicBezTo>
                  <a:lnTo>
                    <a:pt x="2812818" y="396336"/>
                  </a:lnTo>
                  <a:lnTo>
                    <a:pt x="2812818" y="403166"/>
                  </a:lnTo>
                  <a:lnTo>
                    <a:pt x="2819225" y="403166"/>
                  </a:lnTo>
                  <a:lnTo>
                    <a:pt x="2819225" y="397562"/>
                  </a:lnTo>
                  <a:cubicBezTo>
                    <a:pt x="2819225" y="395810"/>
                    <a:pt x="2818585" y="393884"/>
                    <a:pt x="2817303" y="392658"/>
                  </a:cubicBezTo>
                  <a:cubicBezTo>
                    <a:pt x="2816022" y="391432"/>
                    <a:pt x="2814420" y="390556"/>
                    <a:pt x="2812818" y="390556"/>
                  </a:cubicBezTo>
                  <a:lnTo>
                    <a:pt x="2809775" y="390556"/>
                  </a:lnTo>
                  <a:lnTo>
                    <a:pt x="2809775" y="397562"/>
                  </a:lnTo>
                  <a:lnTo>
                    <a:pt x="2816182" y="397562"/>
                  </a:lnTo>
                  <a:lnTo>
                    <a:pt x="2816182" y="392308"/>
                  </a:lnTo>
                  <a:cubicBezTo>
                    <a:pt x="2816182" y="390556"/>
                    <a:pt x="2815541" y="388630"/>
                    <a:pt x="2814260" y="387404"/>
                  </a:cubicBezTo>
                  <a:cubicBezTo>
                    <a:pt x="2813138" y="386178"/>
                    <a:pt x="2811376" y="385302"/>
                    <a:pt x="2809775" y="385302"/>
                  </a:cubicBezTo>
                  <a:lnTo>
                    <a:pt x="2741216" y="385302"/>
                  </a:lnTo>
                  <a:lnTo>
                    <a:pt x="2741216" y="392308"/>
                  </a:lnTo>
                  <a:lnTo>
                    <a:pt x="2747624" y="392308"/>
                  </a:lnTo>
                  <a:lnTo>
                    <a:pt x="2747624" y="387053"/>
                  </a:lnTo>
                  <a:cubicBezTo>
                    <a:pt x="2747624" y="385302"/>
                    <a:pt x="2746983" y="383376"/>
                    <a:pt x="2745701" y="382150"/>
                  </a:cubicBezTo>
                  <a:cubicBezTo>
                    <a:pt x="2744580" y="380748"/>
                    <a:pt x="2742818" y="380048"/>
                    <a:pt x="2741216" y="380048"/>
                  </a:cubicBezTo>
                  <a:lnTo>
                    <a:pt x="2660804" y="380048"/>
                  </a:lnTo>
                  <a:lnTo>
                    <a:pt x="2660804" y="387053"/>
                  </a:lnTo>
                  <a:lnTo>
                    <a:pt x="2667211" y="387053"/>
                  </a:lnTo>
                  <a:lnTo>
                    <a:pt x="2667211" y="382325"/>
                  </a:lnTo>
                  <a:cubicBezTo>
                    <a:pt x="2667211" y="380573"/>
                    <a:pt x="2666571" y="378647"/>
                    <a:pt x="2665289" y="377421"/>
                  </a:cubicBezTo>
                  <a:cubicBezTo>
                    <a:pt x="2664168" y="376195"/>
                    <a:pt x="2662406" y="375319"/>
                    <a:pt x="2660804" y="375319"/>
                  </a:cubicBezTo>
                  <a:lnTo>
                    <a:pt x="2616113" y="375319"/>
                  </a:lnTo>
                  <a:lnTo>
                    <a:pt x="2616113" y="382325"/>
                  </a:lnTo>
                  <a:lnTo>
                    <a:pt x="2622520" y="382325"/>
                  </a:lnTo>
                  <a:lnTo>
                    <a:pt x="2622520" y="377771"/>
                  </a:lnTo>
                  <a:cubicBezTo>
                    <a:pt x="2622520" y="375845"/>
                    <a:pt x="2621880" y="374093"/>
                    <a:pt x="2620598" y="372867"/>
                  </a:cubicBezTo>
                  <a:cubicBezTo>
                    <a:pt x="2619477" y="371641"/>
                    <a:pt x="2617715" y="370766"/>
                    <a:pt x="2616113" y="370766"/>
                  </a:cubicBezTo>
                  <a:lnTo>
                    <a:pt x="2529774" y="370766"/>
                  </a:lnTo>
                  <a:lnTo>
                    <a:pt x="2529774" y="377771"/>
                  </a:lnTo>
                  <a:lnTo>
                    <a:pt x="2536182" y="377771"/>
                  </a:lnTo>
                  <a:lnTo>
                    <a:pt x="2536182" y="372692"/>
                  </a:lnTo>
                  <a:cubicBezTo>
                    <a:pt x="2536182" y="370941"/>
                    <a:pt x="2535541" y="369014"/>
                    <a:pt x="2534260" y="367788"/>
                  </a:cubicBezTo>
                  <a:cubicBezTo>
                    <a:pt x="2533138" y="366562"/>
                    <a:pt x="2531376" y="365687"/>
                    <a:pt x="2529774" y="365687"/>
                  </a:cubicBezTo>
                  <a:lnTo>
                    <a:pt x="2499980" y="365687"/>
                  </a:lnTo>
                  <a:lnTo>
                    <a:pt x="2499980" y="372692"/>
                  </a:lnTo>
                  <a:lnTo>
                    <a:pt x="2506388" y="372692"/>
                  </a:lnTo>
                  <a:lnTo>
                    <a:pt x="2506388" y="367963"/>
                  </a:lnTo>
                  <a:cubicBezTo>
                    <a:pt x="2506388" y="366037"/>
                    <a:pt x="2505747" y="364286"/>
                    <a:pt x="2504465" y="363060"/>
                  </a:cubicBezTo>
                  <a:cubicBezTo>
                    <a:pt x="2503184" y="361834"/>
                    <a:pt x="2501742" y="360958"/>
                    <a:pt x="2499980" y="360958"/>
                  </a:cubicBezTo>
                  <a:lnTo>
                    <a:pt x="2494053" y="360958"/>
                  </a:lnTo>
                  <a:lnTo>
                    <a:pt x="2494053" y="367963"/>
                  </a:lnTo>
                  <a:lnTo>
                    <a:pt x="2500461" y="367963"/>
                  </a:lnTo>
                  <a:lnTo>
                    <a:pt x="2500461" y="358856"/>
                  </a:lnTo>
                  <a:cubicBezTo>
                    <a:pt x="2500461" y="357105"/>
                    <a:pt x="2499820" y="355178"/>
                    <a:pt x="2498539" y="353952"/>
                  </a:cubicBezTo>
                  <a:cubicBezTo>
                    <a:pt x="2497417" y="352726"/>
                    <a:pt x="2495655" y="351851"/>
                    <a:pt x="2494053" y="351851"/>
                  </a:cubicBezTo>
                  <a:lnTo>
                    <a:pt x="2440392" y="351851"/>
                  </a:lnTo>
                  <a:lnTo>
                    <a:pt x="2440392" y="358856"/>
                  </a:lnTo>
                  <a:lnTo>
                    <a:pt x="2446799" y="358856"/>
                  </a:lnTo>
                  <a:lnTo>
                    <a:pt x="2446799" y="352551"/>
                  </a:lnTo>
                  <a:cubicBezTo>
                    <a:pt x="2446799" y="350800"/>
                    <a:pt x="2446159" y="348873"/>
                    <a:pt x="2444877" y="347647"/>
                  </a:cubicBezTo>
                  <a:cubicBezTo>
                    <a:pt x="2443756" y="346422"/>
                    <a:pt x="2441994" y="345546"/>
                    <a:pt x="2440392" y="345546"/>
                  </a:cubicBezTo>
                  <a:lnTo>
                    <a:pt x="2380804" y="345546"/>
                  </a:lnTo>
                  <a:lnTo>
                    <a:pt x="2380804" y="352551"/>
                  </a:lnTo>
                  <a:lnTo>
                    <a:pt x="2387211" y="352551"/>
                  </a:lnTo>
                  <a:lnTo>
                    <a:pt x="2387211" y="347297"/>
                  </a:lnTo>
                  <a:cubicBezTo>
                    <a:pt x="2387211" y="345546"/>
                    <a:pt x="2386571" y="343619"/>
                    <a:pt x="2385289" y="342393"/>
                  </a:cubicBezTo>
                  <a:cubicBezTo>
                    <a:pt x="2384168" y="341167"/>
                    <a:pt x="2382406" y="340292"/>
                    <a:pt x="2380804" y="340292"/>
                  </a:cubicBezTo>
                  <a:lnTo>
                    <a:pt x="2347966" y="340292"/>
                  </a:lnTo>
                  <a:lnTo>
                    <a:pt x="2347966" y="347297"/>
                  </a:lnTo>
                  <a:lnTo>
                    <a:pt x="2354374" y="347297"/>
                  </a:lnTo>
                  <a:lnTo>
                    <a:pt x="2354374" y="342569"/>
                  </a:lnTo>
                  <a:cubicBezTo>
                    <a:pt x="2354374" y="340817"/>
                    <a:pt x="2353733" y="338891"/>
                    <a:pt x="2352451" y="337665"/>
                  </a:cubicBezTo>
                  <a:cubicBezTo>
                    <a:pt x="2351330" y="336439"/>
                    <a:pt x="2349568" y="335563"/>
                    <a:pt x="2347966" y="335563"/>
                  </a:cubicBezTo>
                  <a:lnTo>
                    <a:pt x="2342040" y="335563"/>
                  </a:lnTo>
                  <a:lnTo>
                    <a:pt x="2342040" y="342569"/>
                  </a:lnTo>
                  <a:lnTo>
                    <a:pt x="2348447" y="342569"/>
                  </a:lnTo>
                  <a:lnTo>
                    <a:pt x="2348447" y="337490"/>
                  </a:lnTo>
                  <a:cubicBezTo>
                    <a:pt x="2348447" y="335563"/>
                    <a:pt x="2347806" y="333812"/>
                    <a:pt x="2346525" y="332586"/>
                  </a:cubicBezTo>
                  <a:cubicBezTo>
                    <a:pt x="2345403" y="331185"/>
                    <a:pt x="2343641" y="330484"/>
                    <a:pt x="2342040" y="330484"/>
                  </a:cubicBezTo>
                  <a:lnTo>
                    <a:pt x="2225907" y="330484"/>
                  </a:lnTo>
                  <a:lnTo>
                    <a:pt x="2225907" y="337490"/>
                  </a:lnTo>
                  <a:lnTo>
                    <a:pt x="2232314" y="337490"/>
                  </a:lnTo>
                  <a:lnTo>
                    <a:pt x="2232314" y="332936"/>
                  </a:lnTo>
                  <a:cubicBezTo>
                    <a:pt x="2232314" y="331185"/>
                    <a:pt x="2231673" y="329258"/>
                    <a:pt x="2230392" y="328032"/>
                  </a:cubicBezTo>
                  <a:cubicBezTo>
                    <a:pt x="2229271" y="326806"/>
                    <a:pt x="2227508" y="325930"/>
                    <a:pt x="2225907" y="325930"/>
                  </a:cubicBezTo>
                  <a:lnTo>
                    <a:pt x="2169362" y="325930"/>
                  </a:lnTo>
                  <a:lnTo>
                    <a:pt x="2169362" y="332936"/>
                  </a:lnTo>
                  <a:lnTo>
                    <a:pt x="2175769" y="332936"/>
                  </a:lnTo>
                  <a:lnTo>
                    <a:pt x="2175769" y="328382"/>
                  </a:lnTo>
                  <a:cubicBezTo>
                    <a:pt x="2175769" y="326631"/>
                    <a:pt x="2175128" y="324705"/>
                    <a:pt x="2173847" y="323479"/>
                  </a:cubicBezTo>
                  <a:cubicBezTo>
                    <a:pt x="2172566" y="322253"/>
                    <a:pt x="2170964" y="321377"/>
                    <a:pt x="2169362" y="321377"/>
                  </a:cubicBezTo>
                  <a:lnTo>
                    <a:pt x="2154465" y="321377"/>
                  </a:lnTo>
                  <a:lnTo>
                    <a:pt x="2154465" y="328382"/>
                  </a:lnTo>
                  <a:lnTo>
                    <a:pt x="2160872" y="328382"/>
                  </a:lnTo>
                  <a:lnTo>
                    <a:pt x="2160872" y="323829"/>
                  </a:lnTo>
                  <a:cubicBezTo>
                    <a:pt x="2160872" y="322077"/>
                    <a:pt x="2160232" y="320151"/>
                    <a:pt x="2158950" y="318925"/>
                  </a:cubicBezTo>
                  <a:cubicBezTo>
                    <a:pt x="2157669" y="317699"/>
                    <a:pt x="2156067" y="316823"/>
                    <a:pt x="2154465" y="316823"/>
                  </a:cubicBezTo>
                  <a:lnTo>
                    <a:pt x="2136525" y="316823"/>
                  </a:lnTo>
                  <a:lnTo>
                    <a:pt x="2136525" y="323829"/>
                  </a:lnTo>
                  <a:lnTo>
                    <a:pt x="2142932" y="323829"/>
                  </a:lnTo>
                  <a:lnTo>
                    <a:pt x="2142932" y="319275"/>
                  </a:lnTo>
                  <a:cubicBezTo>
                    <a:pt x="2142932" y="317524"/>
                    <a:pt x="2142291" y="315597"/>
                    <a:pt x="2141010" y="314371"/>
                  </a:cubicBezTo>
                  <a:cubicBezTo>
                    <a:pt x="2139888" y="313145"/>
                    <a:pt x="2138126" y="312270"/>
                    <a:pt x="2136525" y="312270"/>
                  </a:cubicBezTo>
                  <a:lnTo>
                    <a:pt x="2109774" y="312270"/>
                  </a:lnTo>
                  <a:lnTo>
                    <a:pt x="2109774" y="319275"/>
                  </a:lnTo>
                  <a:lnTo>
                    <a:pt x="2116181" y="319275"/>
                  </a:lnTo>
                  <a:lnTo>
                    <a:pt x="2116181" y="313671"/>
                  </a:lnTo>
                  <a:cubicBezTo>
                    <a:pt x="2116181" y="311919"/>
                    <a:pt x="2115541" y="309993"/>
                    <a:pt x="2114259" y="308767"/>
                  </a:cubicBezTo>
                  <a:cubicBezTo>
                    <a:pt x="2113138" y="307541"/>
                    <a:pt x="2111376" y="306665"/>
                    <a:pt x="2109774" y="306665"/>
                  </a:cubicBezTo>
                  <a:lnTo>
                    <a:pt x="2085906" y="306665"/>
                  </a:lnTo>
                  <a:lnTo>
                    <a:pt x="2085906" y="313671"/>
                  </a:lnTo>
                  <a:lnTo>
                    <a:pt x="2092314" y="313671"/>
                  </a:lnTo>
                  <a:lnTo>
                    <a:pt x="2092314" y="309117"/>
                  </a:lnTo>
                  <a:cubicBezTo>
                    <a:pt x="2092314" y="307366"/>
                    <a:pt x="2091673" y="305439"/>
                    <a:pt x="2090392" y="304213"/>
                  </a:cubicBezTo>
                  <a:cubicBezTo>
                    <a:pt x="2089270" y="302987"/>
                    <a:pt x="2087508" y="302112"/>
                    <a:pt x="2085906" y="302112"/>
                  </a:cubicBezTo>
                  <a:lnTo>
                    <a:pt x="2076936" y="302112"/>
                  </a:lnTo>
                  <a:lnTo>
                    <a:pt x="2076936" y="309117"/>
                  </a:lnTo>
                  <a:lnTo>
                    <a:pt x="2083343" y="309117"/>
                  </a:lnTo>
                  <a:lnTo>
                    <a:pt x="2083343" y="304213"/>
                  </a:lnTo>
                  <a:cubicBezTo>
                    <a:pt x="2083343" y="302462"/>
                    <a:pt x="2082703" y="300536"/>
                    <a:pt x="2081421" y="299310"/>
                  </a:cubicBezTo>
                  <a:cubicBezTo>
                    <a:pt x="2080300" y="298084"/>
                    <a:pt x="2078538" y="297208"/>
                    <a:pt x="2076936" y="297208"/>
                  </a:cubicBezTo>
                  <a:lnTo>
                    <a:pt x="2071009" y="297208"/>
                  </a:lnTo>
                  <a:lnTo>
                    <a:pt x="2071009" y="304213"/>
                  </a:lnTo>
                  <a:lnTo>
                    <a:pt x="2077417" y="304213"/>
                  </a:lnTo>
                  <a:lnTo>
                    <a:pt x="2077417" y="299310"/>
                  </a:lnTo>
                  <a:cubicBezTo>
                    <a:pt x="2077417" y="297558"/>
                    <a:pt x="2076776" y="295632"/>
                    <a:pt x="2075495" y="294406"/>
                  </a:cubicBezTo>
                  <a:cubicBezTo>
                    <a:pt x="2074373" y="293180"/>
                    <a:pt x="2072611" y="292304"/>
                    <a:pt x="2071009" y="292304"/>
                  </a:cubicBezTo>
                  <a:lnTo>
                    <a:pt x="2056112" y="292304"/>
                  </a:lnTo>
                  <a:lnTo>
                    <a:pt x="2056112" y="299310"/>
                  </a:lnTo>
                  <a:lnTo>
                    <a:pt x="2062520" y="299310"/>
                  </a:lnTo>
                  <a:lnTo>
                    <a:pt x="2062520" y="294231"/>
                  </a:lnTo>
                  <a:cubicBezTo>
                    <a:pt x="2062520" y="292304"/>
                    <a:pt x="2061879" y="290553"/>
                    <a:pt x="2060597" y="289327"/>
                  </a:cubicBezTo>
                  <a:cubicBezTo>
                    <a:pt x="2059316" y="288101"/>
                    <a:pt x="2057714" y="287225"/>
                    <a:pt x="2056112" y="287225"/>
                  </a:cubicBezTo>
                  <a:lnTo>
                    <a:pt x="2023435" y="287225"/>
                  </a:lnTo>
                  <a:lnTo>
                    <a:pt x="2023435" y="294231"/>
                  </a:lnTo>
                  <a:lnTo>
                    <a:pt x="2029842" y="294231"/>
                  </a:lnTo>
                  <a:lnTo>
                    <a:pt x="2029842" y="289327"/>
                  </a:lnTo>
                  <a:cubicBezTo>
                    <a:pt x="2029842" y="287400"/>
                    <a:pt x="2029202" y="285649"/>
                    <a:pt x="2027920" y="284423"/>
                  </a:cubicBezTo>
                  <a:cubicBezTo>
                    <a:pt x="2026799" y="283197"/>
                    <a:pt x="2025037" y="282321"/>
                    <a:pt x="2023435" y="282321"/>
                  </a:cubicBezTo>
                  <a:lnTo>
                    <a:pt x="1963847" y="282321"/>
                  </a:lnTo>
                  <a:lnTo>
                    <a:pt x="1963847" y="289327"/>
                  </a:lnTo>
                  <a:lnTo>
                    <a:pt x="1970254" y="289327"/>
                  </a:lnTo>
                  <a:lnTo>
                    <a:pt x="1970254" y="284423"/>
                  </a:lnTo>
                  <a:cubicBezTo>
                    <a:pt x="1970254" y="282672"/>
                    <a:pt x="1969613" y="280745"/>
                    <a:pt x="1968332" y="279519"/>
                  </a:cubicBezTo>
                  <a:cubicBezTo>
                    <a:pt x="1967211" y="278293"/>
                    <a:pt x="1965449" y="277417"/>
                    <a:pt x="1963847" y="277417"/>
                  </a:cubicBezTo>
                  <a:lnTo>
                    <a:pt x="1916112" y="277417"/>
                  </a:lnTo>
                  <a:lnTo>
                    <a:pt x="1916112" y="284423"/>
                  </a:lnTo>
                  <a:lnTo>
                    <a:pt x="1922519" y="284423"/>
                  </a:lnTo>
                  <a:lnTo>
                    <a:pt x="1922519" y="279519"/>
                  </a:lnTo>
                  <a:cubicBezTo>
                    <a:pt x="1922519" y="277768"/>
                    <a:pt x="1921879" y="275841"/>
                    <a:pt x="1920597" y="274615"/>
                  </a:cubicBezTo>
                  <a:cubicBezTo>
                    <a:pt x="1919476" y="273389"/>
                    <a:pt x="1917714" y="272514"/>
                    <a:pt x="1916112" y="272514"/>
                  </a:cubicBezTo>
                  <a:lnTo>
                    <a:pt x="1859567" y="272514"/>
                  </a:lnTo>
                  <a:lnTo>
                    <a:pt x="1859567" y="279519"/>
                  </a:lnTo>
                  <a:lnTo>
                    <a:pt x="1865975" y="279519"/>
                  </a:lnTo>
                  <a:lnTo>
                    <a:pt x="1865975" y="274966"/>
                  </a:lnTo>
                  <a:cubicBezTo>
                    <a:pt x="1865975" y="273214"/>
                    <a:pt x="1865334" y="271288"/>
                    <a:pt x="1864053" y="270062"/>
                  </a:cubicBezTo>
                  <a:cubicBezTo>
                    <a:pt x="1862931" y="268836"/>
                    <a:pt x="1861169" y="267960"/>
                    <a:pt x="1859567" y="267960"/>
                  </a:cubicBezTo>
                  <a:lnTo>
                    <a:pt x="1853641" y="267960"/>
                  </a:lnTo>
                  <a:lnTo>
                    <a:pt x="1853641" y="274966"/>
                  </a:lnTo>
                  <a:lnTo>
                    <a:pt x="1860048" y="274966"/>
                  </a:lnTo>
                  <a:lnTo>
                    <a:pt x="1860048" y="268485"/>
                  </a:lnTo>
                  <a:cubicBezTo>
                    <a:pt x="1860048" y="266734"/>
                    <a:pt x="1859407" y="264808"/>
                    <a:pt x="1858126" y="263582"/>
                  </a:cubicBezTo>
                  <a:cubicBezTo>
                    <a:pt x="1856844" y="262356"/>
                    <a:pt x="1855243" y="261480"/>
                    <a:pt x="1853641" y="261480"/>
                  </a:cubicBezTo>
                  <a:lnTo>
                    <a:pt x="1847714" y="261480"/>
                  </a:lnTo>
                  <a:lnTo>
                    <a:pt x="1847714" y="268485"/>
                  </a:lnTo>
                  <a:lnTo>
                    <a:pt x="1854121" y="268485"/>
                  </a:lnTo>
                  <a:lnTo>
                    <a:pt x="1854121" y="264282"/>
                  </a:lnTo>
                  <a:cubicBezTo>
                    <a:pt x="1854121" y="262356"/>
                    <a:pt x="1853481" y="260604"/>
                    <a:pt x="1852199" y="259378"/>
                  </a:cubicBezTo>
                  <a:cubicBezTo>
                    <a:pt x="1851078" y="258152"/>
                    <a:pt x="1849316" y="257277"/>
                    <a:pt x="1847714" y="257277"/>
                  </a:cubicBezTo>
                  <a:lnTo>
                    <a:pt x="1838744" y="257277"/>
                  </a:lnTo>
                  <a:lnTo>
                    <a:pt x="1838744" y="264282"/>
                  </a:lnTo>
                  <a:lnTo>
                    <a:pt x="1845151" y="264282"/>
                  </a:lnTo>
                  <a:lnTo>
                    <a:pt x="1845151" y="258853"/>
                  </a:lnTo>
                  <a:cubicBezTo>
                    <a:pt x="1845151" y="257102"/>
                    <a:pt x="1844510" y="255175"/>
                    <a:pt x="1843229" y="253949"/>
                  </a:cubicBezTo>
                  <a:cubicBezTo>
                    <a:pt x="1842108" y="252723"/>
                    <a:pt x="1840346" y="251847"/>
                    <a:pt x="1838744" y="251847"/>
                  </a:cubicBezTo>
                  <a:lnTo>
                    <a:pt x="1832817" y="251847"/>
                  </a:lnTo>
                  <a:lnTo>
                    <a:pt x="1832817" y="258853"/>
                  </a:lnTo>
                  <a:lnTo>
                    <a:pt x="1839224" y="258853"/>
                  </a:lnTo>
                  <a:lnTo>
                    <a:pt x="1839224" y="254299"/>
                  </a:lnTo>
                  <a:cubicBezTo>
                    <a:pt x="1839224" y="252548"/>
                    <a:pt x="1838583" y="250621"/>
                    <a:pt x="1837302" y="249395"/>
                  </a:cubicBezTo>
                  <a:cubicBezTo>
                    <a:pt x="1836021" y="248170"/>
                    <a:pt x="1834419" y="247294"/>
                    <a:pt x="1832817" y="247294"/>
                  </a:cubicBezTo>
                  <a:lnTo>
                    <a:pt x="1791169" y="247294"/>
                  </a:lnTo>
                  <a:lnTo>
                    <a:pt x="1791169" y="254299"/>
                  </a:lnTo>
                  <a:lnTo>
                    <a:pt x="1797577" y="254299"/>
                  </a:lnTo>
                  <a:lnTo>
                    <a:pt x="1797577" y="250096"/>
                  </a:lnTo>
                  <a:cubicBezTo>
                    <a:pt x="1797577" y="248345"/>
                    <a:pt x="1796936" y="246418"/>
                    <a:pt x="1795654" y="245192"/>
                  </a:cubicBezTo>
                  <a:cubicBezTo>
                    <a:pt x="1794533" y="243966"/>
                    <a:pt x="1792771" y="243091"/>
                    <a:pt x="1791169" y="243091"/>
                  </a:cubicBezTo>
                  <a:lnTo>
                    <a:pt x="1758332" y="243091"/>
                  </a:lnTo>
                  <a:lnTo>
                    <a:pt x="1758332" y="250096"/>
                  </a:lnTo>
                  <a:lnTo>
                    <a:pt x="1764739" y="250096"/>
                  </a:lnTo>
                  <a:lnTo>
                    <a:pt x="1764739" y="245542"/>
                  </a:lnTo>
                  <a:cubicBezTo>
                    <a:pt x="1764739" y="243791"/>
                    <a:pt x="1764098" y="241865"/>
                    <a:pt x="1762817" y="240639"/>
                  </a:cubicBezTo>
                  <a:cubicBezTo>
                    <a:pt x="1761696" y="239413"/>
                    <a:pt x="1759934" y="238537"/>
                    <a:pt x="1758332" y="238537"/>
                  </a:cubicBezTo>
                  <a:lnTo>
                    <a:pt x="1743435" y="238537"/>
                  </a:lnTo>
                  <a:lnTo>
                    <a:pt x="1743435" y="245542"/>
                  </a:lnTo>
                  <a:lnTo>
                    <a:pt x="1749842" y="245542"/>
                  </a:lnTo>
                  <a:lnTo>
                    <a:pt x="1749842" y="240639"/>
                  </a:lnTo>
                  <a:cubicBezTo>
                    <a:pt x="1749842" y="238887"/>
                    <a:pt x="1749201" y="236961"/>
                    <a:pt x="1747920" y="235735"/>
                  </a:cubicBezTo>
                  <a:cubicBezTo>
                    <a:pt x="1746638" y="234509"/>
                    <a:pt x="1745037" y="233633"/>
                    <a:pt x="1743435" y="233633"/>
                  </a:cubicBezTo>
                  <a:lnTo>
                    <a:pt x="1665906" y="233633"/>
                  </a:lnTo>
                  <a:lnTo>
                    <a:pt x="1665906" y="240639"/>
                  </a:lnTo>
                  <a:lnTo>
                    <a:pt x="1672313" y="240639"/>
                  </a:lnTo>
                  <a:lnTo>
                    <a:pt x="1672313" y="236260"/>
                  </a:lnTo>
                  <a:cubicBezTo>
                    <a:pt x="1672313" y="234509"/>
                    <a:pt x="1671673" y="232582"/>
                    <a:pt x="1670391" y="231356"/>
                  </a:cubicBezTo>
                  <a:cubicBezTo>
                    <a:pt x="1669270" y="230130"/>
                    <a:pt x="1667508" y="229255"/>
                    <a:pt x="1665906" y="229255"/>
                  </a:cubicBezTo>
                  <a:lnTo>
                    <a:pt x="1514052" y="229255"/>
                  </a:lnTo>
                  <a:lnTo>
                    <a:pt x="1514052" y="236260"/>
                  </a:lnTo>
                  <a:lnTo>
                    <a:pt x="1520460" y="236260"/>
                  </a:lnTo>
                  <a:lnTo>
                    <a:pt x="1520460" y="231181"/>
                  </a:lnTo>
                  <a:cubicBezTo>
                    <a:pt x="1520460" y="229430"/>
                    <a:pt x="1519819" y="227503"/>
                    <a:pt x="1518537" y="226277"/>
                  </a:cubicBezTo>
                  <a:cubicBezTo>
                    <a:pt x="1517416" y="225051"/>
                    <a:pt x="1515654" y="224176"/>
                    <a:pt x="1514052" y="224176"/>
                  </a:cubicBezTo>
                  <a:lnTo>
                    <a:pt x="1490185" y="224176"/>
                  </a:lnTo>
                  <a:lnTo>
                    <a:pt x="1490185" y="231181"/>
                  </a:lnTo>
                  <a:lnTo>
                    <a:pt x="1496592" y="231181"/>
                  </a:lnTo>
                  <a:lnTo>
                    <a:pt x="1496592" y="226978"/>
                  </a:lnTo>
                  <a:cubicBezTo>
                    <a:pt x="1496592" y="225051"/>
                    <a:pt x="1495952" y="223300"/>
                    <a:pt x="1494670" y="222074"/>
                  </a:cubicBezTo>
                  <a:cubicBezTo>
                    <a:pt x="1493549" y="220848"/>
                    <a:pt x="1491787" y="219972"/>
                    <a:pt x="1490185" y="219972"/>
                  </a:cubicBezTo>
                  <a:lnTo>
                    <a:pt x="1475288" y="219972"/>
                  </a:lnTo>
                  <a:lnTo>
                    <a:pt x="1475288" y="226978"/>
                  </a:lnTo>
                  <a:lnTo>
                    <a:pt x="1481695" y="226978"/>
                  </a:lnTo>
                  <a:lnTo>
                    <a:pt x="1481695" y="222424"/>
                  </a:lnTo>
                  <a:cubicBezTo>
                    <a:pt x="1481695" y="220673"/>
                    <a:pt x="1481054" y="218746"/>
                    <a:pt x="1479773" y="217520"/>
                  </a:cubicBezTo>
                  <a:cubicBezTo>
                    <a:pt x="1478652" y="216295"/>
                    <a:pt x="1476890" y="215419"/>
                    <a:pt x="1475288" y="215419"/>
                  </a:cubicBezTo>
                  <a:lnTo>
                    <a:pt x="1466318" y="215419"/>
                  </a:lnTo>
                  <a:lnTo>
                    <a:pt x="1466318" y="222424"/>
                  </a:lnTo>
                  <a:lnTo>
                    <a:pt x="1472725" y="222424"/>
                  </a:lnTo>
                  <a:lnTo>
                    <a:pt x="1472725" y="217345"/>
                  </a:lnTo>
                  <a:cubicBezTo>
                    <a:pt x="1472725" y="215594"/>
                    <a:pt x="1472084" y="213667"/>
                    <a:pt x="1470803" y="212442"/>
                  </a:cubicBezTo>
                  <a:cubicBezTo>
                    <a:pt x="1469681" y="211216"/>
                    <a:pt x="1467919" y="210340"/>
                    <a:pt x="1466318" y="210340"/>
                  </a:cubicBezTo>
                  <a:lnTo>
                    <a:pt x="1442450" y="210340"/>
                  </a:lnTo>
                  <a:lnTo>
                    <a:pt x="1442450" y="217345"/>
                  </a:lnTo>
                  <a:lnTo>
                    <a:pt x="1448858" y="217345"/>
                  </a:lnTo>
                  <a:lnTo>
                    <a:pt x="1448858" y="212792"/>
                  </a:lnTo>
                  <a:cubicBezTo>
                    <a:pt x="1448858" y="211040"/>
                    <a:pt x="1448217" y="209114"/>
                    <a:pt x="1446935" y="207888"/>
                  </a:cubicBezTo>
                  <a:cubicBezTo>
                    <a:pt x="1445814" y="206662"/>
                    <a:pt x="1444052" y="205786"/>
                    <a:pt x="1442450" y="205786"/>
                  </a:cubicBezTo>
                  <a:lnTo>
                    <a:pt x="1412656" y="205786"/>
                  </a:lnTo>
                  <a:lnTo>
                    <a:pt x="1412656" y="212792"/>
                  </a:lnTo>
                  <a:lnTo>
                    <a:pt x="1419063" y="212792"/>
                  </a:lnTo>
                  <a:lnTo>
                    <a:pt x="1419063" y="208063"/>
                  </a:lnTo>
                  <a:cubicBezTo>
                    <a:pt x="1419063" y="206137"/>
                    <a:pt x="1418423" y="204385"/>
                    <a:pt x="1417141" y="203159"/>
                  </a:cubicBezTo>
                  <a:cubicBezTo>
                    <a:pt x="1416020" y="201933"/>
                    <a:pt x="1414258" y="201058"/>
                    <a:pt x="1412656" y="201058"/>
                  </a:cubicBezTo>
                  <a:lnTo>
                    <a:pt x="1344098" y="201058"/>
                  </a:lnTo>
                  <a:lnTo>
                    <a:pt x="1344098" y="208063"/>
                  </a:lnTo>
                  <a:lnTo>
                    <a:pt x="1350505" y="208063"/>
                  </a:lnTo>
                  <a:lnTo>
                    <a:pt x="1350505" y="203159"/>
                  </a:lnTo>
                  <a:cubicBezTo>
                    <a:pt x="1350505" y="201408"/>
                    <a:pt x="1349864" y="199481"/>
                    <a:pt x="1348583" y="198255"/>
                  </a:cubicBezTo>
                  <a:cubicBezTo>
                    <a:pt x="1347301" y="197029"/>
                    <a:pt x="1345700" y="196154"/>
                    <a:pt x="1344098" y="196154"/>
                  </a:cubicBezTo>
                  <a:lnTo>
                    <a:pt x="1320230" y="196154"/>
                  </a:lnTo>
                  <a:lnTo>
                    <a:pt x="1320230" y="203159"/>
                  </a:lnTo>
                  <a:lnTo>
                    <a:pt x="1326638" y="203159"/>
                  </a:lnTo>
                  <a:lnTo>
                    <a:pt x="1326638" y="198431"/>
                  </a:lnTo>
                  <a:cubicBezTo>
                    <a:pt x="1326638" y="196504"/>
                    <a:pt x="1325997" y="194753"/>
                    <a:pt x="1324716" y="193527"/>
                  </a:cubicBezTo>
                  <a:cubicBezTo>
                    <a:pt x="1323594" y="192301"/>
                    <a:pt x="1321832" y="191425"/>
                    <a:pt x="1320230" y="191425"/>
                  </a:cubicBezTo>
                  <a:lnTo>
                    <a:pt x="1302450" y="191425"/>
                  </a:lnTo>
                  <a:lnTo>
                    <a:pt x="1302450" y="198431"/>
                  </a:lnTo>
                  <a:lnTo>
                    <a:pt x="1308857" y="198431"/>
                  </a:lnTo>
                  <a:lnTo>
                    <a:pt x="1308857" y="193877"/>
                  </a:lnTo>
                  <a:cubicBezTo>
                    <a:pt x="1308857" y="192126"/>
                    <a:pt x="1308217" y="190199"/>
                    <a:pt x="1306935" y="188973"/>
                  </a:cubicBezTo>
                  <a:cubicBezTo>
                    <a:pt x="1305814" y="187747"/>
                    <a:pt x="1304052" y="186871"/>
                    <a:pt x="1302450" y="186871"/>
                  </a:cubicBezTo>
                  <a:lnTo>
                    <a:pt x="1195127" y="186871"/>
                  </a:lnTo>
                  <a:lnTo>
                    <a:pt x="1195127" y="193877"/>
                  </a:lnTo>
                  <a:lnTo>
                    <a:pt x="1201535" y="193877"/>
                  </a:lnTo>
                  <a:lnTo>
                    <a:pt x="1201535" y="189148"/>
                  </a:lnTo>
                  <a:cubicBezTo>
                    <a:pt x="1201535" y="187397"/>
                    <a:pt x="1200894" y="185470"/>
                    <a:pt x="1199612" y="184244"/>
                  </a:cubicBezTo>
                  <a:cubicBezTo>
                    <a:pt x="1198491" y="183018"/>
                    <a:pt x="1196729" y="182143"/>
                    <a:pt x="1195127" y="182143"/>
                  </a:cubicBezTo>
                  <a:lnTo>
                    <a:pt x="1189201" y="182143"/>
                  </a:lnTo>
                  <a:lnTo>
                    <a:pt x="1189201" y="189148"/>
                  </a:lnTo>
                  <a:lnTo>
                    <a:pt x="1195608" y="189148"/>
                  </a:lnTo>
                  <a:lnTo>
                    <a:pt x="1195608" y="184770"/>
                  </a:lnTo>
                  <a:cubicBezTo>
                    <a:pt x="1195608" y="183018"/>
                    <a:pt x="1194967" y="181092"/>
                    <a:pt x="1193686" y="179866"/>
                  </a:cubicBezTo>
                  <a:cubicBezTo>
                    <a:pt x="1192404" y="178640"/>
                    <a:pt x="1190802" y="177764"/>
                    <a:pt x="1189201" y="177764"/>
                  </a:cubicBezTo>
                  <a:lnTo>
                    <a:pt x="1183274" y="177764"/>
                  </a:lnTo>
                  <a:lnTo>
                    <a:pt x="1183274" y="184770"/>
                  </a:lnTo>
                  <a:lnTo>
                    <a:pt x="1189681" y="184770"/>
                  </a:lnTo>
                  <a:lnTo>
                    <a:pt x="1189681" y="180391"/>
                  </a:lnTo>
                  <a:cubicBezTo>
                    <a:pt x="1189681" y="178640"/>
                    <a:pt x="1189040" y="176714"/>
                    <a:pt x="1187759" y="175488"/>
                  </a:cubicBezTo>
                  <a:cubicBezTo>
                    <a:pt x="1186638" y="174262"/>
                    <a:pt x="1184876" y="173386"/>
                    <a:pt x="1183274" y="173386"/>
                  </a:cubicBezTo>
                  <a:lnTo>
                    <a:pt x="1114715" y="173386"/>
                  </a:lnTo>
                  <a:lnTo>
                    <a:pt x="1114715" y="180391"/>
                  </a:lnTo>
                  <a:lnTo>
                    <a:pt x="1121123" y="180391"/>
                  </a:lnTo>
                  <a:lnTo>
                    <a:pt x="1121123" y="176188"/>
                  </a:lnTo>
                  <a:cubicBezTo>
                    <a:pt x="1121123" y="174437"/>
                    <a:pt x="1120482" y="172510"/>
                    <a:pt x="1119201" y="171284"/>
                  </a:cubicBezTo>
                  <a:cubicBezTo>
                    <a:pt x="1118079" y="170058"/>
                    <a:pt x="1116317" y="169183"/>
                    <a:pt x="1114715" y="169183"/>
                  </a:cubicBezTo>
                  <a:lnTo>
                    <a:pt x="1111672" y="169183"/>
                  </a:lnTo>
                  <a:lnTo>
                    <a:pt x="1111672" y="176188"/>
                  </a:lnTo>
                  <a:lnTo>
                    <a:pt x="1118079" y="176188"/>
                  </a:lnTo>
                  <a:lnTo>
                    <a:pt x="1118079" y="171109"/>
                  </a:lnTo>
                  <a:cubicBezTo>
                    <a:pt x="1118079" y="169358"/>
                    <a:pt x="1117439" y="167431"/>
                    <a:pt x="1116157" y="166205"/>
                  </a:cubicBezTo>
                  <a:cubicBezTo>
                    <a:pt x="1115036" y="164979"/>
                    <a:pt x="1113434" y="164104"/>
                    <a:pt x="1111672" y="164104"/>
                  </a:cubicBezTo>
                  <a:lnTo>
                    <a:pt x="1084921" y="164104"/>
                  </a:lnTo>
                  <a:lnTo>
                    <a:pt x="1084921" y="171109"/>
                  </a:lnTo>
                  <a:lnTo>
                    <a:pt x="1091329" y="171109"/>
                  </a:lnTo>
                  <a:lnTo>
                    <a:pt x="1091329" y="166556"/>
                  </a:lnTo>
                  <a:cubicBezTo>
                    <a:pt x="1091329" y="164804"/>
                    <a:pt x="1090688" y="162878"/>
                    <a:pt x="1089406" y="161652"/>
                  </a:cubicBezTo>
                  <a:cubicBezTo>
                    <a:pt x="1088285" y="160426"/>
                    <a:pt x="1086523" y="159550"/>
                    <a:pt x="1084921" y="159550"/>
                  </a:cubicBezTo>
                  <a:lnTo>
                    <a:pt x="1064097" y="159550"/>
                  </a:lnTo>
                  <a:lnTo>
                    <a:pt x="1064097" y="166556"/>
                  </a:lnTo>
                  <a:lnTo>
                    <a:pt x="1070505" y="166556"/>
                  </a:lnTo>
                  <a:lnTo>
                    <a:pt x="1070505" y="162177"/>
                  </a:lnTo>
                  <a:cubicBezTo>
                    <a:pt x="1070505" y="160426"/>
                    <a:pt x="1069864" y="158499"/>
                    <a:pt x="1068583" y="157273"/>
                  </a:cubicBezTo>
                  <a:cubicBezTo>
                    <a:pt x="1067461" y="156047"/>
                    <a:pt x="1065859" y="155172"/>
                    <a:pt x="1064097" y="155172"/>
                  </a:cubicBezTo>
                  <a:lnTo>
                    <a:pt x="1004509" y="155172"/>
                  </a:lnTo>
                  <a:lnTo>
                    <a:pt x="1004509" y="162177"/>
                  </a:lnTo>
                  <a:lnTo>
                    <a:pt x="1010917" y="162177"/>
                  </a:lnTo>
                  <a:lnTo>
                    <a:pt x="1010917" y="158149"/>
                  </a:lnTo>
                  <a:cubicBezTo>
                    <a:pt x="1010917" y="156398"/>
                    <a:pt x="1010276" y="154471"/>
                    <a:pt x="1008994" y="153245"/>
                  </a:cubicBezTo>
                  <a:cubicBezTo>
                    <a:pt x="1007713" y="152019"/>
                    <a:pt x="1006111" y="151143"/>
                    <a:pt x="1004509" y="151143"/>
                  </a:cubicBezTo>
                  <a:lnTo>
                    <a:pt x="983685" y="151143"/>
                  </a:lnTo>
                  <a:lnTo>
                    <a:pt x="983685" y="158149"/>
                  </a:lnTo>
                  <a:lnTo>
                    <a:pt x="990093" y="158149"/>
                  </a:lnTo>
                  <a:lnTo>
                    <a:pt x="990093" y="153771"/>
                  </a:lnTo>
                  <a:cubicBezTo>
                    <a:pt x="990093" y="151844"/>
                    <a:pt x="989452" y="150093"/>
                    <a:pt x="988171" y="148867"/>
                  </a:cubicBezTo>
                  <a:cubicBezTo>
                    <a:pt x="987049" y="147641"/>
                    <a:pt x="985287" y="146765"/>
                    <a:pt x="983685" y="146765"/>
                  </a:cubicBezTo>
                  <a:lnTo>
                    <a:pt x="977759" y="146765"/>
                  </a:lnTo>
                  <a:lnTo>
                    <a:pt x="977759" y="153771"/>
                  </a:lnTo>
                  <a:lnTo>
                    <a:pt x="984166" y="153771"/>
                  </a:lnTo>
                  <a:lnTo>
                    <a:pt x="984166" y="149567"/>
                  </a:lnTo>
                  <a:cubicBezTo>
                    <a:pt x="984166" y="147816"/>
                    <a:pt x="983525" y="145889"/>
                    <a:pt x="982244" y="144663"/>
                  </a:cubicBezTo>
                  <a:cubicBezTo>
                    <a:pt x="981122" y="143437"/>
                    <a:pt x="979360" y="142562"/>
                    <a:pt x="977759" y="142562"/>
                  </a:cubicBezTo>
                  <a:lnTo>
                    <a:pt x="971832" y="142562"/>
                  </a:lnTo>
                  <a:lnTo>
                    <a:pt x="971832" y="149567"/>
                  </a:lnTo>
                  <a:lnTo>
                    <a:pt x="978239" y="149567"/>
                  </a:lnTo>
                  <a:lnTo>
                    <a:pt x="978239" y="145364"/>
                  </a:lnTo>
                  <a:cubicBezTo>
                    <a:pt x="978239" y="143613"/>
                    <a:pt x="977598" y="141686"/>
                    <a:pt x="976317" y="140460"/>
                  </a:cubicBezTo>
                  <a:cubicBezTo>
                    <a:pt x="975196" y="139234"/>
                    <a:pt x="973434" y="138358"/>
                    <a:pt x="971832" y="138358"/>
                  </a:cubicBezTo>
                  <a:lnTo>
                    <a:pt x="944921" y="138358"/>
                  </a:lnTo>
                  <a:lnTo>
                    <a:pt x="944921" y="145364"/>
                  </a:lnTo>
                  <a:lnTo>
                    <a:pt x="951328" y="145364"/>
                  </a:lnTo>
                  <a:lnTo>
                    <a:pt x="951328" y="140986"/>
                  </a:lnTo>
                  <a:cubicBezTo>
                    <a:pt x="951328" y="139234"/>
                    <a:pt x="950688" y="137308"/>
                    <a:pt x="949406" y="136082"/>
                  </a:cubicBezTo>
                  <a:cubicBezTo>
                    <a:pt x="948285" y="134856"/>
                    <a:pt x="946523" y="133980"/>
                    <a:pt x="944921" y="133980"/>
                  </a:cubicBezTo>
                  <a:lnTo>
                    <a:pt x="942358" y="133980"/>
                  </a:lnTo>
                  <a:lnTo>
                    <a:pt x="942358" y="131528"/>
                  </a:lnTo>
                  <a:cubicBezTo>
                    <a:pt x="942358" y="129777"/>
                    <a:pt x="941717" y="127850"/>
                    <a:pt x="940436" y="126624"/>
                  </a:cubicBezTo>
                  <a:cubicBezTo>
                    <a:pt x="939315" y="125398"/>
                    <a:pt x="937553" y="124523"/>
                    <a:pt x="935951" y="124523"/>
                  </a:cubicBezTo>
                  <a:lnTo>
                    <a:pt x="921054" y="124523"/>
                  </a:lnTo>
                  <a:lnTo>
                    <a:pt x="921054" y="131528"/>
                  </a:lnTo>
                  <a:lnTo>
                    <a:pt x="927461" y="131528"/>
                  </a:lnTo>
                  <a:lnTo>
                    <a:pt x="927461" y="127325"/>
                  </a:lnTo>
                  <a:cubicBezTo>
                    <a:pt x="927461" y="125573"/>
                    <a:pt x="926820" y="123647"/>
                    <a:pt x="925539" y="122421"/>
                  </a:cubicBezTo>
                  <a:cubicBezTo>
                    <a:pt x="924418" y="121195"/>
                    <a:pt x="922656" y="120319"/>
                    <a:pt x="921054" y="120319"/>
                  </a:cubicBezTo>
                  <a:lnTo>
                    <a:pt x="861466" y="120319"/>
                  </a:lnTo>
                  <a:lnTo>
                    <a:pt x="861466" y="127325"/>
                  </a:lnTo>
                  <a:lnTo>
                    <a:pt x="867873" y="127325"/>
                  </a:lnTo>
                  <a:lnTo>
                    <a:pt x="867873" y="123297"/>
                  </a:lnTo>
                  <a:cubicBezTo>
                    <a:pt x="867873" y="121370"/>
                    <a:pt x="867232" y="119619"/>
                    <a:pt x="865951" y="118393"/>
                  </a:cubicBezTo>
                  <a:cubicBezTo>
                    <a:pt x="864829" y="117167"/>
                    <a:pt x="863067" y="116291"/>
                    <a:pt x="861466" y="116291"/>
                  </a:cubicBezTo>
                  <a:lnTo>
                    <a:pt x="813731" y="116291"/>
                  </a:lnTo>
                  <a:lnTo>
                    <a:pt x="813731" y="123297"/>
                  </a:lnTo>
                  <a:lnTo>
                    <a:pt x="820138" y="123297"/>
                  </a:lnTo>
                  <a:lnTo>
                    <a:pt x="820138" y="119093"/>
                  </a:lnTo>
                  <a:cubicBezTo>
                    <a:pt x="820138" y="117342"/>
                    <a:pt x="819498" y="115415"/>
                    <a:pt x="818216" y="114190"/>
                  </a:cubicBezTo>
                  <a:cubicBezTo>
                    <a:pt x="817095" y="112964"/>
                    <a:pt x="815333" y="112088"/>
                    <a:pt x="813731" y="112088"/>
                  </a:cubicBezTo>
                  <a:lnTo>
                    <a:pt x="721305" y="112088"/>
                  </a:lnTo>
                  <a:lnTo>
                    <a:pt x="721305" y="119093"/>
                  </a:lnTo>
                  <a:lnTo>
                    <a:pt x="727713" y="119093"/>
                  </a:lnTo>
                  <a:lnTo>
                    <a:pt x="727713" y="114890"/>
                  </a:lnTo>
                  <a:cubicBezTo>
                    <a:pt x="727713" y="113139"/>
                    <a:pt x="727072" y="111212"/>
                    <a:pt x="725790" y="109986"/>
                  </a:cubicBezTo>
                  <a:cubicBezTo>
                    <a:pt x="724669" y="108760"/>
                    <a:pt x="722907" y="107885"/>
                    <a:pt x="721305" y="107885"/>
                  </a:cubicBezTo>
                  <a:lnTo>
                    <a:pt x="703525" y="107885"/>
                  </a:lnTo>
                  <a:lnTo>
                    <a:pt x="703525" y="114890"/>
                  </a:lnTo>
                  <a:lnTo>
                    <a:pt x="709932" y="114890"/>
                  </a:lnTo>
                  <a:lnTo>
                    <a:pt x="709932" y="110862"/>
                  </a:lnTo>
                  <a:cubicBezTo>
                    <a:pt x="709932" y="108935"/>
                    <a:pt x="709291" y="107184"/>
                    <a:pt x="708010" y="105958"/>
                  </a:cubicBezTo>
                  <a:cubicBezTo>
                    <a:pt x="706889" y="104732"/>
                    <a:pt x="705127" y="103856"/>
                    <a:pt x="703525" y="103856"/>
                  </a:cubicBezTo>
                  <a:lnTo>
                    <a:pt x="697598" y="103856"/>
                  </a:lnTo>
                  <a:lnTo>
                    <a:pt x="697598" y="110862"/>
                  </a:lnTo>
                  <a:lnTo>
                    <a:pt x="704005" y="110862"/>
                  </a:lnTo>
                  <a:lnTo>
                    <a:pt x="704005" y="105082"/>
                  </a:lnTo>
                  <a:cubicBezTo>
                    <a:pt x="704005" y="103156"/>
                    <a:pt x="703365" y="101404"/>
                    <a:pt x="702083" y="100179"/>
                  </a:cubicBezTo>
                  <a:cubicBezTo>
                    <a:pt x="700962" y="98953"/>
                    <a:pt x="699200" y="98077"/>
                    <a:pt x="697598" y="98077"/>
                  </a:cubicBezTo>
                  <a:lnTo>
                    <a:pt x="599246" y="98077"/>
                  </a:lnTo>
                  <a:lnTo>
                    <a:pt x="599246" y="105082"/>
                  </a:lnTo>
                  <a:lnTo>
                    <a:pt x="605653" y="105082"/>
                  </a:lnTo>
                  <a:lnTo>
                    <a:pt x="605653" y="100529"/>
                  </a:lnTo>
                  <a:cubicBezTo>
                    <a:pt x="605653" y="98777"/>
                    <a:pt x="605012" y="96851"/>
                    <a:pt x="603731" y="95625"/>
                  </a:cubicBezTo>
                  <a:cubicBezTo>
                    <a:pt x="602449" y="94399"/>
                    <a:pt x="600847" y="93523"/>
                    <a:pt x="599246" y="93523"/>
                  </a:cubicBezTo>
                  <a:lnTo>
                    <a:pt x="596202" y="93523"/>
                  </a:lnTo>
                  <a:lnTo>
                    <a:pt x="596202" y="100529"/>
                  </a:lnTo>
                  <a:lnTo>
                    <a:pt x="602609" y="100529"/>
                  </a:lnTo>
                  <a:lnTo>
                    <a:pt x="602609" y="96326"/>
                  </a:lnTo>
                  <a:cubicBezTo>
                    <a:pt x="602609" y="94574"/>
                    <a:pt x="601969" y="92648"/>
                    <a:pt x="600687" y="91422"/>
                  </a:cubicBezTo>
                  <a:cubicBezTo>
                    <a:pt x="599566" y="90196"/>
                    <a:pt x="597804" y="89320"/>
                    <a:pt x="596202" y="89320"/>
                  </a:cubicBezTo>
                  <a:lnTo>
                    <a:pt x="590275" y="89320"/>
                  </a:lnTo>
                  <a:lnTo>
                    <a:pt x="590275" y="96326"/>
                  </a:lnTo>
                  <a:lnTo>
                    <a:pt x="596683" y="96326"/>
                  </a:lnTo>
                  <a:lnTo>
                    <a:pt x="596683" y="91772"/>
                  </a:lnTo>
                  <a:cubicBezTo>
                    <a:pt x="596683" y="90021"/>
                    <a:pt x="596042" y="88094"/>
                    <a:pt x="594760" y="86868"/>
                  </a:cubicBezTo>
                  <a:cubicBezTo>
                    <a:pt x="593479" y="85642"/>
                    <a:pt x="591877" y="84766"/>
                    <a:pt x="590275" y="84766"/>
                  </a:cubicBezTo>
                  <a:lnTo>
                    <a:pt x="575378" y="84766"/>
                  </a:lnTo>
                  <a:lnTo>
                    <a:pt x="575378" y="91772"/>
                  </a:lnTo>
                  <a:lnTo>
                    <a:pt x="581786" y="91772"/>
                  </a:lnTo>
                  <a:lnTo>
                    <a:pt x="581786" y="87569"/>
                  </a:lnTo>
                  <a:cubicBezTo>
                    <a:pt x="581786" y="85642"/>
                    <a:pt x="581145" y="83891"/>
                    <a:pt x="579863" y="82665"/>
                  </a:cubicBezTo>
                  <a:cubicBezTo>
                    <a:pt x="578742" y="81439"/>
                    <a:pt x="576980" y="80563"/>
                    <a:pt x="575378" y="80563"/>
                  </a:cubicBezTo>
                  <a:lnTo>
                    <a:pt x="515790" y="80563"/>
                  </a:lnTo>
                  <a:lnTo>
                    <a:pt x="515790" y="87569"/>
                  </a:lnTo>
                  <a:lnTo>
                    <a:pt x="522197" y="87569"/>
                  </a:lnTo>
                  <a:lnTo>
                    <a:pt x="522197" y="83365"/>
                  </a:lnTo>
                  <a:cubicBezTo>
                    <a:pt x="522197" y="81614"/>
                    <a:pt x="521557" y="79687"/>
                    <a:pt x="520275" y="78462"/>
                  </a:cubicBezTo>
                  <a:cubicBezTo>
                    <a:pt x="519154" y="77236"/>
                    <a:pt x="517392" y="76360"/>
                    <a:pt x="515790" y="76360"/>
                  </a:cubicBezTo>
                  <a:lnTo>
                    <a:pt x="500893" y="76360"/>
                  </a:lnTo>
                  <a:lnTo>
                    <a:pt x="500893" y="83365"/>
                  </a:lnTo>
                  <a:lnTo>
                    <a:pt x="507300" y="83365"/>
                  </a:lnTo>
                  <a:lnTo>
                    <a:pt x="507300" y="79337"/>
                  </a:lnTo>
                  <a:cubicBezTo>
                    <a:pt x="507300" y="77586"/>
                    <a:pt x="506660" y="75659"/>
                    <a:pt x="505378" y="74433"/>
                  </a:cubicBezTo>
                  <a:cubicBezTo>
                    <a:pt x="504257" y="73207"/>
                    <a:pt x="502495" y="72332"/>
                    <a:pt x="500893" y="72332"/>
                  </a:cubicBezTo>
                  <a:lnTo>
                    <a:pt x="453319" y="72332"/>
                  </a:lnTo>
                  <a:lnTo>
                    <a:pt x="453319" y="79337"/>
                  </a:lnTo>
                  <a:lnTo>
                    <a:pt x="459726" y="79337"/>
                  </a:lnTo>
                  <a:lnTo>
                    <a:pt x="459726" y="74784"/>
                  </a:lnTo>
                  <a:cubicBezTo>
                    <a:pt x="459726" y="73032"/>
                    <a:pt x="459085" y="71106"/>
                    <a:pt x="457804" y="69880"/>
                  </a:cubicBezTo>
                  <a:cubicBezTo>
                    <a:pt x="456682" y="68654"/>
                    <a:pt x="454920" y="67778"/>
                    <a:pt x="453319" y="67778"/>
                  </a:cubicBezTo>
                  <a:lnTo>
                    <a:pt x="444348" y="67778"/>
                  </a:lnTo>
                  <a:lnTo>
                    <a:pt x="444348" y="74784"/>
                  </a:lnTo>
                  <a:lnTo>
                    <a:pt x="450756" y="74784"/>
                  </a:lnTo>
                  <a:lnTo>
                    <a:pt x="450756" y="70405"/>
                  </a:lnTo>
                  <a:cubicBezTo>
                    <a:pt x="450756" y="68654"/>
                    <a:pt x="450115" y="66727"/>
                    <a:pt x="448834" y="65501"/>
                  </a:cubicBezTo>
                  <a:cubicBezTo>
                    <a:pt x="447712" y="64275"/>
                    <a:pt x="445950" y="63400"/>
                    <a:pt x="444348" y="63400"/>
                  </a:cubicBezTo>
                  <a:lnTo>
                    <a:pt x="423525" y="63400"/>
                  </a:lnTo>
                  <a:lnTo>
                    <a:pt x="423525" y="70405"/>
                  </a:lnTo>
                  <a:lnTo>
                    <a:pt x="429932" y="70405"/>
                  </a:lnTo>
                  <a:lnTo>
                    <a:pt x="429932" y="66027"/>
                  </a:lnTo>
                  <a:cubicBezTo>
                    <a:pt x="429932" y="64275"/>
                    <a:pt x="429291" y="62349"/>
                    <a:pt x="428010" y="61123"/>
                  </a:cubicBezTo>
                  <a:cubicBezTo>
                    <a:pt x="426888" y="59897"/>
                    <a:pt x="425126" y="59021"/>
                    <a:pt x="423525" y="59021"/>
                  </a:cubicBezTo>
                  <a:lnTo>
                    <a:pt x="375950" y="59021"/>
                  </a:lnTo>
                  <a:lnTo>
                    <a:pt x="375950" y="66027"/>
                  </a:lnTo>
                  <a:lnTo>
                    <a:pt x="382357" y="66027"/>
                  </a:lnTo>
                  <a:lnTo>
                    <a:pt x="382357" y="61648"/>
                  </a:lnTo>
                  <a:cubicBezTo>
                    <a:pt x="382357" y="59897"/>
                    <a:pt x="381717" y="57970"/>
                    <a:pt x="380435" y="56744"/>
                  </a:cubicBezTo>
                  <a:cubicBezTo>
                    <a:pt x="379154" y="55519"/>
                    <a:pt x="377552" y="54643"/>
                    <a:pt x="375950" y="54643"/>
                  </a:cubicBezTo>
                  <a:lnTo>
                    <a:pt x="370023" y="54643"/>
                  </a:lnTo>
                  <a:lnTo>
                    <a:pt x="370023" y="61648"/>
                  </a:lnTo>
                  <a:lnTo>
                    <a:pt x="376431" y="61648"/>
                  </a:lnTo>
                  <a:lnTo>
                    <a:pt x="376431" y="57620"/>
                  </a:lnTo>
                  <a:cubicBezTo>
                    <a:pt x="376431" y="55869"/>
                    <a:pt x="375790" y="53942"/>
                    <a:pt x="374508" y="52716"/>
                  </a:cubicBezTo>
                  <a:cubicBezTo>
                    <a:pt x="373387" y="51490"/>
                    <a:pt x="371625" y="50615"/>
                    <a:pt x="370023" y="50615"/>
                  </a:cubicBezTo>
                  <a:lnTo>
                    <a:pt x="313479" y="50615"/>
                  </a:lnTo>
                  <a:lnTo>
                    <a:pt x="313479" y="57620"/>
                  </a:lnTo>
                  <a:lnTo>
                    <a:pt x="319886" y="57620"/>
                  </a:lnTo>
                  <a:lnTo>
                    <a:pt x="319886" y="53592"/>
                  </a:lnTo>
                  <a:cubicBezTo>
                    <a:pt x="319886" y="51841"/>
                    <a:pt x="319245" y="49914"/>
                    <a:pt x="317964" y="48688"/>
                  </a:cubicBezTo>
                  <a:cubicBezTo>
                    <a:pt x="316843" y="47462"/>
                    <a:pt x="315080" y="46587"/>
                    <a:pt x="313479" y="46587"/>
                  </a:cubicBezTo>
                  <a:lnTo>
                    <a:pt x="304508" y="46587"/>
                  </a:lnTo>
                  <a:lnTo>
                    <a:pt x="304508" y="53592"/>
                  </a:lnTo>
                  <a:lnTo>
                    <a:pt x="310916" y="53592"/>
                  </a:lnTo>
                  <a:lnTo>
                    <a:pt x="310916" y="49214"/>
                  </a:lnTo>
                  <a:cubicBezTo>
                    <a:pt x="310916" y="47462"/>
                    <a:pt x="310275" y="45536"/>
                    <a:pt x="308994" y="44310"/>
                  </a:cubicBezTo>
                  <a:cubicBezTo>
                    <a:pt x="307712" y="43084"/>
                    <a:pt x="306110" y="42208"/>
                    <a:pt x="304508" y="42208"/>
                  </a:cubicBezTo>
                  <a:lnTo>
                    <a:pt x="295538" y="42208"/>
                  </a:lnTo>
                  <a:lnTo>
                    <a:pt x="295538" y="49214"/>
                  </a:lnTo>
                  <a:lnTo>
                    <a:pt x="301945" y="49214"/>
                  </a:lnTo>
                  <a:lnTo>
                    <a:pt x="301945" y="44485"/>
                  </a:lnTo>
                  <a:cubicBezTo>
                    <a:pt x="301945" y="42558"/>
                    <a:pt x="301305" y="40807"/>
                    <a:pt x="300023" y="39581"/>
                  </a:cubicBezTo>
                  <a:cubicBezTo>
                    <a:pt x="298902" y="38355"/>
                    <a:pt x="297140" y="37479"/>
                    <a:pt x="295538" y="37479"/>
                  </a:cubicBezTo>
                  <a:lnTo>
                    <a:pt x="274714" y="37479"/>
                  </a:lnTo>
                  <a:lnTo>
                    <a:pt x="274714" y="44485"/>
                  </a:lnTo>
                  <a:lnTo>
                    <a:pt x="281122" y="44485"/>
                  </a:lnTo>
                  <a:lnTo>
                    <a:pt x="281122" y="40282"/>
                  </a:lnTo>
                  <a:cubicBezTo>
                    <a:pt x="281122" y="38530"/>
                    <a:pt x="280481" y="36604"/>
                    <a:pt x="279199" y="35378"/>
                  </a:cubicBezTo>
                  <a:cubicBezTo>
                    <a:pt x="278078" y="34152"/>
                    <a:pt x="276316" y="33276"/>
                    <a:pt x="274714" y="33276"/>
                  </a:cubicBezTo>
                  <a:lnTo>
                    <a:pt x="271831" y="33276"/>
                  </a:lnTo>
                  <a:lnTo>
                    <a:pt x="271831" y="40282"/>
                  </a:lnTo>
                  <a:lnTo>
                    <a:pt x="278238" y="40282"/>
                  </a:lnTo>
                  <a:lnTo>
                    <a:pt x="278238" y="36078"/>
                  </a:lnTo>
                  <a:cubicBezTo>
                    <a:pt x="278238" y="34327"/>
                    <a:pt x="277598" y="32400"/>
                    <a:pt x="276316" y="31174"/>
                  </a:cubicBezTo>
                  <a:cubicBezTo>
                    <a:pt x="275195" y="29948"/>
                    <a:pt x="273433" y="29073"/>
                    <a:pt x="271831" y="29073"/>
                  </a:cubicBezTo>
                  <a:lnTo>
                    <a:pt x="233067" y="29073"/>
                  </a:lnTo>
                  <a:lnTo>
                    <a:pt x="233067" y="36078"/>
                  </a:lnTo>
                  <a:lnTo>
                    <a:pt x="239474" y="36078"/>
                  </a:lnTo>
                  <a:lnTo>
                    <a:pt x="239474" y="31700"/>
                  </a:lnTo>
                  <a:cubicBezTo>
                    <a:pt x="239474" y="29948"/>
                    <a:pt x="238833" y="28022"/>
                    <a:pt x="237552" y="26796"/>
                  </a:cubicBezTo>
                  <a:cubicBezTo>
                    <a:pt x="236431" y="25570"/>
                    <a:pt x="234668" y="24694"/>
                    <a:pt x="233067" y="24694"/>
                  </a:cubicBezTo>
                  <a:lnTo>
                    <a:pt x="230023" y="24694"/>
                  </a:lnTo>
                  <a:lnTo>
                    <a:pt x="230023" y="31700"/>
                  </a:lnTo>
                  <a:lnTo>
                    <a:pt x="236431" y="31700"/>
                  </a:lnTo>
                  <a:lnTo>
                    <a:pt x="236431" y="27672"/>
                  </a:lnTo>
                  <a:cubicBezTo>
                    <a:pt x="236431" y="25920"/>
                    <a:pt x="235790" y="23994"/>
                    <a:pt x="234508" y="22768"/>
                  </a:cubicBezTo>
                  <a:cubicBezTo>
                    <a:pt x="233387" y="21542"/>
                    <a:pt x="231625" y="20666"/>
                    <a:pt x="230023" y="20666"/>
                  </a:cubicBezTo>
                  <a:lnTo>
                    <a:pt x="164829" y="20666"/>
                  </a:lnTo>
                  <a:lnTo>
                    <a:pt x="164829" y="19615"/>
                  </a:lnTo>
                  <a:cubicBezTo>
                    <a:pt x="164829" y="17864"/>
                    <a:pt x="164188" y="15937"/>
                    <a:pt x="162906" y="14712"/>
                  </a:cubicBezTo>
                  <a:cubicBezTo>
                    <a:pt x="161785" y="13486"/>
                    <a:pt x="160023" y="12610"/>
                    <a:pt x="158421" y="12610"/>
                  </a:cubicBezTo>
                  <a:lnTo>
                    <a:pt x="155378" y="12610"/>
                  </a:lnTo>
                  <a:lnTo>
                    <a:pt x="155378" y="19615"/>
                  </a:lnTo>
                  <a:lnTo>
                    <a:pt x="161785" y="19615"/>
                  </a:lnTo>
                  <a:lnTo>
                    <a:pt x="161785" y="15587"/>
                  </a:lnTo>
                  <a:cubicBezTo>
                    <a:pt x="161785" y="13836"/>
                    <a:pt x="161144" y="11909"/>
                    <a:pt x="159863" y="10683"/>
                  </a:cubicBezTo>
                  <a:cubicBezTo>
                    <a:pt x="158742" y="9457"/>
                    <a:pt x="156980" y="8582"/>
                    <a:pt x="155378" y="8582"/>
                  </a:cubicBezTo>
                  <a:lnTo>
                    <a:pt x="80893" y="8582"/>
                  </a:lnTo>
                  <a:lnTo>
                    <a:pt x="80893" y="15587"/>
                  </a:lnTo>
                  <a:lnTo>
                    <a:pt x="87300" y="15587"/>
                  </a:lnTo>
                  <a:lnTo>
                    <a:pt x="87300" y="11034"/>
                  </a:lnTo>
                  <a:cubicBezTo>
                    <a:pt x="87300" y="9107"/>
                    <a:pt x="86659" y="7356"/>
                    <a:pt x="85378" y="6130"/>
                  </a:cubicBezTo>
                  <a:cubicBezTo>
                    <a:pt x="84256" y="4904"/>
                    <a:pt x="82494" y="4028"/>
                    <a:pt x="80893" y="4028"/>
                  </a:cubicBezTo>
                  <a:lnTo>
                    <a:pt x="77849" y="4028"/>
                  </a:lnTo>
                  <a:lnTo>
                    <a:pt x="77849" y="11034"/>
                  </a:lnTo>
                  <a:lnTo>
                    <a:pt x="84256" y="11034"/>
                  </a:lnTo>
                  <a:lnTo>
                    <a:pt x="84256" y="7005"/>
                  </a:lnTo>
                  <a:cubicBezTo>
                    <a:pt x="84256" y="5254"/>
                    <a:pt x="83616" y="3328"/>
                    <a:pt x="82334" y="2102"/>
                  </a:cubicBezTo>
                  <a:cubicBezTo>
                    <a:pt x="81213" y="876"/>
                    <a:pt x="79451" y="0"/>
                    <a:pt x="77849" y="0"/>
                  </a:cubicBezTo>
                  <a:lnTo>
                    <a:pt x="0" y="0"/>
                  </a:lnTo>
                  <a:lnTo>
                    <a:pt x="0" y="13836"/>
                  </a:lnTo>
                </a:path>
              </a:pathLst>
            </a:custGeom>
            <a:solidFill>
              <a:schemeClr val="accent2"/>
            </a:solidFill>
            <a:ln w="160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1" name="Freihandform: Form 30">
              <a:extLst>
                <a:ext uri="{FF2B5EF4-FFF2-40B4-BE49-F238E27FC236}">
                  <a16:creationId xmlns:a16="http://schemas.microsoft.com/office/drawing/2014/main" id="{BA6B9CB5-32A1-913D-E8EB-3E710AD2D357}"/>
                </a:ext>
              </a:extLst>
            </p:cNvPr>
            <p:cNvSpPr/>
            <p:nvPr/>
          </p:nvSpPr>
          <p:spPr>
            <a:xfrm>
              <a:off x="2149064" y="1769637"/>
              <a:ext cx="5021905" cy="337540"/>
            </a:xfrm>
            <a:custGeom>
              <a:avLst/>
              <a:gdLst>
                <a:gd name="connsiteX0" fmla="*/ 0 w 5021905"/>
                <a:gd name="connsiteY0" fmla="*/ 13486 h 328382"/>
                <a:gd name="connsiteX1" fmla="*/ 759108 w 5021905"/>
                <a:gd name="connsiteY1" fmla="*/ 13486 h 328382"/>
                <a:gd name="connsiteX2" fmla="*/ 759108 w 5021905"/>
                <a:gd name="connsiteY2" fmla="*/ 31525 h 328382"/>
                <a:gd name="connsiteX3" fmla="*/ 761031 w 5021905"/>
                <a:gd name="connsiteY3" fmla="*/ 36429 h 328382"/>
                <a:gd name="connsiteX4" fmla="*/ 765516 w 5021905"/>
                <a:gd name="connsiteY4" fmla="*/ 38530 h 328382"/>
                <a:gd name="connsiteX5" fmla="*/ 869315 w 5021905"/>
                <a:gd name="connsiteY5" fmla="*/ 38530 h 328382"/>
                <a:gd name="connsiteX6" fmla="*/ 869315 w 5021905"/>
                <a:gd name="connsiteY6" fmla="*/ 43609 h 328382"/>
                <a:gd name="connsiteX7" fmla="*/ 871237 w 5021905"/>
                <a:gd name="connsiteY7" fmla="*/ 48513 h 328382"/>
                <a:gd name="connsiteX8" fmla="*/ 875722 w 5021905"/>
                <a:gd name="connsiteY8" fmla="*/ 50615 h 328382"/>
                <a:gd name="connsiteX9" fmla="*/ 1220917 w 5021905"/>
                <a:gd name="connsiteY9" fmla="*/ 50615 h 328382"/>
                <a:gd name="connsiteX10" fmla="*/ 1220917 w 5021905"/>
                <a:gd name="connsiteY10" fmla="*/ 54993 h 328382"/>
                <a:gd name="connsiteX11" fmla="*/ 1222839 w 5021905"/>
                <a:gd name="connsiteY11" fmla="*/ 59897 h 328382"/>
                <a:gd name="connsiteX12" fmla="*/ 1227324 w 5021905"/>
                <a:gd name="connsiteY12" fmla="*/ 61999 h 328382"/>
                <a:gd name="connsiteX13" fmla="*/ 1480093 w 5021905"/>
                <a:gd name="connsiteY13" fmla="*/ 61999 h 328382"/>
                <a:gd name="connsiteX14" fmla="*/ 1480093 w 5021905"/>
                <a:gd name="connsiteY14" fmla="*/ 67603 h 328382"/>
                <a:gd name="connsiteX15" fmla="*/ 1482016 w 5021905"/>
                <a:gd name="connsiteY15" fmla="*/ 72507 h 328382"/>
                <a:gd name="connsiteX16" fmla="*/ 1486501 w 5021905"/>
                <a:gd name="connsiteY16" fmla="*/ 74608 h 328382"/>
                <a:gd name="connsiteX17" fmla="*/ 1492427 w 5021905"/>
                <a:gd name="connsiteY17" fmla="*/ 74608 h 328382"/>
                <a:gd name="connsiteX18" fmla="*/ 1492427 w 5021905"/>
                <a:gd name="connsiteY18" fmla="*/ 67603 h 328382"/>
                <a:gd name="connsiteX19" fmla="*/ 1486020 w 5021905"/>
                <a:gd name="connsiteY19" fmla="*/ 67603 h 328382"/>
                <a:gd name="connsiteX20" fmla="*/ 1486020 w 5021905"/>
                <a:gd name="connsiteY20" fmla="*/ 94749 h 328382"/>
                <a:gd name="connsiteX21" fmla="*/ 1487942 w 5021905"/>
                <a:gd name="connsiteY21" fmla="*/ 99653 h 328382"/>
                <a:gd name="connsiteX22" fmla="*/ 1492427 w 5021905"/>
                <a:gd name="connsiteY22" fmla="*/ 101755 h 328382"/>
                <a:gd name="connsiteX23" fmla="*/ 1575402 w 5021905"/>
                <a:gd name="connsiteY23" fmla="*/ 101755 h 328382"/>
                <a:gd name="connsiteX24" fmla="*/ 1575402 w 5021905"/>
                <a:gd name="connsiteY24" fmla="*/ 116291 h 328382"/>
                <a:gd name="connsiteX25" fmla="*/ 1577325 w 5021905"/>
                <a:gd name="connsiteY25" fmla="*/ 121195 h 328382"/>
                <a:gd name="connsiteX26" fmla="*/ 1581810 w 5021905"/>
                <a:gd name="connsiteY26" fmla="*/ 123297 h 328382"/>
                <a:gd name="connsiteX27" fmla="*/ 1614167 w 5021905"/>
                <a:gd name="connsiteY27" fmla="*/ 123297 h 328382"/>
                <a:gd name="connsiteX28" fmla="*/ 1614167 w 5021905"/>
                <a:gd name="connsiteY28" fmla="*/ 147290 h 328382"/>
                <a:gd name="connsiteX29" fmla="*/ 1616089 w 5021905"/>
                <a:gd name="connsiteY29" fmla="*/ 152194 h 328382"/>
                <a:gd name="connsiteX30" fmla="*/ 1620574 w 5021905"/>
                <a:gd name="connsiteY30" fmla="*/ 154296 h 328382"/>
                <a:gd name="connsiteX31" fmla="*/ 1816799 w 5021905"/>
                <a:gd name="connsiteY31" fmla="*/ 154296 h 328382"/>
                <a:gd name="connsiteX32" fmla="*/ 1816799 w 5021905"/>
                <a:gd name="connsiteY32" fmla="*/ 193702 h 328382"/>
                <a:gd name="connsiteX33" fmla="*/ 1818721 w 5021905"/>
                <a:gd name="connsiteY33" fmla="*/ 198606 h 328382"/>
                <a:gd name="connsiteX34" fmla="*/ 1823206 w 5021905"/>
                <a:gd name="connsiteY34" fmla="*/ 200707 h 328382"/>
                <a:gd name="connsiteX35" fmla="*/ 2224945 w 5021905"/>
                <a:gd name="connsiteY35" fmla="*/ 200707 h 328382"/>
                <a:gd name="connsiteX36" fmla="*/ 2224945 w 5021905"/>
                <a:gd name="connsiteY36" fmla="*/ 207363 h 328382"/>
                <a:gd name="connsiteX37" fmla="*/ 2226868 w 5021905"/>
                <a:gd name="connsiteY37" fmla="*/ 212266 h 328382"/>
                <a:gd name="connsiteX38" fmla="*/ 2231353 w 5021905"/>
                <a:gd name="connsiteY38" fmla="*/ 214368 h 328382"/>
                <a:gd name="connsiteX39" fmla="*/ 2713504 w 5021905"/>
                <a:gd name="connsiteY39" fmla="*/ 214368 h 328382"/>
                <a:gd name="connsiteX40" fmla="*/ 2713504 w 5021905"/>
                <a:gd name="connsiteY40" fmla="*/ 239062 h 328382"/>
                <a:gd name="connsiteX41" fmla="*/ 2715427 w 5021905"/>
                <a:gd name="connsiteY41" fmla="*/ 243966 h 328382"/>
                <a:gd name="connsiteX42" fmla="*/ 2719912 w 5021905"/>
                <a:gd name="connsiteY42" fmla="*/ 246068 h 328382"/>
                <a:gd name="connsiteX43" fmla="*/ 2931033 w 5021905"/>
                <a:gd name="connsiteY43" fmla="*/ 246068 h 328382"/>
                <a:gd name="connsiteX44" fmla="*/ 2931033 w 5021905"/>
                <a:gd name="connsiteY44" fmla="*/ 252198 h 328382"/>
                <a:gd name="connsiteX45" fmla="*/ 2932956 w 5021905"/>
                <a:gd name="connsiteY45" fmla="*/ 257102 h 328382"/>
                <a:gd name="connsiteX46" fmla="*/ 2937441 w 5021905"/>
                <a:gd name="connsiteY46" fmla="*/ 259203 h 328382"/>
                <a:gd name="connsiteX47" fmla="*/ 3637121 w 5021905"/>
                <a:gd name="connsiteY47" fmla="*/ 259203 h 328382"/>
                <a:gd name="connsiteX48" fmla="*/ 3637121 w 5021905"/>
                <a:gd name="connsiteY48" fmla="*/ 274790 h 328382"/>
                <a:gd name="connsiteX49" fmla="*/ 3639043 w 5021905"/>
                <a:gd name="connsiteY49" fmla="*/ 279694 h 328382"/>
                <a:gd name="connsiteX50" fmla="*/ 3643529 w 5021905"/>
                <a:gd name="connsiteY50" fmla="*/ 281796 h 328382"/>
                <a:gd name="connsiteX51" fmla="*/ 3672842 w 5021905"/>
                <a:gd name="connsiteY51" fmla="*/ 281796 h 328382"/>
                <a:gd name="connsiteX52" fmla="*/ 3672842 w 5021905"/>
                <a:gd name="connsiteY52" fmla="*/ 286349 h 328382"/>
                <a:gd name="connsiteX53" fmla="*/ 3674764 w 5021905"/>
                <a:gd name="connsiteY53" fmla="*/ 291253 h 328382"/>
                <a:gd name="connsiteX54" fmla="*/ 3679249 w 5021905"/>
                <a:gd name="connsiteY54" fmla="*/ 293355 h 328382"/>
                <a:gd name="connsiteX55" fmla="*/ 4590372 w 5021905"/>
                <a:gd name="connsiteY55" fmla="*/ 293355 h 328382"/>
                <a:gd name="connsiteX56" fmla="*/ 4590372 w 5021905"/>
                <a:gd name="connsiteY56" fmla="*/ 321377 h 328382"/>
                <a:gd name="connsiteX57" fmla="*/ 4592294 w 5021905"/>
                <a:gd name="connsiteY57" fmla="*/ 326281 h 328382"/>
                <a:gd name="connsiteX58" fmla="*/ 4596779 w 5021905"/>
                <a:gd name="connsiteY58" fmla="*/ 328382 h 328382"/>
                <a:gd name="connsiteX59" fmla="*/ 5021906 w 5021905"/>
                <a:gd name="connsiteY59" fmla="*/ 328382 h 328382"/>
                <a:gd name="connsiteX60" fmla="*/ 5021906 w 5021905"/>
                <a:gd name="connsiteY60" fmla="*/ 314547 h 328382"/>
                <a:gd name="connsiteX61" fmla="*/ 4603186 w 5021905"/>
                <a:gd name="connsiteY61" fmla="*/ 314547 h 328382"/>
                <a:gd name="connsiteX62" fmla="*/ 4603186 w 5021905"/>
                <a:gd name="connsiteY62" fmla="*/ 286525 h 328382"/>
                <a:gd name="connsiteX63" fmla="*/ 4601264 w 5021905"/>
                <a:gd name="connsiteY63" fmla="*/ 281621 h 328382"/>
                <a:gd name="connsiteX64" fmla="*/ 4596779 w 5021905"/>
                <a:gd name="connsiteY64" fmla="*/ 279519 h 328382"/>
                <a:gd name="connsiteX65" fmla="*/ 3685657 w 5021905"/>
                <a:gd name="connsiteY65" fmla="*/ 279519 h 328382"/>
                <a:gd name="connsiteX66" fmla="*/ 3685657 w 5021905"/>
                <a:gd name="connsiteY66" fmla="*/ 274966 h 328382"/>
                <a:gd name="connsiteX67" fmla="*/ 3683735 w 5021905"/>
                <a:gd name="connsiteY67" fmla="*/ 270062 h 328382"/>
                <a:gd name="connsiteX68" fmla="*/ 3679249 w 5021905"/>
                <a:gd name="connsiteY68" fmla="*/ 267960 h 328382"/>
                <a:gd name="connsiteX69" fmla="*/ 3649936 w 5021905"/>
                <a:gd name="connsiteY69" fmla="*/ 267960 h 328382"/>
                <a:gd name="connsiteX70" fmla="*/ 3649936 w 5021905"/>
                <a:gd name="connsiteY70" fmla="*/ 252548 h 328382"/>
                <a:gd name="connsiteX71" fmla="*/ 3648014 w 5021905"/>
                <a:gd name="connsiteY71" fmla="*/ 247644 h 328382"/>
                <a:gd name="connsiteX72" fmla="*/ 3643529 w 5021905"/>
                <a:gd name="connsiteY72" fmla="*/ 245542 h 328382"/>
                <a:gd name="connsiteX73" fmla="*/ 2943848 w 5021905"/>
                <a:gd name="connsiteY73" fmla="*/ 245542 h 328382"/>
                <a:gd name="connsiteX74" fmla="*/ 2943848 w 5021905"/>
                <a:gd name="connsiteY74" fmla="*/ 239413 h 328382"/>
                <a:gd name="connsiteX75" fmla="*/ 2941926 w 5021905"/>
                <a:gd name="connsiteY75" fmla="*/ 234509 h 328382"/>
                <a:gd name="connsiteX76" fmla="*/ 2937441 w 5021905"/>
                <a:gd name="connsiteY76" fmla="*/ 232407 h 328382"/>
                <a:gd name="connsiteX77" fmla="*/ 2726319 w 5021905"/>
                <a:gd name="connsiteY77" fmla="*/ 232407 h 328382"/>
                <a:gd name="connsiteX78" fmla="*/ 2726319 w 5021905"/>
                <a:gd name="connsiteY78" fmla="*/ 207888 h 328382"/>
                <a:gd name="connsiteX79" fmla="*/ 2724397 w 5021905"/>
                <a:gd name="connsiteY79" fmla="*/ 202984 h 328382"/>
                <a:gd name="connsiteX80" fmla="*/ 2719912 w 5021905"/>
                <a:gd name="connsiteY80" fmla="*/ 200882 h 328382"/>
                <a:gd name="connsiteX81" fmla="*/ 2237760 w 5021905"/>
                <a:gd name="connsiteY81" fmla="*/ 200882 h 328382"/>
                <a:gd name="connsiteX82" fmla="*/ 2237760 w 5021905"/>
                <a:gd name="connsiteY82" fmla="*/ 194227 h 328382"/>
                <a:gd name="connsiteX83" fmla="*/ 2235838 w 5021905"/>
                <a:gd name="connsiteY83" fmla="*/ 189323 h 328382"/>
                <a:gd name="connsiteX84" fmla="*/ 2231353 w 5021905"/>
                <a:gd name="connsiteY84" fmla="*/ 187222 h 328382"/>
                <a:gd name="connsiteX85" fmla="*/ 1829613 w 5021905"/>
                <a:gd name="connsiteY85" fmla="*/ 187222 h 328382"/>
                <a:gd name="connsiteX86" fmla="*/ 1829613 w 5021905"/>
                <a:gd name="connsiteY86" fmla="*/ 147816 h 328382"/>
                <a:gd name="connsiteX87" fmla="*/ 1827691 w 5021905"/>
                <a:gd name="connsiteY87" fmla="*/ 142912 h 328382"/>
                <a:gd name="connsiteX88" fmla="*/ 1823206 w 5021905"/>
                <a:gd name="connsiteY88" fmla="*/ 140810 h 328382"/>
                <a:gd name="connsiteX89" fmla="*/ 1626981 w 5021905"/>
                <a:gd name="connsiteY89" fmla="*/ 140810 h 328382"/>
                <a:gd name="connsiteX90" fmla="*/ 1626981 w 5021905"/>
                <a:gd name="connsiteY90" fmla="*/ 116817 h 328382"/>
                <a:gd name="connsiteX91" fmla="*/ 1625059 w 5021905"/>
                <a:gd name="connsiteY91" fmla="*/ 111913 h 328382"/>
                <a:gd name="connsiteX92" fmla="*/ 1620574 w 5021905"/>
                <a:gd name="connsiteY92" fmla="*/ 109811 h 328382"/>
                <a:gd name="connsiteX93" fmla="*/ 1588217 w 5021905"/>
                <a:gd name="connsiteY93" fmla="*/ 109811 h 328382"/>
                <a:gd name="connsiteX94" fmla="*/ 1588217 w 5021905"/>
                <a:gd name="connsiteY94" fmla="*/ 95275 h 328382"/>
                <a:gd name="connsiteX95" fmla="*/ 1586295 w 5021905"/>
                <a:gd name="connsiteY95" fmla="*/ 90371 h 328382"/>
                <a:gd name="connsiteX96" fmla="*/ 1581810 w 5021905"/>
                <a:gd name="connsiteY96" fmla="*/ 88269 h 328382"/>
                <a:gd name="connsiteX97" fmla="*/ 1498835 w 5021905"/>
                <a:gd name="connsiteY97" fmla="*/ 88269 h 328382"/>
                <a:gd name="connsiteX98" fmla="*/ 1498835 w 5021905"/>
                <a:gd name="connsiteY98" fmla="*/ 68128 h 328382"/>
                <a:gd name="connsiteX99" fmla="*/ 1496913 w 5021905"/>
                <a:gd name="connsiteY99" fmla="*/ 63225 h 328382"/>
                <a:gd name="connsiteX100" fmla="*/ 1492427 w 5021905"/>
                <a:gd name="connsiteY100" fmla="*/ 61123 h 328382"/>
                <a:gd name="connsiteX101" fmla="*/ 1486501 w 5021905"/>
                <a:gd name="connsiteY101" fmla="*/ 61123 h 328382"/>
                <a:gd name="connsiteX102" fmla="*/ 1486501 w 5021905"/>
                <a:gd name="connsiteY102" fmla="*/ 68128 h 328382"/>
                <a:gd name="connsiteX103" fmla="*/ 1492908 w 5021905"/>
                <a:gd name="connsiteY103" fmla="*/ 68128 h 328382"/>
                <a:gd name="connsiteX104" fmla="*/ 1492908 w 5021905"/>
                <a:gd name="connsiteY104" fmla="*/ 55694 h 328382"/>
                <a:gd name="connsiteX105" fmla="*/ 1490986 w 5021905"/>
                <a:gd name="connsiteY105" fmla="*/ 50790 h 328382"/>
                <a:gd name="connsiteX106" fmla="*/ 1486501 w 5021905"/>
                <a:gd name="connsiteY106" fmla="*/ 48688 h 328382"/>
                <a:gd name="connsiteX107" fmla="*/ 1233731 w 5021905"/>
                <a:gd name="connsiteY107" fmla="*/ 48688 h 328382"/>
                <a:gd name="connsiteX108" fmla="*/ 1233731 w 5021905"/>
                <a:gd name="connsiteY108" fmla="*/ 44135 h 328382"/>
                <a:gd name="connsiteX109" fmla="*/ 1231809 w 5021905"/>
                <a:gd name="connsiteY109" fmla="*/ 39231 h 328382"/>
                <a:gd name="connsiteX110" fmla="*/ 1227324 w 5021905"/>
                <a:gd name="connsiteY110" fmla="*/ 37129 h 328382"/>
                <a:gd name="connsiteX111" fmla="*/ 882129 w 5021905"/>
                <a:gd name="connsiteY111" fmla="*/ 37129 h 328382"/>
                <a:gd name="connsiteX112" fmla="*/ 882129 w 5021905"/>
                <a:gd name="connsiteY112" fmla="*/ 32050 h 328382"/>
                <a:gd name="connsiteX113" fmla="*/ 880207 w 5021905"/>
                <a:gd name="connsiteY113" fmla="*/ 27146 h 328382"/>
                <a:gd name="connsiteX114" fmla="*/ 875722 w 5021905"/>
                <a:gd name="connsiteY114" fmla="*/ 25045 h 328382"/>
                <a:gd name="connsiteX115" fmla="*/ 771923 w 5021905"/>
                <a:gd name="connsiteY115" fmla="*/ 25045 h 328382"/>
                <a:gd name="connsiteX116" fmla="*/ 771923 w 5021905"/>
                <a:gd name="connsiteY116" fmla="*/ 7005 h 328382"/>
                <a:gd name="connsiteX117" fmla="*/ 770001 w 5021905"/>
                <a:gd name="connsiteY117" fmla="*/ 2102 h 328382"/>
                <a:gd name="connsiteX118" fmla="*/ 765516 w 5021905"/>
                <a:gd name="connsiteY118" fmla="*/ 0 h 328382"/>
                <a:gd name="connsiteX119" fmla="*/ 0 w 5021905"/>
                <a:gd name="connsiteY119" fmla="*/ 0 h 328382"/>
                <a:gd name="connsiteX120" fmla="*/ 0 w 5021905"/>
                <a:gd name="connsiteY120" fmla="*/ 13836 h 328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5021905" h="328382">
                  <a:moveTo>
                    <a:pt x="0" y="13486"/>
                  </a:moveTo>
                  <a:lnTo>
                    <a:pt x="759108" y="13486"/>
                  </a:lnTo>
                  <a:lnTo>
                    <a:pt x="759108" y="31525"/>
                  </a:lnTo>
                  <a:cubicBezTo>
                    <a:pt x="759108" y="33276"/>
                    <a:pt x="759749" y="35203"/>
                    <a:pt x="761031" y="36429"/>
                  </a:cubicBezTo>
                  <a:cubicBezTo>
                    <a:pt x="762152" y="37655"/>
                    <a:pt x="763914" y="38530"/>
                    <a:pt x="765516" y="38530"/>
                  </a:cubicBezTo>
                  <a:lnTo>
                    <a:pt x="869315" y="38530"/>
                  </a:lnTo>
                  <a:lnTo>
                    <a:pt x="869315" y="43609"/>
                  </a:lnTo>
                  <a:cubicBezTo>
                    <a:pt x="869315" y="45361"/>
                    <a:pt x="869955" y="47287"/>
                    <a:pt x="871237" y="48513"/>
                  </a:cubicBezTo>
                  <a:cubicBezTo>
                    <a:pt x="872358" y="49739"/>
                    <a:pt x="874120" y="50615"/>
                    <a:pt x="875722" y="50615"/>
                  </a:cubicBezTo>
                  <a:lnTo>
                    <a:pt x="1220917" y="50615"/>
                  </a:lnTo>
                  <a:lnTo>
                    <a:pt x="1220917" y="54993"/>
                  </a:lnTo>
                  <a:cubicBezTo>
                    <a:pt x="1220917" y="56744"/>
                    <a:pt x="1221558" y="58671"/>
                    <a:pt x="1222839" y="59897"/>
                  </a:cubicBezTo>
                  <a:cubicBezTo>
                    <a:pt x="1224120" y="61123"/>
                    <a:pt x="1225722" y="61999"/>
                    <a:pt x="1227324" y="61999"/>
                  </a:cubicBezTo>
                  <a:lnTo>
                    <a:pt x="1480093" y="61999"/>
                  </a:lnTo>
                  <a:lnTo>
                    <a:pt x="1480093" y="67603"/>
                  </a:lnTo>
                  <a:cubicBezTo>
                    <a:pt x="1480093" y="69354"/>
                    <a:pt x="1480734" y="71281"/>
                    <a:pt x="1482016" y="72507"/>
                  </a:cubicBezTo>
                  <a:cubicBezTo>
                    <a:pt x="1483137" y="73733"/>
                    <a:pt x="1484899" y="74608"/>
                    <a:pt x="1486501" y="74608"/>
                  </a:cubicBezTo>
                  <a:lnTo>
                    <a:pt x="1492427" y="74608"/>
                  </a:lnTo>
                  <a:lnTo>
                    <a:pt x="1492427" y="67603"/>
                  </a:lnTo>
                  <a:lnTo>
                    <a:pt x="1486020" y="67603"/>
                  </a:lnTo>
                  <a:lnTo>
                    <a:pt x="1486020" y="94749"/>
                  </a:lnTo>
                  <a:cubicBezTo>
                    <a:pt x="1486020" y="96501"/>
                    <a:pt x="1486661" y="98427"/>
                    <a:pt x="1487942" y="99653"/>
                  </a:cubicBezTo>
                  <a:cubicBezTo>
                    <a:pt x="1489064" y="100879"/>
                    <a:pt x="1490826" y="101755"/>
                    <a:pt x="1492427" y="101755"/>
                  </a:cubicBezTo>
                  <a:lnTo>
                    <a:pt x="1575402" y="101755"/>
                  </a:lnTo>
                  <a:lnTo>
                    <a:pt x="1575402" y="116291"/>
                  </a:lnTo>
                  <a:cubicBezTo>
                    <a:pt x="1575402" y="118218"/>
                    <a:pt x="1576043" y="119969"/>
                    <a:pt x="1577325" y="121195"/>
                  </a:cubicBezTo>
                  <a:cubicBezTo>
                    <a:pt x="1578446" y="122421"/>
                    <a:pt x="1580208" y="123297"/>
                    <a:pt x="1581810" y="123297"/>
                  </a:cubicBezTo>
                  <a:lnTo>
                    <a:pt x="1614167" y="123297"/>
                  </a:lnTo>
                  <a:lnTo>
                    <a:pt x="1614167" y="147290"/>
                  </a:lnTo>
                  <a:cubicBezTo>
                    <a:pt x="1614167" y="149042"/>
                    <a:pt x="1614807" y="150968"/>
                    <a:pt x="1616089" y="152194"/>
                  </a:cubicBezTo>
                  <a:cubicBezTo>
                    <a:pt x="1617370" y="153420"/>
                    <a:pt x="1618972" y="154296"/>
                    <a:pt x="1620574" y="154296"/>
                  </a:cubicBezTo>
                  <a:lnTo>
                    <a:pt x="1816799" y="154296"/>
                  </a:lnTo>
                  <a:lnTo>
                    <a:pt x="1816799" y="193702"/>
                  </a:lnTo>
                  <a:cubicBezTo>
                    <a:pt x="1816799" y="195453"/>
                    <a:pt x="1817439" y="197380"/>
                    <a:pt x="1818721" y="198606"/>
                  </a:cubicBezTo>
                  <a:cubicBezTo>
                    <a:pt x="1819842" y="199832"/>
                    <a:pt x="1821604" y="200707"/>
                    <a:pt x="1823206" y="200707"/>
                  </a:cubicBezTo>
                  <a:lnTo>
                    <a:pt x="2224945" y="200707"/>
                  </a:lnTo>
                  <a:lnTo>
                    <a:pt x="2224945" y="207363"/>
                  </a:lnTo>
                  <a:cubicBezTo>
                    <a:pt x="2224945" y="209114"/>
                    <a:pt x="2225586" y="211040"/>
                    <a:pt x="2226868" y="212266"/>
                  </a:cubicBezTo>
                  <a:cubicBezTo>
                    <a:pt x="2227989" y="213492"/>
                    <a:pt x="2229751" y="214368"/>
                    <a:pt x="2231353" y="214368"/>
                  </a:cubicBezTo>
                  <a:lnTo>
                    <a:pt x="2713504" y="214368"/>
                  </a:lnTo>
                  <a:lnTo>
                    <a:pt x="2713504" y="239062"/>
                  </a:lnTo>
                  <a:cubicBezTo>
                    <a:pt x="2713504" y="240814"/>
                    <a:pt x="2714145" y="242740"/>
                    <a:pt x="2715427" y="243966"/>
                  </a:cubicBezTo>
                  <a:cubicBezTo>
                    <a:pt x="2716548" y="245192"/>
                    <a:pt x="2718310" y="246068"/>
                    <a:pt x="2719912" y="246068"/>
                  </a:cubicBezTo>
                  <a:lnTo>
                    <a:pt x="2931033" y="246068"/>
                  </a:lnTo>
                  <a:lnTo>
                    <a:pt x="2931033" y="252198"/>
                  </a:lnTo>
                  <a:cubicBezTo>
                    <a:pt x="2931033" y="253949"/>
                    <a:pt x="2931674" y="255876"/>
                    <a:pt x="2932956" y="257102"/>
                  </a:cubicBezTo>
                  <a:cubicBezTo>
                    <a:pt x="2934237" y="258327"/>
                    <a:pt x="2935839" y="259203"/>
                    <a:pt x="2937441" y="259203"/>
                  </a:cubicBezTo>
                  <a:lnTo>
                    <a:pt x="3637121" y="259203"/>
                  </a:lnTo>
                  <a:lnTo>
                    <a:pt x="3637121" y="274790"/>
                  </a:lnTo>
                  <a:cubicBezTo>
                    <a:pt x="3637121" y="276542"/>
                    <a:pt x="3637762" y="278468"/>
                    <a:pt x="3639043" y="279694"/>
                  </a:cubicBezTo>
                  <a:cubicBezTo>
                    <a:pt x="3640165" y="280920"/>
                    <a:pt x="3641927" y="281796"/>
                    <a:pt x="3643529" y="281796"/>
                  </a:cubicBezTo>
                  <a:lnTo>
                    <a:pt x="3672842" y="281796"/>
                  </a:lnTo>
                  <a:lnTo>
                    <a:pt x="3672842" y="286349"/>
                  </a:lnTo>
                  <a:cubicBezTo>
                    <a:pt x="3672842" y="288101"/>
                    <a:pt x="3673483" y="290027"/>
                    <a:pt x="3674764" y="291253"/>
                  </a:cubicBezTo>
                  <a:cubicBezTo>
                    <a:pt x="3675885" y="292479"/>
                    <a:pt x="3677648" y="293355"/>
                    <a:pt x="3679249" y="293355"/>
                  </a:cubicBezTo>
                  <a:lnTo>
                    <a:pt x="4590372" y="293355"/>
                  </a:lnTo>
                  <a:lnTo>
                    <a:pt x="4590372" y="321377"/>
                  </a:lnTo>
                  <a:cubicBezTo>
                    <a:pt x="4590372" y="323128"/>
                    <a:pt x="4591012" y="325055"/>
                    <a:pt x="4592294" y="326281"/>
                  </a:cubicBezTo>
                  <a:cubicBezTo>
                    <a:pt x="4593416" y="327507"/>
                    <a:pt x="4595017" y="328382"/>
                    <a:pt x="4596779" y="328382"/>
                  </a:cubicBezTo>
                  <a:lnTo>
                    <a:pt x="5021906" y="328382"/>
                  </a:lnTo>
                  <a:lnTo>
                    <a:pt x="5021906" y="314547"/>
                  </a:lnTo>
                  <a:lnTo>
                    <a:pt x="4603186" y="314547"/>
                  </a:lnTo>
                  <a:lnTo>
                    <a:pt x="4603186" y="286525"/>
                  </a:lnTo>
                  <a:cubicBezTo>
                    <a:pt x="4603186" y="284773"/>
                    <a:pt x="4602546" y="282847"/>
                    <a:pt x="4601264" y="281621"/>
                  </a:cubicBezTo>
                  <a:cubicBezTo>
                    <a:pt x="4600143" y="280395"/>
                    <a:pt x="4598381" y="279519"/>
                    <a:pt x="4596779" y="279519"/>
                  </a:cubicBezTo>
                  <a:lnTo>
                    <a:pt x="3685657" y="279519"/>
                  </a:lnTo>
                  <a:lnTo>
                    <a:pt x="3685657" y="274966"/>
                  </a:lnTo>
                  <a:cubicBezTo>
                    <a:pt x="3685657" y="273214"/>
                    <a:pt x="3685016" y="271288"/>
                    <a:pt x="3683735" y="270062"/>
                  </a:cubicBezTo>
                  <a:cubicBezTo>
                    <a:pt x="3682453" y="268836"/>
                    <a:pt x="3680851" y="267960"/>
                    <a:pt x="3679249" y="267960"/>
                  </a:cubicBezTo>
                  <a:lnTo>
                    <a:pt x="3649936" y="267960"/>
                  </a:lnTo>
                  <a:lnTo>
                    <a:pt x="3649936" y="252548"/>
                  </a:lnTo>
                  <a:cubicBezTo>
                    <a:pt x="3649936" y="250797"/>
                    <a:pt x="3649295" y="248870"/>
                    <a:pt x="3648014" y="247644"/>
                  </a:cubicBezTo>
                  <a:cubicBezTo>
                    <a:pt x="3646732" y="246418"/>
                    <a:pt x="3645130" y="245542"/>
                    <a:pt x="3643529" y="245542"/>
                  </a:cubicBezTo>
                  <a:lnTo>
                    <a:pt x="2943848" y="245542"/>
                  </a:lnTo>
                  <a:lnTo>
                    <a:pt x="2943848" y="239413"/>
                  </a:lnTo>
                  <a:cubicBezTo>
                    <a:pt x="2943848" y="237661"/>
                    <a:pt x="2943207" y="235735"/>
                    <a:pt x="2941926" y="234509"/>
                  </a:cubicBezTo>
                  <a:cubicBezTo>
                    <a:pt x="2940805" y="233283"/>
                    <a:pt x="2939042" y="232407"/>
                    <a:pt x="2937441" y="232407"/>
                  </a:cubicBezTo>
                  <a:lnTo>
                    <a:pt x="2726319" y="232407"/>
                  </a:lnTo>
                  <a:lnTo>
                    <a:pt x="2726319" y="207888"/>
                  </a:lnTo>
                  <a:cubicBezTo>
                    <a:pt x="2726319" y="205961"/>
                    <a:pt x="2725679" y="204210"/>
                    <a:pt x="2724397" y="202984"/>
                  </a:cubicBezTo>
                  <a:cubicBezTo>
                    <a:pt x="2723276" y="201758"/>
                    <a:pt x="2721514" y="200882"/>
                    <a:pt x="2719912" y="200882"/>
                  </a:cubicBezTo>
                  <a:lnTo>
                    <a:pt x="2237760" y="200882"/>
                  </a:lnTo>
                  <a:lnTo>
                    <a:pt x="2237760" y="194227"/>
                  </a:lnTo>
                  <a:cubicBezTo>
                    <a:pt x="2237760" y="192301"/>
                    <a:pt x="2237120" y="190549"/>
                    <a:pt x="2235838" y="189323"/>
                  </a:cubicBezTo>
                  <a:cubicBezTo>
                    <a:pt x="2234557" y="188097"/>
                    <a:pt x="2232955" y="187222"/>
                    <a:pt x="2231353" y="187222"/>
                  </a:cubicBezTo>
                  <a:lnTo>
                    <a:pt x="1829613" y="187222"/>
                  </a:lnTo>
                  <a:lnTo>
                    <a:pt x="1829613" y="147816"/>
                  </a:lnTo>
                  <a:cubicBezTo>
                    <a:pt x="1829613" y="146064"/>
                    <a:pt x="1828973" y="144138"/>
                    <a:pt x="1827691" y="142912"/>
                  </a:cubicBezTo>
                  <a:cubicBezTo>
                    <a:pt x="1826570" y="141686"/>
                    <a:pt x="1824808" y="140810"/>
                    <a:pt x="1823206" y="140810"/>
                  </a:cubicBezTo>
                  <a:lnTo>
                    <a:pt x="1626981" y="140810"/>
                  </a:lnTo>
                  <a:lnTo>
                    <a:pt x="1626981" y="116817"/>
                  </a:lnTo>
                  <a:cubicBezTo>
                    <a:pt x="1626981" y="115065"/>
                    <a:pt x="1626341" y="113139"/>
                    <a:pt x="1625059" y="111913"/>
                  </a:cubicBezTo>
                  <a:cubicBezTo>
                    <a:pt x="1623778" y="110687"/>
                    <a:pt x="1622176" y="109811"/>
                    <a:pt x="1620574" y="109811"/>
                  </a:cubicBezTo>
                  <a:lnTo>
                    <a:pt x="1588217" y="109811"/>
                  </a:lnTo>
                  <a:lnTo>
                    <a:pt x="1588217" y="95275"/>
                  </a:lnTo>
                  <a:cubicBezTo>
                    <a:pt x="1588217" y="93523"/>
                    <a:pt x="1587576" y="91597"/>
                    <a:pt x="1586295" y="90371"/>
                  </a:cubicBezTo>
                  <a:cubicBezTo>
                    <a:pt x="1585174" y="89145"/>
                    <a:pt x="1583412" y="88269"/>
                    <a:pt x="1581810" y="88269"/>
                  </a:cubicBezTo>
                  <a:lnTo>
                    <a:pt x="1498835" y="88269"/>
                  </a:lnTo>
                  <a:lnTo>
                    <a:pt x="1498835" y="68128"/>
                  </a:lnTo>
                  <a:cubicBezTo>
                    <a:pt x="1498835" y="66377"/>
                    <a:pt x="1498194" y="64451"/>
                    <a:pt x="1496913" y="63225"/>
                  </a:cubicBezTo>
                  <a:cubicBezTo>
                    <a:pt x="1495791" y="61999"/>
                    <a:pt x="1494029" y="61123"/>
                    <a:pt x="1492427" y="61123"/>
                  </a:cubicBezTo>
                  <a:lnTo>
                    <a:pt x="1486501" y="61123"/>
                  </a:lnTo>
                  <a:lnTo>
                    <a:pt x="1486501" y="68128"/>
                  </a:lnTo>
                  <a:lnTo>
                    <a:pt x="1492908" y="68128"/>
                  </a:lnTo>
                  <a:lnTo>
                    <a:pt x="1492908" y="55694"/>
                  </a:lnTo>
                  <a:cubicBezTo>
                    <a:pt x="1492908" y="53942"/>
                    <a:pt x="1492267" y="52016"/>
                    <a:pt x="1490986" y="50790"/>
                  </a:cubicBezTo>
                  <a:cubicBezTo>
                    <a:pt x="1489704" y="49564"/>
                    <a:pt x="1488103" y="48688"/>
                    <a:pt x="1486501" y="48688"/>
                  </a:cubicBezTo>
                  <a:lnTo>
                    <a:pt x="1233731" y="48688"/>
                  </a:lnTo>
                  <a:lnTo>
                    <a:pt x="1233731" y="44135"/>
                  </a:lnTo>
                  <a:cubicBezTo>
                    <a:pt x="1233731" y="42383"/>
                    <a:pt x="1233091" y="40457"/>
                    <a:pt x="1231809" y="39231"/>
                  </a:cubicBezTo>
                  <a:cubicBezTo>
                    <a:pt x="1230688" y="38005"/>
                    <a:pt x="1228926" y="37129"/>
                    <a:pt x="1227324" y="37129"/>
                  </a:cubicBezTo>
                  <a:lnTo>
                    <a:pt x="882129" y="37129"/>
                  </a:lnTo>
                  <a:lnTo>
                    <a:pt x="882129" y="32050"/>
                  </a:lnTo>
                  <a:cubicBezTo>
                    <a:pt x="882129" y="30299"/>
                    <a:pt x="881488" y="28372"/>
                    <a:pt x="880207" y="27146"/>
                  </a:cubicBezTo>
                  <a:cubicBezTo>
                    <a:pt x="879086" y="25920"/>
                    <a:pt x="877324" y="25045"/>
                    <a:pt x="875722" y="25045"/>
                  </a:cubicBezTo>
                  <a:lnTo>
                    <a:pt x="771923" y="25045"/>
                  </a:lnTo>
                  <a:lnTo>
                    <a:pt x="771923" y="7005"/>
                  </a:lnTo>
                  <a:cubicBezTo>
                    <a:pt x="771923" y="5254"/>
                    <a:pt x="771282" y="3328"/>
                    <a:pt x="770001" y="2102"/>
                  </a:cubicBezTo>
                  <a:cubicBezTo>
                    <a:pt x="768880" y="876"/>
                    <a:pt x="767118" y="0"/>
                    <a:pt x="765516" y="0"/>
                  </a:cubicBezTo>
                  <a:lnTo>
                    <a:pt x="0" y="0"/>
                  </a:lnTo>
                  <a:lnTo>
                    <a:pt x="0" y="13836"/>
                  </a:lnTo>
                </a:path>
              </a:pathLst>
            </a:custGeom>
            <a:solidFill>
              <a:schemeClr val="accent6"/>
            </a:solidFill>
            <a:ln w="160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32" name="Grafik 134">
              <a:extLst>
                <a:ext uri="{FF2B5EF4-FFF2-40B4-BE49-F238E27FC236}">
                  <a16:creationId xmlns:a16="http://schemas.microsoft.com/office/drawing/2014/main" id="{9CFA39AF-B887-3E50-CC4F-9979CBB5AFCE}"/>
                </a:ext>
              </a:extLst>
            </p:cNvPr>
            <p:cNvGrpSpPr/>
            <p:nvPr/>
          </p:nvGrpSpPr>
          <p:grpSpPr>
            <a:xfrm>
              <a:off x="2522451" y="1805642"/>
              <a:ext cx="4647717" cy="635476"/>
              <a:chOff x="2522451" y="1815892"/>
              <a:chExt cx="4647717" cy="618234"/>
            </a:xfrm>
            <a:solidFill>
              <a:schemeClr val="accent2"/>
            </a:solidFill>
          </p:grpSpPr>
          <p:sp>
            <p:nvSpPr>
              <p:cNvPr id="33" name="Freihandform: Form 32">
                <a:extLst>
                  <a:ext uri="{FF2B5EF4-FFF2-40B4-BE49-F238E27FC236}">
                    <a16:creationId xmlns:a16="http://schemas.microsoft.com/office/drawing/2014/main" id="{4876173C-537B-AD6C-35E9-E997AAA5D3B5}"/>
                  </a:ext>
                </a:extLst>
              </p:cNvPr>
              <p:cNvSpPr/>
              <p:nvPr/>
            </p:nvSpPr>
            <p:spPr>
              <a:xfrm>
                <a:off x="2522451" y="1815892"/>
                <a:ext cx="39565" cy="43258"/>
              </a:xfrm>
              <a:custGeom>
                <a:avLst/>
                <a:gdLst>
                  <a:gd name="connsiteX0" fmla="*/ 16339 w 39565"/>
                  <a:gd name="connsiteY0" fmla="*/ 43259 h 43258"/>
                  <a:gd name="connsiteX1" fmla="*/ 16339 w 39565"/>
                  <a:gd name="connsiteY1" fmla="*/ 25395 h 43258"/>
                  <a:gd name="connsiteX2" fmla="*/ 0 w 39565"/>
                  <a:gd name="connsiteY2" fmla="*/ 25395 h 43258"/>
                  <a:gd name="connsiteX3" fmla="*/ 0 w 39565"/>
                  <a:gd name="connsiteY3" fmla="*/ 17864 h 43258"/>
                  <a:gd name="connsiteX4" fmla="*/ 16339 w 39565"/>
                  <a:gd name="connsiteY4" fmla="*/ 17864 h 43258"/>
                  <a:gd name="connsiteX5" fmla="*/ 16339 w 39565"/>
                  <a:gd name="connsiteY5" fmla="*/ 0 h 43258"/>
                  <a:gd name="connsiteX6" fmla="*/ 23227 w 39565"/>
                  <a:gd name="connsiteY6" fmla="*/ 0 h 43258"/>
                  <a:gd name="connsiteX7" fmla="*/ 23227 w 39565"/>
                  <a:gd name="connsiteY7" fmla="*/ 17864 h 43258"/>
                  <a:gd name="connsiteX8" fmla="*/ 39565 w 39565"/>
                  <a:gd name="connsiteY8" fmla="*/ 17864 h 43258"/>
                  <a:gd name="connsiteX9" fmla="*/ 39565 w 39565"/>
                  <a:gd name="connsiteY9" fmla="*/ 25395 h 43258"/>
                  <a:gd name="connsiteX10" fmla="*/ 23227 w 39565"/>
                  <a:gd name="connsiteY10" fmla="*/ 25395 h 43258"/>
                  <a:gd name="connsiteX11" fmla="*/ 23227 w 39565"/>
                  <a:gd name="connsiteY11" fmla="*/ 43259 h 43258"/>
                  <a:gd name="connsiteX12" fmla="*/ 16339 w 39565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565" h="43258">
                    <a:moveTo>
                      <a:pt x="16339" y="43259"/>
                    </a:moveTo>
                    <a:lnTo>
                      <a:pt x="16339" y="25395"/>
                    </a:lnTo>
                    <a:lnTo>
                      <a:pt x="0" y="25395"/>
                    </a:lnTo>
                    <a:lnTo>
                      <a:pt x="0" y="17864"/>
                    </a:lnTo>
                    <a:lnTo>
                      <a:pt x="16339" y="17864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864"/>
                    </a:lnTo>
                    <a:lnTo>
                      <a:pt x="39565" y="17864"/>
                    </a:lnTo>
                    <a:lnTo>
                      <a:pt x="39565" y="25395"/>
                    </a:lnTo>
                    <a:lnTo>
                      <a:pt x="23227" y="25395"/>
                    </a:lnTo>
                    <a:lnTo>
                      <a:pt x="23227" y="43259"/>
                    </a:lnTo>
                    <a:lnTo>
                      <a:pt x="16339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4" name="Freihandform: Form 33">
                <a:extLst>
                  <a:ext uri="{FF2B5EF4-FFF2-40B4-BE49-F238E27FC236}">
                    <a16:creationId xmlns:a16="http://schemas.microsoft.com/office/drawing/2014/main" id="{24D07540-1F77-BC2B-C316-C0181888C323}"/>
                  </a:ext>
                </a:extLst>
              </p:cNvPr>
              <p:cNvSpPr/>
              <p:nvPr/>
            </p:nvSpPr>
            <p:spPr>
              <a:xfrm>
                <a:off x="2585082" y="1829202"/>
                <a:ext cx="39405" cy="43258"/>
              </a:xfrm>
              <a:custGeom>
                <a:avLst/>
                <a:gdLst>
                  <a:gd name="connsiteX0" fmla="*/ 16179 w 39405"/>
                  <a:gd name="connsiteY0" fmla="*/ 43259 h 43258"/>
                  <a:gd name="connsiteX1" fmla="*/ 16179 w 39405"/>
                  <a:gd name="connsiteY1" fmla="*/ 25220 h 43258"/>
                  <a:gd name="connsiteX2" fmla="*/ 0 w 39405"/>
                  <a:gd name="connsiteY2" fmla="*/ 25220 h 43258"/>
                  <a:gd name="connsiteX3" fmla="*/ 0 w 39405"/>
                  <a:gd name="connsiteY3" fmla="*/ 17689 h 43258"/>
                  <a:gd name="connsiteX4" fmla="*/ 16179 w 39405"/>
                  <a:gd name="connsiteY4" fmla="*/ 17689 h 43258"/>
                  <a:gd name="connsiteX5" fmla="*/ 16179 w 39405"/>
                  <a:gd name="connsiteY5" fmla="*/ 0 h 43258"/>
                  <a:gd name="connsiteX6" fmla="*/ 23227 w 39405"/>
                  <a:gd name="connsiteY6" fmla="*/ 0 h 43258"/>
                  <a:gd name="connsiteX7" fmla="*/ 23227 w 39405"/>
                  <a:gd name="connsiteY7" fmla="*/ 17689 h 43258"/>
                  <a:gd name="connsiteX8" fmla="*/ 39405 w 39405"/>
                  <a:gd name="connsiteY8" fmla="*/ 17689 h 43258"/>
                  <a:gd name="connsiteX9" fmla="*/ 39405 w 39405"/>
                  <a:gd name="connsiteY9" fmla="*/ 25220 h 43258"/>
                  <a:gd name="connsiteX10" fmla="*/ 23227 w 39405"/>
                  <a:gd name="connsiteY10" fmla="*/ 25220 h 43258"/>
                  <a:gd name="connsiteX11" fmla="*/ 23227 w 39405"/>
                  <a:gd name="connsiteY11" fmla="*/ 43259 h 43258"/>
                  <a:gd name="connsiteX12" fmla="*/ 16179 w 39405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5" h="43258">
                    <a:moveTo>
                      <a:pt x="16179" y="43259"/>
                    </a:moveTo>
                    <a:lnTo>
                      <a:pt x="1617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9" y="17689"/>
                    </a:lnTo>
                    <a:lnTo>
                      <a:pt x="1617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227" y="25220"/>
                    </a:lnTo>
                    <a:lnTo>
                      <a:pt x="23227" y="43259"/>
                    </a:lnTo>
                    <a:lnTo>
                      <a:pt x="16179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5" name="Freihandform: Form 34">
                <a:extLst>
                  <a:ext uri="{FF2B5EF4-FFF2-40B4-BE49-F238E27FC236}">
                    <a16:creationId xmlns:a16="http://schemas.microsoft.com/office/drawing/2014/main" id="{0F18D5D1-30DD-95D4-8504-5F50093F1A44}"/>
                  </a:ext>
                </a:extLst>
              </p:cNvPr>
              <p:cNvSpPr/>
              <p:nvPr/>
            </p:nvSpPr>
            <p:spPr>
              <a:xfrm>
                <a:off x="2757760" y="1854948"/>
                <a:ext cx="39565" cy="43083"/>
              </a:xfrm>
              <a:custGeom>
                <a:avLst/>
                <a:gdLst>
                  <a:gd name="connsiteX0" fmla="*/ 16339 w 39565"/>
                  <a:gd name="connsiteY0" fmla="*/ 43084 h 43083"/>
                  <a:gd name="connsiteX1" fmla="*/ 16339 w 39565"/>
                  <a:gd name="connsiteY1" fmla="*/ 25220 h 43083"/>
                  <a:gd name="connsiteX2" fmla="*/ 0 w 39565"/>
                  <a:gd name="connsiteY2" fmla="*/ 25220 h 43083"/>
                  <a:gd name="connsiteX3" fmla="*/ 0 w 39565"/>
                  <a:gd name="connsiteY3" fmla="*/ 17689 h 43083"/>
                  <a:gd name="connsiteX4" fmla="*/ 16339 w 39565"/>
                  <a:gd name="connsiteY4" fmla="*/ 17689 h 43083"/>
                  <a:gd name="connsiteX5" fmla="*/ 16339 w 39565"/>
                  <a:gd name="connsiteY5" fmla="*/ 0 h 43083"/>
                  <a:gd name="connsiteX6" fmla="*/ 23227 w 39565"/>
                  <a:gd name="connsiteY6" fmla="*/ 0 h 43083"/>
                  <a:gd name="connsiteX7" fmla="*/ 23227 w 39565"/>
                  <a:gd name="connsiteY7" fmla="*/ 17689 h 43083"/>
                  <a:gd name="connsiteX8" fmla="*/ 39565 w 39565"/>
                  <a:gd name="connsiteY8" fmla="*/ 17689 h 43083"/>
                  <a:gd name="connsiteX9" fmla="*/ 39565 w 39565"/>
                  <a:gd name="connsiteY9" fmla="*/ 25220 h 43083"/>
                  <a:gd name="connsiteX10" fmla="*/ 23227 w 39565"/>
                  <a:gd name="connsiteY10" fmla="*/ 25220 h 43083"/>
                  <a:gd name="connsiteX11" fmla="*/ 23227 w 39565"/>
                  <a:gd name="connsiteY11" fmla="*/ 43084 h 43083"/>
                  <a:gd name="connsiteX12" fmla="*/ 16339 w 3956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565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565" y="17689"/>
                    </a:lnTo>
                    <a:lnTo>
                      <a:pt x="3956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6" name="Freihandform: Form 35">
                <a:extLst>
                  <a:ext uri="{FF2B5EF4-FFF2-40B4-BE49-F238E27FC236}">
                    <a16:creationId xmlns:a16="http://schemas.microsoft.com/office/drawing/2014/main" id="{8DE74AAA-63E1-48CE-A6F3-D1680C474F49}"/>
                  </a:ext>
                </a:extLst>
              </p:cNvPr>
              <p:cNvSpPr/>
              <p:nvPr/>
            </p:nvSpPr>
            <p:spPr>
              <a:xfrm>
                <a:off x="2775700" y="1854948"/>
                <a:ext cx="39405" cy="43083"/>
              </a:xfrm>
              <a:custGeom>
                <a:avLst/>
                <a:gdLst>
                  <a:gd name="connsiteX0" fmla="*/ 16339 w 39405"/>
                  <a:gd name="connsiteY0" fmla="*/ 43084 h 43083"/>
                  <a:gd name="connsiteX1" fmla="*/ 16339 w 39405"/>
                  <a:gd name="connsiteY1" fmla="*/ 25220 h 43083"/>
                  <a:gd name="connsiteX2" fmla="*/ 0 w 39405"/>
                  <a:gd name="connsiteY2" fmla="*/ 25220 h 43083"/>
                  <a:gd name="connsiteX3" fmla="*/ 0 w 39405"/>
                  <a:gd name="connsiteY3" fmla="*/ 17689 h 43083"/>
                  <a:gd name="connsiteX4" fmla="*/ 16339 w 39405"/>
                  <a:gd name="connsiteY4" fmla="*/ 17689 h 43083"/>
                  <a:gd name="connsiteX5" fmla="*/ 16339 w 39405"/>
                  <a:gd name="connsiteY5" fmla="*/ 0 h 43083"/>
                  <a:gd name="connsiteX6" fmla="*/ 23227 w 39405"/>
                  <a:gd name="connsiteY6" fmla="*/ 0 h 43083"/>
                  <a:gd name="connsiteX7" fmla="*/ 23227 w 39405"/>
                  <a:gd name="connsiteY7" fmla="*/ 17689 h 43083"/>
                  <a:gd name="connsiteX8" fmla="*/ 39405 w 39405"/>
                  <a:gd name="connsiteY8" fmla="*/ 17689 h 43083"/>
                  <a:gd name="connsiteX9" fmla="*/ 39405 w 39405"/>
                  <a:gd name="connsiteY9" fmla="*/ 25220 h 43083"/>
                  <a:gd name="connsiteX10" fmla="*/ 23227 w 39405"/>
                  <a:gd name="connsiteY10" fmla="*/ 25220 h 43083"/>
                  <a:gd name="connsiteX11" fmla="*/ 23227 w 39405"/>
                  <a:gd name="connsiteY11" fmla="*/ 43084 h 43083"/>
                  <a:gd name="connsiteX12" fmla="*/ 16339 w 3940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5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" name="Freihandform: Form 36">
                <a:extLst>
                  <a:ext uri="{FF2B5EF4-FFF2-40B4-BE49-F238E27FC236}">
                    <a16:creationId xmlns:a16="http://schemas.microsoft.com/office/drawing/2014/main" id="{D963A4A8-2588-A798-D6DC-8C33384B225F}"/>
                  </a:ext>
                </a:extLst>
              </p:cNvPr>
              <p:cNvSpPr/>
              <p:nvPr/>
            </p:nvSpPr>
            <p:spPr>
              <a:xfrm>
                <a:off x="2969362" y="1873162"/>
                <a:ext cx="39405" cy="43083"/>
              </a:xfrm>
              <a:custGeom>
                <a:avLst/>
                <a:gdLst>
                  <a:gd name="connsiteX0" fmla="*/ 16179 w 39405"/>
                  <a:gd name="connsiteY0" fmla="*/ 43084 h 43083"/>
                  <a:gd name="connsiteX1" fmla="*/ 16179 w 39405"/>
                  <a:gd name="connsiteY1" fmla="*/ 25220 h 43083"/>
                  <a:gd name="connsiteX2" fmla="*/ 0 w 39405"/>
                  <a:gd name="connsiteY2" fmla="*/ 25220 h 43083"/>
                  <a:gd name="connsiteX3" fmla="*/ 0 w 39405"/>
                  <a:gd name="connsiteY3" fmla="*/ 17689 h 43083"/>
                  <a:gd name="connsiteX4" fmla="*/ 16179 w 39405"/>
                  <a:gd name="connsiteY4" fmla="*/ 17689 h 43083"/>
                  <a:gd name="connsiteX5" fmla="*/ 16179 w 39405"/>
                  <a:gd name="connsiteY5" fmla="*/ 0 h 43083"/>
                  <a:gd name="connsiteX6" fmla="*/ 23227 w 39405"/>
                  <a:gd name="connsiteY6" fmla="*/ 0 h 43083"/>
                  <a:gd name="connsiteX7" fmla="*/ 23227 w 39405"/>
                  <a:gd name="connsiteY7" fmla="*/ 17689 h 43083"/>
                  <a:gd name="connsiteX8" fmla="*/ 39405 w 39405"/>
                  <a:gd name="connsiteY8" fmla="*/ 17689 h 43083"/>
                  <a:gd name="connsiteX9" fmla="*/ 39405 w 39405"/>
                  <a:gd name="connsiteY9" fmla="*/ 25220 h 43083"/>
                  <a:gd name="connsiteX10" fmla="*/ 23227 w 39405"/>
                  <a:gd name="connsiteY10" fmla="*/ 25220 h 43083"/>
                  <a:gd name="connsiteX11" fmla="*/ 23227 w 39405"/>
                  <a:gd name="connsiteY11" fmla="*/ 43084 h 43083"/>
                  <a:gd name="connsiteX12" fmla="*/ 16179 w 3940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5" h="43083">
                    <a:moveTo>
                      <a:pt x="16179" y="43084"/>
                    </a:moveTo>
                    <a:lnTo>
                      <a:pt x="1617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9" y="17689"/>
                    </a:lnTo>
                    <a:lnTo>
                      <a:pt x="1617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17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8" name="Freihandform: Form 37">
                <a:extLst>
                  <a:ext uri="{FF2B5EF4-FFF2-40B4-BE49-F238E27FC236}">
                    <a16:creationId xmlns:a16="http://schemas.microsoft.com/office/drawing/2014/main" id="{B5F6129C-CD13-7D37-B09C-F0D57ABF2390}"/>
                  </a:ext>
                </a:extLst>
              </p:cNvPr>
              <p:cNvSpPr/>
              <p:nvPr/>
            </p:nvSpPr>
            <p:spPr>
              <a:xfrm>
                <a:off x="2975289" y="1873162"/>
                <a:ext cx="39405" cy="43083"/>
              </a:xfrm>
              <a:custGeom>
                <a:avLst/>
                <a:gdLst>
                  <a:gd name="connsiteX0" fmla="*/ 16178 w 39405"/>
                  <a:gd name="connsiteY0" fmla="*/ 43084 h 43083"/>
                  <a:gd name="connsiteX1" fmla="*/ 16178 w 39405"/>
                  <a:gd name="connsiteY1" fmla="*/ 25220 h 43083"/>
                  <a:gd name="connsiteX2" fmla="*/ 0 w 39405"/>
                  <a:gd name="connsiteY2" fmla="*/ 25220 h 43083"/>
                  <a:gd name="connsiteX3" fmla="*/ 0 w 39405"/>
                  <a:gd name="connsiteY3" fmla="*/ 17689 h 43083"/>
                  <a:gd name="connsiteX4" fmla="*/ 16178 w 39405"/>
                  <a:gd name="connsiteY4" fmla="*/ 17689 h 43083"/>
                  <a:gd name="connsiteX5" fmla="*/ 16178 w 39405"/>
                  <a:gd name="connsiteY5" fmla="*/ 0 h 43083"/>
                  <a:gd name="connsiteX6" fmla="*/ 23227 w 39405"/>
                  <a:gd name="connsiteY6" fmla="*/ 0 h 43083"/>
                  <a:gd name="connsiteX7" fmla="*/ 23227 w 39405"/>
                  <a:gd name="connsiteY7" fmla="*/ 17689 h 43083"/>
                  <a:gd name="connsiteX8" fmla="*/ 39405 w 39405"/>
                  <a:gd name="connsiteY8" fmla="*/ 17689 h 43083"/>
                  <a:gd name="connsiteX9" fmla="*/ 39405 w 39405"/>
                  <a:gd name="connsiteY9" fmla="*/ 25220 h 43083"/>
                  <a:gd name="connsiteX10" fmla="*/ 23227 w 39405"/>
                  <a:gd name="connsiteY10" fmla="*/ 25220 h 43083"/>
                  <a:gd name="connsiteX11" fmla="*/ 23227 w 39405"/>
                  <a:gd name="connsiteY11" fmla="*/ 43084 h 43083"/>
                  <a:gd name="connsiteX12" fmla="*/ 16178 w 3940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5" h="43083">
                    <a:moveTo>
                      <a:pt x="16178" y="43084"/>
                    </a:moveTo>
                    <a:lnTo>
                      <a:pt x="16178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8" y="17689"/>
                    </a:lnTo>
                    <a:lnTo>
                      <a:pt x="16178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178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9" name="Freihandform: Form 38">
                <a:extLst>
                  <a:ext uri="{FF2B5EF4-FFF2-40B4-BE49-F238E27FC236}">
                    <a16:creationId xmlns:a16="http://schemas.microsoft.com/office/drawing/2014/main" id="{CAEBC104-A78A-2724-91DC-DE55BF10B3BF}"/>
                  </a:ext>
                </a:extLst>
              </p:cNvPr>
              <p:cNvSpPr/>
              <p:nvPr/>
            </p:nvSpPr>
            <p:spPr>
              <a:xfrm>
                <a:off x="3005083" y="1877365"/>
                <a:ext cx="39405" cy="43083"/>
              </a:xfrm>
              <a:custGeom>
                <a:avLst/>
                <a:gdLst>
                  <a:gd name="connsiteX0" fmla="*/ 16179 w 39405"/>
                  <a:gd name="connsiteY0" fmla="*/ 43084 h 43083"/>
                  <a:gd name="connsiteX1" fmla="*/ 16179 w 39405"/>
                  <a:gd name="connsiteY1" fmla="*/ 25220 h 43083"/>
                  <a:gd name="connsiteX2" fmla="*/ 0 w 39405"/>
                  <a:gd name="connsiteY2" fmla="*/ 25220 h 43083"/>
                  <a:gd name="connsiteX3" fmla="*/ 0 w 39405"/>
                  <a:gd name="connsiteY3" fmla="*/ 17689 h 43083"/>
                  <a:gd name="connsiteX4" fmla="*/ 16179 w 39405"/>
                  <a:gd name="connsiteY4" fmla="*/ 17689 h 43083"/>
                  <a:gd name="connsiteX5" fmla="*/ 16179 w 39405"/>
                  <a:gd name="connsiteY5" fmla="*/ 0 h 43083"/>
                  <a:gd name="connsiteX6" fmla="*/ 23227 w 39405"/>
                  <a:gd name="connsiteY6" fmla="*/ 0 h 43083"/>
                  <a:gd name="connsiteX7" fmla="*/ 23227 w 39405"/>
                  <a:gd name="connsiteY7" fmla="*/ 17689 h 43083"/>
                  <a:gd name="connsiteX8" fmla="*/ 39405 w 39405"/>
                  <a:gd name="connsiteY8" fmla="*/ 17689 h 43083"/>
                  <a:gd name="connsiteX9" fmla="*/ 39405 w 39405"/>
                  <a:gd name="connsiteY9" fmla="*/ 25220 h 43083"/>
                  <a:gd name="connsiteX10" fmla="*/ 23227 w 39405"/>
                  <a:gd name="connsiteY10" fmla="*/ 25220 h 43083"/>
                  <a:gd name="connsiteX11" fmla="*/ 23227 w 39405"/>
                  <a:gd name="connsiteY11" fmla="*/ 43084 h 43083"/>
                  <a:gd name="connsiteX12" fmla="*/ 16179 w 3940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5" h="43083">
                    <a:moveTo>
                      <a:pt x="16179" y="43084"/>
                    </a:moveTo>
                    <a:lnTo>
                      <a:pt x="1617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9" y="17689"/>
                    </a:lnTo>
                    <a:lnTo>
                      <a:pt x="1617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17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0" name="Freihandform: Form 39">
                <a:extLst>
                  <a:ext uri="{FF2B5EF4-FFF2-40B4-BE49-F238E27FC236}">
                    <a16:creationId xmlns:a16="http://schemas.microsoft.com/office/drawing/2014/main" id="{E4FC276D-B8FD-7686-CE13-B170767B77B4}"/>
                  </a:ext>
                </a:extLst>
              </p:cNvPr>
              <p:cNvSpPr/>
              <p:nvPr/>
            </p:nvSpPr>
            <p:spPr>
              <a:xfrm>
                <a:off x="3031833" y="1877365"/>
                <a:ext cx="39405" cy="43083"/>
              </a:xfrm>
              <a:custGeom>
                <a:avLst/>
                <a:gdLst>
                  <a:gd name="connsiteX0" fmla="*/ 16339 w 39405"/>
                  <a:gd name="connsiteY0" fmla="*/ 43084 h 43083"/>
                  <a:gd name="connsiteX1" fmla="*/ 16339 w 39405"/>
                  <a:gd name="connsiteY1" fmla="*/ 25220 h 43083"/>
                  <a:gd name="connsiteX2" fmla="*/ 0 w 39405"/>
                  <a:gd name="connsiteY2" fmla="*/ 25220 h 43083"/>
                  <a:gd name="connsiteX3" fmla="*/ 0 w 39405"/>
                  <a:gd name="connsiteY3" fmla="*/ 17689 h 43083"/>
                  <a:gd name="connsiteX4" fmla="*/ 16339 w 39405"/>
                  <a:gd name="connsiteY4" fmla="*/ 17689 h 43083"/>
                  <a:gd name="connsiteX5" fmla="*/ 16339 w 39405"/>
                  <a:gd name="connsiteY5" fmla="*/ 0 h 43083"/>
                  <a:gd name="connsiteX6" fmla="*/ 23227 w 39405"/>
                  <a:gd name="connsiteY6" fmla="*/ 0 h 43083"/>
                  <a:gd name="connsiteX7" fmla="*/ 23227 w 39405"/>
                  <a:gd name="connsiteY7" fmla="*/ 17689 h 43083"/>
                  <a:gd name="connsiteX8" fmla="*/ 39405 w 39405"/>
                  <a:gd name="connsiteY8" fmla="*/ 17689 h 43083"/>
                  <a:gd name="connsiteX9" fmla="*/ 39405 w 39405"/>
                  <a:gd name="connsiteY9" fmla="*/ 25220 h 43083"/>
                  <a:gd name="connsiteX10" fmla="*/ 23227 w 39405"/>
                  <a:gd name="connsiteY10" fmla="*/ 25220 h 43083"/>
                  <a:gd name="connsiteX11" fmla="*/ 23227 w 39405"/>
                  <a:gd name="connsiteY11" fmla="*/ 43084 h 43083"/>
                  <a:gd name="connsiteX12" fmla="*/ 16339 w 3940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5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1" name="Freihandform: Form 40">
                <a:extLst>
                  <a:ext uri="{FF2B5EF4-FFF2-40B4-BE49-F238E27FC236}">
                    <a16:creationId xmlns:a16="http://schemas.microsoft.com/office/drawing/2014/main" id="{52E6642C-49AB-95EC-F1A2-280EB0EF57AB}"/>
                  </a:ext>
                </a:extLst>
              </p:cNvPr>
              <p:cNvSpPr/>
              <p:nvPr/>
            </p:nvSpPr>
            <p:spPr>
              <a:xfrm>
                <a:off x="3070598" y="1890851"/>
                <a:ext cx="39405" cy="43258"/>
              </a:xfrm>
              <a:custGeom>
                <a:avLst/>
                <a:gdLst>
                  <a:gd name="connsiteX0" fmla="*/ 16339 w 39405"/>
                  <a:gd name="connsiteY0" fmla="*/ 43259 h 43258"/>
                  <a:gd name="connsiteX1" fmla="*/ 16339 w 39405"/>
                  <a:gd name="connsiteY1" fmla="*/ 25395 h 43258"/>
                  <a:gd name="connsiteX2" fmla="*/ 0 w 39405"/>
                  <a:gd name="connsiteY2" fmla="*/ 25395 h 43258"/>
                  <a:gd name="connsiteX3" fmla="*/ 0 w 39405"/>
                  <a:gd name="connsiteY3" fmla="*/ 17864 h 43258"/>
                  <a:gd name="connsiteX4" fmla="*/ 16339 w 39405"/>
                  <a:gd name="connsiteY4" fmla="*/ 17864 h 43258"/>
                  <a:gd name="connsiteX5" fmla="*/ 16339 w 39405"/>
                  <a:gd name="connsiteY5" fmla="*/ 0 h 43258"/>
                  <a:gd name="connsiteX6" fmla="*/ 23227 w 39405"/>
                  <a:gd name="connsiteY6" fmla="*/ 0 h 43258"/>
                  <a:gd name="connsiteX7" fmla="*/ 23227 w 39405"/>
                  <a:gd name="connsiteY7" fmla="*/ 17864 h 43258"/>
                  <a:gd name="connsiteX8" fmla="*/ 39405 w 39405"/>
                  <a:gd name="connsiteY8" fmla="*/ 17864 h 43258"/>
                  <a:gd name="connsiteX9" fmla="*/ 39405 w 39405"/>
                  <a:gd name="connsiteY9" fmla="*/ 25395 h 43258"/>
                  <a:gd name="connsiteX10" fmla="*/ 23227 w 39405"/>
                  <a:gd name="connsiteY10" fmla="*/ 25395 h 43258"/>
                  <a:gd name="connsiteX11" fmla="*/ 23227 w 39405"/>
                  <a:gd name="connsiteY11" fmla="*/ 43259 h 43258"/>
                  <a:gd name="connsiteX12" fmla="*/ 16339 w 39405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5" h="43258">
                    <a:moveTo>
                      <a:pt x="16339" y="43259"/>
                    </a:moveTo>
                    <a:lnTo>
                      <a:pt x="16339" y="25395"/>
                    </a:lnTo>
                    <a:lnTo>
                      <a:pt x="0" y="25395"/>
                    </a:lnTo>
                    <a:lnTo>
                      <a:pt x="0" y="17864"/>
                    </a:lnTo>
                    <a:lnTo>
                      <a:pt x="16339" y="17864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864"/>
                    </a:lnTo>
                    <a:lnTo>
                      <a:pt x="39405" y="17864"/>
                    </a:lnTo>
                    <a:lnTo>
                      <a:pt x="39405" y="25395"/>
                    </a:lnTo>
                    <a:lnTo>
                      <a:pt x="23227" y="25395"/>
                    </a:lnTo>
                    <a:lnTo>
                      <a:pt x="23227" y="43259"/>
                    </a:lnTo>
                    <a:lnTo>
                      <a:pt x="16339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2" name="Freihandform: Form 41">
                <a:extLst>
                  <a:ext uri="{FF2B5EF4-FFF2-40B4-BE49-F238E27FC236}">
                    <a16:creationId xmlns:a16="http://schemas.microsoft.com/office/drawing/2014/main" id="{4037DF73-8AD7-2954-DC84-905141CAB5A3}"/>
                  </a:ext>
                </a:extLst>
              </p:cNvPr>
              <p:cNvSpPr/>
              <p:nvPr/>
            </p:nvSpPr>
            <p:spPr>
              <a:xfrm>
                <a:off x="3124259" y="1908014"/>
                <a:ext cx="39405" cy="43258"/>
              </a:xfrm>
              <a:custGeom>
                <a:avLst/>
                <a:gdLst>
                  <a:gd name="connsiteX0" fmla="*/ 16178 w 39405"/>
                  <a:gd name="connsiteY0" fmla="*/ 43259 h 43258"/>
                  <a:gd name="connsiteX1" fmla="*/ 16178 w 39405"/>
                  <a:gd name="connsiteY1" fmla="*/ 25395 h 43258"/>
                  <a:gd name="connsiteX2" fmla="*/ 0 w 39405"/>
                  <a:gd name="connsiteY2" fmla="*/ 25395 h 43258"/>
                  <a:gd name="connsiteX3" fmla="*/ 0 w 39405"/>
                  <a:gd name="connsiteY3" fmla="*/ 17864 h 43258"/>
                  <a:gd name="connsiteX4" fmla="*/ 16178 w 39405"/>
                  <a:gd name="connsiteY4" fmla="*/ 17864 h 43258"/>
                  <a:gd name="connsiteX5" fmla="*/ 16178 w 39405"/>
                  <a:gd name="connsiteY5" fmla="*/ 0 h 43258"/>
                  <a:gd name="connsiteX6" fmla="*/ 23066 w 39405"/>
                  <a:gd name="connsiteY6" fmla="*/ 0 h 43258"/>
                  <a:gd name="connsiteX7" fmla="*/ 23066 w 39405"/>
                  <a:gd name="connsiteY7" fmla="*/ 17864 h 43258"/>
                  <a:gd name="connsiteX8" fmla="*/ 39405 w 39405"/>
                  <a:gd name="connsiteY8" fmla="*/ 17864 h 43258"/>
                  <a:gd name="connsiteX9" fmla="*/ 39405 w 39405"/>
                  <a:gd name="connsiteY9" fmla="*/ 25395 h 43258"/>
                  <a:gd name="connsiteX10" fmla="*/ 23066 w 39405"/>
                  <a:gd name="connsiteY10" fmla="*/ 25395 h 43258"/>
                  <a:gd name="connsiteX11" fmla="*/ 23066 w 39405"/>
                  <a:gd name="connsiteY11" fmla="*/ 43259 h 43258"/>
                  <a:gd name="connsiteX12" fmla="*/ 16178 w 39405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5" h="43258">
                    <a:moveTo>
                      <a:pt x="16178" y="43259"/>
                    </a:moveTo>
                    <a:lnTo>
                      <a:pt x="16178" y="25395"/>
                    </a:lnTo>
                    <a:lnTo>
                      <a:pt x="0" y="25395"/>
                    </a:lnTo>
                    <a:lnTo>
                      <a:pt x="0" y="17864"/>
                    </a:lnTo>
                    <a:lnTo>
                      <a:pt x="16178" y="17864"/>
                    </a:lnTo>
                    <a:lnTo>
                      <a:pt x="16178" y="0"/>
                    </a:lnTo>
                    <a:lnTo>
                      <a:pt x="23066" y="0"/>
                    </a:lnTo>
                    <a:lnTo>
                      <a:pt x="23066" y="17864"/>
                    </a:lnTo>
                    <a:lnTo>
                      <a:pt x="39405" y="17864"/>
                    </a:lnTo>
                    <a:lnTo>
                      <a:pt x="39405" y="25395"/>
                    </a:lnTo>
                    <a:lnTo>
                      <a:pt x="23066" y="25395"/>
                    </a:lnTo>
                    <a:lnTo>
                      <a:pt x="23066" y="43259"/>
                    </a:lnTo>
                    <a:lnTo>
                      <a:pt x="16178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3" name="Freihandform: Form 42">
                <a:extLst>
                  <a:ext uri="{FF2B5EF4-FFF2-40B4-BE49-F238E27FC236}">
                    <a16:creationId xmlns:a16="http://schemas.microsoft.com/office/drawing/2014/main" id="{556C8684-E943-83BE-8351-C785C8F0D4FB}"/>
                  </a:ext>
                </a:extLst>
              </p:cNvPr>
              <p:cNvSpPr/>
              <p:nvPr/>
            </p:nvSpPr>
            <p:spPr>
              <a:xfrm>
                <a:off x="3148126" y="1912217"/>
                <a:ext cx="39405" cy="43083"/>
              </a:xfrm>
              <a:custGeom>
                <a:avLst/>
                <a:gdLst>
                  <a:gd name="connsiteX0" fmla="*/ 16179 w 39405"/>
                  <a:gd name="connsiteY0" fmla="*/ 43084 h 43083"/>
                  <a:gd name="connsiteX1" fmla="*/ 16179 w 39405"/>
                  <a:gd name="connsiteY1" fmla="*/ 25220 h 43083"/>
                  <a:gd name="connsiteX2" fmla="*/ 0 w 39405"/>
                  <a:gd name="connsiteY2" fmla="*/ 25220 h 43083"/>
                  <a:gd name="connsiteX3" fmla="*/ 0 w 39405"/>
                  <a:gd name="connsiteY3" fmla="*/ 17689 h 43083"/>
                  <a:gd name="connsiteX4" fmla="*/ 16179 w 39405"/>
                  <a:gd name="connsiteY4" fmla="*/ 17689 h 43083"/>
                  <a:gd name="connsiteX5" fmla="*/ 16179 w 39405"/>
                  <a:gd name="connsiteY5" fmla="*/ 0 h 43083"/>
                  <a:gd name="connsiteX6" fmla="*/ 23066 w 39405"/>
                  <a:gd name="connsiteY6" fmla="*/ 0 h 43083"/>
                  <a:gd name="connsiteX7" fmla="*/ 23066 w 39405"/>
                  <a:gd name="connsiteY7" fmla="*/ 17689 h 43083"/>
                  <a:gd name="connsiteX8" fmla="*/ 39405 w 39405"/>
                  <a:gd name="connsiteY8" fmla="*/ 17689 h 43083"/>
                  <a:gd name="connsiteX9" fmla="*/ 39405 w 39405"/>
                  <a:gd name="connsiteY9" fmla="*/ 25220 h 43083"/>
                  <a:gd name="connsiteX10" fmla="*/ 23066 w 39405"/>
                  <a:gd name="connsiteY10" fmla="*/ 25220 h 43083"/>
                  <a:gd name="connsiteX11" fmla="*/ 23066 w 39405"/>
                  <a:gd name="connsiteY11" fmla="*/ 43084 h 43083"/>
                  <a:gd name="connsiteX12" fmla="*/ 16179 w 3940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5" h="43083">
                    <a:moveTo>
                      <a:pt x="16179" y="43084"/>
                    </a:moveTo>
                    <a:lnTo>
                      <a:pt x="1617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9" y="17689"/>
                    </a:lnTo>
                    <a:lnTo>
                      <a:pt x="16179" y="0"/>
                    </a:lnTo>
                    <a:lnTo>
                      <a:pt x="23066" y="0"/>
                    </a:lnTo>
                    <a:lnTo>
                      <a:pt x="23066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066" y="25220"/>
                    </a:lnTo>
                    <a:lnTo>
                      <a:pt x="23066" y="43084"/>
                    </a:lnTo>
                    <a:lnTo>
                      <a:pt x="1617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4" name="Freihandform: Form 43">
                <a:extLst>
                  <a:ext uri="{FF2B5EF4-FFF2-40B4-BE49-F238E27FC236}">
                    <a16:creationId xmlns:a16="http://schemas.microsoft.com/office/drawing/2014/main" id="{C493F32D-16E9-AE3E-7B2F-13CD2B2EE291}"/>
                  </a:ext>
                </a:extLst>
              </p:cNvPr>
              <p:cNvSpPr/>
              <p:nvPr/>
            </p:nvSpPr>
            <p:spPr>
              <a:xfrm>
                <a:off x="3156937" y="1912217"/>
                <a:ext cx="39405" cy="43083"/>
              </a:xfrm>
              <a:custGeom>
                <a:avLst/>
                <a:gdLst>
                  <a:gd name="connsiteX0" fmla="*/ 16339 w 39405"/>
                  <a:gd name="connsiteY0" fmla="*/ 43084 h 43083"/>
                  <a:gd name="connsiteX1" fmla="*/ 16339 w 39405"/>
                  <a:gd name="connsiteY1" fmla="*/ 25220 h 43083"/>
                  <a:gd name="connsiteX2" fmla="*/ 0 w 39405"/>
                  <a:gd name="connsiteY2" fmla="*/ 25220 h 43083"/>
                  <a:gd name="connsiteX3" fmla="*/ 0 w 39405"/>
                  <a:gd name="connsiteY3" fmla="*/ 17689 h 43083"/>
                  <a:gd name="connsiteX4" fmla="*/ 16339 w 39405"/>
                  <a:gd name="connsiteY4" fmla="*/ 17689 h 43083"/>
                  <a:gd name="connsiteX5" fmla="*/ 16339 w 39405"/>
                  <a:gd name="connsiteY5" fmla="*/ 0 h 43083"/>
                  <a:gd name="connsiteX6" fmla="*/ 23227 w 39405"/>
                  <a:gd name="connsiteY6" fmla="*/ 0 h 43083"/>
                  <a:gd name="connsiteX7" fmla="*/ 23227 w 39405"/>
                  <a:gd name="connsiteY7" fmla="*/ 17689 h 43083"/>
                  <a:gd name="connsiteX8" fmla="*/ 39405 w 39405"/>
                  <a:gd name="connsiteY8" fmla="*/ 17689 h 43083"/>
                  <a:gd name="connsiteX9" fmla="*/ 39405 w 39405"/>
                  <a:gd name="connsiteY9" fmla="*/ 25220 h 43083"/>
                  <a:gd name="connsiteX10" fmla="*/ 23227 w 39405"/>
                  <a:gd name="connsiteY10" fmla="*/ 25220 h 43083"/>
                  <a:gd name="connsiteX11" fmla="*/ 23227 w 39405"/>
                  <a:gd name="connsiteY11" fmla="*/ 43084 h 43083"/>
                  <a:gd name="connsiteX12" fmla="*/ 16339 w 3940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5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5" name="Freihandform: Form 44">
                <a:extLst>
                  <a:ext uri="{FF2B5EF4-FFF2-40B4-BE49-F238E27FC236}">
                    <a16:creationId xmlns:a16="http://schemas.microsoft.com/office/drawing/2014/main" id="{832DC271-69E0-9775-6330-65E13E038DFC}"/>
                  </a:ext>
                </a:extLst>
              </p:cNvPr>
              <p:cNvSpPr/>
              <p:nvPr/>
            </p:nvSpPr>
            <p:spPr>
              <a:xfrm>
                <a:off x="3168790" y="1912217"/>
                <a:ext cx="39565" cy="43083"/>
              </a:xfrm>
              <a:custGeom>
                <a:avLst/>
                <a:gdLst>
                  <a:gd name="connsiteX0" fmla="*/ 16339 w 39565"/>
                  <a:gd name="connsiteY0" fmla="*/ 43084 h 43083"/>
                  <a:gd name="connsiteX1" fmla="*/ 16339 w 39565"/>
                  <a:gd name="connsiteY1" fmla="*/ 25220 h 43083"/>
                  <a:gd name="connsiteX2" fmla="*/ 0 w 39565"/>
                  <a:gd name="connsiteY2" fmla="*/ 25220 h 43083"/>
                  <a:gd name="connsiteX3" fmla="*/ 0 w 39565"/>
                  <a:gd name="connsiteY3" fmla="*/ 17689 h 43083"/>
                  <a:gd name="connsiteX4" fmla="*/ 16339 w 39565"/>
                  <a:gd name="connsiteY4" fmla="*/ 17689 h 43083"/>
                  <a:gd name="connsiteX5" fmla="*/ 16339 w 39565"/>
                  <a:gd name="connsiteY5" fmla="*/ 0 h 43083"/>
                  <a:gd name="connsiteX6" fmla="*/ 23227 w 39565"/>
                  <a:gd name="connsiteY6" fmla="*/ 0 h 43083"/>
                  <a:gd name="connsiteX7" fmla="*/ 23227 w 39565"/>
                  <a:gd name="connsiteY7" fmla="*/ 17689 h 43083"/>
                  <a:gd name="connsiteX8" fmla="*/ 39565 w 39565"/>
                  <a:gd name="connsiteY8" fmla="*/ 17689 h 43083"/>
                  <a:gd name="connsiteX9" fmla="*/ 39565 w 39565"/>
                  <a:gd name="connsiteY9" fmla="*/ 25220 h 43083"/>
                  <a:gd name="connsiteX10" fmla="*/ 23227 w 39565"/>
                  <a:gd name="connsiteY10" fmla="*/ 25220 h 43083"/>
                  <a:gd name="connsiteX11" fmla="*/ 23227 w 39565"/>
                  <a:gd name="connsiteY11" fmla="*/ 43084 h 43083"/>
                  <a:gd name="connsiteX12" fmla="*/ 16339 w 3956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565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565" y="17689"/>
                    </a:lnTo>
                    <a:lnTo>
                      <a:pt x="3956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6" name="Freihandform: Form 45">
                <a:extLst>
                  <a:ext uri="{FF2B5EF4-FFF2-40B4-BE49-F238E27FC236}">
                    <a16:creationId xmlns:a16="http://schemas.microsoft.com/office/drawing/2014/main" id="{5414CB41-2220-1052-CB61-A36BC216605B}"/>
                  </a:ext>
                </a:extLst>
              </p:cNvPr>
              <p:cNvSpPr/>
              <p:nvPr/>
            </p:nvSpPr>
            <p:spPr>
              <a:xfrm>
                <a:off x="3195701" y="1916596"/>
                <a:ext cx="39405" cy="43083"/>
              </a:xfrm>
              <a:custGeom>
                <a:avLst/>
                <a:gdLst>
                  <a:gd name="connsiteX0" fmla="*/ 16179 w 39405"/>
                  <a:gd name="connsiteY0" fmla="*/ 43084 h 43083"/>
                  <a:gd name="connsiteX1" fmla="*/ 16179 w 39405"/>
                  <a:gd name="connsiteY1" fmla="*/ 25220 h 43083"/>
                  <a:gd name="connsiteX2" fmla="*/ 0 w 39405"/>
                  <a:gd name="connsiteY2" fmla="*/ 25220 h 43083"/>
                  <a:gd name="connsiteX3" fmla="*/ 0 w 39405"/>
                  <a:gd name="connsiteY3" fmla="*/ 17689 h 43083"/>
                  <a:gd name="connsiteX4" fmla="*/ 16179 w 39405"/>
                  <a:gd name="connsiteY4" fmla="*/ 17689 h 43083"/>
                  <a:gd name="connsiteX5" fmla="*/ 16179 w 39405"/>
                  <a:gd name="connsiteY5" fmla="*/ 0 h 43083"/>
                  <a:gd name="connsiteX6" fmla="*/ 23227 w 39405"/>
                  <a:gd name="connsiteY6" fmla="*/ 0 h 43083"/>
                  <a:gd name="connsiteX7" fmla="*/ 23227 w 39405"/>
                  <a:gd name="connsiteY7" fmla="*/ 17689 h 43083"/>
                  <a:gd name="connsiteX8" fmla="*/ 39405 w 39405"/>
                  <a:gd name="connsiteY8" fmla="*/ 17689 h 43083"/>
                  <a:gd name="connsiteX9" fmla="*/ 39405 w 39405"/>
                  <a:gd name="connsiteY9" fmla="*/ 25220 h 43083"/>
                  <a:gd name="connsiteX10" fmla="*/ 23227 w 39405"/>
                  <a:gd name="connsiteY10" fmla="*/ 25220 h 43083"/>
                  <a:gd name="connsiteX11" fmla="*/ 23227 w 39405"/>
                  <a:gd name="connsiteY11" fmla="*/ 43084 h 43083"/>
                  <a:gd name="connsiteX12" fmla="*/ 16179 w 3940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5" h="43083">
                    <a:moveTo>
                      <a:pt x="16179" y="43084"/>
                    </a:moveTo>
                    <a:lnTo>
                      <a:pt x="1617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9" y="17689"/>
                    </a:lnTo>
                    <a:lnTo>
                      <a:pt x="1617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17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7" name="Freihandform: Form 46">
                <a:extLst>
                  <a:ext uri="{FF2B5EF4-FFF2-40B4-BE49-F238E27FC236}">
                    <a16:creationId xmlns:a16="http://schemas.microsoft.com/office/drawing/2014/main" id="{3DCD8F58-B6BE-5280-7EC1-ECF2217E0C2F}"/>
                  </a:ext>
                </a:extLst>
              </p:cNvPr>
              <p:cNvSpPr/>
              <p:nvPr/>
            </p:nvSpPr>
            <p:spPr>
              <a:xfrm>
                <a:off x="3204671" y="1916596"/>
                <a:ext cx="39405" cy="43083"/>
              </a:xfrm>
              <a:custGeom>
                <a:avLst/>
                <a:gdLst>
                  <a:gd name="connsiteX0" fmla="*/ 16179 w 39405"/>
                  <a:gd name="connsiteY0" fmla="*/ 43084 h 43083"/>
                  <a:gd name="connsiteX1" fmla="*/ 16179 w 39405"/>
                  <a:gd name="connsiteY1" fmla="*/ 25220 h 43083"/>
                  <a:gd name="connsiteX2" fmla="*/ 0 w 39405"/>
                  <a:gd name="connsiteY2" fmla="*/ 25220 h 43083"/>
                  <a:gd name="connsiteX3" fmla="*/ 0 w 39405"/>
                  <a:gd name="connsiteY3" fmla="*/ 17689 h 43083"/>
                  <a:gd name="connsiteX4" fmla="*/ 16179 w 39405"/>
                  <a:gd name="connsiteY4" fmla="*/ 17689 h 43083"/>
                  <a:gd name="connsiteX5" fmla="*/ 16179 w 39405"/>
                  <a:gd name="connsiteY5" fmla="*/ 0 h 43083"/>
                  <a:gd name="connsiteX6" fmla="*/ 23066 w 39405"/>
                  <a:gd name="connsiteY6" fmla="*/ 0 h 43083"/>
                  <a:gd name="connsiteX7" fmla="*/ 23066 w 39405"/>
                  <a:gd name="connsiteY7" fmla="*/ 17689 h 43083"/>
                  <a:gd name="connsiteX8" fmla="*/ 39405 w 39405"/>
                  <a:gd name="connsiteY8" fmla="*/ 17689 h 43083"/>
                  <a:gd name="connsiteX9" fmla="*/ 39405 w 39405"/>
                  <a:gd name="connsiteY9" fmla="*/ 25220 h 43083"/>
                  <a:gd name="connsiteX10" fmla="*/ 23066 w 39405"/>
                  <a:gd name="connsiteY10" fmla="*/ 25220 h 43083"/>
                  <a:gd name="connsiteX11" fmla="*/ 23066 w 39405"/>
                  <a:gd name="connsiteY11" fmla="*/ 43084 h 43083"/>
                  <a:gd name="connsiteX12" fmla="*/ 16179 w 3940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5" h="43083">
                    <a:moveTo>
                      <a:pt x="16179" y="43084"/>
                    </a:moveTo>
                    <a:lnTo>
                      <a:pt x="1617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9" y="17689"/>
                    </a:lnTo>
                    <a:lnTo>
                      <a:pt x="16179" y="0"/>
                    </a:lnTo>
                    <a:lnTo>
                      <a:pt x="23066" y="0"/>
                    </a:lnTo>
                    <a:lnTo>
                      <a:pt x="23066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066" y="25220"/>
                    </a:lnTo>
                    <a:lnTo>
                      <a:pt x="23066" y="43084"/>
                    </a:lnTo>
                    <a:lnTo>
                      <a:pt x="1617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8" name="Freihandform: Form 47">
                <a:extLst>
                  <a:ext uri="{FF2B5EF4-FFF2-40B4-BE49-F238E27FC236}">
                    <a16:creationId xmlns:a16="http://schemas.microsoft.com/office/drawing/2014/main" id="{D9D9F92F-5C94-C690-9430-48C12D9C65B8}"/>
                  </a:ext>
                </a:extLst>
              </p:cNvPr>
              <p:cNvSpPr/>
              <p:nvPr/>
            </p:nvSpPr>
            <p:spPr>
              <a:xfrm>
                <a:off x="3213641" y="1920974"/>
                <a:ext cx="39405" cy="43258"/>
              </a:xfrm>
              <a:custGeom>
                <a:avLst/>
                <a:gdLst>
                  <a:gd name="connsiteX0" fmla="*/ 16179 w 39405"/>
                  <a:gd name="connsiteY0" fmla="*/ 43259 h 43258"/>
                  <a:gd name="connsiteX1" fmla="*/ 16179 w 39405"/>
                  <a:gd name="connsiteY1" fmla="*/ 25395 h 43258"/>
                  <a:gd name="connsiteX2" fmla="*/ 0 w 39405"/>
                  <a:gd name="connsiteY2" fmla="*/ 25395 h 43258"/>
                  <a:gd name="connsiteX3" fmla="*/ 0 w 39405"/>
                  <a:gd name="connsiteY3" fmla="*/ 17864 h 43258"/>
                  <a:gd name="connsiteX4" fmla="*/ 16179 w 39405"/>
                  <a:gd name="connsiteY4" fmla="*/ 17864 h 43258"/>
                  <a:gd name="connsiteX5" fmla="*/ 16179 w 39405"/>
                  <a:gd name="connsiteY5" fmla="*/ 0 h 43258"/>
                  <a:gd name="connsiteX6" fmla="*/ 23066 w 39405"/>
                  <a:gd name="connsiteY6" fmla="*/ 0 h 43258"/>
                  <a:gd name="connsiteX7" fmla="*/ 23066 w 39405"/>
                  <a:gd name="connsiteY7" fmla="*/ 17864 h 43258"/>
                  <a:gd name="connsiteX8" fmla="*/ 39405 w 39405"/>
                  <a:gd name="connsiteY8" fmla="*/ 17864 h 43258"/>
                  <a:gd name="connsiteX9" fmla="*/ 39405 w 39405"/>
                  <a:gd name="connsiteY9" fmla="*/ 25395 h 43258"/>
                  <a:gd name="connsiteX10" fmla="*/ 23066 w 39405"/>
                  <a:gd name="connsiteY10" fmla="*/ 25395 h 43258"/>
                  <a:gd name="connsiteX11" fmla="*/ 23066 w 39405"/>
                  <a:gd name="connsiteY11" fmla="*/ 43259 h 43258"/>
                  <a:gd name="connsiteX12" fmla="*/ 16179 w 39405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5" h="43258">
                    <a:moveTo>
                      <a:pt x="16179" y="43259"/>
                    </a:moveTo>
                    <a:lnTo>
                      <a:pt x="16179" y="25395"/>
                    </a:lnTo>
                    <a:lnTo>
                      <a:pt x="0" y="25395"/>
                    </a:lnTo>
                    <a:lnTo>
                      <a:pt x="0" y="17864"/>
                    </a:lnTo>
                    <a:lnTo>
                      <a:pt x="16179" y="17864"/>
                    </a:lnTo>
                    <a:lnTo>
                      <a:pt x="16179" y="0"/>
                    </a:lnTo>
                    <a:lnTo>
                      <a:pt x="23066" y="0"/>
                    </a:lnTo>
                    <a:lnTo>
                      <a:pt x="23066" y="17864"/>
                    </a:lnTo>
                    <a:lnTo>
                      <a:pt x="39405" y="17864"/>
                    </a:lnTo>
                    <a:lnTo>
                      <a:pt x="39405" y="25395"/>
                    </a:lnTo>
                    <a:lnTo>
                      <a:pt x="23066" y="25395"/>
                    </a:lnTo>
                    <a:lnTo>
                      <a:pt x="23066" y="43259"/>
                    </a:lnTo>
                    <a:lnTo>
                      <a:pt x="16179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9" name="Freihandform: Form 48">
                <a:extLst>
                  <a:ext uri="{FF2B5EF4-FFF2-40B4-BE49-F238E27FC236}">
                    <a16:creationId xmlns:a16="http://schemas.microsoft.com/office/drawing/2014/main" id="{11552F42-019F-95C4-CCEE-77E940066F51}"/>
                  </a:ext>
                </a:extLst>
              </p:cNvPr>
              <p:cNvSpPr/>
              <p:nvPr/>
            </p:nvSpPr>
            <p:spPr>
              <a:xfrm>
                <a:off x="3246319" y="1930257"/>
                <a:ext cx="39405" cy="43258"/>
              </a:xfrm>
              <a:custGeom>
                <a:avLst/>
                <a:gdLst>
                  <a:gd name="connsiteX0" fmla="*/ 16179 w 39405"/>
                  <a:gd name="connsiteY0" fmla="*/ 43259 h 43258"/>
                  <a:gd name="connsiteX1" fmla="*/ 16179 w 39405"/>
                  <a:gd name="connsiteY1" fmla="*/ 25395 h 43258"/>
                  <a:gd name="connsiteX2" fmla="*/ 0 w 39405"/>
                  <a:gd name="connsiteY2" fmla="*/ 25395 h 43258"/>
                  <a:gd name="connsiteX3" fmla="*/ 0 w 39405"/>
                  <a:gd name="connsiteY3" fmla="*/ 17864 h 43258"/>
                  <a:gd name="connsiteX4" fmla="*/ 16179 w 39405"/>
                  <a:gd name="connsiteY4" fmla="*/ 17864 h 43258"/>
                  <a:gd name="connsiteX5" fmla="*/ 16179 w 39405"/>
                  <a:gd name="connsiteY5" fmla="*/ 0 h 43258"/>
                  <a:gd name="connsiteX6" fmla="*/ 23227 w 39405"/>
                  <a:gd name="connsiteY6" fmla="*/ 0 h 43258"/>
                  <a:gd name="connsiteX7" fmla="*/ 23227 w 39405"/>
                  <a:gd name="connsiteY7" fmla="*/ 17864 h 43258"/>
                  <a:gd name="connsiteX8" fmla="*/ 39405 w 39405"/>
                  <a:gd name="connsiteY8" fmla="*/ 17864 h 43258"/>
                  <a:gd name="connsiteX9" fmla="*/ 39405 w 39405"/>
                  <a:gd name="connsiteY9" fmla="*/ 25395 h 43258"/>
                  <a:gd name="connsiteX10" fmla="*/ 23227 w 39405"/>
                  <a:gd name="connsiteY10" fmla="*/ 25395 h 43258"/>
                  <a:gd name="connsiteX11" fmla="*/ 23227 w 39405"/>
                  <a:gd name="connsiteY11" fmla="*/ 43259 h 43258"/>
                  <a:gd name="connsiteX12" fmla="*/ 16179 w 39405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5" h="43258">
                    <a:moveTo>
                      <a:pt x="16179" y="43259"/>
                    </a:moveTo>
                    <a:lnTo>
                      <a:pt x="16179" y="25395"/>
                    </a:lnTo>
                    <a:lnTo>
                      <a:pt x="0" y="25395"/>
                    </a:lnTo>
                    <a:lnTo>
                      <a:pt x="0" y="17864"/>
                    </a:lnTo>
                    <a:lnTo>
                      <a:pt x="16179" y="17864"/>
                    </a:lnTo>
                    <a:lnTo>
                      <a:pt x="16179" y="0"/>
                    </a:lnTo>
                    <a:lnTo>
                      <a:pt x="23227" y="0"/>
                    </a:lnTo>
                    <a:lnTo>
                      <a:pt x="23227" y="17864"/>
                    </a:lnTo>
                    <a:lnTo>
                      <a:pt x="39405" y="17864"/>
                    </a:lnTo>
                    <a:lnTo>
                      <a:pt x="39405" y="25395"/>
                    </a:lnTo>
                    <a:lnTo>
                      <a:pt x="23227" y="25395"/>
                    </a:lnTo>
                    <a:lnTo>
                      <a:pt x="23227" y="43259"/>
                    </a:lnTo>
                    <a:lnTo>
                      <a:pt x="16179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0" name="Freihandform: Form 49">
                <a:extLst>
                  <a:ext uri="{FF2B5EF4-FFF2-40B4-BE49-F238E27FC236}">
                    <a16:creationId xmlns:a16="http://schemas.microsoft.com/office/drawing/2014/main" id="{D704E6F2-2A97-5BE8-B9CA-CCBCCF52DBE6}"/>
                  </a:ext>
                </a:extLst>
              </p:cNvPr>
              <p:cNvSpPr/>
              <p:nvPr/>
            </p:nvSpPr>
            <p:spPr>
              <a:xfrm>
                <a:off x="3302863" y="1930257"/>
                <a:ext cx="39405" cy="43258"/>
              </a:xfrm>
              <a:custGeom>
                <a:avLst/>
                <a:gdLst>
                  <a:gd name="connsiteX0" fmla="*/ 16339 w 39405"/>
                  <a:gd name="connsiteY0" fmla="*/ 43259 h 43258"/>
                  <a:gd name="connsiteX1" fmla="*/ 16339 w 39405"/>
                  <a:gd name="connsiteY1" fmla="*/ 25395 h 43258"/>
                  <a:gd name="connsiteX2" fmla="*/ 0 w 39405"/>
                  <a:gd name="connsiteY2" fmla="*/ 25395 h 43258"/>
                  <a:gd name="connsiteX3" fmla="*/ 0 w 39405"/>
                  <a:gd name="connsiteY3" fmla="*/ 17864 h 43258"/>
                  <a:gd name="connsiteX4" fmla="*/ 16339 w 39405"/>
                  <a:gd name="connsiteY4" fmla="*/ 17864 h 43258"/>
                  <a:gd name="connsiteX5" fmla="*/ 16339 w 39405"/>
                  <a:gd name="connsiteY5" fmla="*/ 0 h 43258"/>
                  <a:gd name="connsiteX6" fmla="*/ 23227 w 39405"/>
                  <a:gd name="connsiteY6" fmla="*/ 0 h 43258"/>
                  <a:gd name="connsiteX7" fmla="*/ 23227 w 39405"/>
                  <a:gd name="connsiteY7" fmla="*/ 17864 h 43258"/>
                  <a:gd name="connsiteX8" fmla="*/ 39405 w 39405"/>
                  <a:gd name="connsiteY8" fmla="*/ 17864 h 43258"/>
                  <a:gd name="connsiteX9" fmla="*/ 39405 w 39405"/>
                  <a:gd name="connsiteY9" fmla="*/ 25395 h 43258"/>
                  <a:gd name="connsiteX10" fmla="*/ 23227 w 39405"/>
                  <a:gd name="connsiteY10" fmla="*/ 25395 h 43258"/>
                  <a:gd name="connsiteX11" fmla="*/ 23227 w 39405"/>
                  <a:gd name="connsiteY11" fmla="*/ 43259 h 43258"/>
                  <a:gd name="connsiteX12" fmla="*/ 16339 w 39405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5" h="43258">
                    <a:moveTo>
                      <a:pt x="16339" y="43259"/>
                    </a:moveTo>
                    <a:lnTo>
                      <a:pt x="16339" y="25395"/>
                    </a:lnTo>
                    <a:lnTo>
                      <a:pt x="0" y="25395"/>
                    </a:lnTo>
                    <a:lnTo>
                      <a:pt x="0" y="17864"/>
                    </a:lnTo>
                    <a:lnTo>
                      <a:pt x="16339" y="17864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864"/>
                    </a:lnTo>
                    <a:lnTo>
                      <a:pt x="39405" y="17864"/>
                    </a:lnTo>
                    <a:lnTo>
                      <a:pt x="39405" y="25395"/>
                    </a:lnTo>
                    <a:lnTo>
                      <a:pt x="23227" y="25395"/>
                    </a:lnTo>
                    <a:lnTo>
                      <a:pt x="23227" y="43259"/>
                    </a:lnTo>
                    <a:lnTo>
                      <a:pt x="16339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1" name="Freihandform: Form 50">
                <a:extLst>
                  <a:ext uri="{FF2B5EF4-FFF2-40B4-BE49-F238E27FC236}">
                    <a16:creationId xmlns:a16="http://schemas.microsoft.com/office/drawing/2014/main" id="{E34E3184-7DCB-D0CD-E92D-C02E1CD3E87D}"/>
                  </a:ext>
                </a:extLst>
              </p:cNvPr>
              <p:cNvSpPr/>
              <p:nvPr/>
            </p:nvSpPr>
            <p:spPr>
              <a:xfrm>
                <a:off x="3326731" y="1943742"/>
                <a:ext cx="39405" cy="43083"/>
              </a:xfrm>
              <a:custGeom>
                <a:avLst/>
                <a:gdLst>
                  <a:gd name="connsiteX0" fmla="*/ 16179 w 39405"/>
                  <a:gd name="connsiteY0" fmla="*/ 43084 h 43083"/>
                  <a:gd name="connsiteX1" fmla="*/ 16179 w 39405"/>
                  <a:gd name="connsiteY1" fmla="*/ 25220 h 43083"/>
                  <a:gd name="connsiteX2" fmla="*/ 0 w 39405"/>
                  <a:gd name="connsiteY2" fmla="*/ 25220 h 43083"/>
                  <a:gd name="connsiteX3" fmla="*/ 0 w 39405"/>
                  <a:gd name="connsiteY3" fmla="*/ 17689 h 43083"/>
                  <a:gd name="connsiteX4" fmla="*/ 16179 w 39405"/>
                  <a:gd name="connsiteY4" fmla="*/ 17689 h 43083"/>
                  <a:gd name="connsiteX5" fmla="*/ 16179 w 39405"/>
                  <a:gd name="connsiteY5" fmla="*/ 0 h 43083"/>
                  <a:gd name="connsiteX6" fmla="*/ 23227 w 39405"/>
                  <a:gd name="connsiteY6" fmla="*/ 0 h 43083"/>
                  <a:gd name="connsiteX7" fmla="*/ 23227 w 39405"/>
                  <a:gd name="connsiteY7" fmla="*/ 17689 h 43083"/>
                  <a:gd name="connsiteX8" fmla="*/ 39405 w 39405"/>
                  <a:gd name="connsiteY8" fmla="*/ 17689 h 43083"/>
                  <a:gd name="connsiteX9" fmla="*/ 39405 w 39405"/>
                  <a:gd name="connsiteY9" fmla="*/ 25220 h 43083"/>
                  <a:gd name="connsiteX10" fmla="*/ 23227 w 39405"/>
                  <a:gd name="connsiteY10" fmla="*/ 25220 h 43083"/>
                  <a:gd name="connsiteX11" fmla="*/ 23227 w 39405"/>
                  <a:gd name="connsiteY11" fmla="*/ 43084 h 43083"/>
                  <a:gd name="connsiteX12" fmla="*/ 16179 w 3940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5" h="43083">
                    <a:moveTo>
                      <a:pt x="16179" y="43084"/>
                    </a:moveTo>
                    <a:lnTo>
                      <a:pt x="1617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9" y="17689"/>
                    </a:lnTo>
                    <a:lnTo>
                      <a:pt x="1617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17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2" name="Freihandform: Form 51">
                <a:extLst>
                  <a:ext uri="{FF2B5EF4-FFF2-40B4-BE49-F238E27FC236}">
                    <a16:creationId xmlns:a16="http://schemas.microsoft.com/office/drawing/2014/main" id="{CE9C3B29-23CF-9702-D276-2332E86BC787}"/>
                  </a:ext>
                </a:extLst>
              </p:cNvPr>
              <p:cNvSpPr/>
              <p:nvPr/>
            </p:nvSpPr>
            <p:spPr>
              <a:xfrm>
                <a:off x="3359568" y="1943742"/>
                <a:ext cx="39405" cy="43083"/>
              </a:xfrm>
              <a:custGeom>
                <a:avLst/>
                <a:gdLst>
                  <a:gd name="connsiteX0" fmla="*/ 16179 w 39405"/>
                  <a:gd name="connsiteY0" fmla="*/ 43084 h 43083"/>
                  <a:gd name="connsiteX1" fmla="*/ 16179 w 39405"/>
                  <a:gd name="connsiteY1" fmla="*/ 25220 h 43083"/>
                  <a:gd name="connsiteX2" fmla="*/ 0 w 39405"/>
                  <a:gd name="connsiteY2" fmla="*/ 25220 h 43083"/>
                  <a:gd name="connsiteX3" fmla="*/ 0 w 39405"/>
                  <a:gd name="connsiteY3" fmla="*/ 17689 h 43083"/>
                  <a:gd name="connsiteX4" fmla="*/ 16179 w 39405"/>
                  <a:gd name="connsiteY4" fmla="*/ 17689 h 43083"/>
                  <a:gd name="connsiteX5" fmla="*/ 16179 w 39405"/>
                  <a:gd name="connsiteY5" fmla="*/ 0 h 43083"/>
                  <a:gd name="connsiteX6" fmla="*/ 23066 w 39405"/>
                  <a:gd name="connsiteY6" fmla="*/ 0 h 43083"/>
                  <a:gd name="connsiteX7" fmla="*/ 23066 w 39405"/>
                  <a:gd name="connsiteY7" fmla="*/ 17689 h 43083"/>
                  <a:gd name="connsiteX8" fmla="*/ 39405 w 39405"/>
                  <a:gd name="connsiteY8" fmla="*/ 17689 h 43083"/>
                  <a:gd name="connsiteX9" fmla="*/ 39405 w 39405"/>
                  <a:gd name="connsiteY9" fmla="*/ 25220 h 43083"/>
                  <a:gd name="connsiteX10" fmla="*/ 23066 w 39405"/>
                  <a:gd name="connsiteY10" fmla="*/ 25220 h 43083"/>
                  <a:gd name="connsiteX11" fmla="*/ 23066 w 39405"/>
                  <a:gd name="connsiteY11" fmla="*/ 43084 h 43083"/>
                  <a:gd name="connsiteX12" fmla="*/ 16179 w 3940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5" h="43083">
                    <a:moveTo>
                      <a:pt x="16179" y="43084"/>
                    </a:moveTo>
                    <a:lnTo>
                      <a:pt x="1617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9" y="17689"/>
                    </a:lnTo>
                    <a:lnTo>
                      <a:pt x="16179" y="0"/>
                    </a:lnTo>
                    <a:lnTo>
                      <a:pt x="23066" y="0"/>
                    </a:lnTo>
                    <a:lnTo>
                      <a:pt x="23066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066" y="25220"/>
                    </a:lnTo>
                    <a:lnTo>
                      <a:pt x="23066" y="43084"/>
                    </a:lnTo>
                    <a:lnTo>
                      <a:pt x="1617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3" name="Freihandform: Form 52">
                <a:extLst>
                  <a:ext uri="{FF2B5EF4-FFF2-40B4-BE49-F238E27FC236}">
                    <a16:creationId xmlns:a16="http://schemas.microsoft.com/office/drawing/2014/main" id="{7BE38507-C966-BDA0-58F8-0CB2B6E614C7}"/>
                  </a:ext>
                </a:extLst>
              </p:cNvPr>
              <p:cNvSpPr/>
              <p:nvPr/>
            </p:nvSpPr>
            <p:spPr>
              <a:xfrm>
                <a:off x="3413070" y="1943742"/>
                <a:ext cx="39405" cy="43083"/>
              </a:xfrm>
              <a:custGeom>
                <a:avLst/>
                <a:gdLst>
                  <a:gd name="connsiteX0" fmla="*/ 16339 w 39405"/>
                  <a:gd name="connsiteY0" fmla="*/ 43084 h 43083"/>
                  <a:gd name="connsiteX1" fmla="*/ 16339 w 39405"/>
                  <a:gd name="connsiteY1" fmla="*/ 25220 h 43083"/>
                  <a:gd name="connsiteX2" fmla="*/ 0 w 39405"/>
                  <a:gd name="connsiteY2" fmla="*/ 25220 h 43083"/>
                  <a:gd name="connsiteX3" fmla="*/ 0 w 39405"/>
                  <a:gd name="connsiteY3" fmla="*/ 17689 h 43083"/>
                  <a:gd name="connsiteX4" fmla="*/ 16339 w 39405"/>
                  <a:gd name="connsiteY4" fmla="*/ 17689 h 43083"/>
                  <a:gd name="connsiteX5" fmla="*/ 16339 w 39405"/>
                  <a:gd name="connsiteY5" fmla="*/ 0 h 43083"/>
                  <a:gd name="connsiteX6" fmla="*/ 23227 w 39405"/>
                  <a:gd name="connsiteY6" fmla="*/ 0 h 43083"/>
                  <a:gd name="connsiteX7" fmla="*/ 23227 w 39405"/>
                  <a:gd name="connsiteY7" fmla="*/ 17689 h 43083"/>
                  <a:gd name="connsiteX8" fmla="*/ 39405 w 39405"/>
                  <a:gd name="connsiteY8" fmla="*/ 17689 h 43083"/>
                  <a:gd name="connsiteX9" fmla="*/ 39405 w 39405"/>
                  <a:gd name="connsiteY9" fmla="*/ 25220 h 43083"/>
                  <a:gd name="connsiteX10" fmla="*/ 23227 w 39405"/>
                  <a:gd name="connsiteY10" fmla="*/ 25220 h 43083"/>
                  <a:gd name="connsiteX11" fmla="*/ 23227 w 39405"/>
                  <a:gd name="connsiteY11" fmla="*/ 43084 h 43083"/>
                  <a:gd name="connsiteX12" fmla="*/ 16339 w 3940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5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4" name="Freihandform: Form 53">
                <a:extLst>
                  <a:ext uri="{FF2B5EF4-FFF2-40B4-BE49-F238E27FC236}">
                    <a16:creationId xmlns:a16="http://schemas.microsoft.com/office/drawing/2014/main" id="{EBCEF83C-DE47-0DC3-B2AA-057ED704345B}"/>
                  </a:ext>
                </a:extLst>
              </p:cNvPr>
              <p:cNvSpPr/>
              <p:nvPr/>
            </p:nvSpPr>
            <p:spPr>
              <a:xfrm>
                <a:off x="3425083" y="1943742"/>
                <a:ext cx="39405" cy="43083"/>
              </a:xfrm>
              <a:custGeom>
                <a:avLst/>
                <a:gdLst>
                  <a:gd name="connsiteX0" fmla="*/ 16178 w 39405"/>
                  <a:gd name="connsiteY0" fmla="*/ 43084 h 43083"/>
                  <a:gd name="connsiteX1" fmla="*/ 16178 w 39405"/>
                  <a:gd name="connsiteY1" fmla="*/ 25220 h 43083"/>
                  <a:gd name="connsiteX2" fmla="*/ 0 w 39405"/>
                  <a:gd name="connsiteY2" fmla="*/ 25220 h 43083"/>
                  <a:gd name="connsiteX3" fmla="*/ 0 w 39405"/>
                  <a:gd name="connsiteY3" fmla="*/ 17689 h 43083"/>
                  <a:gd name="connsiteX4" fmla="*/ 16178 w 39405"/>
                  <a:gd name="connsiteY4" fmla="*/ 17689 h 43083"/>
                  <a:gd name="connsiteX5" fmla="*/ 16178 w 39405"/>
                  <a:gd name="connsiteY5" fmla="*/ 0 h 43083"/>
                  <a:gd name="connsiteX6" fmla="*/ 23066 w 39405"/>
                  <a:gd name="connsiteY6" fmla="*/ 0 h 43083"/>
                  <a:gd name="connsiteX7" fmla="*/ 23066 w 39405"/>
                  <a:gd name="connsiteY7" fmla="*/ 17689 h 43083"/>
                  <a:gd name="connsiteX8" fmla="*/ 39405 w 39405"/>
                  <a:gd name="connsiteY8" fmla="*/ 17689 h 43083"/>
                  <a:gd name="connsiteX9" fmla="*/ 39405 w 39405"/>
                  <a:gd name="connsiteY9" fmla="*/ 25220 h 43083"/>
                  <a:gd name="connsiteX10" fmla="*/ 23066 w 39405"/>
                  <a:gd name="connsiteY10" fmla="*/ 25220 h 43083"/>
                  <a:gd name="connsiteX11" fmla="*/ 23066 w 39405"/>
                  <a:gd name="connsiteY11" fmla="*/ 43084 h 43083"/>
                  <a:gd name="connsiteX12" fmla="*/ 16178 w 3940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5" h="43083">
                    <a:moveTo>
                      <a:pt x="16178" y="43084"/>
                    </a:moveTo>
                    <a:lnTo>
                      <a:pt x="16178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8" y="17689"/>
                    </a:lnTo>
                    <a:lnTo>
                      <a:pt x="16178" y="0"/>
                    </a:lnTo>
                    <a:lnTo>
                      <a:pt x="23066" y="0"/>
                    </a:lnTo>
                    <a:lnTo>
                      <a:pt x="23066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066" y="25220"/>
                    </a:lnTo>
                    <a:lnTo>
                      <a:pt x="23066" y="43084"/>
                    </a:lnTo>
                    <a:lnTo>
                      <a:pt x="16178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5" name="Freihandform: Form 54">
                <a:extLst>
                  <a:ext uri="{FF2B5EF4-FFF2-40B4-BE49-F238E27FC236}">
                    <a16:creationId xmlns:a16="http://schemas.microsoft.com/office/drawing/2014/main" id="{CEC86035-A0D2-49CF-5835-66291E9139EB}"/>
                  </a:ext>
                </a:extLst>
              </p:cNvPr>
              <p:cNvSpPr/>
              <p:nvPr/>
            </p:nvSpPr>
            <p:spPr>
              <a:xfrm>
                <a:off x="3454717" y="1953024"/>
                <a:ext cx="39565" cy="43083"/>
              </a:xfrm>
              <a:custGeom>
                <a:avLst/>
                <a:gdLst>
                  <a:gd name="connsiteX0" fmla="*/ 16339 w 39565"/>
                  <a:gd name="connsiteY0" fmla="*/ 43084 h 43083"/>
                  <a:gd name="connsiteX1" fmla="*/ 16339 w 39565"/>
                  <a:gd name="connsiteY1" fmla="*/ 25220 h 43083"/>
                  <a:gd name="connsiteX2" fmla="*/ 0 w 39565"/>
                  <a:gd name="connsiteY2" fmla="*/ 25220 h 43083"/>
                  <a:gd name="connsiteX3" fmla="*/ 0 w 39565"/>
                  <a:gd name="connsiteY3" fmla="*/ 17689 h 43083"/>
                  <a:gd name="connsiteX4" fmla="*/ 16339 w 39565"/>
                  <a:gd name="connsiteY4" fmla="*/ 17689 h 43083"/>
                  <a:gd name="connsiteX5" fmla="*/ 16339 w 39565"/>
                  <a:gd name="connsiteY5" fmla="*/ 0 h 43083"/>
                  <a:gd name="connsiteX6" fmla="*/ 23227 w 39565"/>
                  <a:gd name="connsiteY6" fmla="*/ 0 h 43083"/>
                  <a:gd name="connsiteX7" fmla="*/ 23227 w 39565"/>
                  <a:gd name="connsiteY7" fmla="*/ 17689 h 43083"/>
                  <a:gd name="connsiteX8" fmla="*/ 39565 w 39565"/>
                  <a:gd name="connsiteY8" fmla="*/ 17689 h 43083"/>
                  <a:gd name="connsiteX9" fmla="*/ 39565 w 39565"/>
                  <a:gd name="connsiteY9" fmla="*/ 25220 h 43083"/>
                  <a:gd name="connsiteX10" fmla="*/ 23227 w 39565"/>
                  <a:gd name="connsiteY10" fmla="*/ 25220 h 43083"/>
                  <a:gd name="connsiteX11" fmla="*/ 23227 w 39565"/>
                  <a:gd name="connsiteY11" fmla="*/ 43084 h 43083"/>
                  <a:gd name="connsiteX12" fmla="*/ 16339 w 3956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565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565" y="17689"/>
                    </a:lnTo>
                    <a:lnTo>
                      <a:pt x="3956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6" name="Freihandform: Form 55">
                <a:extLst>
                  <a:ext uri="{FF2B5EF4-FFF2-40B4-BE49-F238E27FC236}">
                    <a16:creationId xmlns:a16="http://schemas.microsoft.com/office/drawing/2014/main" id="{194AB43A-830E-29B6-7EC8-05D102A23E2E}"/>
                  </a:ext>
                </a:extLst>
              </p:cNvPr>
              <p:cNvSpPr/>
              <p:nvPr/>
            </p:nvSpPr>
            <p:spPr>
              <a:xfrm>
                <a:off x="3538173" y="1957753"/>
                <a:ext cx="39405" cy="43258"/>
              </a:xfrm>
              <a:custGeom>
                <a:avLst/>
                <a:gdLst>
                  <a:gd name="connsiteX0" fmla="*/ 16339 w 39405"/>
                  <a:gd name="connsiteY0" fmla="*/ 43259 h 43258"/>
                  <a:gd name="connsiteX1" fmla="*/ 16339 w 39405"/>
                  <a:gd name="connsiteY1" fmla="*/ 25220 h 43258"/>
                  <a:gd name="connsiteX2" fmla="*/ 0 w 39405"/>
                  <a:gd name="connsiteY2" fmla="*/ 25220 h 43258"/>
                  <a:gd name="connsiteX3" fmla="*/ 0 w 39405"/>
                  <a:gd name="connsiteY3" fmla="*/ 17864 h 43258"/>
                  <a:gd name="connsiteX4" fmla="*/ 16339 w 39405"/>
                  <a:gd name="connsiteY4" fmla="*/ 17864 h 43258"/>
                  <a:gd name="connsiteX5" fmla="*/ 16339 w 39405"/>
                  <a:gd name="connsiteY5" fmla="*/ 0 h 43258"/>
                  <a:gd name="connsiteX6" fmla="*/ 23227 w 39405"/>
                  <a:gd name="connsiteY6" fmla="*/ 0 h 43258"/>
                  <a:gd name="connsiteX7" fmla="*/ 23227 w 39405"/>
                  <a:gd name="connsiteY7" fmla="*/ 17864 h 43258"/>
                  <a:gd name="connsiteX8" fmla="*/ 39405 w 39405"/>
                  <a:gd name="connsiteY8" fmla="*/ 17864 h 43258"/>
                  <a:gd name="connsiteX9" fmla="*/ 39405 w 39405"/>
                  <a:gd name="connsiteY9" fmla="*/ 25220 h 43258"/>
                  <a:gd name="connsiteX10" fmla="*/ 23227 w 39405"/>
                  <a:gd name="connsiteY10" fmla="*/ 25220 h 43258"/>
                  <a:gd name="connsiteX11" fmla="*/ 23227 w 39405"/>
                  <a:gd name="connsiteY11" fmla="*/ 43259 h 43258"/>
                  <a:gd name="connsiteX12" fmla="*/ 16339 w 39405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5" h="43258">
                    <a:moveTo>
                      <a:pt x="16339" y="43259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864"/>
                    </a:lnTo>
                    <a:lnTo>
                      <a:pt x="16339" y="17864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864"/>
                    </a:lnTo>
                    <a:lnTo>
                      <a:pt x="39405" y="17864"/>
                    </a:lnTo>
                    <a:lnTo>
                      <a:pt x="39405" y="25220"/>
                    </a:lnTo>
                    <a:lnTo>
                      <a:pt x="23227" y="25220"/>
                    </a:lnTo>
                    <a:lnTo>
                      <a:pt x="23227" y="43259"/>
                    </a:lnTo>
                    <a:lnTo>
                      <a:pt x="16339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7" name="Freihandform: Form 56">
                <a:extLst>
                  <a:ext uri="{FF2B5EF4-FFF2-40B4-BE49-F238E27FC236}">
                    <a16:creationId xmlns:a16="http://schemas.microsoft.com/office/drawing/2014/main" id="{783C85A0-62F4-7246-0C8E-7F67E1EDECB3}"/>
                  </a:ext>
                </a:extLst>
              </p:cNvPr>
              <p:cNvSpPr/>
              <p:nvPr/>
            </p:nvSpPr>
            <p:spPr>
              <a:xfrm>
                <a:off x="3582864" y="1967035"/>
                <a:ext cx="39565" cy="43083"/>
              </a:xfrm>
              <a:custGeom>
                <a:avLst/>
                <a:gdLst>
                  <a:gd name="connsiteX0" fmla="*/ 16339 w 39565"/>
                  <a:gd name="connsiteY0" fmla="*/ 43084 h 43083"/>
                  <a:gd name="connsiteX1" fmla="*/ 16339 w 39565"/>
                  <a:gd name="connsiteY1" fmla="*/ 25220 h 43083"/>
                  <a:gd name="connsiteX2" fmla="*/ 0 w 39565"/>
                  <a:gd name="connsiteY2" fmla="*/ 25220 h 43083"/>
                  <a:gd name="connsiteX3" fmla="*/ 0 w 39565"/>
                  <a:gd name="connsiteY3" fmla="*/ 17689 h 43083"/>
                  <a:gd name="connsiteX4" fmla="*/ 16339 w 39565"/>
                  <a:gd name="connsiteY4" fmla="*/ 17689 h 43083"/>
                  <a:gd name="connsiteX5" fmla="*/ 16339 w 39565"/>
                  <a:gd name="connsiteY5" fmla="*/ 0 h 43083"/>
                  <a:gd name="connsiteX6" fmla="*/ 23227 w 39565"/>
                  <a:gd name="connsiteY6" fmla="*/ 0 h 43083"/>
                  <a:gd name="connsiteX7" fmla="*/ 23227 w 39565"/>
                  <a:gd name="connsiteY7" fmla="*/ 17689 h 43083"/>
                  <a:gd name="connsiteX8" fmla="*/ 39565 w 39565"/>
                  <a:gd name="connsiteY8" fmla="*/ 17689 h 43083"/>
                  <a:gd name="connsiteX9" fmla="*/ 39565 w 39565"/>
                  <a:gd name="connsiteY9" fmla="*/ 25220 h 43083"/>
                  <a:gd name="connsiteX10" fmla="*/ 23227 w 39565"/>
                  <a:gd name="connsiteY10" fmla="*/ 25220 h 43083"/>
                  <a:gd name="connsiteX11" fmla="*/ 23227 w 39565"/>
                  <a:gd name="connsiteY11" fmla="*/ 43084 h 43083"/>
                  <a:gd name="connsiteX12" fmla="*/ 16339 w 3956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565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565" y="17689"/>
                    </a:lnTo>
                    <a:lnTo>
                      <a:pt x="3956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8" name="Freihandform: Form 57">
                <a:extLst>
                  <a:ext uri="{FF2B5EF4-FFF2-40B4-BE49-F238E27FC236}">
                    <a16:creationId xmlns:a16="http://schemas.microsoft.com/office/drawing/2014/main" id="{90F8E064-E430-A8C3-BD1C-5146DFF8B2C8}"/>
                  </a:ext>
                </a:extLst>
              </p:cNvPr>
              <p:cNvSpPr/>
              <p:nvPr/>
            </p:nvSpPr>
            <p:spPr>
              <a:xfrm>
                <a:off x="3618585" y="1980871"/>
                <a:ext cx="39405" cy="43258"/>
              </a:xfrm>
              <a:custGeom>
                <a:avLst/>
                <a:gdLst>
                  <a:gd name="connsiteX0" fmla="*/ 16339 w 39405"/>
                  <a:gd name="connsiteY0" fmla="*/ 43259 h 43258"/>
                  <a:gd name="connsiteX1" fmla="*/ 16339 w 39405"/>
                  <a:gd name="connsiteY1" fmla="*/ 25395 h 43258"/>
                  <a:gd name="connsiteX2" fmla="*/ 0 w 39405"/>
                  <a:gd name="connsiteY2" fmla="*/ 25395 h 43258"/>
                  <a:gd name="connsiteX3" fmla="*/ 0 w 39405"/>
                  <a:gd name="connsiteY3" fmla="*/ 17864 h 43258"/>
                  <a:gd name="connsiteX4" fmla="*/ 16339 w 39405"/>
                  <a:gd name="connsiteY4" fmla="*/ 17864 h 43258"/>
                  <a:gd name="connsiteX5" fmla="*/ 16339 w 39405"/>
                  <a:gd name="connsiteY5" fmla="*/ 0 h 43258"/>
                  <a:gd name="connsiteX6" fmla="*/ 23227 w 39405"/>
                  <a:gd name="connsiteY6" fmla="*/ 0 h 43258"/>
                  <a:gd name="connsiteX7" fmla="*/ 23227 w 39405"/>
                  <a:gd name="connsiteY7" fmla="*/ 17864 h 43258"/>
                  <a:gd name="connsiteX8" fmla="*/ 39405 w 39405"/>
                  <a:gd name="connsiteY8" fmla="*/ 17864 h 43258"/>
                  <a:gd name="connsiteX9" fmla="*/ 39405 w 39405"/>
                  <a:gd name="connsiteY9" fmla="*/ 25395 h 43258"/>
                  <a:gd name="connsiteX10" fmla="*/ 23227 w 39405"/>
                  <a:gd name="connsiteY10" fmla="*/ 25395 h 43258"/>
                  <a:gd name="connsiteX11" fmla="*/ 23227 w 39405"/>
                  <a:gd name="connsiteY11" fmla="*/ 43259 h 43258"/>
                  <a:gd name="connsiteX12" fmla="*/ 16339 w 39405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5" h="43258">
                    <a:moveTo>
                      <a:pt x="16339" y="43259"/>
                    </a:moveTo>
                    <a:lnTo>
                      <a:pt x="16339" y="25395"/>
                    </a:lnTo>
                    <a:lnTo>
                      <a:pt x="0" y="25395"/>
                    </a:lnTo>
                    <a:lnTo>
                      <a:pt x="0" y="17864"/>
                    </a:lnTo>
                    <a:lnTo>
                      <a:pt x="16339" y="17864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864"/>
                    </a:lnTo>
                    <a:lnTo>
                      <a:pt x="39405" y="17864"/>
                    </a:lnTo>
                    <a:lnTo>
                      <a:pt x="39405" y="25395"/>
                    </a:lnTo>
                    <a:lnTo>
                      <a:pt x="23227" y="25395"/>
                    </a:lnTo>
                    <a:lnTo>
                      <a:pt x="23227" y="43259"/>
                    </a:lnTo>
                    <a:lnTo>
                      <a:pt x="16339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9" name="Freihandform: Form 58">
                <a:extLst>
                  <a:ext uri="{FF2B5EF4-FFF2-40B4-BE49-F238E27FC236}">
                    <a16:creationId xmlns:a16="http://schemas.microsoft.com/office/drawing/2014/main" id="{4440E74D-5631-8AB1-B151-3F6FACF35CD0}"/>
                  </a:ext>
                </a:extLst>
              </p:cNvPr>
              <p:cNvSpPr/>
              <p:nvPr/>
            </p:nvSpPr>
            <p:spPr>
              <a:xfrm>
                <a:off x="3627555" y="1980871"/>
                <a:ext cx="39405" cy="43258"/>
              </a:xfrm>
              <a:custGeom>
                <a:avLst/>
                <a:gdLst>
                  <a:gd name="connsiteX0" fmla="*/ 16339 w 39405"/>
                  <a:gd name="connsiteY0" fmla="*/ 43259 h 43258"/>
                  <a:gd name="connsiteX1" fmla="*/ 16339 w 39405"/>
                  <a:gd name="connsiteY1" fmla="*/ 25395 h 43258"/>
                  <a:gd name="connsiteX2" fmla="*/ 0 w 39405"/>
                  <a:gd name="connsiteY2" fmla="*/ 25395 h 43258"/>
                  <a:gd name="connsiteX3" fmla="*/ 0 w 39405"/>
                  <a:gd name="connsiteY3" fmla="*/ 17864 h 43258"/>
                  <a:gd name="connsiteX4" fmla="*/ 16339 w 39405"/>
                  <a:gd name="connsiteY4" fmla="*/ 17864 h 43258"/>
                  <a:gd name="connsiteX5" fmla="*/ 16339 w 39405"/>
                  <a:gd name="connsiteY5" fmla="*/ 0 h 43258"/>
                  <a:gd name="connsiteX6" fmla="*/ 23227 w 39405"/>
                  <a:gd name="connsiteY6" fmla="*/ 0 h 43258"/>
                  <a:gd name="connsiteX7" fmla="*/ 23227 w 39405"/>
                  <a:gd name="connsiteY7" fmla="*/ 17864 h 43258"/>
                  <a:gd name="connsiteX8" fmla="*/ 39405 w 39405"/>
                  <a:gd name="connsiteY8" fmla="*/ 17864 h 43258"/>
                  <a:gd name="connsiteX9" fmla="*/ 39405 w 39405"/>
                  <a:gd name="connsiteY9" fmla="*/ 25395 h 43258"/>
                  <a:gd name="connsiteX10" fmla="*/ 23227 w 39405"/>
                  <a:gd name="connsiteY10" fmla="*/ 25395 h 43258"/>
                  <a:gd name="connsiteX11" fmla="*/ 23227 w 39405"/>
                  <a:gd name="connsiteY11" fmla="*/ 43259 h 43258"/>
                  <a:gd name="connsiteX12" fmla="*/ 16339 w 39405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5" h="43258">
                    <a:moveTo>
                      <a:pt x="16339" y="43259"/>
                    </a:moveTo>
                    <a:lnTo>
                      <a:pt x="16339" y="25395"/>
                    </a:lnTo>
                    <a:lnTo>
                      <a:pt x="0" y="25395"/>
                    </a:lnTo>
                    <a:lnTo>
                      <a:pt x="0" y="17864"/>
                    </a:lnTo>
                    <a:lnTo>
                      <a:pt x="16339" y="17864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864"/>
                    </a:lnTo>
                    <a:lnTo>
                      <a:pt x="39405" y="17864"/>
                    </a:lnTo>
                    <a:lnTo>
                      <a:pt x="39405" y="25395"/>
                    </a:lnTo>
                    <a:lnTo>
                      <a:pt x="23227" y="25395"/>
                    </a:lnTo>
                    <a:lnTo>
                      <a:pt x="23227" y="43259"/>
                    </a:lnTo>
                    <a:lnTo>
                      <a:pt x="16339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0" name="Freihandform: Form 59">
                <a:extLst>
                  <a:ext uri="{FF2B5EF4-FFF2-40B4-BE49-F238E27FC236}">
                    <a16:creationId xmlns:a16="http://schemas.microsoft.com/office/drawing/2014/main" id="{645FC60D-1FED-CFF9-5439-817574193E16}"/>
                  </a:ext>
                </a:extLst>
              </p:cNvPr>
              <p:cNvSpPr/>
              <p:nvPr/>
            </p:nvSpPr>
            <p:spPr>
              <a:xfrm>
                <a:off x="3719981" y="1985950"/>
                <a:ext cx="39405" cy="43258"/>
              </a:xfrm>
              <a:custGeom>
                <a:avLst/>
                <a:gdLst>
                  <a:gd name="connsiteX0" fmla="*/ 16179 w 39405"/>
                  <a:gd name="connsiteY0" fmla="*/ 43259 h 43258"/>
                  <a:gd name="connsiteX1" fmla="*/ 16179 w 39405"/>
                  <a:gd name="connsiteY1" fmla="*/ 25395 h 43258"/>
                  <a:gd name="connsiteX2" fmla="*/ 0 w 39405"/>
                  <a:gd name="connsiteY2" fmla="*/ 25395 h 43258"/>
                  <a:gd name="connsiteX3" fmla="*/ 0 w 39405"/>
                  <a:gd name="connsiteY3" fmla="*/ 17864 h 43258"/>
                  <a:gd name="connsiteX4" fmla="*/ 16179 w 39405"/>
                  <a:gd name="connsiteY4" fmla="*/ 17864 h 43258"/>
                  <a:gd name="connsiteX5" fmla="*/ 16179 w 39405"/>
                  <a:gd name="connsiteY5" fmla="*/ 0 h 43258"/>
                  <a:gd name="connsiteX6" fmla="*/ 23066 w 39405"/>
                  <a:gd name="connsiteY6" fmla="*/ 0 h 43258"/>
                  <a:gd name="connsiteX7" fmla="*/ 23066 w 39405"/>
                  <a:gd name="connsiteY7" fmla="*/ 17864 h 43258"/>
                  <a:gd name="connsiteX8" fmla="*/ 39405 w 39405"/>
                  <a:gd name="connsiteY8" fmla="*/ 17864 h 43258"/>
                  <a:gd name="connsiteX9" fmla="*/ 39405 w 39405"/>
                  <a:gd name="connsiteY9" fmla="*/ 25395 h 43258"/>
                  <a:gd name="connsiteX10" fmla="*/ 23066 w 39405"/>
                  <a:gd name="connsiteY10" fmla="*/ 25395 h 43258"/>
                  <a:gd name="connsiteX11" fmla="*/ 23066 w 39405"/>
                  <a:gd name="connsiteY11" fmla="*/ 43259 h 43258"/>
                  <a:gd name="connsiteX12" fmla="*/ 16179 w 39405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5" h="43258">
                    <a:moveTo>
                      <a:pt x="16179" y="43259"/>
                    </a:moveTo>
                    <a:lnTo>
                      <a:pt x="16179" y="25395"/>
                    </a:lnTo>
                    <a:lnTo>
                      <a:pt x="0" y="25395"/>
                    </a:lnTo>
                    <a:lnTo>
                      <a:pt x="0" y="17864"/>
                    </a:lnTo>
                    <a:lnTo>
                      <a:pt x="16179" y="17864"/>
                    </a:lnTo>
                    <a:lnTo>
                      <a:pt x="16179" y="0"/>
                    </a:lnTo>
                    <a:lnTo>
                      <a:pt x="23066" y="0"/>
                    </a:lnTo>
                    <a:lnTo>
                      <a:pt x="23066" y="17864"/>
                    </a:lnTo>
                    <a:lnTo>
                      <a:pt x="39405" y="17864"/>
                    </a:lnTo>
                    <a:lnTo>
                      <a:pt x="39405" y="25395"/>
                    </a:lnTo>
                    <a:lnTo>
                      <a:pt x="23066" y="25395"/>
                    </a:lnTo>
                    <a:lnTo>
                      <a:pt x="23066" y="43259"/>
                    </a:lnTo>
                    <a:lnTo>
                      <a:pt x="16179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1" name="Freihandform: Form 60">
                <a:extLst>
                  <a:ext uri="{FF2B5EF4-FFF2-40B4-BE49-F238E27FC236}">
                    <a16:creationId xmlns:a16="http://schemas.microsoft.com/office/drawing/2014/main" id="{D1ED4CEB-70E9-4F8C-B44D-C195718E312C}"/>
                  </a:ext>
                </a:extLst>
              </p:cNvPr>
              <p:cNvSpPr/>
              <p:nvPr/>
            </p:nvSpPr>
            <p:spPr>
              <a:xfrm>
                <a:off x="3794306" y="1990329"/>
                <a:ext cx="39565" cy="43258"/>
              </a:xfrm>
              <a:custGeom>
                <a:avLst/>
                <a:gdLst>
                  <a:gd name="connsiteX0" fmla="*/ 16339 w 39565"/>
                  <a:gd name="connsiteY0" fmla="*/ 43259 h 43258"/>
                  <a:gd name="connsiteX1" fmla="*/ 16339 w 39565"/>
                  <a:gd name="connsiteY1" fmla="*/ 25395 h 43258"/>
                  <a:gd name="connsiteX2" fmla="*/ 0 w 39565"/>
                  <a:gd name="connsiteY2" fmla="*/ 25395 h 43258"/>
                  <a:gd name="connsiteX3" fmla="*/ 0 w 39565"/>
                  <a:gd name="connsiteY3" fmla="*/ 17864 h 43258"/>
                  <a:gd name="connsiteX4" fmla="*/ 16339 w 39565"/>
                  <a:gd name="connsiteY4" fmla="*/ 17864 h 43258"/>
                  <a:gd name="connsiteX5" fmla="*/ 16339 w 39565"/>
                  <a:gd name="connsiteY5" fmla="*/ 0 h 43258"/>
                  <a:gd name="connsiteX6" fmla="*/ 23227 w 39565"/>
                  <a:gd name="connsiteY6" fmla="*/ 0 h 43258"/>
                  <a:gd name="connsiteX7" fmla="*/ 23227 w 39565"/>
                  <a:gd name="connsiteY7" fmla="*/ 17864 h 43258"/>
                  <a:gd name="connsiteX8" fmla="*/ 39565 w 39565"/>
                  <a:gd name="connsiteY8" fmla="*/ 17864 h 43258"/>
                  <a:gd name="connsiteX9" fmla="*/ 39565 w 39565"/>
                  <a:gd name="connsiteY9" fmla="*/ 25395 h 43258"/>
                  <a:gd name="connsiteX10" fmla="*/ 23227 w 39565"/>
                  <a:gd name="connsiteY10" fmla="*/ 25395 h 43258"/>
                  <a:gd name="connsiteX11" fmla="*/ 23227 w 39565"/>
                  <a:gd name="connsiteY11" fmla="*/ 43259 h 43258"/>
                  <a:gd name="connsiteX12" fmla="*/ 16339 w 39565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565" h="43258">
                    <a:moveTo>
                      <a:pt x="16339" y="43259"/>
                    </a:moveTo>
                    <a:lnTo>
                      <a:pt x="16339" y="25395"/>
                    </a:lnTo>
                    <a:lnTo>
                      <a:pt x="0" y="25395"/>
                    </a:lnTo>
                    <a:lnTo>
                      <a:pt x="0" y="17864"/>
                    </a:lnTo>
                    <a:lnTo>
                      <a:pt x="16339" y="17864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864"/>
                    </a:lnTo>
                    <a:lnTo>
                      <a:pt x="39565" y="17864"/>
                    </a:lnTo>
                    <a:lnTo>
                      <a:pt x="39565" y="25395"/>
                    </a:lnTo>
                    <a:lnTo>
                      <a:pt x="23227" y="25395"/>
                    </a:lnTo>
                    <a:lnTo>
                      <a:pt x="23227" y="43259"/>
                    </a:lnTo>
                    <a:lnTo>
                      <a:pt x="16339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2" name="Freihandform: Form 61">
                <a:extLst>
                  <a:ext uri="{FF2B5EF4-FFF2-40B4-BE49-F238E27FC236}">
                    <a16:creationId xmlns:a16="http://schemas.microsoft.com/office/drawing/2014/main" id="{9F324CCD-5B03-8A39-8CAF-77DF848516E8}"/>
                  </a:ext>
                </a:extLst>
              </p:cNvPr>
              <p:cNvSpPr/>
              <p:nvPr/>
            </p:nvSpPr>
            <p:spPr>
              <a:xfrm>
                <a:off x="3815130" y="1990329"/>
                <a:ext cx="39565" cy="43258"/>
              </a:xfrm>
              <a:custGeom>
                <a:avLst/>
                <a:gdLst>
                  <a:gd name="connsiteX0" fmla="*/ 16339 w 39565"/>
                  <a:gd name="connsiteY0" fmla="*/ 43259 h 43258"/>
                  <a:gd name="connsiteX1" fmla="*/ 16339 w 39565"/>
                  <a:gd name="connsiteY1" fmla="*/ 25395 h 43258"/>
                  <a:gd name="connsiteX2" fmla="*/ 0 w 39565"/>
                  <a:gd name="connsiteY2" fmla="*/ 25395 h 43258"/>
                  <a:gd name="connsiteX3" fmla="*/ 0 w 39565"/>
                  <a:gd name="connsiteY3" fmla="*/ 17864 h 43258"/>
                  <a:gd name="connsiteX4" fmla="*/ 16339 w 39565"/>
                  <a:gd name="connsiteY4" fmla="*/ 17864 h 43258"/>
                  <a:gd name="connsiteX5" fmla="*/ 16339 w 39565"/>
                  <a:gd name="connsiteY5" fmla="*/ 0 h 43258"/>
                  <a:gd name="connsiteX6" fmla="*/ 23227 w 39565"/>
                  <a:gd name="connsiteY6" fmla="*/ 0 h 43258"/>
                  <a:gd name="connsiteX7" fmla="*/ 23227 w 39565"/>
                  <a:gd name="connsiteY7" fmla="*/ 17864 h 43258"/>
                  <a:gd name="connsiteX8" fmla="*/ 39565 w 39565"/>
                  <a:gd name="connsiteY8" fmla="*/ 17864 h 43258"/>
                  <a:gd name="connsiteX9" fmla="*/ 39565 w 39565"/>
                  <a:gd name="connsiteY9" fmla="*/ 25395 h 43258"/>
                  <a:gd name="connsiteX10" fmla="*/ 23227 w 39565"/>
                  <a:gd name="connsiteY10" fmla="*/ 25395 h 43258"/>
                  <a:gd name="connsiteX11" fmla="*/ 23227 w 39565"/>
                  <a:gd name="connsiteY11" fmla="*/ 43259 h 43258"/>
                  <a:gd name="connsiteX12" fmla="*/ 16339 w 39565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565" h="43258">
                    <a:moveTo>
                      <a:pt x="16339" y="43259"/>
                    </a:moveTo>
                    <a:lnTo>
                      <a:pt x="16339" y="25395"/>
                    </a:lnTo>
                    <a:lnTo>
                      <a:pt x="0" y="25395"/>
                    </a:lnTo>
                    <a:lnTo>
                      <a:pt x="0" y="17864"/>
                    </a:lnTo>
                    <a:lnTo>
                      <a:pt x="16339" y="17864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864"/>
                    </a:lnTo>
                    <a:lnTo>
                      <a:pt x="39565" y="17864"/>
                    </a:lnTo>
                    <a:lnTo>
                      <a:pt x="39565" y="25395"/>
                    </a:lnTo>
                    <a:lnTo>
                      <a:pt x="23227" y="25395"/>
                    </a:lnTo>
                    <a:lnTo>
                      <a:pt x="23227" y="43259"/>
                    </a:lnTo>
                    <a:lnTo>
                      <a:pt x="16339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3" name="Freihandform: Form 62">
                <a:extLst>
                  <a:ext uri="{FF2B5EF4-FFF2-40B4-BE49-F238E27FC236}">
                    <a16:creationId xmlns:a16="http://schemas.microsoft.com/office/drawing/2014/main" id="{EFC2B37E-C297-6A8D-4A6C-5340677B9413}"/>
                  </a:ext>
                </a:extLst>
              </p:cNvPr>
              <p:cNvSpPr/>
              <p:nvPr/>
            </p:nvSpPr>
            <p:spPr>
              <a:xfrm>
                <a:off x="3851011" y="1990329"/>
                <a:ext cx="39405" cy="43258"/>
              </a:xfrm>
              <a:custGeom>
                <a:avLst/>
                <a:gdLst>
                  <a:gd name="connsiteX0" fmla="*/ 16179 w 39405"/>
                  <a:gd name="connsiteY0" fmla="*/ 43259 h 43258"/>
                  <a:gd name="connsiteX1" fmla="*/ 16179 w 39405"/>
                  <a:gd name="connsiteY1" fmla="*/ 25395 h 43258"/>
                  <a:gd name="connsiteX2" fmla="*/ 0 w 39405"/>
                  <a:gd name="connsiteY2" fmla="*/ 25395 h 43258"/>
                  <a:gd name="connsiteX3" fmla="*/ 0 w 39405"/>
                  <a:gd name="connsiteY3" fmla="*/ 17864 h 43258"/>
                  <a:gd name="connsiteX4" fmla="*/ 16179 w 39405"/>
                  <a:gd name="connsiteY4" fmla="*/ 17864 h 43258"/>
                  <a:gd name="connsiteX5" fmla="*/ 16179 w 39405"/>
                  <a:gd name="connsiteY5" fmla="*/ 0 h 43258"/>
                  <a:gd name="connsiteX6" fmla="*/ 23066 w 39405"/>
                  <a:gd name="connsiteY6" fmla="*/ 0 h 43258"/>
                  <a:gd name="connsiteX7" fmla="*/ 23066 w 39405"/>
                  <a:gd name="connsiteY7" fmla="*/ 17864 h 43258"/>
                  <a:gd name="connsiteX8" fmla="*/ 39405 w 39405"/>
                  <a:gd name="connsiteY8" fmla="*/ 17864 h 43258"/>
                  <a:gd name="connsiteX9" fmla="*/ 39405 w 39405"/>
                  <a:gd name="connsiteY9" fmla="*/ 25395 h 43258"/>
                  <a:gd name="connsiteX10" fmla="*/ 23066 w 39405"/>
                  <a:gd name="connsiteY10" fmla="*/ 25395 h 43258"/>
                  <a:gd name="connsiteX11" fmla="*/ 23066 w 39405"/>
                  <a:gd name="connsiteY11" fmla="*/ 43259 h 43258"/>
                  <a:gd name="connsiteX12" fmla="*/ 16179 w 39405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5" h="43258">
                    <a:moveTo>
                      <a:pt x="16179" y="43259"/>
                    </a:moveTo>
                    <a:lnTo>
                      <a:pt x="16179" y="25395"/>
                    </a:lnTo>
                    <a:lnTo>
                      <a:pt x="0" y="25395"/>
                    </a:lnTo>
                    <a:lnTo>
                      <a:pt x="0" y="17864"/>
                    </a:lnTo>
                    <a:lnTo>
                      <a:pt x="16179" y="17864"/>
                    </a:lnTo>
                    <a:lnTo>
                      <a:pt x="16179" y="0"/>
                    </a:lnTo>
                    <a:lnTo>
                      <a:pt x="23066" y="0"/>
                    </a:lnTo>
                    <a:lnTo>
                      <a:pt x="23066" y="17864"/>
                    </a:lnTo>
                    <a:lnTo>
                      <a:pt x="39405" y="17864"/>
                    </a:lnTo>
                    <a:lnTo>
                      <a:pt x="39405" y="25395"/>
                    </a:lnTo>
                    <a:lnTo>
                      <a:pt x="23066" y="25395"/>
                    </a:lnTo>
                    <a:lnTo>
                      <a:pt x="23066" y="43259"/>
                    </a:lnTo>
                    <a:lnTo>
                      <a:pt x="16179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4" name="Freihandform: Form 63">
                <a:extLst>
                  <a:ext uri="{FF2B5EF4-FFF2-40B4-BE49-F238E27FC236}">
                    <a16:creationId xmlns:a16="http://schemas.microsoft.com/office/drawing/2014/main" id="{A7F7DCE7-5F65-F39B-C1C1-784DD7879B47}"/>
                  </a:ext>
                </a:extLst>
              </p:cNvPr>
              <p:cNvSpPr/>
              <p:nvPr/>
            </p:nvSpPr>
            <p:spPr>
              <a:xfrm>
                <a:off x="3922452" y="2003989"/>
                <a:ext cx="39405" cy="43258"/>
              </a:xfrm>
              <a:custGeom>
                <a:avLst/>
                <a:gdLst>
                  <a:gd name="connsiteX0" fmla="*/ 16179 w 39405"/>
                  <a:gd name="connsiteY0" fmla="*/ 43259 h 43258"/>
                  <a:gd name="connsiteX1" fmla="*/ 16179 w 39405"/>
                  <a:gd name="connsiteY1" fmla="*/ 25395 h 43258"/>
                  <a:gd name="connsiteX2" fmla="*/ 0 w 39405"/>
                  <a:gd name="connsiteY2" fmla="*/ 25395 h 43258"/>
                  <a:gd name="connsiteX3" fmla="*/ 0 w 39405"/>
                  <a:gd name="connsiteY3" fmla="*/ 17864 h 43258"/>
                  <a:gd name="connsiteX4" fmla="*/ 16179 w 39405"/>
                  <a:gd name="connsiteY4" fmla="*/ 17864 h 43258"/>
                  <a:gd name="connsiteX5" fmla="*/ 16179 w 39405"/>
                  <a:gd name="connsiteY5" fmla="*/ 0 h 43258"/>
                  <a:gd name="connsiteX6" fmla="*/ 23227 w 39405"/>
                  <a:gd name="connsiteY6" fmla="*/ 0 h 43258"/>
                  <a:gd name="connsiteX7" fmla="*/ 23227 w 39405"/>
                  <a:gd name="connsiteY7" fmla="*/ 17864 h 43258"/>
                  <a:gd name="connsiteX8" fmla="*/ 39405 w 39405"/>
                  <a:gd name="connsiteY8" fmla="*/ 17864 h 43258"/>
                  <a:gd name="connsiteX9" fmla="*/ 39405 w 39405"/>
                  <a:gd name="connsiteY9" fmla="*/ 25395 h 43258"/>
                  <a:gd name="connsiteX10" fmla="*/ 23227 w 39405"/>
                  <a:gd name="connsiteY10" fmla="*/ 25395 h 43258"/>
                  <a:gd name="connsiteX11" fmla="*/ 23227 w 39405"/>
                  <a:gd name="connsiteY11" fmla="*/ 43259 h 43258"/>
                  <a:gd name="connsiteX12" fmla="*/ 16179 w 39405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5" h="43258">
                    <a:moveTo>
                      <a:pt x="16179" y="43259"/>
                    </a:moveTo>
                    <a:lnTo>
                      <a:pt x="16179" y="25395"/>
                    </a:lnTo>
                    <a:lnTo>
                      <a:pt x="0" y="25395"/>
                    </a:lnTo>
                    <a:lnTo>
                      <a:pt x="0" y="17864"/>
                    </a:lnTo>
                    <a:lnTo>
                      <a:pt x="16179" y="17864"/>
                    </a:lnTo>
                    <a:lnTo>
                      <a:pt x="16179" y="0"/>
                    </a:lnTo>
                    <a:lnTo>
                      <a:pt x="23227" y="0"/>
                    </a:lnTo>
                    <a:lnTo>
                      <a:pt x="23227" y="17864"/>
                    </a:lnTo>
                    <a:lnTo>
                      <a:pt x="39405" y="17864"/>
                    </a:lnTo>
                    <a:lnTo>
                      <a:pt x="39405" y="25395"/>
                    </a:lnTo>
                    <a:lnTo>
                      <a:pt x="23227" y="25395"/>
                    </a:lnTo>
                    <a:lnTo>
                      <a:pt x="23227" y="43259"/>
                    </a:lnTo>
                    <a:lnTo>
                      <a:pt x="16179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5" name="Freihandform: Form 64">
                <a:extLst>
                  <a:ext uri="{FF2B5EF4-FFF2-40B4-BE49-F238E27FC236}">
                    <a16:creationId xmlns:a16="http://schemas.microsoft.com/office/drawing/2014/main" id="{652DFCFC-C97F-B656-2A82-0BC23AB9995A}"/>
                  </a:ext>
                </a:extLst>
              </p:cNvPr>
              <p:cNvSpPr/>
              <p:nvPr/>
            </p:nvSpPr>
            <p:spPr>
              <a:xfrm>
                <a:off x="3991011" y="2029209"/>
                <a:ext cx="39405" cy="43083"/>
              </a:xfrm>
              <a:custGeom>
                <a:avLst/>
                <a:gdLst>
                  <a:gd name="connsiteX0" fmla="*/ 16179 w 39405"/>
                  <a:gd name="connsiteY0" fmla="*/ 43084 h 43083"/>
                  <a:gd name="connsiteX1" fmla="*/ 16179 w 39405"/>
                  <a:gd name="connsiteY1" fmla="*/ 25220 h 43083"/>
                  <a:gd name="connsiteX2" fmla="*/ 0 w 39405"/>
                  <a:gd name="connsiteY2" fmla="*/ 25220 h 43083"/>
                  <a:gd name="connsiteX3" fmla="*/ 0 w 39405"/>
                  <a:gd name="connsiteY3" fmla="*/ 17689 h 43083"/>
                  <a:gd name="connsiteX4" fmla="*/ 16179 w 39405"/>
                  <a:gd name="connsiteY4" fmla="*/ 17689 h 43083"/>
                  <a:gd name="connsiteX5" fmla="*/ 16179 w 39405"/>
                  <a:gd name="connsiteY5" fmla="*/ 0 h 43083"/>
                  <a:gd name="connsiteX6" fmla="*/ 23066 w 39405"/>
                  <a:gd name="connsiteY6" fmla="*/ 0 h 43083"/>
                  <a:gd name="connsiteX7" fmla="*/ 23066 w 39405"/>
                  <a:gd name="connsiteY7" fmla="*/ 17689 h 43083"/>
                  <a:gd name="connsiteX8" fmla="*/ 39405 w 39405"/>
                  <a:gd name="connsiteY8" fmla="*/ 17689 h 43083"/>
                  <a:gd name="connsiteX9" fmla="*/ 39405 w 39405"/>
                  <a:gd name="connsiteY9" fmla="*/ 25220 h 43083"/>
                  <a:gd name="connsiteX10" fmla="*/ 23066 w 39405"/>
                  <a:gd name="connsiteY10" fmla="*/ 25220 h 43083"/>
                  <a:gd name="connsiteX11" fmla="*/ 23066 w 39405"/>
                  <a:gd name="connsiteY11" fmla="*/ 43084 h 43083"/>
                  <a:gd name="connsiteX12" fmla="*/ 16179 w 3940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5" h="43083">
                    <a:moveTo>
                      <a:pt x="16179" y="43084"/>
                    </a:moveTo>
                    <a:lnTo>
                      <a:pt x="1617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9" y="17689"/>
                    </a:lnTo>
                    <a:lnTo>
                      <a:pt x="16179" y="0"/>
                    </a:lnTo>
                    <a:lnTo>
                      <a:pt x="23066" y="0"/>
                    </a:lnTo>
                    <a:lnTo>
                      <a:pt x="23066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066" y="25220"/>
                    </a:lnTo>
                    <a:lnTo>
                      <a:pt x="23066" y="43084"/>
                    </a:lnTo>
                    <a:lnTo>
                      <a:pt x="1617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6" name="Freihandform: Form 65">
                <a:extLst>
                  <a:ext uri="{FF2B5EF4-FFF2-40B4-BE49-F238E27FC236}">
                    <a16:creationId xmlns:a16="http://schemas.microsoft.com/office/drawing/2014/main" id="{55F4357F-73F3-8F0A-B5D0-486DD49EA4F3}"/>
                  </a:ext>
                </a:extLst>
              </p:cNvPr>
              <p:cNvSpPr/>
              <p:nvPr/>
            </p:nvSpPr>
            <p:spPr>
              <a:xfrm>
                <a:off x="3999821" y="2029209"/>
                <a:ext cx="39565" cy="43083"/>
              </a:xfrm>
              <a:custGeom>
                <a:avLst/>
                <a:gdLst>
                  <a:gd name="connsiteX0" fmla="*/ 16339 w 39565"/>
                  <a:gd name="connsiteY0" fmla="*/ 43084 h 43083"/>
                  <a:gd name="connsiteX1" fmla="*/ 16339 w 39565"/>
                  <a:gd name="connsiteY1" fmla="*/ 25220 h 43083"/>
                  <a:gd name="connsiteX2" fmla="*/ 0 w 39565"/>
                  <a:gd name="connsiteY2" fmla="*/ 25220 h 43083"/>
                  <a:gd name="connsiteX3" fmla="*/ 0 w 39565"/>
                  <a:gd name="connsiteY3" fmla="*/ 17689 h 43083"/>
                  <a:gd name="connsiteX4" fmla="*/ 16339 w 39565"/>
                  <a:gd name="connsiteY4" fmla="*/ 17689 h 43083"/>
                  <a:gd name="connsiteX5" fmla="*/ 16339 w 39565"/>
                  <a:gd name="connsiteY5" fmla="*/ 0 h 43083"/>
                  <a:gd name="connsiteX6" fmla="*/ 23227 w 39565"/>
                  <a:gd name="connsiteY6" fmla="*/ 0 h 43083"/>
                  <a:gd name="connsiteX7" fmla="*/ 23227 w 39565"/>
                  <a:gd name="connsiteY7" fmla="*/ 17689 h 43083"/>
                  <a:gd name="connsiteX8" fmla="*/ 39565 w 39565"/>
                  <a:gd name="connsiteY8" fmla="*/ 17689 h 43083"/>
                  <a:gd name="connsiteX9" fmla="*/ 39565 w 39565"/>
                  <a:gd name="connsiteY9" fmla="*/ 25220 h 43083"/>
                  <a:gd name="connsiteX10" fmla="*/ 23227 w 39565"/>
                  <a:gd name="connsiteY10" fmla="*/ 25220 h 43083"/>
                  <a:gd name="connsiteX11" fmla="*/ 23227 w 39565"/>
                  <a:gd name="connsiteY11" fmla="*/ 43084 h 43083"/>
                  <a:gd name="connsiteX12" fmla="*/ 16339 w 3956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565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565" y="17689"/>
                    </a:lnTo>
                    <a:lnTo>
                      <a:pt x="3956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7" name="Freihandform: Form 66">
                <a:extLst>
                  <a:ext uri="{FF2B5EF4-FFF2-40B4-BE49-F238E27FC236}">
                    <a16:creationId xmlns:a16="http://schemas.microsoft.com/office/drawing/2014/main" id="{B92AF89B-1375-EA5A-A3A3-A59CB06ED45C}"/>
                  </a:ext>
                </a:extLst>
              </p:cNvPr>
              <p:cNvSpPr/>
              <p:nvPr/>
            </p:nvSpPr>
            <p:spPr>
              <a:xfrm>
                <a:off x="4005748" y="2029209"/>
                <a:ext cx="39565" cy="43083"/>
              </a:xfrm>
              <a:custGeom>
                <a:avLst/>
                <a:gdLst>
                  <a:gd name="connsiteX0" fmla="*/ 16339 w 39565"/>
                  <a:gd name="connsiteY0" fmla="*/ 43084 h 43083"/>
                  <a:gd name="connsiteX1" fmla="*/ 16339 w 39565"/>
                  <a:gd name="connsiteY1" fmla="*/ 25220 h 43083"/>
                  <a:gd name="connsiteX2" fmla="*/ 0 w 39565"/>
                  <a:gd name="connsiteY2" fmla="*/ 25220 h 43083"/>
                  <a:gd name="connsiteX3" fmla="*/ 0 w 39565"/>
                  <a:gd name="connsiteY3" fmla="*/ 17689 h 43083"/>
                  <a:gd name="connsiteX4" fmla="*/ 16339 w 39565"/>
                  <a:gd name="connsiteY4" fmla="*/ 17689 h 43083"/>
                  <a:gd name="connsiteX5" fmla="*/ 16339 w 39565"/>
                  <a:gd name="connsiteY5" fmla="*/ 0 h 43083"/>
                  <a:gd name="connsiteX6" fmla="*/ 23227 w 39565"/>
                  <a:gd name="connsiteY6" fmla="*/ 0 h 43083"/>
                  <a:gd name="connsiteX7" fmla="*/ 23227 w 39565"/>
                  <a:gd name="connsiteY7" fmla="*/ 17689 h 43083"/>
                  <a:gd name="connsiteX8" fmla="*/ 39565 w 39565"/>
                  <a:gd name="connsiteY8" fmla="*/ 17689 h 43083"/>
                  <a:gd name="connsiteX9" fmla="*/ 39565 w 39565"/>
                  <a:gd name="connsiteY9" fmla="*/ 25220 h 43083"/>
                  <a:gd name="connsiteX10" fmla="*/ 23227 w 39565"/>
                  <a:gd name="connsiteY10" fmla="*/ 25220 h 43083"/>
                  <a:gd name="connsiteX11" fmla="*/ 23227 w 39565"/>
                  <a:gd name="connsiteY11" fmla="*/ 43084 h 43083"/>
                  <a:gd name="connsiteX12" fmla="*/ 16339 w 3956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565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565" y="17689"/>
                    </a:lnTo>
                    <a:lnTo>
                      <a:pt x="3956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8" name="Freihandform: Form 67">
                <a:extLst>
                  <a:ext uri="{FF2B5EF4-FFF2-40B4-BE49-F238E27FC236}">
                    <a16:creationId xmlns:a16="http://schemas.microsoft.com/office/drawing/2014/main" id="{E6B636B2-9937-3D25-5466-AA851F25B326}"/>
                  </a:ext>
                </a:extLst>
              </p:cNvPr>
              <p:cNvSpPr/>
              <p:nvPr/>
            </p:nvSpPr>
            <p:spPr>
              <a:xfrm>
                <a:off x="4026732" y="2029209"/>
                <a:ext cx="39405" cy="43083"/>
              </a:xfrm>
              <a:custGeom>
                <a:avLst/>
                <a:gdLst>
                  <a:gd name="connsiteX0" fmla="*/ 16179 w 39405"/>
                  <a:gd name="connsiteY0" fmla="*/ 43084 h 43083"/>
                  <a:gd name="connsiteX1" fmla="*/ 16179 w 39405"/>
                  <a:gd name="connsiteY1" fmla="*/ 25220 h 43083"/>
                  <a:gd name="connsiteX2" fmla="*/ 0 w 39405"/>
                  <a:gd name="connsiteY2" fmla="*/ 25220 h 43083"/>
                  <a:gd name="connsiteX3" fmla="*/ 0 w 39405"/>
                  <a:gd name="connsiteY3" fmla="*/ 17689 h 43083"/>
                  <a:gd name="connsiteX4" fmla="*/ 16179 w 39405"/>
                  <a:gd name="connsiteY4" fmla="*/ 17689 h 43083"/>
                  <a:gd name="connsiteX5" fmla="*/ 16179 w 39405"/>
                  <a:gd name="connsiteY5" fmla="*/ 0 h 43083"/>
                  <a:gd name="connsiteX6" fmla="*/ 23066 w 39405"/>
                  <a:gd name="connsiteY6" fmla="*/ 0 h 43083"/>
                  <a:gd name="connsiteX7" fmla="*/ 23066 w 39405"/>
                  <a:gd name="connsiteY7" fmla="*/ 17689 h 43083"/>
                  <a:gd name="connsiteX8" fmla="*/ 39405 w 39405"/>
                  <a:gd name="connsiteY8" fmla="*/ 17689 h 43083"/>
                  <a:gd name="connsiteX9" fmla="*/ 39405 w 39405"/>
                  <a:gd name="connsiteY9" fmla="*/ 25220 h 43083"/>
                  <a:gd name="connsiteX10" fmla="*/ 23066 w 39405"/>
                  <a:gd name="connsiteY10" fmla="*/ 25220 h 43083"/>
                  <a:gd name="connsiteX11" fmla="*/ 23066 w 39405"/>
                  <a:gd name="connsiteY11" fmla="*/ 43084 h 43083"/>
                  <a:gd name="connsiteX12" fmla="*/ 16179 w 3940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5" h="43083">
                    <a:moveTo>
                      <a:pt x="16179" y="43084"/>
                    </a:moveTo>
                    <a:lnTo>
                      <a:pt x="1617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9" y="17689"/>
                    </a:lnTo>
                    <a:lnTo>
                      <a:pt x="16179" y="0"/>
                    </a:lnTo>
                    <a:lnTo>
                      <a:pt x="23066" y="0"/>
                    </a:lnTo>
                    <a:lnTo>
                      <a:pt x="23066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066" y="25220"/>
                    </a:lnTo>
                    <a:lnTo>
                      <a:pt x="23066" y="43084"/>
                    </a:lnTo>
                    <a:lnTo>
                      <a:pt x="1617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9" name="Freihandform: Form 68">
                <a:extLst>
                  <a:ext uri="{FF2B5EF4-FFF2-40B4-BE49-F238E27FC236}">
                    <a16:creationId xmlns:a16="http://schemas.microsoft.com/office/drawing/2014/main" id="{0CD2E9FA-DCDE-29BC-CA97-C58573DCE9BC}"/>
                  </a:ext>
                </a:extLst>
              </p:cNvPr>
              <p:cNvSpPr/>
              <p:nvPr/>
            </p:nvSpPr>
            <p:spPr>
              <a:xfrm>
                <a:off x="4035542" y="2029209"/>
                <a:ext cx="39565" cy="43083"/>
              </a:xfrm>
              <a:custGeom>
                <a:avLst/>
                <a:gdLst>
                  <a:gd name="connsiteX0" fmla="*/ 16339 w 39565"/>
                  <a:gd name="connsiteY0" fmla="*/ 43084 h 43083"/>
                  <a:gd name="connsiteX1" fmla="*/ 16339 w 39565"/>
                  <a:gd name="connsiteY1" fmla="*/ 25220 h 43083"/>
                  <a:gd name="connsiteX2" fmla="*/ 0 w 39565"/>
                  <a:gd name="connsiteY2" fmla="*/ 25220 h 43083"/>
                  <a:gd name="connsiteX3" fmla="*/ 0 w 39565"/>
                  <a:gd name="connsiteY3" fmla="*/ 17689 h 43083"/>
                  <a:gd name="connsiteX4" fmla="*/ 16339 w 39565"/>
                  <a:gd name="connsiteY4" fmla="*/ 17689 h 43083"/>
                  <a:gd name="connsiteX5" fmla="*/ 16339 w 39565"/>
                  <a:gd name="connsiteY5" fmla="*/ 0 h 43083"/>
                  <a:gd name="connsiteX6" fmla="*/ 23227 w 39565"/>
                  <a:gd name="connsiteY6" fmla="*/ 0 h 43083"/>
                  <a:gd name="connsiteX7" fmla="*/ 23227 w 39565"/>
                  <a:gd name="connsiteY7" fmla="*/ 17689 h 43083"/>
                  <a:gd name="connsiteX8" fmla="*/ 39565 w 39565"/>
                  <a:gd name="connsiteY8" fmla="*/ 17689 h 43083"/>
                  <a:gd name="connsiteX9" fmla="*/ 39565 w 39565"/>
                  <a:gd name="connsiteY9" fmla="*/ 25220 h 43083"/>
                  <a:gd name="connsiteX10" fmla="*/ 23227 w 39565"/>
                  <a:gd name="connsiteY10" fmla="*/ 25220 h 43083"/>
                  <a:gd name="connsiteX11" fmla="*/ 23227 w 39565"/>
                  <a:gd name="connsiteY11" fmla="*/ 43084 h 43083"/>
                  <a:gd name="connsiteX12" fmla="*/ 16339 w 3956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565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565" y="17689"/>
                    </a:lnTo>
                    <a:lnTo>
                      <a:pt x="3956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0" name="Freihandform: Form 69">
                <a:extLst>
                  <a:ext uri="{FF2B5EF4-FFF2-40B4-BE49-F238E27FC236}">
                    <a16:creationId xmlns:a16="http://schemas.microsoft.com/office/drawing/2014/main" id="{E14219A9-AB93-A2FE-69FA-A2EE653B454C}"/>
                  </a:ext>
                </a:extLst>
              </p:cNvPr>
              <p:cNvSpPr/>
              <p:nvPr/>
            </p:nvSpPr>
            <p:spPr>
              <a:xfrm>
                <a:off x="4196526" y="2049000"/>
                <a:ext cx="39405" cy="43083"/>
              </a:xfrm>
              <a:custGeom>
                <a:avLst/>
                <a:gdLst>
                  <a:gd name="connsiteX0" fmla="*/ 16179 w 39405"/>
                  <a:gd name="connsiteY0" fmla="*/ 43084 h 43083"/>
                  <a:gd name="connsiteX1" fmla="*/ 16179 w 39405"/>
                  <a:gd name="connsiteY1" fmla="*/ 25220 h 43083"/>
                  <a:gd name="connsiteX2" fmla="*/ 0 w 39405"/>
                  <a:gd name="connsiteY2" fmla="*/ 25220 h 43083"/>
                  <a:gd name="connsiteX3" fmla="*/ 0 w 39405"/>
                  <a:gd name="connsiteY3" fmla="*/ 17689 h 43083"/>
                  <a:gd name="connsiteX4" fmla="*/ 16179 w 39405"/>
                  <a:gd name="connsiteY4" fmla="*/ 17689 h 43083"/>
                  <a:gd name="connsiteX5" fmla="*/ 16179 w 39405"/>
                  <a:gd name="connsiteY5" fmla="*/ 0 h 43083"/>
                  <a:gd name="connsiteX6" fmla="*/ 23066 w 39405"/>
                  <a:gd name="connsiteY6" fmla="*/ 0 h 43083"/>
                  <a:gd name="connsiteX7" fmla="*/ 23066 w 39405"/>
                  <a:gd name="connsiteY7" fmla="*/ 17689 h 43083"/>
                  <a:gd name="connsiteX8" fmla="*/ 39405 w 39405"/>
                  <a:gd name="connsiteY8" fmla="*/ 17689 h 43083"/>
                  <a:gd name="connsiteX9" fmla="*/ 39405 w 39405"/>
                  <a:gd name="connsiteY9" fmla="*/ 25220 h 43083"/>
                  <a:gd name="connsiteX10" fmla="*/ 23066 w 39405"/>
                  <a:gd name="connsiteY10" fmla="*/ 25220 h 43083"/>
                  <a:gd name="connsiteX11" fmla="*/ 23066 w 39405"/>
                  <a:gd name="connsiteY11" fmla="*/ 43084 h 43083"/>
                  <a:gd name="connsiteX12" fmla="*/ 16179 w 3940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5" h="43083">
                    <a:moveTo>
                      <a:pt x="16179" y="43084"/>
                    </a:moveTo>
                    <a:lnTo>
                      <a:pt x="1617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9" y="17689"/>
                    </a:lnTo>
                    <a:lnTo>
                      <a:pt x="16179" y="0"/>
                    </a:lnTo>
                    <a:lnTo>
                      <a:pt x="23066" y="0"/>
                    </a:lnTo>
                    <a:lnTo>
                      <a:pt x="23066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066" y="25220"/>
                    </a:lnTo>
                    <a:lnTo>
                      <a:pt x="23066" y="43084"/>
                    </a:lnTo>
                    <a:lnTo>
                      <a:pt x="1617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1" name="Freihandform: Form 70">
                <a:extLst>
                  <a:ext uri="{FF2B5EF4-FFF2-40B4-BE49-F238E27FC236}">
                    <a16:creationId xmlns:a16="http://schemas.microsoft.com/office/drawing/2014/main" id="{D4B4D8D2-C0FB-640B-EACF-71852DA37FB5}"/>
                  </a:ext>
                </a:extLst>
              </p:cNvPr>
              <p:cNvSpPr/>
              <p:nvPr/>
            </p:nvSpPr>
            <p:spPr>
              <a:xfrm>
                <a:off x="4214306" y="2063361"/>
                <a:ext cx="39405" cy="43083"/>
              </a:xfrm>
              <a:custGeom>
                <a:avLst/>
                <a:gdLst>
                  <a:gd name="connsiteX0" fmla="*/ 16339 w 39405"/>
                  <a:gd name="connsiteY0" fmla="*/ 43084 h 43083"/>
                  <a:gd name="connsiteX1" fmla="*/ 16339 w 39405"/>
                  <a:gd name="connsiteY1" fmla="*/ 25220 h 43083"/>
                  <a:gd name="connsiteX2" fmla="*/ 0 w 39405"/>
                  <a:gd name="connsiteY2" fmla="*/ 25220 h 43083"/>
                  <a:gd name="connsiteX3" fmla="*/ 0 w 39405"/>
                  <a:gd name="connsiteY3" fmla="*/ 17689 h 43083"/>
                  <a:gd name="connsiteX4" fmla="*/ 16339 w 39405"/>
                  <a:gd name="connsiteY4" fmla="*/ 17689 h 43083"/>
                  <a:gd name="connsiteX5" fmla="*/ 16339 w 39405"/>
                  <a:gd name="connsiteY5" fmla="*/ 0 h 43083"/>
                  <a:gd name="connsiteX6" fmla="*/ 23227 w 39405"/>
                  <a:gd name="connsiteY6" fmla="*/ 0 h 43083"/>
                  <a:gd name="connsiteX7" fmla="*/ 23227 w 39405"/>
                  <a:gd name="connsiteY7" fmla="*/ 17689 h 43083"/>
                  <a:gd name="connsiteX8" fmla="*/ 39405 w 39405"/>
                  <a:gd name="connsiteY8" fmla="*/ 17689 h 43083"/>
                  <a:gd name="connsiteX9" fmla="*/ 39405 w 39405"/>
                  <a:gd name="connsiteY9" fmla="*/ 25220 h 43083"/>
                  <a:gd name="connsiteX10" fmla="*/ 23227 w 39405"/>
                  <a:gd name="connsiteY10" fmla="*/ 25220 h 43083"/>
                  <a:gd name="connsiteX11" fmla="*/ 23227 w 39405"/>
                  <a:gd name="connsiteY11" fmla="*/ 43084 h 43083"/>
                  <a:gd name="connsiteX12" fmla="*/ 16339 w 3940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5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2" name="Freihandform: Form 71">
                <a:extLst>
                  <a:ext uri="{FF2B5EF4-FFF2-40B4-BE49-F238E27FC236}">
                    <a16:creationId xmlns:a16="http://schemas.microsoft.com/office/drawing/2014/main" id="{8DECB7FC-5FE5-DD15-F6BF-D3D215665806}"/>
                  </a:ext>
                </a:extLst>
              </p:cNvPr>
              <p:cNvSpPr/>
              <p:nvPr/>
            </p:nvSpPr>
            <p:spPr>
              <a:xfrm>
                <a:off x="4282865" y="2077897"/>
                <a:ext cx="39404" cy="43083"/>
              </a:xfrm>
              <a:custGeom>
                <a:avLst/>
                <a:gdLst>
                  <a:gd name="connsiteX0" fmla="*/ 16178 w 39404"/>
                  <a:gd name="connsiteY0" fmla="*/ 43084 h 43083"/>
                  <a:gd name="connsiteX1" fmla="*/ 16178 w 39404"/>
                  <a:gd name="connsiteY1" fmla="*/ 25220 h 43083"/>
                  <a:gd name="connsiteX2" fmla="*/ 0 w 39404"/>
                  <a:gd name="connsiteY2" fmla="*/ 25220 h 43083"/>
                  <a:gd name="connsiteX3" fmla="*/ 0 w 39404"/>
                  <a:gd name="connsiteY3" fmla="*/ 17689 h 43083"/>
                  <a:gd name="connsiteX4" fmla="*/ 16178 w 39404"/>
                  <a:gd name="connsiteY4" fmla="*/ 17689 h 43083"/>
                  <a:gd name="connsiteX5" fmla="*/ 16178 w 39404"/>
                  <a:gd name="connsiteY5" fmla="*/ 0 h 43083"/>
                  <a:gd name="connsiteX6" fmla="*/ 23227 w 39404"/>
                  <a:gd name="connsiteY6" fmla="*/ 0 h 43083"/>
                  <a:gd name="connsiteX7" fmla="*/ 23227 w 39404"/>
                  <a:gd name="connsiteY7" fmla="*/ 17689 h 43083"/>
                  <a:gd name="connsiteX8" fmla="*/ 39405 w 39404"/>
                  <a:gd name="connsiteY8" fmla="*/ 17689 h 43083"/>
                  <a:gd name="connsiteX9" fmla="*/ 39405 w 39404"/>
                  <a:gd name="connsiteY9" fmla="*/ 25220 h 43083"/>
                  <a:gd name="connsiteX10" fmla="*/ 23227 w 39404"/>
                  <a:gd name="connsiteY10" fmla="*/ 25220 h 43083"/>
                  <a:gd name="connsiteX11" fmla="*/ 23227 w 39404"/>
                  <a:gd name="connsiteY11" fmla="*/ 43084 h 43083"/>
                  <a:gd name="connsiteX12" fmla="*/ 16178 w 39404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083">
                    <a:moveTo>
                      <a:pt x="16178" y="43084"/>
                    </a:moveTo>
                    <a:lnTo>
                      <a:pt x="16178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8" y="17689"/>
                    </a:lnTo>
                    <a:lnTo>
                      <a:pt x="16178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178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3" name="Freihandform: Form 72">
                <a:extLst>
                  <a:ext uri="{FF2B5EF4-FFF2-40B4-BE49-F238E27FC236}">
                    <a16:creationId xmlns:a16="http://schemas.microsoft.com/office/drawing/2014/main" id="{308884DE-8237-665B-6438-995296EEEE68}"/>
                  </a:ext>
                </a:extLst>
              </p:cNvPr>
              <p:cNvSpPr/>
              <p:nvPr/>
            </p:nvSpPr>
            <p:spPr>
              <a:xfrm>
                <a:off x="4291835" y="2077897"/>
                <a:ext cx="39404" cy="43083"/>
              </a:xfrm>
              <a:custGeom>
                <a:avLst/>
                <a:gdLst>
                  <a:gd name="connsiteX0" fmla="*/ 16178 w 39404"/>
                  <a:gd name="connsiteY0" fmla="*/ 43084 h 43083"/>
                  <a:gd name="connsiteX1" fmla="*/ 16178 w 39404"/>
                  <a:gd name="connsiteY1" fmla="*/ 25220 h 43083"/>
                  <a:gd name="connsiteX2" fmla="*/ 0 w 39404"/>
                  <a:gd name="connsiteY2" fmla="*/ 25220 h 43083"/>
                  <a:gd name="connsiteX3" fmla="*/ 0 w 39404"/>
                  <a:gd name="connsiteY3" fmla="*/ 17689 h 43083"/>
                  <a:gd name="connsiteX4" fmla="*/ 16178 w 39404"/>
                  <a:gd name="connsiteY4" fmla="*/ 17689 h 43083"/>
                  <a:gd name="connsiteX5" fmla="*/ 16178 w 39404"/>
                  <a:gd name="connsiteY5" fmla="*/ 0 h 43083"/>
                  <a:gd name="connsiteX6" fmla="*/ 23066 w 39404"/>
                  <a:gd name="connsiteY6" fmla="*/ 0 h 43083"/>
                  <a:gd name="connsiteX7" fmla="*/ 23066 w 39404"/>
                  <a:gd name="connsiteY7" fmla="*/ 17689 h 43083"/>
                  <a:gd name="connsiteX8" fmla="*/ 39405 w 39404"/>
                  <a:gd name="connsiteY8" fmla="*/ 17689 h 43083"/>
                  <a:gd name="connsiteX9" fmla="*/ 39405 w 39404"/>
                  <a:gd name="connsiteY9" fmla="*/ 25220 h 43083"/>
                  <a:gd name="connsiteX10" fmla="*/ 23066 w 39404"/>
                  <a:gd name="connsiteY10" fmla="*/ 25220 h 43083"/>
                  <a:gd name="connsiteX11" fmla="*/ 23066 w 39404"/>
                  <a:gd name="connsiteY11" fmla="*/ 43084 h 43083"/>
                  <a:gd name="connsiteX12" fmla="*/ 16178 w 39404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083">
                    <a:moveTo>
                      <a:pt x="16178" y="43084"/>
                    </a:moveTo>
                    <a:lnTo>
                      <a:pt x="16178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8" y="17689"/>
                    </a:lnTo>
                    <a:lnTo>
                      <a:pt x="16178" y="0"/>
                    </a:lnTo>
                    <a:lnTo>
                      <a:pt x="23066" y="0"/>
                    </a:lnTo>
                    <a:lnTo>
                      <a:pt x="23066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066" y="25220"/>
                    </a:lnTo>
                    <a:lnTo>
                      <a:pt x="23066" y="43084"/>
                    </a:lnTo>
                    <a:lnTo>
                      <a:pt x="16178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4" name="Freihandform: Form 73">
                <a:extLst>
                  <a:ext uri="{FF2B5EF4-FFF2-40B4-BE49-F238E27FC236}">
                    <a16:creationId xmlns:a16="http://schemas.microsoft.com/office/drawing/2014/main" id="{BE8C2FD6-75FF-CA04-FE84-97A8357599F4}"/>
                  </a:ext>
                </a:extLst>
              </p:cNvPr>
              <p:cNvSpPr/>
              <p:nvPr/>
            </p:nvSpPr>
            <p:spPr>
              <a:xfrm>
                <a:off x="4351423" y="2082451"/>
                <a:ext cx="39404" cy="43258"/>
              </a:xfrm>
              <a:custGeom>
                <a:avLst/>
                <a:gdLst>
                  <a:gd name="connsiteX0" fmla="*/ 16178 w 39404"/>
                  <a:gd name="connsiteY0" fmla="*/ 43259 h 43258"/>
                  <a:gd name="connsiteX1" fmla="*/ 16178 w 39404"/>
                  <a:gd name="connsiteY1" fmla="*/ 25220 h 43258"/>
                  <a:gd name="connsiteX2" fmla="*/ 0 w 39404"/>
                  <a:gd name="connsiteY2" fmla="*/ 25220 h 43258"/>
                  <a:gd name="connsiteX3" fmla="*/ 0 w 39404"/>
                  <a:gd name="connsiteY3" fmla="*/ 17864 h 43258"/>
                  <a:gd name="connsiteX4" fmla="*/ 16178 w 39404"/>
                  <a:gd name="connsiteY4" fmla="*/ 17864 h 43258"/>
                  <a:gd name="connsiteX5" fmla="*/ 16178 w 39404"/>
                  <a:gd name="connsiteY5" fmla="*/ 0 h 43258"/>
                  <a:gd name="connsiteX6" fmla="*/ 23066 w 39404"/>
                  <a:gd name="connsiteY6" fmla="*/ 0 h 43258"/>
                  <a:gd name="connsiteX7" fmla="*/ 23066 w 39404"/>
                  <a:gd name="connsiteY7" fmla="*/ 17864 h 43258"/>
                  <a:gd name="connsiteX8" fmla="*/ 39405 w 39404"/>
                  <a:gd name="connsiteY8" fmla="*/ 17864 h 43258"/>
                  <a:gd name="connsiteX9" fmla="*/ 39405 w 39404"/>
                  <a:gd name="connsiteY9" fmla="*/ 25220 h 43258"/>
                  <a:gd name="connsiteX10" fmla="*/ 23066 w 39404"/>
                  <a:gd name="connsiteY10" fmla="*/ 25220 h 43258"/>
                  <a:gd name="connsiteX11" fmla="*/ 23066 w 39404"/>
                  <a:gd name="connsiteY11" fmla="*/ 43259 h 43258"/>
                  <a:gd name="connsiteX12" fmla="*/ 16178 w 39404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258">
                    <a:moveTo>
                      <a:pt x="16178" y="43259"/>
                    </a:moveTo>
                    <a:lnTo>
                      <a:pt x="16178" y="25220"/>
                    </a:lnTo>
                    <a:lnTo>
                      <a:pt x="0" y="25220"/>
                    </a:lnTo>
                    <a:lnTo>
                      <a:pt x="0" y="17864"/>
                    </a:lnTo>
                    <a:lnTo>
                      <a:pt x="16178" y="17864"/>
                    </a:lnTo>
                    <a:lnTo>
                      <a:pt x="16178" y="0"/>
                    </a:lnTo>
                    <a:lnTo>
                      <a:pt x="23066" y="0"/>
                    </a:lnTo>
                    <a:lnTo>
                      <a:pt x="23066" y="17864"/>
                    </a:lnTo>
                    <a:lnTo>
                      <a:pt x="39405" y="17864"/>
                    </a:lnTo>
                    <a:lnTo>
                      <a:pt x="39405" y="25220"/>
                    </a:lnTo>
                    <a:lnTo>
                      <a:pt x="23066" y="25220"/>
                    </a:lnTo>
                    <a:lnTo>
                      <a:pt x="23066" y="43259"/>
                    </a:lnTo>
                    <a:lnTo>
                      <a:pt x="16178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5" name="Freihandform: Form 74">
                <a:extLst>
                  <a:ext uri="{FF2B5EF4-FFF2-40B4-BE49-F238E27FC236}">
                    <a16:creationId xmlns:a16="http://schemas.microsoft.com/office/drawing/2014/main" id="{7C0E799F-042C-B69B-0A05-2F6EDA0FD3F0}"/>
                  </a:ext>
                </a:extLst>
              </p:cNvPr>
              <p:cNvSpPr/>
              <p:nvPr/>
            </p:nvSpPr>
            <p:spPr>
              <a:xfrm>
                <a:off x="4538998" y="2102066"/>
                <a:ext cx="39405" cy="43083"/>
              </a:xfrm>
              <a:custGeom>
                <a:avLst/>
                <a:gdLst>
                  <a:gd name="connsiteX0" fmla="*/ 16339 w 39405"/>
                  <a:gd name="connsiteY0" fmla="*/ 43084 h 43083"/>
                  <a:gd name="connsiteX1" fmla="*/ 16339 w 39405"/>
                  <a:gd name="connsiteY1" fmla="*/ 25220 h 43083"/>
                  <a:gd name="connsiteX2" fmla="*/ 0 w 39405"/>
                  <a:gd name="connsiteY2" fmla="*/ 25220 h 43083"/>
                  <a:gd name="connsiteX3" fmla="*/ 0 w 39405"/>
                  <a:gd name="connsiteY3" fmla="*/ 17864 h 43083"/>
                  <a:gd name="connsiteX4" fmla="*/ 16339 w 39405"/>
                  <a:gd name="connsiteY4" fmla="*/ 17864 h 43083"/>
                  <a:gd name="connsiteX5" fmla="*/ 16339 w 39405"/>
                  <a:gd name="connsiteY5" fmla="*/ 0 h 43083"/>
                  <a:gd name="connsiteX6" fmla="*/ 23227 w 39405"/>
                  <a:gd name="connsiteY6" fmla="*/ 0 h 43083"/>
                  <a:gd name="connsiteX7" fmla="*/ 23227 w 39405"/>
                  <a:gd name="connsiteY7" fmla="*/ 17864 h 43083"/>
                  <a:gd name="connsiteX8" fmla="*/ 39405 w 39405"/>
                  <a:gd name="connsiteY8" fmla="*/ 17864 h 43083"/>
                  <a:gd name="connsiteX9" fmla="*/ 39405 w 39405"/>
                  <a:gd name="connsiteY9" fmla="*/ 25220 h 43083"/>
                  <a:gd name="connsiteX10" fmla="*/ 23227 w 39405"/>
                  <a:gd name="connsiteY10" fmla="*/ 25220 h 43083"/>
                  <a:gd name="connsiteX11" fmla="*/ 23227 w 39405"/>
                  <a:gd name="connsiteY11" fmla="*/ 43084 h 43083"/>
                  <a:gd name="connsiteX12" fmla="*/ 16339 w 3940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5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864"/>
                    </a:lnTo>
                    <a:lnTo>
                      <a:pt x="16339" y="17864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864"/>
                    </a:lnTo>
                    <a:lnTo>
                      <a:pt x="39405" y="17864"/>
                    </a:lnTo>
                    <a:lnTo>
                      <a:pt x="3940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6" name="Freihandform: Form 75">
                <a:extLst>
                  <a:ext uri="{FF2B5EF4-FFF2-40B4-BE49-F238E27FC236}">
                    <a16:creationId xmlns:a16="http://schemas.microsoft.com/office/drawing/2014/main" id="{EBDEBA22-17F7-395F-B5A3-6A41A817D08D}"/>
                  </a:ext>
                </a:extLst>
              </p:cNvPr>
              <p:cNvSpPr/>
              <p:nvPr/>
            </p:nvSpPr>
            <p:spPr>
              <a:xfrm>
                <a:off x="4553895" y="2102066"/>
                <a:ext cx="39404" cy="43083"/>
              </a:xfrm>
              <a:custGeom>
                <a:avLst/>
                <a:gdLst>
                  <a:gd name="connsiteX0" fmla="*/ 16178 w 39404"/>
                  <a:gd name="connsiteY0" fmla="*/ 43084 h 43083"/>
                  <a:gd name="connsiteX1" fmla="*/ 16178 w 39404"/>
                  <a:gd name="connsiteY1" fmla="*/ 25220 h 43083"/>
                  <a:gd name="connsiteX2" fmla="*/ 0 w 39404"/>
                  <a:gd name="connsiteY2" fmla="*/ 25220 h 43083"/>
                  <a:gd name="connsiteX3" fmla="*/ 0 w 39404"/>
                  <a:gd name="connsiteY3" fmla="*/ 17864 h 43083"/>
                  <a:gd name="connsiteX4" fmla="*/ 16178 w 39404"/>
                  <a:gd name="connsiteY4" fmla="*/ 17864 h 43083"/>
                  <a:gd name="connsiteX5" fmla="*/ 16178 w 39404"/>
                  <a:gd name="connsiteY5" fmla="*/ 0 h 43083"/>
                  <a:gd name="connsiteX6" fmla="*/ 23227 w 39404"/>
                  <a:gd name="connsiteY6" fmla="*/ 0 h 43083"/>
                  <a:gd name="connsiteX7" fmla="*/ 23227 w 39404"/>
                  <a:gd name="connsiteY7" fmla="*/ 17864 h 43083"/>
                  <a:gd name="connsiteX8" fmla="*/ 39405 w 39404"/>
                  <a:gd name="connsiteY8" fmla="*/ 17864 h 43083"/>
                  <a:gd name="connsiteX9" fmla="*/ 39405 w 39404"/>
                  <a:gd name="connsiteY9" fmla="*/ 25220 h 43083"/>
                  <a:gd name="connsiteX10" fmla="*/ 23227 w 39404"/>
                  <a:gd name="connsiteY10" fmla="*/ 25220 h 43083"/>
                  <a:gd name="connsiteX11" fmla="*/ 23227 w 39404"/>
                  <a:gd name="connsiteY11" fmla="*/ 43084 h 43083"/>
                  <a:gd name="connsiteX12" fmla="*/ 16178 w 39404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083">
                    <a:moveTo>
                      <a:pt x="16178" y="43084"/>
                    </a:moveTo>
                    <a:lnTo>
                      <a:pt x="16178" y="25220"/>
                    </a:lnTo>
                    <a:lnTo>
                      <a:pt x="0" y="25220"/>
                    </a:lnTo>
                    <a:lnTo>
                      <a:pt x="0" y="17864"/>
                    </a:lnTo>
                    <a:lnTo>
                      <a:pt x="16178" y="17864"/>
                    </a:lnTo>
                    <a:lnTo>
                      <a:pt x="16178" y="0"/>
                    </a:lnTo>
                    <a:lnTo>
                      <a:pt x="23227" y="0"/>
                    </a:lnTo>
                    <a:lnTo>
                      <a:pt x="23227" y="17864"/>
                    </a:lnTo>
                    <a:lnTo>
                      <a:pt x="39405" y="17864"/>
                    </a:lnTo>
                    <a:lnTo>
                      <a:pt x="3940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178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7" name="Freihandform: Form 76">
                <a:extLst>
                  <a:ext uri="{FF2B5EF4-FFF2-40B4-BE49-F238E27FC236}">
                    <a16:creationId xmlns:a16="http://schemas.microsoft.com/office/drawing/2014/main" id="{CAB9D2BF-0A35-BE55-ACB5-C94882D76B7D}"/>
                  </a:ext>
                </a:extLst>
              </p:cNvPr>
              <p:cNvSpPr/>
              <p:nvPr/>
            </p:nvSpPr>
            <p:spPr>
              <a:xfrm>
                <a:off x="4586572" y="2108371"/>
                <a:ext cx="39565" cy="43258"/>
              </a:xfrm>
              <a:custGeom>
                <a:avLst/>
                <a:gdLst>
                  <a:gd name="connsiteX0" fmla="*/ 16339 w 39565"/>
                  <a:gd name="connsiteY0" fmla="*/ 43259 h 43258"/>
                  <a:gd name="connsiteX1" fmla="*/ 16339 w 39565"/>
                  <a:gd name="connsiteY1" fmla="*/ 25395 h 43258"/>
                  <a:gd name="connsiteX2" fmla="*/ 0 w 39565"/>
                  <a:gd name="connsiteY2" fmla="*/ 25395 h 43258"/>
                  <a:gd name="connsiteX3" fmla="*/ 0 w 39565"/>
                  <a:gd name="connsiteY3" fmla="*/ 17864 h 43258"/>
                  <a:gd name="connsiteX4" fmla="*/ 16339 w 39565"/>
                  <a:gd name="connsiteY4" fmla="*/ 17864 h 43258"/>
                  <a:gd name="connsiteX5" fmla="*/ 16339 w 39565"/>
                  <a:gd name="connsiteY5" fmla="*/ 0 h 43258"/>
                  <a:gd name="connsiteX6" fmla="*/ 23227 w 39565"/>
                  <a:gd name="connsiteY6" fmla="*/ 0 h 43258"/>
                  <a:gd name="connsiteX7" fmla="*/ 23227 w 39565"/>
                  <a:gd name="connsiteY7" fmla="*/ 17864 h 43258"/>
                  <a:gd name="connsiteX8" fmla="*/ 39565 w 39565"/>
                  <a:gd name="connsiteY8" fmla="*/ 17864 h 43258"/>
                  <a:gd name="connsiteX9" fmla="*/ 39565 w 39565"/>
                  <a:gd name="connsiteY9" fmla="*/ 25395 h 43258"/>
                  <a:gd name="connsiteX10" fmla="*/ 23227 w 39565"/>
                  <a:gd name="connsiteY10" fmla="*/ 25395 h 43258"/>
                  <a:gd name="connsiteX11" fmla="*/ 23227 w 39565"/>
                  <a:gd name="connsiteY11" fmla="*/ 43259 h 43258"/>
                  <a:gd name="connsiteX12" fmla="*/ 16339 w 39565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565" h="43258">
                    <a:moveTo>
                      <a:pt x="16339" y="43259"/>
                    </a:moveTo>
                    <a:lnTo>
                      <a:pt x="16339" y="25395"/>
                    </a:lnTo>
                    <a:lnTo>
                      <a:pt x="0" y="25395"/>
                    </a:lnTo>
                    <a:lnTo>
                      <a:pt x="0" y="17864"/>
                    </a:lnTo>
                    <a:lnTo>
                      <a:pt x="16339" y="17864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864"/>
                    </a:lnTo>
                    <a:lnTo>
                      <a:pt x="39565" y="17864"/>
                    </a:lnTo>
                    <a:lnTo>
                      <a:pt x="39565" y="25395"/>
                    </a:lnTo>
                    <a:lnTo>
                      <a:pt x="23227" y="25395"/>
                    </a:lnTo>
                    <a:lnTo>
                      <a:pt x="23227" y="43259"/>
                    </a:lnTo>
                    <a:lnTo>
                      <a:pt x="16339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8" name="Freihandform: Form 77">
                <a:extLst>
                  <a:ext uri="{FF2B5EF4-FFF2-40B4-BE49-F238E27FC236}">
                    <a16:creationId xmlns:a16="http://schemas.microsoft.com/office/drawing/2014/main" id="{2CC08268-2834-328D-4E97-1297239C1059}"/>
                  </a:ext>
                </a:extLst>
              </p:cNvPr>
              <p:cNvSpPr/>
              <p:nvPr/>
            </p:nvSpPr>
            <p:spPr>
              <a:xfrm>
                <a:off x="4589616" y="2108371"/>
                <a:ext cx="39405" cy="43258"/>
              </a:xfrm>
              <a:custGeom>
                <a:avLst/>
                <a:gdLst>
                  <a:gd name="connsiteX0" fmla="*/ 16339 w 39405"/>
                  <a:gd name="connsiteY0" fmla="*/ 43259 h 43258"/>
                  <a:gd name="connsiteX1" fmla="*/ 16339 w 39405"/>
                  <a:gd name="connsiteY1" fmla="*/ 25395 h 43258"/>
                  <a:gd name="connsiteX2" fmla="*/ 0 w 39405"/>
                  <a:gd name="connsiteY2" fmla="*/ 25395 h 43258"/>
                  <a:gd name="connsiteX3" fmla="*/ 0 w 39405"/>
                  <a:gd name="connsiteY3" fmla="*/ 17864 h 43258"/>
                  <a:gd name="connsiteX4" fmla="*/ 16339 w 39405"/>
                  <a:gd name="connsiteY4" fmla="*/ 17864 h 43258"/>
                  <a:gd name="connsiteX5" fmla="*/ 16339 w 39405"/>
                  <a:gd name="connsiteY5" fmla="*/ 0 h 43258"/>
                  <a:gd name="connsiteX6" fmla="*/ 23227 w 39405"/>
                  <a:gd name="connsiteY6" fmla="*/ 0 h 43258"/>
                  <a:gd name="connsiteX7" fmla="*/ 23227 w 39405"/>
                  <a:gd name="connsiteY7" fmla="*/ 17864 h 43258"/>
                  <a:gd name="connsiteX8" fmla="*/ 39405 w 39405"/>
                  <a:gd name="connsiteY8" fmla="*/ 17864 h 43258"/>
                  <a:gd name="connsiteX9" fmla="*/ 39405 w 39405"/>
                  <a:gd name="connsiteY9" fmla="*/ 25395 h 43258"/>
                  <a:gd name="connsiteX10" fmla="*/ 23227 w 39405"/>
                  <a:gd name="connsiteY10" fmla="*/ 25395 h 43258"/>
                  <a:gd name="connsiteX11" fmla="*/ 23227 w 39405"/>
                  <a:gd name="connsiteY11" fmla="*/ 43259 h 43258"/>
                  <a:gd name="connsiteX12" fmla="*/ 16339 w 39405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5" h="43258">
                    <a:moveTo>
                      <a:pt x="16339" y="43259"/>
                    </a:moveTo>
                    <a:lnTo>
                      <a:pt x="16339" y="25395"/>
                    </a:lnTo>
                    <a:lnTo>
                      <a:pt x="0" y="25395"/>
                    </a:lnTo>
                    <a:lnTo>
                      <a:pt x="0" y="17864"/>
                    </a:lnTo>
                    <a:lnTo>
                      <a:pt x="16339" y="17864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864"/>
                    </a:lnTo>
                    <a:lnTo>
                      <a:pt x="39405" y="17864"/>
                    </a:lnTo>
                    <a:lnTo>
                      <a:pt x="39405" y="25395"/>
                    </a:lnTo>
                    <a:lnTo>
                      <a:pt x="23227" y="25395"/>
                    </a:lnTo>
                    <a:lnTo>
                      <a:pt x="23227" y="43259"/>
                    </a:lnTo>
                    <a:lnTo>
                      <a:pt x="16339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9" name="Freihandform: Form 78">
                <a:extLst>
                  <a:ext uri="{FF2B5EF4-FFF2-40B4-BE49-F238E27FC236}">
                    <a16:creationId xmlns:a16="http://schemas.microsoft.com/office/drawing/2014/main" id="{0E82BBCA-4154-5F28-F8C8-002E0EFDFC85}"/>
                  </a:ext>
                </a:extLst>
              </p:cNvPr>
              <p:cNvSpPr/>
              <p:nvPr/>
            </p:nvSpPr>
            <p:spPr>
              <a:xfrm>
                <a:off x="4604513" y="2108371"/>
                <a:ext cx="39405" cy="43258"/>
              </a:xfrm>
              <a:custGeom>
                <a:avLst/>
                <a:gdLst>
                  <a:gd name="connsiteX0" fmla="*/ 16339 w 39405"/>
                  <a:gd name="connsiteY0" fmla="*/ 43259 h 43258"/>
                  <a:gd name="connsiteX1" fmla="*/ 16339 w 39405"/>
                  <a:gd name="connsiteY1" fmla="*/ 25395 h 43258"/>
                  <a:gd name="connsiteX2" fmla="*/ 0 w 39405"/>
                  <a:gd name="connsiteY2" fmla="*/ 25395 h 43258"/>
                  <a:gd name="connsiteX3" fmla="*/ 0 w 39405"/>
                  <a:gd name="connsiteY3" fmla="*/ 17864 h 43258"/>
                  <a:gd name="connsiteX4" fmla="*/ 16339 w 39405"/>
                  <a:gd name="connsiteY4" fmla="*/ 17864 h 43258"/>
                  <a:gd name="connsiteX5" fmla="*/ 16339 w 39405"/>
                  <a:gd name="connsiteY5" fmla="*/ 0 h 43258"/>
                  <a:gd name="connsiteX6" fmla="*/ 23227 w 39405"/>
                  <a:gd name="connsiteY6" fmla="*/ 0 h 43258"/>
                  <a:gd name="connsiteX7" fmla="*/ 23227 w 39405"/>
                  <a:gd name="connsiteY7" fmla="*/ 17864 h 43258"/>
                  <a:gd name="connsiteX8" fmla="*/ 39405 w 39405"/>
                  <a:gd name="connsiteY8" fmla="*/ 17864 h 43258"/>
                  <a:gd name="connsiteX9" fmla="*/ 39405 w 39405"/>
                  <a:gd name="connsiteY9" fmla="*/ 25395 h 43258"/>
                  <a:gd name="connsiteX10" fmla="*/ 23227 w 39405"/>
                  <a:gd name="connsiteY10" fmla="*/ 25395 h 43258"/>
                  <a:gd name="connsiteX11" fmla="*/ 23227 w 39405"/>
                  <a:gd name="connsiteY11" fmla="*/ 43259 h 43258"/>
                  <a:gd name="connsiteX12" fmla="*/ 16339 w 39405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5" h="43258">
                    <a:moveTo>
                      <a:pt x="16339" y="43259"/>
                    </a:moveTo>
                    <a:lnTo>
                      <a:pt x="16339" y="25395"/>
                    </a:lnTo>
                    <a:lnTo>
                      <a:pt x="0" y="25395"/>
                    </a:lnTo>
                    <a:lnTo>
                      <a:pt x="0" y="17864"/>
                    </a:lnTo>
                    <a:lnTo>
                      <a:pt x="16339" y="17864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864"/>
                    </a:lnTo>
                    <a:lnTo>
                      <a:pt x="39405" y="17864"/>
                    </a:lnTo>
                    <a:lnTo>
                      <a:pt x="39405" y="25395"/>
                    </a:lnTo>
                    <a:lnTo>
                      <a:pt x="23227" y="25395"/>
                    </a:lnTo>
                    <a:lnTo>
                      <a:pt x="23227" y="43259"/>
                    </a:lnTo>
                    <a:lnTo>
                      <a:pt x="16339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0" name="Freihandform: Form 79">
                <a:extLst>
                  <a:ext uri="{FF2B5EF4-FFF2-40B4-BE49-F238E27FC236}">
                    <a16:creationId xmlns:a16="http://schemas.microsoft.com/office/drawing/2014/main" id="{6DF6F608-5878-24E3-B5D4-4E9EE8DBE07F}"/>
                  </a:ext>
                </a:extLst>
              </p:cNvPr>
              <p:cNvSpPr/>
              <p:nvPr/>
            </p:nvSpPr>
            <p:spPr>
              <a:xfrm>
                <a:off x="4628380" y="2122207"/>
                <a:ext cx="39405" cy="43258"/>
              </a:xfrm>
              <a:custGeom>
                <a:avLst/>
                <a:gdLst>
                  <a:gd name="connsiteX0" fmla="*/ 16178 w 39405"/>
                  <a:gd name="connsiteY0" fmla="*/ 43259 h 43258"/>
                  <a:gd name="connsiteX1" fmla="*/ 16178 w 39405"/>
                  <a:gd name="connsiteY1" fmla="*/ 25220 h 43258"/>
                  <a:gd name="connsiteX2" fmla="*/ 0 w 39405"/>
                  <a:gd name="connsiteY2" fmla="*/ 25220 h 43258"/>
                  <a:gd name="connsiteX3" fmla="*/ 0 w 39405"/>
                  <a:gd name="connsiteY3" fmla="*/ 17864 h 43258"/>
                  <a:gd name="connsiteX4" fmla="*/ 16178 w 39405"/>
                  <a:gd name="connsiteY4" fmla="*/ 17864 h 43258"/>
                  <a:gd name="connsiteX5" fmla="*/ 16178 w 39405"/>
                  <a:gd name="connsiteY5" fmla="*/ 0 h 43258"/>
                  <a:gd name="connsiteX6" fmla="*/ 23066 w 39405"/>
                  <a:gd name="connsiteY6" fmla="*/ 0 h 43258"/>
                  <a:gd name="connsiteX7" fmla="*/ 23066 w 39405"/>
                  <a:gd name="connsiteY7" fmla="*/ 17864 h 43258"/>
                  <a:gd name="connsiteX8" fmla="*/ 39405 w 39405"/>
                  <a:gd name="connsiteY8" fmla="*/ 17864 h 43258"/>
                  <a:gd name="connsiteX9" fmla="*/ 39405 w 39405"/>
                  <a:gd name="connsiteY9" fmla="*/ 25220 h 43258"/>
                  <a:gd name="connsiteX10" fmla="*/ 23066 w 39405"/>
                  <a:gd name="connsiteY10" fmla="*/ 25220 h 43258"/>
                  <a:gd name="connsiteX11" fmla="*/ 23066 w 39405"/>
                  <a:gd name="connsiteY11" fmla="*/ 43259 h 43258"/>
                  <a:gd name="connsiteX12" fmla="*/ 16178 w 39405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5" h="43258">
                    <a:moveTo>
                      <a:pt x="16178" y="43259"/>
                    </a:moveTo>
                    <a:lnTo>
                      <a:pt x="16178" y="25220"/>
                    </a:lnTo>
                    <a:lnTo>
                      <a:pt x="0" y="25220"/>
                    </a:lnTo>
                    <a:lnTo>
                      <a:pt x="0" y="17864"/>
                    </a:lnTo>
                    <a:lnTo>
                      <a:pt x="16178" y="17864"/>
                    </a:lnTo>
                    <a:lnTo>
                      <a:pt x="16178" y="0"/>
                    </a:lnTo>
                    <a:lnTo>
                      <a:pt x="23066" y="0"/>
                    </a:lnTo>
                    <a:lnTo>
                      <a:pt x="23066" y="17864"/>
                    </a:lnTo>
                    <a:lnTo>
                      <a:pt x="39405" y="17864"/>
                    </a:lnTo>
                    <a:lnTo>
                      <a:pt x="39405" y="25220"/>
                    </a:lnTo>
                    <a:lnTo>
                      <a:pt x="23066" y="25220"/>
                    </a:lnTo>
                    <a:lnTo>
                      <a:pt x="23066" y="43259"/>
                    </a:lnTo>
                    <a:lnTo>
                      <a:pt x="16178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1" name="Freihandform: Form 80">
                <a:extLst>
                  <a:ext uri="{FF2B5EF4-FFF2-40B4-BE49-F238E27FC236}">
                    <a16:creationId xmlns:a16="http://schemas.microsoft.com/office/drawing/2014/main" id="{BC01C095-B896-FFE9-9D1C-6C563F82E850}"/>
                  </a:ext>
                </a:extLst>
              </p:cNvPr>
              <p:cNvSpPr/>
              <p:nvPr/>
            </p:nvSpPr>
            <p:spPr>
              <a:xfrm>
                <a:off x="4765337" y="2132015"/>
                <a:ext cx="39565" cy="43083"/>
              </a:xfrm>
              <a:custGeom>
                <a:avLst/>
                <a:gdLst>
                  <a:gd name="connsiteX0" fmla="*/ 16339 w 39565"/>
                  <a:gd name="connsiteY0" fmla="*/ 43084 h 43083"/>
                  <a:gd name="connsiteX1" fmla="*/ 16339 w 39565"/>
                  <a:gd name="connsiteY1" fmla="*/ 25220 h 43083"/>
                  <a:gd name="connsiteX2" fmla="*/ 0 w 39565"/>
                  <a:gd name="connsiteY2" fmla="*/ 25220 h 43083"/>
                  <a:gd name="connsiteX3" fmla="*/ 0 w 39565"/>
                  <a:gd name="connsiteY3" fmla="*/ 17689 h 43083"/>
                  <a:gd name="connsiteX4" fmla="*/ 16339 w 39565"/>
                  <a:gd name="connsiteY4" fmla="*/ 17689 h 43083"/>
                  <a:gd name="connsiteX5" fmla="*/ 16339 w 39565"/>
                  <a:gd name="connsiteY5" fmla="*/ 0 h 43083"/>
                  <a:gd name="connsiteX6" fmla="*/ 23227 w 39565"/>
                  <a:gd name="connsiteY6" fmla="*/ 0 h 43083"/>
                  <a:gd name="connsiteX7" fmla="*/ 23227 w 39565"/>
                  <a:gd name="connsiteY7" fmla="*/ 17689 h 43083"/>
                  <a:gd name="connsiteX8" fmla="*/ 39565 w 39565"/>
                  <a:gd name="connsiteY8" fmla="*/ 17689 h 43083"/>
                  <a:gd name="connsiteX9" fmla="*/ 39565 w 39565"/>
                  <a:gd name="connsiteY9" fmla="*/ 25220 h 43083"/>
                  <a:gd name="connsiteX10" fmla="*/ 23227 w 39565"/>
                  <a:gd name="connsiteY10" fmla="*/ 25220 h 43083"/>
                  <a:gd name="connsiteX11" fmla="*/ 23227 w 39565"/>
                  <a:gd name="connsiteY11" fmla="*/ 43084 h 43083"/>
                  <a:gd name="connsiteX12" fmla="*/ 16339 w 3956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565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565" y="17689"/>
                    </a:lnTo>
                    <a:lnTo>
                      <a:pt x="3956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2" name="Freihandform: Form 81">
                <a:extLst>
                  <a:ext uri="{FF2B5EF4-FFF2-40B4-BE49-F238E27FC236}">
                    <a16:creationId xmlns:a16="http://schemas.microsoft.com/office/drawing/2014/main" id="{F381F82E-3D25-B79F-8092-ED2EE8B85AFB}"/>
                  </a:ext>
                </a:extLst>
              </p:cNvPr>
              <p:cNvSpPr/>
              <p:nvPr/>
            </p:nvSpPr>
            <p:spPr>
              <a:xfrm>
                <a:off x="4771263" y="2132015"/>
                <a:ext cx="39405" cy="43083"/>
              </a:xfrm>
              <a:custGeom>
                <a:avLst/>
                <a:gdLst>
                  <a:gd name="connsiteX0" fmla="*/ 16339 w 39405"/>
                  <a:gd name="connsiteY0" fmla="*/ 43084 h 43083"/>
                  <a:gd name="connsiteX1" fmla="*/ 16339 w 39405"/>
                  <a:gd name="connsiteY1" fmla="*/ 25220 h 43083"/>
                  <a:gd name="connsiteX2" fmla="*/ 0 w 39405"/>
                  <a:gd name="connsiteY2" fmla="*/ 25220 h 43083"/>
                  <a:gd name="connsiteX3" fmla="*/ 0 w 39405"/>
                  <a:gd name="connsiteY3" fmla="*/ 17689 h 43083"/>
                  <a:gd name="connsiteX4" fmla="*/ 16339 w 39405"/>
                  <a:gd name="connsiteY4" fmla="*/ 17689 h 43083"/>
                  <a:gd name="connsiteX5" fmla="*/ 16339 w 39405"/>
                  <a:gd name="connsiteY5" fmla="*/ 0 h 43083"/>
                  <a:gd name="connsiteX6" fmla="*/ 23227 w 39405"/>
                  <a:gd name="connsiteY6" fmla="*/ 0 h 43083"/>
                  <a:gd name="connsiteX7" fmla="*/ 23227 w 39405"/>
                  <a:gd name="connsiteY7" fmla="*/ 17689 h 43083"/>
                  <a:gd name="connsiteX8" fmla="*/ 39405 w 39405"/>
                  <a:gd name="connsiteY8" fmla="*/ 17689 h 43083"/>
                  <a:gd name="connsiteX9" fmla="*/ 39405 w 39405"/>
                  <a:gd name="connsiteY9" fmla="*/ 25220 h 43083"/>
                  <a:gd name="connsiteX10" fmla="*/ 23227 w 39405"/>
                  <a:gd name="connsiteY10" fmla="*/ 25220 h 43083"/>
                  <a:gd name="connsiteX11" fmla="*/ 23227 w 39405"/>
                  <a:gd name="connsiteY11" fmla="*/ 43084 h 43083"/>
                  <a:gd name="connsiteX12" fmla="*/ 16339 w 3940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5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3" name="Freihandform: Form 82">
                <a:extLst>
                  <a:ext uri="{FF2B5EF4-FFF2-40B4-BE49-F238E27FC236}">
                    <a16:creationId xmlns:a16="http://schemas.microsoft.com/office/drawing/2014/main" id="{BC03CEDC-8F9E-9E06-C117-54EEDFA61457}"/>
                  </a:ext>
                </a:extLst>
              </p:cNvPr>
              <p:cNvSpPr/>
              <p:nvPr/>
            </p:nvSpPr>
            <p:spPr>
              <a:xfrm>
                <a:off x="4789204" y="2136743"/>
                <a:ext cx="39404" cy="43083"/>
              </a:xfrm>
              <a:custGeom>
                <a:avLst/>
                <a:gdLst>
                  <a:gd name="connsiteX0" fmla="*/ 16178 w 39404"/>
                  <a:gd name="connsiteY0" fmla="*/ 43084 h 43083"/>
                  <a:gd name="connsiteX1" fmla="*/ 16178 w 39404"/>
                  <a:gd name="connsiteY1" fmla="*/ 25220 h 43083"/>
                  <a:gd name="connsiteX2" fmla="*/ 0 w 39404"/>
                  <a:gd name="connsiteY2" fmla="*/ 25220 h 43083"/>
                  <a:gd name="connsiteX3" fmla="*/ 0 w 39404"/>
                  <a:gd name="connsiteY3" fmla="*/ 17689 h 43083"/>
                  <a:gd name="connsiteX4" fmla="*/ 16178 w 39404"/>
                  <a:gd name="connsiteY4" fmla="*/ 17689 h 43083"/>
                  <a:gd name="connsiteX5" fmla="*/ 16178 w 39404"/>
                  <a:gd name="connsiteY5" fmla="*/ 0 h 43083"/>
                  <a:gd name="connsiteX6" fmla="*/ 23227 w 39404"/>
                  <a:gd name="connsiteY6" fmla="*/ 0 h 43083"/>
                  <a:gd name="connsiteX7" fmla="*/ 23227 w 39404"/>
                  <a:gd name="connsiteY7" fmla="*/ 17689 h 43083"/>
                  <a:gd name="connsiteX8" fmla="*/ 39405 w 39404"/>
                  <a:gd name="connsiteY8" fmla="*/ 17689 h 43083"/>
                  <a:gd name="connsiteX9" fmla="*/ 39405 w 39404"/>
                  <a:gd name="connsiteY9" fmla="*/ 25220 h 43083"/>
                  <a:gd name="connsiteX10" fmla="*/ 23227 w 39404"/>
                  <a:gd name="connsiteY10" fmla="*/ 25220 h 43083"/>
                  <a:gd name="connsiteX11" fmla="*/ 23227 w 39404"/>
                  <a:gd name="connsiteY11" fmla="*/ 43084 h 43083"/>
                  <a:gd name="connsiteX12" fmla="*/ 16178 w 39404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083">
                    <a:moveTo>
                      <a:pt x="16178" y="43084"/>
                    </a:moveTo>
                    <a:lnTo>
                      <a:pt x="16178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8" y="17689"/>
                    </a:lnTo>
                    <a:lnTo>
                      <a:pt x="16178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178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4" name="Freihandform: Form 83">
                <a:extLst>
                  <a:ext uri="{FF2B5EF4-FFF2-40B4-BE49-F238E27FC236}">
                    <a16:creationId xmlns:a16="http://schemas.microsoft.com/office/drawing/2014/main" id="{961BCAF2-CB86-65AE-F50C-2A5F3579AEDA}"/>
                  </a:ext>
                </a:extLst>
              </p:cNvPr>
              <p:cNvSpPr/>
              <p:nvPr/>
            </p:nvSpPr>
            <p:spPr>
              <a:xfrm>
                <a:off x="4815955" y="2136743"/>
                <a:ext cx="39565" cy="43083"/>
              </a:xfrm>
              <a:custGeom>
                <a:avLst/>
                <a:gdLst>
                  <a:gd name="connsiteX0" fmla="*/ 16339 w 39565"/>
                  <a:gd name="connsiteY0" fmla="*/ 43084 h 43083"/>
                  <a:gd name="connsiteX1" fmla="*/ 16339 w 39565"/>
                  <a:gd name="connsiteY1" fmla="*/ 25220 h 43083"/>
                  <a:gd name="connsiteX2" fmla="*/ 0 w 39565"/>
                  <a:gd name="connsiteY2" fmla="*/ 25220 h 43083"/>
                  <a:gd name="connsiteX3" fmla="*/ 0 w 39565"/>
                  <a:gd name="connsiteY3" fmla="*/ 17689 h 43083"/>
                  <a:gd name="connsiteX4" fmla="*/ 16339 w 39565"/>
                  <a:gd name="connsiteY4" fmla="*/ 17689 h 43083"/>
                  <a:gd name="connsiteX5" fmla="*/ 16339 w 39565"/>
                  <a:gd name="connsiteY5" fmla="*/ 0 h 43083"/>
                  <a:gd name="connsiteX6" fmla="*/ 23227 w 39565"/>
                  <a:gd name="connsiteY6" fmla="*/ 0 h 43083"/>
                  <a:gd name="connsiteX7" fmla="*/ 23227 w 39565"/>
                  <a:gd name="connsiteY7" fmla="*/ 17689 h 43083"/>
                  <a:gd name="connsiteX8" fmla="*/ 39565 w 39565"/>
                  <a:gd name="connsiteY8" fmla="*/ 17689 h 43083"/>
                  <a:gd name="connsiteX9" fmla="*/ 39565 w 39565"/>
                  <a:gd name="connsiteY9" fmla="*/ 25220 h 43083"/>
                  <a:gd name="connsiteX10" fmla="*/ 23227 w 39565"/>
                  <a:gd name="connsiteY10" fmla="*/ 25220 h 43083"/>
                  <a:gd name="connsiteX11" fmla="*/ 23227 w 39565"/>
                  <a:gd name="connsiteY11" fmla="*/ 43084 h 43083"/>
                  <a:gd name="connsiteX12" fmla="*/ 16339 w 3956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565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565" y="17689"/>
                    </a:lnTo>
                    <a:lnTo>
                      <a:pt x="3956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5" name="Freihandform: Form 84">
                <a:extLst>
                  <a:ext uri="{FF2B5EF4-FFF2-40B4-BE49-F238E27FC236}">
                    <a16:creationId xmlns:a16="http://schemas.microsoft.com/office/drawing/2014/main" id="{C866E42F-8117-0612-7839-4791E8477549}"/>
                  </a:ext>
                </a:extLst>
              </p:cNvPr>
              <p:cNvSpPr/>
              <p:nvPr/>
            </p:nvSpPr>
            <p:spPr>
              <a:xfrm>
                <a:off x="4848792" y="2136743"/>
                <a:ext cx="39405" cy="43083"/>
              </a:xfrm>
              <a:custGeom>
                <a:avLst/>
                <a:gdLst>
                  <a:gd name="connsiteX0" fmla="*/ 16179 w 39405"/>
                  <a:gd name="connsiteY0" fmla="*/ 43084 h 43083"/>
                  <a:gd name="connsiteX1" fmla="*/ 16179 w 39405"/>
                  <a:gd name="connsiteY1" fmla="*/ 25220 h 43083"/>
                  <a:gd name="connsiteX2" fmla="*/ 0 w 39405"/>
                  <a:gd name="connsiteY2" fmla="*/ 25220 h 43083"/>
                  <a:gd name="connsiteX3" fmla="*/ 0 w 39405"/>
                  <a:gd name="connsiteY3" fmla="*/ 17689 h 43083"/>
                  <a:gd name="connsiteX4" fmla="*/ 16179 w 39405"/>
                  <a:gd name="connsiteY4" fmla="*/ 17689 h 43083"/>
                  <a:gd name="connsiteX5" fmla="*/ 16179 w 39405"/>
                  <a:gd name="connsiteY5" fmla="*/ 0 h 43083"/>
                  <a:gd name="connsiteX6" fmla="*/ 23066 w 39405"/>
                  <a:gd name="connsiteY6" fmla="*/ 0 h 43083"/>
                  <a:gd name="connsiteX7" fmla="*/ 23066 w 39405"/>
                  <a:gd name="connsiteY7" fmla="*/ 17689 h 43083"/>
                  <a:gd name="connsiteX8" fmla="*/ 39405 w 39405"/>
                  <a:gd name="connsiteY8" fmla="*/ 17689 h 43083"/>
                  <a:gd name="connsiteX9" fmla="*/ 39405 w 39405"/>
                  <a:gd name="connsiteY9" fmla="*/ 25220 h 43083"/>
                  <a:gd name="connsiteX10" fmla="*/ 23066 w 39405"/>
                  <a:gd name="connsiteY10" fmla="*/ 25220 h 43083"/>
                  <a:gd name="connsiteX11" fmla="*/ 23066 w 39405"/>
                  <a:gd name="connsiteY11" fmla="*/ 43084 h 43083"/>
                  <a:gd name="connsiteX12" fmla="*/ 16179 w 3940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5" h="43083">
                    <a:moveTo>
                      <a:pt x="16179" y="43084"/>
                    </a:moveTo>
                    <a:lnTo>
                      <a:pt x="1617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9" y="17689"/>
                    </a:lnTo>
                    <a:lnTo>
                      <a:pt x="16179" y="0"/>
                    </a:lnTo>
                    <a:lnTo>
                      <a:pt x="23066" y="0"/>
                    </a:lnTo>
                    <a:lnTo>
                      <a:pt x="23066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066" y="25220"/>
                    </a:lnTo>
                    <a:lnTo>
                      <a:pt x="23066" y="43084"/>
                    </a:lnTo>
                    <a:lnTo>
                      <a:pt x="1617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6" name="Freihandform: Form 85">
                <a:extLst>
                  <a:ext uri="{FF2B5EF4-FFF2-40B4-BE49-F238E27FC236}">
                    <a16:creationId xmlns:a16="http://schemas.microsoft.com/office/drawing/2014/main" id="{8CFFCE21-D490-2890-C15C-202C321BA8E0}"/>
                  </a:ext>
                </a:extLst>
              </p:cNvPr>
              <p:cNvSpPr/>
              <p:nvPr/>
            </p:nvSpPr>
            <p:spPr>
              <a:xfrm>
                <a:off x="4860646" y="2136743"/>
                <a:ext cx="39405" cy="43083"/>
              </a:xfrm>
              <a:custGeom>
                <a:avLst/>
                <a:gdLst>
                  <a:gd name="connsiteX0" fmla="*/ 16339 w 39405"/>
                  <a:gd name="connsiteY0" fmla="*/ 43084 h 43083"/>
                  <a:gd name="connsiteX1" fmla="*/ 16339 w 39405"/>
                  <a:gd name="connsiteY1" fmla="*/ 25220 h 43083"/>
                  <a:gd name="connsiteX2" fmla="*/ 0 w 39405"/>
                  <a:gd name="connsiteY2" fmla="*/ 25220 h 43083"/>
                  <a:gd name="connsiteX3" fmla="*/ 0 w 39405"/>
                  <a:gd name="connsiteY3" fmla="*/ 17689 h 43083"/>
                  <a:gd name="connsiteX4" fmla="*/ 16339 w 39405"/>
                  <a:gd name="connsiteY4" fmla="*/ 17689 h 43083"/>
                  <a:gd name="connsiteX5" fmla="*/ 16339 w 39405"/>
                  <a:gd name="connsiteY5" fmla="*/ 0 h 43083"/>
                  <a:gd name="connsiteX6" fmla="*/ 23227 w 39405"/>
                  <a:gd name="connsiteY6" fmla="*/ 0 h 43083"/>
                  <a:gd name="connsiteX7" fmla="*/ 23227 w 39405"/>
                  <a:gd name="connsiteY7" fmla="*/ 17689 h 43083"/>
                  <a:gd name="connsiteX8" fmla="*/ 39405 w 39405"/>
                  <a:gd name="connsiteY8" fmla="*/ 17689 h 43083"/>
                  <a:gd name="connsiteX9" fmla="*/ 39405 w 39405"/>
                  <a:gd name="connsiteY9" fmla="*/ 25220 h 43083"/>
                  <a:gd name="connsiteX10" fmla="*/ 23227 w 39405"/>
                  <a:gd name="connsiteY10" fmla="*/ 25220 h 43083"/>
                  <a:gd name="connsiteX11" fmla="*/ 23227 w 39405"/>
                  <a:gd name="connsiteY11" fmla="*/ 43084 h 43083"/>
                  <a:gd name="connsiteX12" fmla="*/ 16339 w 3940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5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7" name="Freihandform: Form 86">
                <a:extLst>
                  <a:ext uri="{FF2B5EF4-FFF2-40B4-BE49-F238E27FC236}">
                    <a16:creationId xmlns:a16="http://schemas.microsoft.com/office/drawing/2014/main" id="{3365A92C-0A09-C710-A5AC-5CEB9D3D0912}"/>
                  </a:ext>
                </a:extLst>
              </p:cNvPr>
              <p:cNvSpPr/>
              <p:nvPr/>
            </p:nvSpPr>
            <p:spPr>
              <a:xfrm>
                <a:off x="4902454" y="2141998"/>
                <a:ext cx="39405" cy="43258"/>
              </a:xfrm>
              <a:custGeom>
                <a:avLst/>
                <a:gdLst>
                  <a:gd name="connsiteX0" fmla="*/ 16178 w 39405"/>
                  <a:gd name="connsiteY0" fmla="*/ 43259 h 43258"/>
                  <a:gd name="connsiteX1" fmla="*/ 16178 w 39405"/>
                  <a:gd name="connsiteY1" fmla="*/ 25220 h 43258"/>
                  <a:gd name="connsiteX2" fmla="*/ 0 w 39405"/>
                  <a:gd name="connsiteY2" fmla="*/ 25220 h 43258"/>
                  <a:gd name="connsiteX3" fmla="*/ 0 w 39405"/>
                  <a:gd name="connsiteY3" fmla="*/ 17864 h 43258"/>
                  <a:gd name="connsiteX4" fmla="*/ 16178 w 39405"/>
                  <a:gd name="connsiteY4" fmla="*/ 17864 h 43258"/>
                  <a:gd name="connsiteX5" fmla="*/ 16178 w 39405"/>
                  <a:gd name="connsiteY5" fmla="*/ 0 h 43258"/>
                  <a:gd name="connsiteX6" fmla="*/ 23066 w 39405"/>
                  <a:gd name="connsiteY6" fmla="*/ 0 h 43258"/>
                  <a:gd name="connsiteX7" fmla="*/ 23066 w 39405"/>
                  <a:gd name="connsiteY7" fmla="*/ 17864 h 43258"/>
                  <a:gd name="connsiteX8" fmla="*/ 39405 w 39405"/>
                  <a:gd name="connsiteY8" fmla="*/ 17864 h 43258"/>
                  <a:gd name="connsiteX9" fmla="*/ 39405 w 39405"/>
                  <a:gd name="connsiteY9" fmla="*/ 25220 h 43258"/>
                  <a:gd name="connsiteX10" fmla="*/ 23066 w 39405"/>
                  <a:gd name="connsiteY10" fmla="*/ 25220 h 43258"/>
                  <a:gd name="connsiteX11" fmla="*/ 23066 w 39405"/>
                  <a:gd name="connsiteY11" fmla="*/ 43259 h 43258"/>
                  <a:gd name="connsiteX12" fmla="*/ 16178 w 39405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5" h="43258">
                    <a:moveTo>
                      <a:pt x="16178" y="43259"/>
                    </a:moveTo>
                    <a:lnTo>
                      <a:pt x="16178" y="25220"/>
                    </a:lnTo>
                    <a:lnTo>
                      <a:pt x="0" y="25220"/>
                    </a:lnTo>
                    <a:lnTo>
                      <a:pt x="0" y="17864"/>
                    </a:lnTo>
                    <a:lnTo>
                      <a:pt x="16178" y="17864"/>
                    </a:lnTo>
                    <a:lnTo>
                      <a:pt x="16178" y="0"/>
                    </a:lnTo>
                    <a:lnTo>
                      <a:pt x="23066" y="0"/>
                    </a:lnTo>
                    <a:lnTo>
                      <a:pt x="23066" y="17864"/>
                    </a:lnTo>
                    <a:lnTo>
                      <a:pt x="39405" y="17864"/>
                    </a:lnTo>
                    <a:lnTo>
                      <a:pt x="39405" y="25220"/>
                    </a:lnTo>
                    <a:lnTo>
                      <a:pt x="23066" y="25220"/>
                    </a:lnTo>
                    <a:lnTo>
                      <a:pt x="23066" y="43259"/>
                    </a:lnTo>
                    <a:lnTo>
                      <a:pt x="16178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8" name="Freihandform: Form 87">
                <a:extLst>
                  <a:ext uri="{FF2B5EF4-FFF2-40B4-BE49-F238E27FC236}">
                    <a16:creationId xmlns:a16="http://schemas.microsoft.com/office/drawing/2014/main" id="{4BC43872-A7F4-915E-EB42-DE36213D17BF}"/>
                  </a:ext>
                </a:extLst>
              </p:cNvPr>
              <p:cNvSpPr/>
              <p:nvPr/>
            </p:nvSpPr>
            <p:spPr>
              <a:xfrm>
                <a:off x="4985749" y="2157935"/>
                <a:ext cx="39565" cy="43083"/>
              </a:xfrm>
              <a:custGeom>
                <a:avLst/>
                <a:gdLst>
                  <a:gd name="connsiteX0" fmla="*/ 16339 w 39565"/>
                  <a:gd name="connsiteY0" fmla="*/ 43084 h 43083"/>
                  <a:gd name="connsiteX1" fmla="*/ 16339 w 39565"/>
                  <a:gd name="connsiteY1" fmla="*/ 25220 h 43083"/>
                  <a:gd name="connsiteX2" fmla="*/ 0 w 39565"/>
                  <a:gd name="connsiteY2" fmla="*/ 25220 h 43083"/>
                  <a:gd name="connsiteX3" fmla="*/ 0 w 39565"/>
                  <a:gd name="connsiteY3" fmla="*/ 17689 h 43083"/>
                  <a:gd name="connsiteX4" fmla="*/ 16339 w 39565"/>
                  <a:gd name="connsiteY4" fmla="*/ 17689 h 43083"/>
                  <a:gd name="connsiteX5" fmla="*/ 16339 w 39565"/>
                  <a:gd name="connsiteY5" fmla="*/ 0 h 43083"/>
                  <a:gd name="connsiteX6" fmla="*/ 23227 w 39565"/>
                  <a:gd name="connsiteY6" fmla="*/ 0 h 43083"/>
                  <a:gd name="connsiteX7" fmla="*/ 23227 w 39565"/>
                  <a:gd name="connsiteY7" fmla="*/ 17689 h 43083"/>
                  <a:gd name="connsiteX8" fmla="*/ 39565 w 39565"/>
                  <a:gd name="connsiteY8" fmla="*/ 17689 h 43083"/>
                  <a:gd name="connsiteX9" fmla="*/ 39565 w 39565"/>
                  <a:gd name="connsiteY9" fmla="*/ 25220 h 43083"/>
                  <a:gd name="connsiteX10" fmla="*/ 23227 w 39565"/>
                  <a:gd name="connsiteY10" fmla="*/ 25220 h 43083"/>
                  <a:gd name="connsiteX11" fmla="*/ 23227 w 39565"/>
                  <a:gd name="connsiteY11" fmla="*/ 43084 h 43083"/>
                  <a:gd name="connsiteX12" fmla="*/ 16339 w 3956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565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565" y="17689"/>
                    </a:lnTo>
                    <a:lnTo>
                      <a:pt x="3956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9" name="Freihandform: Form 88">
                <a:extLst>
                  <a:ext uri="{FF2B5EF4-FFF2-40B4-BE49-F238E27FC236}">
                    <a16:creationId xmlns:a16="http://schemas.microsoft.com/office/drawing/2014/main" id="{2C4EFA5F-AD12-9DE6-CA9F-A8F355611142}"/>
                  </a:ext>
                </a:extLst>
              </p:cNvPr>
              <p:cNvSpPr/>
              <p:nvPr/>
            </p:nvSpPr>
            <p:spPr>
              <a:xfrm>
                <a:off x="5006573" y="2157935"/>
                <a:ext cx="39405" cy="43083"/>
              </a:xfrm>
              <a:custGeom>
                <a:avLst/>
                <a:gdLst>
                  <a:gd name="connsiteX0" fmla="*/ 16339 w 39405"/>
                  <a:gd name="connsiteY0" fmla="*/ 43084 h 43083"/>
                  <a:gd name="connsiteX1" fmla="*/ 16339 w 39405"/>
                  <a:gd name="connsiteY1" fmla="*/ 25220 h 43083"/>
                  <a:gd name="connsiteX2" fmla="*/ 0 w 39405"/>
                  <a:gd name="connsiteY2" fmla="*/ 25220 h 43083"/>
                  <a:gd name="connsiteX3" fmla="*/ 0 w 39405"/>
                  <a:gd name="connsiteY3" fmla="*/ 17689 h 43083"/>
                  <a:gd name="connsiteX4" fmla="*/ 16339 w 39405"/>
                  <a:gd name="connsiteY4" fmla="*/ 17689 h 43083"/>
                  <a:gd name="connsiteX5" fmla="*/ 16339 w 39405"/>
                  <a:gd name="connsiteY5" fmla="*/ 0 h 43083"/>
                  <a:gd name="connsiteX6" fmla="*/ 23227 w 39405"/>
                  <a:gd name="connsiteY6" fmla="*/ 0 h 43083"/>
                  <a:gd name="connsiteX7" fmla="*/ 23227 w 39405"/>
                  <a:gd name="connsiteY7" fmla="*/ 17689 h 43083"/>
                  <a:gd name="connsiteX8" fmla="*/ 39405 w 39405"/>
                  <a:gd name="connsiteY8" fmla="*/ 17689 h 43083"/>
                  <a:gd name="connsiteX9" fmla="*/ 39405 w 39405"/>
                  <a:gd name="connsiteY9" fmla="*/ 25220 h 43083"/>
                  <a:gd name="connsiteX10" fmla="*/ 23227 w 39405"/>
                  <a:gd name="connsiteY10" fmla="*/ 25220 h 43083"/>
                  <a:gd name="connsiteX11" fmla="*/ 23227 w 39405"/>
                  <a:gd name="connsiteY11" fmla="*/ 43084 h 43083"/>
                  <a:gd name="connsiteX12" fmla="*/ 16339 w 3940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5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0" name="Freihandform: Form 89">
                <a:extLst>
                  <a:ext uri="{FF2B5EF4-FFF2-40B4-BE49-F238E27FC236}">
                    <a16:creationId xmlns:a16="http://schemas.microsoft.com/office/drawing/2014/main" id="{EFE1F523-BD3C-742B-C572-A5ED690D98DD}"/>
                  </a:ext>
                </a:extLst>
              </p:cNvPr>
              <p:cNvSpPr/>
              <p:nvPr/>
            </p:nvSpPr>
            <p:spPr>
              <a:xfrm>
                <a:off x="5021470" y="2157935"/>
                <a:ext cx="39565" cy="43083"/>
              </a:xfrm>
              <a:custGeom>
                <a:avLst/>
                <a:gdLst>
                  <a:gd name="connsiteX0" fmla="*/ 16339 w 39565"/>
                  <a:gd name="connsiteY0" fmla="*/ 43084 h 43083"/>
                  <a:gd name="connsiteX1" fmla="*/ 16339 w 39565"/>
                  <a:gd name="connsiteY1" fmla="*/ 25220 h 43083"/>
                  <a:gd name="connsiteX2" fmla="*/ 0 w 39565"/>
                  <a:gd name="connsiteY2" fmla="*/ 25220 h 43083"/>
                  <a:gd name="connsiteX3" fmla="*/ 0 w 39565"/>
                  <a:gd name="connsiteY3" fmla="*/ 17689 h 43083"/>
                  <a:gd name="connsiteX4" fmla="*/ 16339 w 39565"/>
                  <a:gd name="connsiteY4" fmla="*/ 17689 h 43083"/>
                  <a:gd name="connsiteX5" fmla="*/ 16339 w 39565"/>
                  <a:gd name="connsiteY5" fmla="*/ 0 h 43083"/>
                  <a:gd name="connsiteX6" fmla="*/ 23227 w 39565"/>
                  <a:gd name="connsiteY6" fmla="*/ 0 h 43083"/>
                  <a:gd name="connsiteX7" fmla="*/ 23227 w 39565"/>
                  <a:gd name="connsiteY7" fmla="*/ 17689 h 43083"/>
                  <a:gd name="connsiteX8" fmla="*/ 39565 w 39565"/>
                  <a:gd name="connsiteY8" fmla="*/ 17689 h 43083"/>
                  <a:gd name="connsiteX9" fmla="*/ 39565 w 39565"/>
                  <a:gd name="connsiteY9" fmla="*/ 25220 h 43083"/>
                  <a:gd name="connsiteX10" fmla="*/ 23227 w 39565"/>
                  <a:gd name="connsiteY10" fmla="*/ 25220 h 43083"/>
                  <a:gd name="connsiteX11" fmla="*/ 23227 w 39565"/>
                  <a:gd name="connsiteY11" fmla="*/ 43084 h 43083"/>
                  <a:gd name="connsiteX12" fmla="*/ 16339 w 3956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565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565" y="17689"/>
                    </a:lnTo>
                    <a:lnTo>
                      <a:pt x="3956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1" name="Freihandform: Form 90">
                <a:extLst>
                  <a:ext uri="{FF2B5EF4-FFF2-40B4-BE49-F238E27FC236}">
                    <a16:creationId xmlns:a16="http://schemas.microsoft.com/office/drawing/2014/main" id="{8D2E1263-E04E-95EA-C1A6-E6DDC5D600F8}"/>
                  </a:ext>
                </a:extLst>
              </p:cNvPr>
              <p:cNvSpPr/>
              <p:nvPr/>
            </p:nvSpPr>
            <p:spPr>
              <a:xfrm>
                <a:off x="5030440" y="2157935"/>
                <a:ext cx="39404" cy="43083"/>
              </a:xfrm>
              <a:custGeom>
                <a:avLst/>
                <a:gdLst>
                  <a:gd name="connsiteX0" fmla="*/ 16339 w 39404"/>
                  <a:gd name="connsiteY0" fmla="*/ 43084 h 43083"/>
                  <a:gd name="connsiteX1" fmla="*/ 16339 w 39404"/>
                  <a:gd name="connsiteY1" fmla="*/ 25220 h 43083"/>
                  <a:gd name="connsiteX2" fmla="*/ 0 w 39404"/>
                  <a:gd name="connsiteY2" fmla="*/ 25220 h 43083"/>
                  <a:gd name="connsiteX3" fmla="*/ 0 w 39404"/>
                  <a:gd name="connsiteY3" fmla="*/ 17689 h 43083"/>
                  <a:gd name="connsiteX4" fmla="*/ 16339 w 39404"/>
                  <a:gd name="connsiteY4" fmla="*/ 17689 h 43083"/>
                  <a:gd name="connsiteX5" fmla="*/ 16339 w 39404"/>
                  <a:gd name="connsiteY5" fmla="*/ 0 h 43083"/>
                  <a:gd name="connsiteX6" fmla="*/ 23227 w 39404"/>
                  <a:gd name="connsiteY6" fmla="*/ 0 h 43083"/>
                  <a:gd name="connsiteX7" fmla="*/ 23227 w 39404"/>
                  <a:gd name="connsiteY7" fmla="*/ 17689 h 43083"/>
                  <a:gd name="connsiteX8" fmla="*/ 39405 w 39404"/>
                  <a:gd name="connsiteY8" fmla="*/ 17689 h 43083"/>
                  <a:gd name="connsiteX9" fmla="*/ 39405 w 39404"/>
                  <a:gd name="connsiteY9" fmla="*/ 25220 h 43083"/>
                  <a:gd name="connsiteX10" fmla="*/ 23227 w 39404"/>
                  <a:gd name="connsiteY10" fmla="*/ 25220 h 43083"/>
                  <a:gd name="connsiteX11" fmla="*/ 23227 w 39404"/>
                  <a:gd name="connsiteY11" fmla="*/ 43084 h 43083"/>
                  <a:gd name="connsiteX12" fmla="*/ 16339 w 39404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2" name="Freihandform: Form 91">
                <a:extLst>
                  <a:ext uri="{FF2B5EF4-FFF2-40B4-BE49-F238E27FC236}">
                    <a16:creationId xmlns:a16="http://schemas.microsoft.com/office/drawing/2014/main" id="{0115657D-049A-9728-CF75-354EB125D240}"/>
                  </a:ext>
                </a:extLst>
              </p:cNvPr>
              <p:cNvSpPr/>
              <p:nvPr/>
            </p:nvSpPr>
            <p:spPr>
              <a:xfrm>
                <a:off x="5033484" y="2157935"/>
                <a:ext cx="39404" cy="43083"/>
              </a:xfrm>
              <a:custGeom>
                <a:avLst/>
                <a:gdLst>
                  <a:gd name="connsiteX0" fmla="*/ 16178 w 39404"/>
                  <a:gd name="connsiteY0" fmla="*/ 43084 h 43083"/>
                  <a:gd name="connsiteX1" fmla="*/ 16178 w 39404"/>
                  <a:gd name="connsiteY1" fmla="*/ 25220 h 43083"/>
                  <a:gd name="connsiteX2" fmla="*/ 0 w 39404"/>
                  <a:gd name="connsiteY2" fmla="*/ 25220 h 43083"/>
                  <a:gd name="connsiteX3" fmla="*/ 0 w 39404"/>
                  <a:gd name="connsiteY3" fmla="*/ 17689 h 43083"/>
                  <a:gd name="connsiteX4" fmla="*/ 16178 w 39404"/>
                  <a:gd name="connsiteY4" fmla="*/ 17689 h 43083"/>
                  <a:gd name="connsiteX5" fmla="*/ 16178 w 39404"/>
                  <a:gd name="connsiteY5" fmla="*/ 0 h 43083"/>
                  <a:gd name="connsiteX6" fmla="*/ 23066 w 39404"/>
                  <a:gd name="connsiteY6" fmla="*/ 0 h 43083"/>
                  <a:gd name="connsiteX7" fmla="*/ 23066 w 39404"/>
                  <a:gd name="connsiteY7" fmla="*/ 17689 h 43083"/>
                  <a:gd name="connsiteX8" fmla="*/ 39405 w 39404"/>
                  <a:gd name="connsiteY8" fmla="*/ 17689 h 43083"/>
                  <a:gd name="connsiteX9" fmla="*/ 39405 w 39404"/>
                  <a:gd name="connsiteY9" fmla="*/ 25220 h 43083"/>
                  <a:gd name="connsiteX10" fmla="*/ 23066 w 39404"/>
                  <a:gd name="connsiteY10" fmla="*/ 25220 h 43083"/>
                  <a:gd name="connsiteX11" fmla="*/ 23066 w 39404"/>
                  <a:gd name="connsiteY11" fmla="*/ 43084 h 43083"/>
                  <a:gd name="connsiteX12" fmla="*/ 16178 w 39404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083">
                    <a:moveTo>
                      <a:pt x="16178" y="43084"/>
                    </a:moveTo>
                    <a:lnTo>
                      <a:pt x="16178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8" y="17689"/>
                    </a:lnTo>
                    <a:lnTo>
                      <a:pt x="16178" y="0"/>
                    </a:lnTo>
                    <a:lnTo>
                      <a:pt x="23066" y="0"/>
                    </a:lnTo>
                    <a:lnTo>
                      <a:pt x="23066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066" y="25220"/>
                    </a:lnTo>
                    <a:lnTo>
                      <a:pt x="23066" y="43084"/>
                    </a:lnTo>
                    <a:lnTo>
                      <a:pt x="16178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3" name="Freihandform: Form 92">
                <a:extLst>
                  <a:ext uri="{FF2B5EF4-FFF2-40B4-BE49-F238E27FC236}">
                    <a16:creationId xmlns:a16="http://schemas.microsoft.com/office/drawing/2014/main" id="{717746EF-5FE1-AC74-E7E7-31AA76B22531}"/>
                  </a:ext>
                </a:extLst>
              </p:cNvPr>
              <p:cNvSpPr/>
              <p:nvPr/>
            </p:nvSpPr>
            <p:spPr>
              <a:xfrm>
                <a:off x="5078014" y="2157935"/>
                <a:ext cx="39565" cy="43083"/>
              </a:xfrm>
              <a:custGeom>
                <a:avLst/>
                <a:gdLst>
                  <a:gd name="connsiteX0" fmla="*/ 16339 w 39565"/>
                  <a:gd name="connsiteY0" fmla="*/ 43084 h 43083"/>
                  <a:gd name="connsiteX1" fmla="*/ 16339 w 39565"/>
                  <a:gd name="connsiteY1" fmla="*/ 25220 h 43083"/>
                  <a:gd name="connsiteX2" fmla="*/ 0 w 39565"/>
                  <a:gd name="connsiteY2" fmla="*/ 25220 h 43083"/>
                  <a:gd name="connsiteX3" fmla="*/ 0 w 39565"/>
                  <a:gd name="connsiteY3" fmla="*/ 17689 h 43083"/>
                  <a:gd name="connsiteX4" fmla="*/ 16339 w 39565"/>
                  <a:gd name="connsiteY4" fmla="*/ 17689 h 43083"/>
                  <a:gd name="connsiteX5" fmla="*/ 16339 w 39565"/>
                  <a:gd name="connsiteY5" fmla="*/ 0 h 43083"/>
                  <a:gd name="connsiteX6" fmla="*/ 23227 w 39565"/>
                  <a:gd name="connsiteY6" fmla="*/ 0 h 43083"/>
                  <a:gd name="connsiteX7" fmla="*/ 23227 w 39565"/>
                  <a:gd name="connsiteY7" fmla="*/ 17689 h 43083"/>
                  <a:gd name="connsiteX8" fmla="*/ 39565 w 39565"/>
                  <a:gd name="connsiteY8" fmla="*/ 17689 h 43083"/>
                  <a:gd name="connsiteX9" fmla="*/ 39565 w 39565"/>
                  <a:gd name="connsiteY9" fmla="*/ 25220 h 43083"/>
                  <a:gd name="connsiteX10" fmla="*/ 23227 w 39565"/>
                  <a:gd name="connsiteY10" fmla="*/ 25220 h 43083"/>
                  <a:gd name="connsiteX11" fmla="*/ 23227 w 39565"/>
                  <a:gd name="connsiteY11" fmla="*/ 43084 h 43083"/>
                  <a:gd name="connsiteX12" fmla="*/ 16339 w 3956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565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565" y="17689"/>
                    </a:lnTo>
                    <a:lnTo>
                      <a:pt x="3956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4" name="Freihandform: Form 93">
                <a:extLst>
                  <a:ext uri="{FF2B5EF4-FFF2-40B4-BE49-F238E27FC236}">
                    <a16:creationId xmlns:a16="http://schemas.microsoft.com/office/drawing/2014/main" id="{2F8F2142-6970-138E-C719-9A370992EE50}"/>
                  </a:ext>
                </a:extLst>
              </p:cNvPr>
              <p:cNvSpPr/>
              <p:nvPr/>
            </p:nvSpPr>
            <p:spPr>
              <a:xfrm>
                <a:off x="5116779" y="2162664"/>
                <a:ext cx="39565" cy="43258"/>
              </a:xfrm>
              <a:custGeom>
                <a:avLst/>
                <a:gdLst>
                  <a:gd name="connsiteX0" fmla="*/ 16339 w 39565"/>
                  <a:gd name="connsiteY0" fmla="*/ 43259 h 43258"/>
                  <a:gd name="connsiteX1" fmla="*/ 16339 w 39565"/>
                  <a:gd name="connsiteY1" fmla="*/ 25395 h 43258"/>
                  <a:gd name="connsiteX2" fmla="*/ 0 w 39565"/>
                  <a:gd name="connsiteY2" fmla="*/ 25395 h 43258"/>
                  <a:gd name="connsiteX3" fmla="*/ 0 w 39565"/>
                  <a:gd name="connsiteY3" fmla="*/ 17864 h 43258"/>
                  <a:gd name="connsiteX4" fmla="*/ 16339 w 39565"/>
                  <a:gd name="connsiteY4" fmla="*/ 17864 h 43258"/>
                  <a:gd name="connsiteX5" fmla="*/ 16339 w 39565"/>
                  <a:gd name="connsiteY5" fmla="*/ 0 h 43258"/>
                  <a:gd name="connsiteX6" fmla="*/ 23227 w 39565"/>
                  <a:gd name="connsiteY6" fmla="*/ 0 h 43258"/>
                  <a:gd name="connsiteX7" fmla="*/ 23227 w 39565"/>
                  <a:gd name="connsiteY7" fmla="*/ 17864 h 43258"/>
                  <a:gd name="connsiteX8" fmla="*/ 39565 w 39565"/>
                  <a:gd name="connsiteY8" fmla="*/ 17864 h 43258"/>
                  <a:gd name="connsiteX9" fmla="*/ 39565 w 39565"/>
                  <a:gd name="connsiteY9" fmla="*/ 25395 h 43258"/>
                  <a:gd name="connsiteX10" fmla="*/ 23227 w 39565"/>
                  <a:gd name="connsiteY10" fmla="*/ 25395 h 43258"/>
                  <a:gd name="connsiteX11" fmla="*/ 23227 w 39565"/>
                  <a:gd name="connsiteY11" fmla="*/ 43259 h 43258"/>
                  <a:gd name="connsiteX12" fmla="*/ 16339 w 39565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565" h="43258">
                    <a:moveTo>
                      <a:pt x="16339" y="43259"/>
                    </a:moveTo>
                    <a:lnTo>
                      <a:pt x="16339" y="25395"/>
                    </a:lnTo>
                    <a:lnTo>
                      <a:pt x="0" y="25395"/>
                    </a:lnTo>
                    <a:lnTo>
                      <a:pt x="0" y="17864"/>
                    </a:lnTo>
                    <a:lnTo>
                      <a:pt x="16339" y="17864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864"/>
                    </a:lnTo>
                    <a:lnTo>
                      <a:pt x="39565" y="17864"/>
                    </a:lnTo>
                    <a:lnTo>
                      <a:pt x="39565" y="25395"/>
                    </a:lnTo>
                    <a:lnTo>
                      <a:pt x="23227" y="25395"/>
                    </a:lnTo>
                    <a:lnTo>
                      <a:pt x="23227" y="43259"/>
                    </a:lnTo>
                    <a:lnTo>
                      <a:pt x="16339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5" name="Freihandform: Form 94">
                <a:extLst>
                  <a:ext uri="{FF2B5EF4-FFF2-40B4-BE49-F238E27FC236}">
                    <a16:creationId xmlns:a16="http://schemas.microsoft.com/office/drawing/2014/main" id="{75CDD517-F145-6EEB-1825-9DE7BB1E5D2F}"/>
                  </a:ext>
                </a:extLst>
              </p:cNvPr>
              <p:cNvSpPr/>
              <p:nvPr/>
            </p:nvSpPr>
            <p:spPr>
              <a:xfrm>
                <a:off x="5188381" y="2170370"/>
                <a:ext cx="39404" cy="43083"/>
              </a:xfrm>
              <a:custGeom>
                <a:avLst/>
                <a:gdLst>
                  <a:gd name="connsiteX0" fmla="*/ 16178 w 39404"/>
                  <a:gd name="connsiteY0" fmla="*/ 43084 h 43083"/>
                  <a:gd name="connsiteX1" fmla="*/ 16178 w 39404"/>
                  <a:gd name="connsiteY1" fmla="*/ 25220 h 43083"/>
                  <a:gd name="connsiteX2" fmla="*/ 0 w 39404"/>
                  <a:gd name="connsiteY2" fmla="*/ 25220 h 43083"/>
                  <a:gd name="connsiteX3" fmla="*/ 0 w 39404"/>
                  <a:gd name="connsiteY3" fmla="*/ 17689 h 43083"/>
                  <a:gd name="connsiteX4" fmla="*/ 16178 w 39404"/>
                  <a:gd name="connsiteY4" fmla="*/ 17689 h 43083"/>
                  <a:gd name="connsiteX5" fmla="*/ 16178 w 39404"/>
                  <a:gd name="connsiteY5" fmla="*/ 0 h 43083"/>
                  <a:gd name="connsiteX6" fmla="*/ 23066 w 39404"/>
                  <a:gd name="connsiteY6" fmla="*/ 0 h 43083"/>
                  <a:gd name="connsiteX7" fmla="*/ 23066 w 39404"/>
                  <a:gd name="connsiteY7" fmla="*/ 17689 h 43083"/>
                  <a:gd name="connsiteX8" fmla="*/ 39405 w 39404"/>
                  <a:gd name="connsiteY8" fmla="*/ 17689 h 43083"/>
                  <a:gd name="connsiteX9" fmla="*/ 39405 w 39404"/>
                  <a:gd name="connsiteY9" fmla="*/ 25220 h 43083"/>
                  <a:gd name="connsiteX10" fmla="*/ 23066 w 39404"/>
                  <a:gd name="connsiteY10" fmla="*/ 25220 h 43083"/>
                  <a:gd name="connsiteX11" fmla="*/ 23066 w 39404"/>
                  <a:gd name="connsiteY11" fmla="*/ 43084 h 43083"/>
                  <a:gd name="connsiteX12" fmla="*/ 16178 w 39404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083">
                    <a:moveTo>
                      <a:pt x="16178" y="43084"/>
                    </a:moveTo>
                    <a:lnTo>
                      <a:pt x="16178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8" y="17689"/>
                    </a:lnTo>
                    <a:lnTo>
                      <a:pt x="16178" y="0"/>
                    </a:lnTo>
                    <a:lnTo>
                      <a:pt x="23066" y="0"/>
                    </a:lnTo>
                    <a:lnTo>
                      <a:pt x="23066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066" y="25220"/>
                    </a:lnTo>
                    <a:lnTo>
                      <a:pt x="23066" y="43084"/>
                    </a:lnTo>
                    <a:lnTo>
                      <a:pt x="16178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6" name="Freihandform: Form 95">
                <a:extLst>
                  <a:ext uri="{FF2B5EF4-FFF2-40B4-BE49-F238E27FC236}">
                    <a16:creationId xmlns:a16="http://schemas.microsoft.com/office/drawing/2014/main" id="{A917D68E-948F-BD41-32E6-A4E2C2C4D7A4}"/>
                  </a:ext>
                </a:extLst>
              </p:cNvPr>
              <p:cNvSpPr/>
              <p:nvPr/>
            </p:nvSpPr>
            <p:spPr>
              <a:xfrm>
                <a:off x="5194307" y="2170370"/>
                <a:ext cx="39405" cy="43083"/>
              </a:xfrm>
              <a:custGeom>
                <a:avLst/>
                <a:gdLst>
                  <a:gd name="connsiteX0" fmla="*/ 16178 w 39405"/>
                  <a:gd name="connsiteY0" fmla="*/ 43084 h 43083"/>
                  <a:gd name="connsiteX1" fmla="*/ 16178 w 39405"/>
                  <a:gd name="connsiteY1" fmla="*/ 25220 h 43083"/>
                  <a:gd name="connsiteX2" fmla="*/ 0 w 39405"/>
                  <a:gd name="connsiteY2" fmla="*/ 25220 h 43083"/>
                  <a:gd name="connsiteX3" fmla="*/ 0 w 39405"/>
                  <a:gd name="connsiteY3" fmla="*/ 17689 h 43083"/>
                  <a:gd name="connsiteX4" fmla="*/ 16178 w 39405"/>
                  <a:gd name="connsiteY4" fmla="*/ 17689 h 43083"/>
                  <a:gd name="connsiteX5" fmla="*/ 16178 w 39405"/>
                  <a:gd name="connsiteY5" fmla="*/ 0 h 43083"/>
                  <a:gd name="connsiteX6" fmla="*/ 23227 w 39405"/>
                  <a:gd name="connsiteY6" fmla="*/ 0 h 43083"/>
                  <a:gd name="connsiteX7" fmla="*/ 23227 w 39405"/>
                  <a:gd name="connsiteY7" fmla="*/ 17689 h 43083"/>
                  <a:gd name="connsiteX8" fmla="*/ 39405 w 39405"/>
                  <a:gd name="connsiteY8" fmla="*/ 17689 h 43083"/>
                  <a:gd name="connsiteX9" fmla="*/ 39405 w 39405"/>
                  <a:gd name="connsiteY9" fmla="*/ 25220 h 43083"/>
                  <a:gd name="connsiteX10" fmla="*/ 23227 w 39405"/>
                  <a:gd name="connsiteY10" fmla="*/ 25220 h 43083"/>
                  <a:gd name="connsiteX11" fmla="*/ 23227 w 39405"/>
                  <a:gd name="connsiteY11" fmla="*/ 43084 h 43083"/>
                  <a:gd name="connsiteX12" fmla="*/ 16178 w 3940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5" h="43083">
                    <a:moveTo>
                      <a:pt x="16178" y="43084"/>
                    </a:moveTo>
                    <a:lnTo>
                      <a:pt x="16178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8" y="17689"/>
                    </a:lnTo>
                    <a:lnTo>
                      <a:pt x="16178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178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7" name="Freihandform: Form 96">
                <a:extLst>
                  <a:ext uri="{FF2B5EF4-FFF2-40B4-BE49-F238E27FC236}">
                    <a16:creationId xmlns:a16="http://schemas.microsoft.com/office/drawing/2014/main" id="{A8A51697-44ED-2AAF-1872-31F6E8ABA75C}"/>
                  </a:ext>
                </a:extLst>
              </p:cNvPr>
              <p:cNvSpPr/>
              <p:nvPr/>
            </p:nvSpPr>
            <p:spPr>
              <a:xfrm>
                <a:off x="5346161" y="2187008"/>
                <a:ext cx="39565" cy="43083"/>
              </a:xfrm>
              <a:custGeom>
                <a:avLst/>
                <a:gdLst>
                  <a:gd name="connsiteX0" fmla="*/ 16339 w 39565"/>
                  <a:gd name="connsiteY0" fmla="*/ 43084 h 43083"/>
                  <a:gd name="connsiteX1" fmla="*/ 16339 w 39565"/>
                  <a:gd name="connsiteY1" fmla="*/ 25220 h 43083"/>
                  <a:gd name="connsiteX2" fmla="*/ 0 w 39565"/>
                  <a:gd name="connsiteY2" fmla="*/ 25220 h 43083"/>
                  <a:gd name="connsiteX3" fmla="*/ 0 w 39565"/>
                  <a:gd name="connsiteY3" fmla="*/ 17689 h 43083"/>
                  <a:gd name="connsiteX4" fmla="*/ 16339 w 39565"/>
                  <a:gd name="connsiteY4" fmla="*/ 17689 h 43083"/>
                  <a:gd name="connsiteX5" fmla="*/ 16339 w 39565"/>
                  <a:gd name="connsiteY5" fmla="*/ 0 h 43083"/>
                  <a:gd name="connsiteX6" fmla="*/ 23227 w 39565"/>
                  <a:gd name="connsiteY6" fmla="*/ 0 h 43083"/>
                  <a:gd name="connsiteX7" fmla="*/ 23227 w 39565"/>
                  <a:gd name="connsiteY7" fmla="*/ 17689 h 43083"/>
                  <a:gd name="connsiteX8" fmla="*/ 39565 w 39565"/>
                  <a:gd name="connsiteY8" fmla="*/ 17689 h 43083"/>
                  <a:gd name="connsiteX9" fmla="*/ 39565 w 39565"/>
                  <a:gd name="connsiteY9" fmla="*/ 25220 h 43083"/>
                  <a:gd name="connsiteX10" fmla="*/ 23227 w 39565"/>
                  <a:gd name="connsiteY10" fmla="*/ 25220 h 43083"/>
                  <a:gd name="connsiteX11" fmla="*/ 23227 w 39565"/>
                  <a:gd name="connsiteY11" fmla="*/ 43084 h 43083"/>
                  <a:gd name="connsiteX12" fmla="*/ 16339 w 3956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565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565" y="17689"/>
                    </a:lnTo>
                    <a:lnTo>
                      <a:pt x="3956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8" name="Freihandform: Form 97">
                <a:extLst>
                  <a:ext uri="{FF2B5EF4-FFF2-40B4-BE49-F238E27FC236}">
                    <a16:creationId xmlns:a16="http://schemas.microsoft.com/office/drawing/2014/main" id="{62FFD6F8-AA93-9B55-EA67-9195AA626822}"/>
                  </a:ext>
                </a:extLst>
              </p:cNvPr>
              <p:cNvSpPr/>
              <p:nvPr/>
            </p:nvSpPr>
            <p:spPr>
              <a:xfrm>
                <a:off x="5387809" y="2202770"/>
                <a:ext cx="39565" cy="43083"/>
              </a:xfrm>
              <a:custGeom>
                <a:avLst/>
                <a:gdLst>
                  <a:gd name="connsiteX0" fmla="*/ 16339 w 39565"/>
                  <a:gd name="connsiteY0" fmla="*/ 43084 h 43083"/>
                  <a:gd name="connsiteX1" fmla="*/ 16339 w 39565"/>
                  <a:gd name="connsiteY1" fmla="*/ 25220 h 43083"/>
                  <a:gd name="connsiteX2" fmla="*/ 0 w 39565"/>
                  <a:gd name="connsiteY2" fmla="*/ 25220 h 43083"/>
                  <a:gd name="connsiteX3" fmla="*/ 0 w 39565"/>
                  <a:gd name="connsiteY3" fmla="*/ 17864 h 43083"/>
                  <a:gd name="connsiteX4" fmla="*/ 16339 w 39565"/>
                  <a:gd name="connsiteY4" fmla="*/ 17864 h 43083"/>
                  <a:gd name="connsiteX5" fmla="*/ 16339 w 39565"/>
                  <a:gd name="connsiteY5" fmla="*/ 0 h 43083"/>
                  <a:gd name="connsiteX6" fmla="*/ 23227 w 39565"/>
                  <a:gd name="connsiteY6" fmla="*/ 0 h 43083"/>
                  <a:gd name="connsiteX7" fmla="*/ 23227 w 39565"/>
                  <a:gd name="connsiteY7" fmla="*/ 17864 h 43083"/>
                  <a:gd name="connsiteX8" fmla="*/ 39565 w 39565"/>
                  <a:gd name="connsiteY8" fmla="*/ 17864 h 43083"/>
                  <a:gd name="connsiteX9" fmla="*/ 39565 w 39565"/>
                  <a:gd name="connsiteY9" fmla="*/ 25220 h 43083"/>
                  <a:gd name="connsiteX10" fmla="*/ 23227 w 39565"/>
                  <a:gd name="connsiteY10" fmla="*/ 25220 h 43083"/>
                  <a:gd name="connsiteX11" fmla="*/ 23227 w 39565"/>
                  <a:gd name="connsiteY11" fmla="*/ 43084 h 43083"/>
                  <a:gd name="connsiteX12" fmla="*/ 16339 w 3956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565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864"/>
                    </a:lnTo>
                    <a:lnTo>
                      <a:pt x="16339" y="17864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864"/>
                    </a:lnTo>
                    <a:lnTo>
                      <a:pt x="39565" y="17864"/>
                    </a:lnTo>
                    <a:lnTo>
                      <a:pt x="3956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9" name="Freihandform: Form 98">
                <a:extLst>
                  <a:ext uri="{FF2B5EF4-FFF2-40B4-BE49-F238E27FC236}">
                    <a16:creationId xmlns:a16="http://schemas.microsoft.com/office/drawing/2014/main" id="{1EC6529B-4166-C58C-8461-5D33ED72B710}"/>
                  </a:ext>
                </a:extLst>
              </p:cNvPr>
              <p:cNvSpPr/>
              <p:nvPr/>
            </p:nvSpPr>
            <p:spPr>
              <a:xfrm>
                <a:off x="5396779" y="2202770"/>
                <a:ext cx="39565" cy="43083"/>
              </a:xfrm>
              <a:custGeom>
                <a:avLst/>
                <a:gdLst>
                  <a:gd name="connsiteX0" fmla="*/ 16339 w 39565"/>
                  <a:gd name="connsiteY0" fmla="*/ 43084 h 43083"/>
                  <a:gd name="connsiteX1" fmla="*/ 16339 w 39565"/>
                  <a:gd name="connsiteY1" fmla="*/ 25220 h 43083"/>
                  <a:gd name="connsiteX2" fmla="*/ 0 w 39565"/>
                  <a:gd name="connsiteY2" fmla="*/ 25220 h 43083"/>
                  <a:gd name="connsiteX3" fmla="*/ 0 w 39565"/>
                  <a:gd name="connsiteY3" fmla="*/ 17864 h 43083"/>
                  <a:gd name="connsiteX4" fmla="*/ 16339 w 39565"/>
                  <a:gd name="connsiteY4" fmla="*/ 17864 h 43083"/>
                  <a:gd name="connsiteX5" fmla="*/ 16339 w 39565"/>
                  <a:gd name="connsiteY5" fmla="*/ 0 h 43083"/>
                  <a:gd name="connsiteX6" fmla="*/ 23227 w 39565"/>
                  <a:gd name="connsiteY6" fmla="*/ 0 h 43083"/>
                  <a:gd name="connsiteX7" fmla="*/ 23227 w 39565"/>
                  <a:gd name="connsiteY7" fmla="*/ 17864 h 43083"/>
                  <a:gd name="connsiteX8" fmla="*/ 39565 w 39565"/>
                  <a:gd name="connsiteY8" fmla="*/ 17864 h 43083"/>
                  <a:gd name="connsiteX9" fmla="*/ 39565 w 39565"/>
                  <a:gd name="connsiteY9" fmla="*/ 25220 h 43083"/>
                  <a:gd name="connsiteX10" fmla="*/ 23227 w 39565"/>
                  <a:gd name="connsiteY10" fmla="*/ 25220 h 43083"/>
                  <a:gd name="connsiteX11" fmla="*/ 23227 w 39565"/>
                  <a:gd name="connsiteY11" fmla="*/ 43084 h 43083"/>
                  <a:gd name="connsiteX12" fmla="*/ 16339 w 3956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565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864"/>
                    </a:lnTo>
                    <a:lnTo>
                      <a:pt x="16339" y="17864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864"/>
                    </a:lnTo>
                    <a:lnTo>
                      <a:pt x="39565" y="17864"/>
                    </a:lnTo>
                    <a:lnTo>
                      <a:pt x="3956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0" name="Freihandform: Form 99">
                <a:extLst>
                  <a:ext uri="{FF2B5EF4-FFF2-40B4-BE49-F238E27FC236}">
                    <a16:creationId xmlns:a16="http://schemas.microsoft.com/office/drawing/2014/main" id="{28CC789D-9E34-ECD7-2422-7B3B252795CE}"/>
                  </a:ext>
                </a:extLst>
              </p:cNvPr>
              <p:cNvSpPr/>
              <p:nvPr/>
            </p:nvSpPr>
            <p:spPr>
              <a:xfrm>
                <a:off x="5456367" y="2208550"/>
                <a:ext cx="39404" cy="43258"/>
              </a:xfrm>
              <a:custGeom>
                <a:avLst/>
                <a:gdLst>
                  <a:gd name="connsiteX0" fmla="*/ 16339 w 39404"/>
                  <a:gd name="connsiteY0" fmla="*/ 43259 h 43258"/>
                  <a:gd name="connsiteX1" fmla="*/ 16339 w 39404"/>
                  <a:gd name="connsiteY1" fmla="*/ 25395 h 43258"/>
                  <a:gd name="connsiteX2" fmla="*/ 0 w 39404"/>
                  <a:gd name="connsiteY2" fmla="*/ 25395 h 43258"/>
                  <a:gd name="connsiteX3" fmla="*/ 0 w 39404"/>
                  <a:gd name="connsiteY3" fmla="*/ 17864 h 43258"/>
                  <a:gd name="connsiteX4" fmla="*/ 16339 w 39404"/>
                  <a:gd name="connsiteY4" fmla="*/ 17864 h 43258"/>
                  <a:gd name="connsiteX5" fmla="*/ 16339 w 39404"/>
                  <a:gd name="connsiteY5" fmla="*/ 0 h 43258"/>
                  <a:gd name="connsiteX6" fmla="*/ 23227 w 39404"/>
                  <a:gd name="connsiteY6" fmla="*/ 0 h 43258"/>
                  <a:gd name="connsiteX7" fmla="*/ 23227 w 39404"/>
                  <a:gd name="connsiteY7" fmla="*/ 17864 h 43258"/>
                  <a:gd name="connsiteX8" fmla="*/ 39405 w 39404"/>
                  <a:gd name="connsiteY8" fmla="*/ 17864 h 43258"/>
                  <a:gd name="connsiteX9" fmla="*/ 39405 w 39404"/>
                  <a:gd name="connsiteY9" fmla="*/ 25395 h 43258"/>
                  <a:gd name="connsiteX10" fmla="*/ 23227 w 39404"/>
                  <a:gd name="connsiteY10" fmla="*/ 25395 h 43258"/>
                  <a:gd name="connsiteX11" fmla="*/ 23227 w 39404"/>
                  <a:gd name="connsiteY11" fmla="*/ 43259 h 43258"/>
                  <a:gd name="connsiteX12" fmla="*/ 16339 w 39404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258">
                    <a:moveTo>
                      <a:pt x="16339" y="43259"/>
                    </a:moveTo>
                    <a:lnTo>
                      <a:pt x="16339" y="25395"/>
                    </a:lnTo>
                    <a:lnTo>
                      <a:pt x="0" y="25395"/>
                    </a:lnTo>
                    <a:lnTo>
                      <a:pt x="0" y="17864"/>
                    </a:lnTo>
                    <a:lnTo>
                      <a:pt x="16339" y="17864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864"/>
                    </a:lnTo>
                    <a:lnTo>
                      <a:pt x="39405" y="17864"/>
                    </a:lnTo>
                    <a:lnTo>
                      <a:pt x="39405" y="25395"/>
                    </a:lnTo>
                    <a:lnTo>
                      <a:pt x="23227" y="25395"/>
                    </a:lnTo>
                    <a:lnTo>
                      <a:pt x="23227" y="43259"/>
                    </a:lnTo>
                    <a:lnTo>
                      <a:pt x="16339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1" name="Freihandform: Form 100">
                <a:extLst>
                  <a:ext uri="{FF2B5EF4-FFF2-40B4-BE49-F238E27FC236}">
                    <a16:creationId xmlns:a16="http://schemas.microsoft.com/office/drawing/2014/main" id="{7544A191-0533-C718-A254-D90ECA035E00}"/>
                  </a:ext>
                </a:extLst>
              </p:cNvPr>
              <p:cNvSpPr/>
              <p:nvPr/>
            </p:nvSpPr>
            <p:spPr>
              <a:xfrm>
                <a:off x="5510029" y="2219233"/>
                <a:ext cx="39404" cy="43083"/>
              </a:xfrm>
              <a:custGeom>
                <a:avLst/>
                <a:gdLst>
                  <a:gd name="connsiteX0" fmla="*/ 16178 w 39404"/>
                  <a:gd name="connsiteY0" fmla="*/ 43084 h 43083"/>
                  <a:gd name="connsiteX1" fmla="*/ 16178 w 39404"/>
                  <a:gd name="connsiteY1" fmla="*/ 25220 h 43083"/>
                  <a:gd name="connsiteX2" fmla="*/ 0 w 39404"/>
                  <a:gd name="connsiteY2" fmla="*/ 25220 h 43083"/>
                  <a:gd name="connsiteX3" fmla="*/ 0 w 39404"/>
                  <a:gd name="connsiteY3" fmla="*/ 17689 h 43083"/>
                  <a:gd name="connsiteX4" fmla="*/ 16178 w 39404"/>
                  <a:gd name="connsiteY4" fmla="*/ 17689 h 43083"/>
                  <a:gd name="connsiteX5" fmla="*/ 16178 w 39404"/>
                  <a:gd name="connsiteY5" fmla="*/ 0 h 43083"/>
                  <a:gd name="connsiteX6" fmla="*/ 23066 w 39404"/>
                  <a:gd name="connsiteY6" fmla="*/ 0 h 43083"/>
                  <a:gd name="connsiteX7" fmla="*/ 23066 w 39404"/>
                  <a:gd name="connsiteY7" fmla="*/ 17689 h 43083"/>
                  <a:gd name="connsiteX8" fmla="*/ 39405 w 39404"/>
                  <a:gd name="connsiteY8" fmla="*/ 17689 h 43083"/>
                  <a:gd name="connsiteX9" fmla="*/ 39405 w 39404"/>
                  <a:gd name="connsiteY9" fmla="*/ 25220 h 43083"/>
                  <a:gd name="connsiteX10" fmla="*/ 23066 w 39404"/>
                  <a:gd name="connsiteY10" fmla="*/ 25220 h 43083"/>
                  <a:gd name="connsiteX11" fmla="*/ 23066 w 39404"/>
                  <a:gd name="connsiteY11" fmla="*/ 43084 h 43083"/>
                  <a:gd name="connsiteX12" fmla="*/ 16178 w 39404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083">
                    <a:moveTo>
                      <a:pt x="16178" y="43084"/>
                    </a:moveTo>
                    <a:lnTo>
                      <a:pt x="16178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8" y="17689"/>
                    </a:lnTo>
                    <a:lnTo>
                      <a:pt x="16178" y="0"/>
                    </a:lnTo>
                    <a:lnTo>
                      <a:pt x="23066" y="0"/>
                    </a:lnTo>
                    <a:lnTo>
                      <a:pt x="23066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066" y="25220"/>
                    </a:lnTo>
                    <a:lnTo>
                      <a:pt x="23066" y="43084"/>
                    </a:lnTo>
                    <a:lnTo>
                      <a:pt x="16178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2" name="Freihandform: Form 101">
                <a:extLst>
                  <a:ext uri="{FF2B5EF4-FFF2-40B4-BE49-F238E27FC236}">
                    <a16:creationId xmlns:a16="http://schemas.microsoft.com/office/drawing/2014/main" id="{DC523CCB-14E7-760A-6D46-862C72650F27}"/>
                  </a:ext>
                </a:extLst>
              </p:cNvPr>
              <p:cNvSpPr/>
              <p:nvPr/>
            </p:nvSpPr>
            <p:spPr>
              <a:xfrm>
                <a:off x="5527809" y="2219233"/>
                <a:ext cx="39565" cy="43083"/>
              </a:xfrm>
              <a:custGeom>
                <a:avLst/>
                <a:gdLst>
                  <a:gd name="connsiteX0" fmla="*/ 16339 w 39565"/>
                  <a:gd name="connsiteY0" fmla="*/ 43084 h 43083"/>
                  <a:gd name="connsiteX1" fmla="*/ 16339 w 39565"/>
                  <a:gd name="connsiteY1" fmla="*/ 25220 h 43083"/>
                  <a:gd name="connsiteX2" fmla="*/ 0 w 39565"/>
                  <a:gd name="connsiteY2" fmla="*/ 25220 h 43083"/>
                  <a:gd name="connsiteX3" fmla="*/ 0 w 39565"/>
                  <a:gd name="connsiteY3" fmla="*/ 17689 h 43083"/>
                  <a:gd name="connsiteX4" fmla="*/ 16339 w 39565"/>
                  <a:gd name="connsiteY4" fmla="*/ 17689 h 43083"/>
                  <a:gd name="connsiteX5" fmla="*/ 16339 w 39565"/>
                  <a:gd name="connsiteY5" fmla="*/ 0 h 43083"/>
                  <a:gd name="connsiteX6" fmla="*/ 23227 w 39565"/>
                  <a:gd name="connsiteY6" fmla="*/ 0 h 43083"/>
                  <a:gd name="connsiteX7" fmla="*/ 23227 w 39565"/>
                  <a:gd name="connsiteY7" fmla="*/ 17689 h 43083"/>
                  <a:gd name="connsiteX8" fmla="*/ 39565 w 39565"/>
                  <a:gd name="connsiteY8" fmla="*/ 17689 h 43083"/>
                  <a:gd name="connsiteX9" fmla="*/ 39565 w 39565"/>
                  <a:gd name="connsiteY9" fmla="*/ 25220 h 43083"/>
                  <a:gd name="connsiteX10" fmla="*/ 23227 w 39565"/>
                  <a:gd name="connsiteY10" fmla="*/ 25220 h 43083"/>
                  <a:gd name="connsiteX11" fmla="*/ 23227 w 39565"/>
                  <a:gd name="connsiteY11" fmla="*/ 43084 h 43083"/>
                  <a:gd name="connsiteX12" fmla="*/ 16339 w 3956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565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565" y="17689"/>
                    </a:lnTo>
                    <a:lnTo>
                      <a:pt x="3956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3" name="Freihandform: Form 102">
                <a:extLst>
                  <a:ext uri="{FF2B5EF4-FFF2-40B4-BE49-F238E27FC236}">
                    <a16:creationId xmlns:a16="http://schemas.microsoft.com/office/drawing/2014/main" id="{1D071C95-2943-9204-F4A7-876CE56CC8FA}"/>
                  </a:ext>
                </a:extLst>
              </p:cNvPr>
              <p:cNvSpPr/>
              <p:nvPr/>
            </p:nvSpPr>
            <p:spPr>
              <a:xfrm>
                <a:off x="5551676" y="2219233"/>
                <a:ext cx="39405" cy="43083"/>
              </a:xfrm>
              <a:custGeom>
                <a:avLst/>
                <a:gdLst>
                  <a:gd name="connsiteX0" fmla="*/ 16339 w 39405"/>
                  <a:gd name="connsiteY0" fmla="*/ 43084 h 43083"/>
                  <a:gd name="connsiteX1" fmla="*/ 16339 w 39405"/>
                  <a:gd name="connsiteY1" fmla="*/ 25220 h 43083"/>
                  <a:gd name="connsiteX2" fmla="*/ 0 w 39405"/>
                  <a:gd name="connsiteY2" fmla="*/ 25220 h 43083"/>
                  <a:gd name="connsiteX3" fmla="*/ 0 w 39405"/>
                  <a:gd name="connsiteY3" fmla="*/ 17689 h 43083"/>
                  <a:gd name="connsiteX4" fmla="*/ 16339 w 39405"/>
                  <a:gd name="connsiteY4" fmla="*/ 17689 h 43083"/>
                  <a:gd name="connsiteX5" fmla="*/ 16339 w 39405"/>
                  <a:gd name="connsiteY5" fmla="*/ 0 h 43083"/>
                  <a:gd name="connsiteX6" fmla="*/ 23227 w 39405"/>
                  <a:gd name="connsiteY6" fmla="*/ 0 h 43083"/>
                  <a:gd name="connsiteX7" fmla="*/ 23227 w 39405"/>
                  <a:gd name="connsiteY7" fmla="*/ 17689 h 43083"/>
                  <a:gd name="connsiteX8" fmla="*/ 39405 w 39405"/>
                  <a:gd name="connsiteY8" fmla="*/ 17689 h 43083"/>
                  <a:gd name="connsiteX9" fmla="*/ 39405 w 39405"/>
                  <a:gd name="connsiteY9" fmla="*/ 25220 h 43083"/>
                  <a:gd name="connsiteX10" fmla="*/ 23227 w 39405"/>
                  <a:gd name="connsiteY10" fmla="*/ 25220 h 43083"/>
                  <a:gd name="connsiteX11" fmla="*/ 23227 w 39405"/>
                  <a:gd name="connsiteY11" fmla="*/ 43084 h 43083"/>
                  <a:gd name="connsiteX12" fmla="*/ 16339 w 3940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5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4" name="Freihandform: Form 103">
                <a:extLst>
                  <a:ext uri="{FF2B5EF4-FFF2-40B4-BE49-F238E27FC236}">
                    <a16:creationId xmlns:a16="http://schemas.microsoft.com/office/drawing/2014/main" id="{3F0CD6FD-065D-A831-CA31-70EE7C21A67D}"/>
                  </a:ext>
                </a:extLst>
              </p:cNvPr>
              <p:cNvSpPr/>
              <p:nvPr/>
            </p:nvSpPr>
            <p:spPr>
              <a:xfrm>
                <a:off x="5599411" y="2237272"/>
                <a:ext cx="39405" cy="43083"/>
              </a:xfrm>
              <a:custGeom>
                <a:avLst/>
                <a:gdLst>
                  <a:gd name="connsiteX0" fmla="*/ 16179 w 39405"/>
                  <a:gd name="connsiteY0" fmla="*/ 43084 h 43083"/>
                  <a:gd name="connsiteX1" fmla="*/ 16179 w 39405"/>
                  <a:gd name="connsiteY1" fmla="*/ 25220 h 43083"/>
                  <a:gd name="connsiteX2" fmla="*/ 0 w 39405"/>
                  <a:gd name="connsiteY2" fmla="*/ 25220 h 43083"/>
                  <a:gd name="connsiteX3" fmla="*/ 0 w 39405"/>
                  <a:gd name="connsiteY3" fmla="*/ 17689 h 43083"/>
                  <a:gd name="connsiteX4" fmla="*/ 16179 w 39405"/>
                  <a:gd name="connsiteY4" fmla="*/ 17689 h 43083"/>
                  <a:gd name="connsiteX5" fmla="*/ 16179 w 39405"/>
                  <a:gd name="connsiteY5" fmla="*/ 0 h 43083"/>
                  <a:gd name="connsiteX6" fmla="*/ 23066 w 39405"/>
                  <a:gd name="connsiteY6" fmla="*/ 0 h 43083"/>
                  <a:gd name="connsiteX7" fmla="*/ 23066 w 39405"/>
                  <a:gd name="connsiteY7" fmla="*/ 17689 h 43083"/>
                  <a:gd name="connsiteX8" fmla="*/ 39405 w 39405"/>
                  <a:gd name="connsiteY8" fmla="*/ 17689 h 43083"/>
                  <a:gd name="connsiteX9" fmla="*/ 39405 w 39405"/>
                  <a:gd name="connsiteY9" fmla="*/ 25220 h 43083"/>
                  <a:gd name="connsiteX10" fmla="*/ 23066 w 39405"/>
                  <a:gd name="connsiteY10" fmla="*/ 25220 h 43083"/>
                  <a:gd name="connsiteX11" fmla="*/ 23066 w 39405"/>
                  <a:gd name="connsiteY11" fmla="*/ 43084 h 43083"/>
                  <a:gd name="connsiteX12" fmla="*/ 16179 w 3940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5" h="43083">
                    <a:moveTo>
                      <a:pt x="16179" y="43084"/>
                    </a:moveTo>
                    <a:lnTo>
                      <a:pt x="1617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9" y="17689"/>
                    </a:lnTo>
                    <a:lnTo>
                      <a:pt x="16179" y="0"/>
                    </a:lnTo>
                    <a:lnTo>
                      <a:pt x="23066" y="0"/>
                    </a:lnTo>
                    <a:lnTo>
                      <a:pt x="23066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066" y="25220"/>
                    </a:lnTo>
                    <a:lnTo>
                      <a:pt x="23066" y="43084"/>
                    </a:lnTo>
                    <a:lnTo>
                      <a:pt x="1617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5" name="Freihandform: Form 104">
                <a:extLst>
                  <a:ext uri="{FF2B5EF4-FFF2-40B4-BE49-F238E27FC236}">
                    <a16:creationId xmlns:a16="http://schemas.microsoft.com/office/drawing/2014/main" id="{ED728D61-F786-688C-F892-51FB00F1B643}"/>
                  </a:ext>
                </a:extLst>
              </p:cNvPr>
              <p:cNvSpPr/>
              <p:nvPr/>
            </p:nvSpPr>
            <p:spPr>
              <a:xfrm>
                <a:off x="5638175" y="2237272"/>
                <a:ext cx="39404" cy="43083"/>
              </a:xfrm>
              <a:custGeom>
                <a:avLst/>
                <a:gdLst>
                  <a:gd name="connsiteX0" fmla="*/ 16178 w 39404"/>
                  <a:gd name="connsiteY0" fmla="*/ 43084 h 43083"/>
                  <a:gd name="connsiteX1" fmla="*/ 16178 w 39404"/>
                  <a:gd name="connsiteY1" fmla="*/ 25220 h 43083"/>
                  <a:gd name="connsiteX2" fmla="*/ 0 w 39404"/>
                  <a:gd name="connsiteY2" fmla="*/ 25220 h 43083"/>
                  <a:gd name="connsiteX3" fmla="*/ 0 w 39404"/>
                  <a:gd name="connsiteY3" fmla="*/ 17689 h 43083"/>
                  <a:gd name="connsiteX4" fmla="*/ 16178 w 39404"/>
                  <a:gd name="connsiteY4" fmla="*/ 17689 h 43083"/>
                  <a:gd name="connsiteX5" fmla="*/ 16178 w 39404"/>
                  <a:gd name="connsiteY5" fmla="*/ 0 h 43083"/>
                  <a:gd name="connsiteX6" fmla="*/ 23066 w 39404"/>
                  <a:gd name="connsiteY6" fmla="*/ 0 h 43083"/>
                  <a:gd name="connsiteX7" fmla="*/ 23066 w 39404"/>
                  <a:gd name="connsiteY7" fmla="*/ 17689 h 43083"/>
                  <a:gd name="connsiteX8" fmla="*/ 39405 w 39404"/>
                  <a:gd name="connsiteY8" fmla="*/ 17689 h 43083"/>
                  <a:gd name="connsiteX9" fmla="*/ 39405 w 39404"/>
                  <a:gd name="connsiteY9" fmla="*/ 25220 h 43083"/>
                  <a:gd name="connsiteX10" fmla="*/ 23066 w 39404"/>
                  <a:gd name="connsiteY10" fmla="*/ 25220 h 43083"/>
                  <a:gd name="connsiteX11" fmla="*/ 23066 w 39404"/>
                  <a:gd name="connsiteY11" fmla="*/ 43084 h 43083"/>
                  <a:gd name="connsiteX12" fmla="*/ 16178 w 39404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083">
                    <a:moveTo>
                      <a:pt x="16178" y="43084"/>
                    </a:moveTo>
                    <a:lnTo>
                      <a:pt x="16178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8" y="17689"/>
                    </a:lnTo>
                    <a:lnTo>
                      <a:pt x="16178" y="0"/>
                    </a:lnTo>
                    <a:lnTo>
                      <a:pt x="23066" y="0"/>
                    </a:lnTo>
                    <a:lnTo>
                      <a:pt x="23066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066" y="25220"/>
                    </a:lnTo>
                    <a:lnTo>
                      <a:pt x="23066" y="43084"/>
                    </a:lnTo>
                    <a:lnTo>
                      <a:pt x="16178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6" name="Freihandform: Form 105">
                <a:extLst>
                  <a:ext uri="{FF2B5EF4-FFF2-40B4-BE49-F238E27FC236}">
                    <a16:creationId xmlns:a16="http://schemas.microsoft.com/office/drawing/2014/main" id="{DC544ED0-5552-4444-7B35-526C87410E99}"/>
                  </a:ext>
                </a:extLst>
              </p:cNvPr>
              <p:cNvSpPr/>
              <p:nvPr/>
            </p:nvSpPr>
            <p:spPr>
              <a:xfrm>
                <a:off x="5652912" y="2237272"/>
                <a:ext cx="39565" cy="43083"/>
              </a:xfrm>
              <a:custGeom>
                <a:avLst/>
                <a:gdLst>
                  <a:gd name="connsiteX0" fmla="*/ 16339 w 39565"/>
                  <a:gd name="connsiteY0" fmla="*/ 43084 h 43083"/>
                  <a:gd name="connsiteX1" fmla="*/ 16339 w 39565"/>
                  <a:gd name="connsiteY1" fmla="*/ 25220 h 43083"/>
                  <a:gd name="connsiteX2" fmla="*/ 0 w 39565"/>
                  <a:gd name="connsiteY2" fmla="*/ 25220 h 43083"/>
                  <a:gd name="connsiteX3" fmla="*/ 0 w 39565"/>
                  <a:gd name="connsiteY3" fmla="*/ 17689 h 43083"/>
                  <a:gd name="connsiteX4" fmla="*/ 16339 w 39565"/>
                  <a:gd name="connsiteY4" fmla="*/ 17689 h 43083"/>
                  <a:gd name="connsiteX5" fmla="*/ 16339 w 39565"/>
                  <a:gd name="connsiteY5" fmla="*/ 0 h 43083"/>
                  <a:gd name="connsiteX6" fmla="*/ 23227 w 39565"/>
                  <a:gd name="connsiteY6" fmla="*/ 0 h 43083"/>
                  <a:gd name="connsiteX7" fmla="*/ 23227 w 39565"/>
                  <a:gd name="connsiteY7" fmla="*/ 17689 h 43083"/>
                  <a:gd name="connsiteX8" fmla="*/ 39565 w 39565"/>
                  <a:gd name="connsiteY8" fmla="*/ 17689 h 43083"/>
                  <a:gd name="connsiteX9" fmla="*/ 39565 w 39565"/>
                  <a:gd name="connsiteY9" fmla="*/ 25220 h 43083"/>
                  <a:gd name="connsiteX10" fmla="*/ 23227 w 39565"/>
                  <a:gd name="connsiteY10" fmla="*/ 25220 h 43083"/>
                  <a:gd name="connsiteX11" fmla="*/ 23227 w 39565"/>
                  <a:gd name="connsiteY11" fmla="*/ 43084 h 43083"/>
                  <a:gd name="connsiteX12" fmla="*/ 16339 w 3956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565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565" y="17689"/>
                    </a:lnTo>
                    <a:lnTo>
                      <a:pt x="3956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7" name="Freihandform: Form 106">
                <a:extLst>
                  <a:ext uri="{FF2B5EF4-FFF2-40B4-BE49-F238E27FC236}">
                    <a16:creationId xmlns:a16="http://schemas.microsoft.com/office/drawing/2014/main" id="{E763C81A-39F5-22FF-A0B7-BB669ABBBE0D}"/>
                  </a:ext>
                </a:extLst>
              </p:cNvPr>
              <p:cNvSpPr/>
              <p:nvPr/>
            </p:nvSpPr>
            <p:spPr>
              <a:xfrm>
                <a:off x="5712500" y="2242701"/>
                <a:ext cx="39565" cy="43258"/>
              </a:xfrm>
              <a:custGeom>
                <a:avLst/>
                <a:gdLst>
                  <a:gd name="connsiteX0" fmla="*/ 16339 w 39565"/>
                  <a:gd name="connsiteY0" fmla="*/ 43259 h 43258"/>
                  <a:gd name="connsiteX1" fmla="*/ 16339 w 39565"/>
                  <a:gd name="connsiteY1" fmla="*/ 25395 h 43258"/>
                  <a:gd name="connsiteX2" fmla="*/ 0 w 39565"/>
                  <a:gd name="connsiteY2" fmla="*/ 25395 h 43258"/>
                  <a:gd name="connsiteX3" fmla="*/ 0 w 39565"/>
                  <a:gd name="connsiteY3" fmla="*/ 17864 h 43258"/>
                  <a:gd name="connsiteX4" fmla="*/ 16339 w 39565"/>
                  <a:gd name="connsiteY4" fmla="*/ 17864 h 43258"/>
                  <a:gd name="connsiteX5" fmla="*/ 16339 w 39565"/>
                  <a:gd name="connsiteY5" fmla="*/ 0 h 43258"/>
                  <a:gd name="connsiteX6" fmla="*/ 23227 w 39565"/>
                  <a:gd name="connsiteY6" fmla="*/ 0 h 43258"/>
                  <a:gd name="connsiteX7" fmla="*/ 23227 w 39565"/>
                  <a:gd name="connsiteY7" fmla="*/ 17864 h 43258"/>
                  <a:gd name="connsiteX8" fmla="*/ 39565 w 39565"/>
                  <a:gd name="connsiteY8" fmla="*/ 17864 h 43258"/>
                  <a:gd name="connsiteX9" fmla="*/ 39565 w 39565"/>
                  <a:gd name="connsiteY9" fmla="*/ 25395 h 43258"/>
                  <a:gd name="connsiteX10" fmla="*/ 23227 w 39565"/>
                  <a:gd name="connsiteY10" fmla="*/ 25395 h 43258"/>
                  <a:gd name="connsiteX11" fmla="*/ 23227 w 39565"/>
                  <a:gd name="connsiteY11" fmla="*/ 43259 h 43258"/>
                  <a:gd name="connsiteX12" fmla="*/ 16339 w 39565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565" h="43258">
                    <a:moveTo>
                      <a:pt x="16339" y="43259"/>
                    </a:moveTo>
                    <a:lnTo>
                      <a:pt x="16339" y="25395"/>
                    </a:lnTo>
                    <a:lnTo>
                      <a:pt x="0" y="25395"/>
                    </a:lnTo>
                    <a:lnTo>
                      <a:pt x="0" y="17864"/>
                    </a:lnTo>
                    <a:lnTo>
                      <a:pt x="16339" y="17864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864"/>
                    </a:lnTo>
                    <a:lnTo>
                      <a:pt x="39565" y="17864"/>
                    </a:lnTo>
                    <a:lnTo>
                      <a:pt x="39565" y="25395"/>
                    </a:lnTo>
                    <a:lnTo>
                      <a:pt x="23227" y="25395"/>
                    </a:lnTo>
                    <a:lnTo>
                      <a:pt x="23227" y="43259"/>
                    </a:lnTo>
                    <a:lnTo>
                      <a:pt x="16339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8" name="Freihandform: Form 107">
                <a:extLst>
                  <a:ext uri="{FF2B5EF4-FFF2-40B4-BE49-F238E27FC236}">
                    <a16:creationId xmlns:a16="http://schemas.microsoft.com/office/drawing/2014/main" id="{687E9D8D-1E16-4990-1492-7195E0CB0A02}"/>
                  </a:ext>
                </a:extLst>
              </p:cNvPr>
              <p:cNvSpPr/>
              <p:nvPr/>
            </p:nvSpPr>
            <p:spPr>
              <a:xfrm>
                <a:off x="5751265" y="2242701"/>
                <a:ext cx="39404" cy="43258"/>
              </a:xfrm>
              <a:custGeom>
                <a:avLst/>
                <a:gdLst>
                  <a:gd name="connsiteX0" fmla="*/ 16339 w 39404"/>
                  <a:gd name="connsiteY0" fmla="*/ 43259 h 43258"/>
                  <a:gd name="connsiteX1" fmla="*/ 16339 w 39404"/>
                  <a:gd name="connsiteY1" fmla="*/ 25395 h 43258"/>
                  <a:gd name="connsiteX2" fmla="*/ 0 w 39404"/>
                  <a:gd name="connsiteY2" fmla="*/ 25395 h 43258"/>
                  <a:gd name="connsiteX3" fmla="*/ 0 w 39404"/>
                  <a:gd name="connsiteY3" fmla="*/ 17864 h 43258"/>
                  <a:gd name="connsiteX4" fmla="*/ 16339 w 39404"/>
                  <a:gd name="connsiteY4" fmla="*/ 17864 h 43258"/>
                  <a:gd name="connsiteX5" fmla="*/ 16339 w 39404"/>
                  <a:gd name="connsiteY5" fmla="*/ 0 h 43258"/>
                  <a:gd name="connsiteX6" fmla="*/ 23227 w 39404"/>
                  <a:gd name="connsiteY6" fmla="*/ 0 h 43258"/>
                  <a:gd name="connsiteX7" fmla="*/ 23227 w 39404"/>
                  <a:gd name="connsiteY7" fmla="*/ 17864 h 43258"/>
                  <a:gd name="connsiteX8" fmla="*/ 39405 w 39404"/>
                  <a:gd name="connsiteY8" fmla="*/ 17864 h 43258"/>
                  <a:gd name="connsiteX9" fmla="*/ 39405 w 39404"/>
                  <a:gd name="connsiteY9" fmla="*/ 25395 h 43258"/>
                  <a:gd name="connsiteX10" fmla="*/ 23227 w 39404"/>
                  <a:gd name="connsiteY10" fmla="*/ 25395 h 43258"/>
                  <a:gd name="connsiteX11" fmla="*/ 23227 w 39404"/>
                  <a:gd name="connsiteY11" fmla="*/ 43259 h 43258"/>
                  <a:gd name="connsiteX12" fmla="*/ 16339 w 39404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258">
                    <a:moveTo>
                      <a:pt x="16339" y="43259"/>
                    </a:moveTo>
                    <a:lnTo>
                      <a:pt x="16339" y="25395"/>
                    </a:lnTo>
                    <a:lnTo>
                      <a:pt x="0" y="25395"/>
                    </a:lnTo>
                    <a:lnTo>
                      <a:pt x="0" y="17864"/>
                    </a:lnTo>
                    <a:lnTo>
                      <a:pt x="16339" y="17864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864"/>
                    </a:lnTo>
                    <a:lnTo>
                      <a:pt x="39405" y="17864"/>
                    </a:lnTo>
                    <a:lnTo>
                      <a:pt x="39405" y="25395"/>
                    </a:lnTo>
                    <a:lnTo>
                      <a:pt x="23227" y="25395"/>
                    </a:lnTo>
                    <a:lnTo>
                      <a:pt x="23227" y="43259"/>
                    </a:lnTo>
                    <a:lnTo>
                      <a:pt x="16339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9" name="Freihandform: Form 108">
                <a:extLst>
                  <a:ext uri="{FF2B5EF4-FFF2-40B4-BE49-F238E27FC236}">
                    <a16:creationId xmlns:a16="http://schemas.microsoft.com/office/drawing/2014/main" id="{165E6F97-5217-C886-5698-C00C57E123E3}"/>
                  </a:ext>
                </a:extLst>
              </p:cNvPr>
              <p:cNvSpPr/>
              <p:nvPr/>
            </p:nvSpPr>
            <p:spPr>
              <a:xfrm>
                <a:off x="5793073" y="2242701"/>
                <a:ext cx="39404" cy="43258"/>
              </a:xfrm>
              <a:custGeom>
                <a:avLst/>
                <a:gdLst>
                  <a:gd name="connsiteX0" fmla="*/ 16178 w 39404"/>
                  <a:gd name="connsiteY0" fmla="*/ 43259 h 43258"/>
                  <a:gd name="connsiteX1" fmla="*/ 16178 w 39404"/>
                  <a:gd name="connsiteY1" fmla="*/ 25395 h 43258"/>
                  <a:gd name="connsiteX2" fmla="*/ 0 w 39404"/>
                  <a:gd name="connsiteY2" fmla="*/ 25395 h 43258"/>
                  <a:gd name="connsiteX3" fmla="*/ 0 w 39404"/>
                  <a:gd name="connsiteY3" fmla="*/ 17864 h 43258"/>
                  <a:gd name="connsiteX4" fmla="*/ 16178 w 39404"/>
                  <a:gd name="connsiteY4" fmla="*/ 17864 h 43258"/>
                  <a:gd name="connsiteX5" fmla="*/ 16178 w 39404"/>
                  <a:gd name="connsiteY5" fmla="*/ 0 h 43258"/>
                  <a:gd name="connsiteX6" fmla="*/ 23066 w 39404"/>
                  <a:gd name="connsiteY6" fmla="*/ 0 h 43258"/>
                  <a:gd name="connsiteX7" fmla="*/ 23066 w 39404"/>
                  <a:gd name="connsiteY7" fmla="*/ 17864 h 43258"/>
                  <a:gd name="connsiteX8" fmla="*/ 39405 w 39404"/>
                  <a:gd name="connsiteY8" fmla="*/ 17864 h 43258"/>
                  <a:gd name="connsiteX9" fmla="*/ 39405 w 39404"/>
                  <a:gd name="connsiteY9" fmla="*/ 25395 h 43258"/>
                  <a:gd name="connsiteX10" fmla="*/ 23066 w 39404"/>
                  <a:gd name="connsiteY10" fmla="*/ 25395 h 43258"/>
                  <a:gd name="connsiteX11" fmla="*/ 23066 w 39404"/>
                  <a:gd name="connsiteY11" fmla="*/ 43259 h 43258"/>
                  <a:gd name="connsiteX12" fmla="*/ 16178 w 39404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258">
                    <a:moveTo>
                      <a:pt x="16178" y="43259"/>
                    </a:moveTo>
                    <a:lnTo>
                      <a:pt x="16178" y="25395"/>
                    </a:lnTo>
                    <a:lnTo>
                      <a:pt x="0" y="25395"/>
                    </a:lnTo>
                    <a:lnTo>
                      <a:pt x="0" y="17864"/>
                    </a:lnTo>
                    <a:lnTo>
                      <a:pt x="16178" y="17864"/>
                    </a:lnTo>
                    <a:lnTo>
                      <a:pt x="16178" y="0"/>
                    </a:lnTo>
                    <a:lnTo>
                      <a:pt x="23066" y="0"/>
                    </a:lnTo>
                    <a:lnTo>
                      <a:pt x="23066" y="17864"/>
                    </a:lnTo>
                    <a:lnTo>
                      <a:pt x="39405" y="17864"/>
                    </a:lnTo>
                    <a:lnTo>
                      <a:pt x="39405" y="25395"/>
                    </a:lnTo>
                    <a:lnTo>
                      <a:pt x="23066" y="25395"/>
                    </a:lnTo>
                    <a:lnTo>
                      <a:pt x="23066" y="43259"/>
                    </a:lnTo>
                    <a:lnTo>
                      <a:pt x="16178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0" name="Freihandform: Form 109">
                <a:extLst>
                  <a:ext uri="{FF2B5EF4-FFF2-40B4-BE49-F238E27FC236}">
                    <a16:creationId xmlns:a16="http://schemas.microsoft.com/office/drawing/2014/main" id="{64715069-E850-5D23-C090-131B0D4ACD1E}"/>
                  </a:ext>
                </a:extLst>
              </p:cNvPr>
              <p:cNvSpPr/>
              <p:nvPr/>
            </p:nvSpPr>
            <p:spPr>
              <a:xfrm>
                <a:off x="5813736" y="2249182"/>
                <a:ext cx="39565" cy="43258"/>
              </a:xfrm>
              <a:custGeom>
                <a:avLst/>
                <a:gdLst>
                  <a:gd name="connsiteX0" fmla="*/ 16339 w 39565"/>
                  <a:gd name="connsiteY0" fmla="*/ 43259 h 43258"/>
                  <a:gd name="connsiteX1" fmla="*/ 16339 w 39565"/>
                  <a:gd name="connsiteY1" fmla="*/ 25395 h 43258"/>
                  <a:gd name="connsiteX2" fmla="*/ 0 w 39565"/>
                  <a:gd name="connsiteY2" fmla="*/ 25395 h 43258"/>
                  <a:gd name="connsiteX3" fmla="*/ 0 w 39565"/>
                  <a:gd name="connsiteY3" fmla="*/ 17864 h 43258"/>
                  <a:gd name="connsiteX4" fmla="*/ 16339 w 39565"/>
                  <a:gd name="connsiteY4" fmla="*/ 17864 h 43258"/>
                  <a:gd name="connsiteX5" fmla="*/ 16339 w 39565"/>
                  <a:gd name="connsiteY5" fmla="*/ 0 h 43258"/>
                  <a:gd name="connsiteX6" fmla="*/ 23227 w 39565"/>
                  <a:gd name="connsiteY6" fmla="*/ 0 h 43258"/>
                  <a:gd name="connsiteX7" fmla="*/ 23227 w 39565"/>
                  <a:gd name="connsiteY7" fmla="*/ 17864 h 43258"/>
                  <a:gd name="connsiteX8" fmla="*/ 39565 w 39565"/>
                  <a:gd name="connsiteY8" fmla="*/ 17864 h 43258"/>
                  <a:gd name="connsiteX9" fmla="*/ 39565 w 39565"/>
                  <a:gd name="connsiteY9" fmla="*/ 25395 h 43258"/>
                  <a:gd name="connsiteX10" fmla="*/ 23227 w 39565"/>
                  <a:gd name="connsiteY10" fmla="*/ 25395 h 43258"/>
                  <a:gd name="connsiteX11" fmla="*/ 23227 w 39565"/>
                  <a:gd name="connsiteY11" fmla="*/ 43259 h 43258"/>
                  <a:gd name="connsiteX12" fmla="*/ 16339 w 39565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565" h="43258">
                    <a:moveTo>
                      <a:pt x="16339" y="43259"/>
                    </a:moveTo>
                    <a:lnTo>
                      <a:pt x="16339" y="25395"/>
                    </a:lnTo>
                    <a:lnTo>
                      <a:pt x="0" y="25395"/>
                    </a:lnTo>
                    <a:lnTo>
                      <a:pt x="0" y="17864"/>
                    </a:lnTo>
                    <a:lnTo>
                      <a:pt x="16339" y="17864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864"/>
                    </a:lnTo>
                    <a:lnTo>
                      <a:pt x="39565" y="17864"/>
                    </a:lnTo>
                    <a:lnTo>
                      <a:pt x="39565" y="25395"/>
                    </a:lnTo>
                    <a:lnTo>
                      <a:pt x="23227" y="25395"/>
                    </a:lnTo>
                    <a:lnTo>
                      <a:pt x="23227" y="43259"/>
                    </a:lnTo>
                    <a:lnTo>
                      <a:pt x="16339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1" name="Freihandform: Form 110">
                <a:extLst>
                  <a:ext uri="{FF2B5EF4-FFF2-40B4-BE49-F238E27FC236}">
                    <a16:creationId xmlns:a16="http://schemas.microsoft.com/office/drawing/2014/main" id="{1C26677F-54C2-C047-F048-E396BF09E6C1}"/>
                  </a:ext>
                </a:extLst>
              </p:cNvPr>
              <p:cNvSpPr/>
              <p:nvPr/>
            </p:nvSpPr>
            <p:spPr>
              <a:xfrm>
                <a:off x="5822706" y="2249182"/>
                <a:ext cx="39565" cy="43258"/>
              </a:xfrm>
              <a:custGeom>
                <a:avLst/>
                <a:gdLst>
                  <a:gd name="connsiteX0" fmla="*/ 16339 w 39565"/>
                  <a:gd name="connsiteY0" fmla="*/ 43259 h 43258"/>
                  <a:gd name="connsiteX1" fmla="*/ 16339 w 39565"/>
                  <a:gd name="connsiteY1" fmla="*/ 25395 h 43258"/>
                  <a:gd name="connsiteX2" fmla="*/ 0 w 39565"/>
                  <a:gd name="connsiteY2" fmla="*/ 25395 h 43258"/>
                  <a:gd name="connsiteX3" fmla="*/ 0 w 39565"/>
                  <a:gd name="connsiteY3" fmla="*/ 17864 h 43258"/>
                  <a:gd name="connsiteX4" fmla="*/ 16339 w 39565"/>
                  <a:gd name="connsiteY4" fmla="*/ 17864 h 43258"/>
                  <a:gd name="connsiteX5" fmla="*/ 16339 w 39565"/>
                  <a:gd name="connsiteY5" fmla="*/ 0 h 43258"/>
                  <a:gd name="connsiteX6" fmla="*/ 23227 w 39565"/>
                  <a:gd name="connsiteY6" fmla="*/ 0 h 43258"/>
                  <a:gd name="connsiteX7" fmla="*/ 23227 w 39565"/>
                  <a:gd name="connsiteY7" fmla="*/ 17864 h 43258"/>
                  <a:gd name="connsiteX8" fmla="*/ 39565 w 39565"/>
                  <a:gd name="connsiteY8" fmla="*/ 17864 h 43258"/>
                  <a:gd name="connsiteX9" fmla="*/ 39565 w 39565"/>
                  <a:gd name="connsiteY9" fmla="*/ 25395 h 43258"/>
                  <a:gd name="connsiteX10" fmla="*/ 23227 w 39565"/>
                  <a:gd name="connsiteY10" fmla="*/ 25395 h 43258"/>
                  <a:gd name="connsiteX11" fmla="*/ 23227 w 39565"/>
                  <a:gd name="connsiteY11" fmla="*/ 43259 h 43258"/>
                  <a:gd name="connsiteX12" fmla="*/ 16339 w 39565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565" h="43258">
                    <a:moveTo>
                      <a:pt x="16339" y="43259"/>
                    </a:moveTo>
                    <a:lnTo>
                      <a:pt x="16339" y="25395"/>
                    </a:lnTo>
                    <a:lnTo>
                      <a:pt x="0" y="25395"/>
                    </a:lnTo>
                    <a:lnTo>
                      <a:pt x="0" y="17864"/>
                    </a:lnTo>
                    <a:lnTo>
                      <a:pt x="16339" y="17864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864"/>
                    </a:lnTo>
                    <a:lnTo>
                      <a:pt x="39565" y="17864"/>
                    </a:lnTo>
                    <a:lnTo>
                      <a:pt x="39565" y="25395"/>
                    </a:lnTo>
                    <a:lnTo>
                      <a:pt x="23227" y="25395"/>
                    </a:lnTo>
                    <a:lnTo>
                      <a:pt x="23227" y="43259"/>
                    </a:lnTo>
                    <a:lnTo>
                      <a:pt x="16339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2" name="Freihandform: Form 111">
                <a:extLst>
                  <a:ext uri="{FF2B5EF4-FFF2-40B4-BE49-F238E27FC236}">
                    <a16:creationId xmlns:a16="http://schemas.microsoft.com/office/drawing/2014/main" id="{0993381E-3426-81B5-F864-942F79E143AB}"/>
                  </a:ext>
                </a:extLst>
              </p:cNvPr>
              <p:cNvSpPr/>
              <p:nvPr/>
            </p:nvSpPr>
            <p:spPr>
              <a:xfrm>
                <a:off x="5828793" y="2249182"/>
                <a:ext cx="39404" cy="43258"/>
              </a:xfrm>
              <a:custGeom>
                <a:avLst/>
                <a:gdLst>
                  <a:gd name="connsiteX0" fmla="*/ 16178 w 39404"/>
                  <a:gd name="connsiteY0" fmla="*/ 43259 h 43258"/>
                  <a:gd name="connsiteX1" fmla="*/ 16178 w 39404"/>
                  <a:gd name="connsiteY1" fmla="*/ 25395 h 43258"/>
                  <a:gd name="connsiteX2" fmla="*/ 0 w 39404"/>
                  <a:gd name="connsiteY2" fmla="*/ 25395 h 43258"/>
                  <a:gd name="connsiteX3" fmla="*/ 0 w 39404"/>
                  <a:gd name="connsiteY3" fmla="*/ 17864 h 43258"/>
                  <a:gd name="connsiteX4" fmla="*/ 16178 w 39404"/>
                  <a:gd name="connsiteY4" fmla="*/ 17864 h 43258"/>
                  <a:gd name="connsiteX5" fmla="*/ 16178 w 39404"/>
                  <a:gd name="connsiteY5" fmla="*/ 0 h 43258"/>
                  <a:gd name="connsiteX6" fmla="*/ 23066 w 39404"/>
                  <a:gd name="connsiteY6" fmla="*/ 0 h 43258"/>
                  <a:gd name="connsiteX7" fmla="*/ 23066 w 39404"/>
                  <a:gd name="connsiteY7" fmla="*/ 17864 h 43258"/>
                  <a:gd name="connsiteX8" fmla="*/ 39405 w 39404"/>
                  <a:gd name="connsiteY8" fmla="*/ 17864 h 43258"/>
                  <a:gd name="connsiteX9" fmla="*/ 39405 w 39404"/>
                  <a:gd name="connsiteY9" fmla="*/ 25395 h 43258"/>
                  <a:gd name="connsiteX10" fmla="*/ 23066 w 39404"/>
                  <a:gd name="connsiteY10" fmla="*/ 25395 h 43258"/>
                  <a:gd name="connsiteX11" fmla="*/ 23066 w 39404"/>
                  <a:gd name="connsiteY11" fmla="*/ 43259 h 43258"/>
                  <a:gd name="connsiteX12" fmla="*/ 16178 w 39404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258">
                    <a:moveTo>
                      <a:pt x="16178" y="43259"/>
                    </a:moveTo>
                    <a:lnTo>
                      <a:pt x="16178" y="25395"/>
                    </a:lnTo>
                    <a:lnTo>
                      <a:pt x="0" y="25395"/>
                    </a:lnTo>
                    <a:lnTo>
                      <a:pt x="0" y="17864"/>
                    </a:lnTo>
                    <a:lnTo>
                      <a:pt x="16178" y="17864"/>
                    </a:lnTo>
                    <a:lnTo>
                      <a:pt x="16178" y="0"/>
                    </a:lnTo>
                    <a:lnTo>
                      <a:pt x="23066" y="0"/>
                    </a:lnTo>
                    <a:lnTo>
                      <a:pt x="23066" y="17864"/>
                    </a:lnTo>
                    <a:lnTo>
                      <a:pt x="39405" y="17864"/>
                    </a:lnTo>
                    <a:lnTo>
                      <a:pt x="39405" y="25395"/>
                    </a:lnTo>
                    <a:lnTo>
                      <a:pt x="23066" y="25395"/>
                    </a:lnTo>
                    <a:lnTo>
                      <a:pt x="23066" y="43259"/>
                    </a:lnTo>
                    <a:lnTo>
                      <a:pt x="16178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3" name="Freihandform: Form 112">
                <a:extLst>
                  <a:ext uri="{FF2B5EF4-FFF2-40B4-BE49-F238E27FC236}">
                    <a16:creationId xmlns:a16="http://schemas.microsoft.com/office/drawing/2014/main" id="{1ADEE675-F04C-9387-46BA-109B8D9DEF66}"/>
                  </a:ext>
                </a:extLst>
              </p:cNvPr>
              <p:cNvSpPr/>
              <p:nvPr/>
            </p:nvSpPr>
            <p:spPr>
              <a:xfrm>
                <a:off x="5846574" y="2249182"/>
                <a:ext cx="39404" cy="43258"/>
              </a:xfrm>
              <a:custGeom>
                <a:avLst/>
                <a:gdLst>
                  <a:gd name="connsiteX0" fmla="*/ 16339 w 39404"/>
                  <a:gd name="connsiteY0" fmla="*/ 43259 h 43258"/>
                  <a:gd name="connsiteX1" fmla="*/ 16339 w 39404"/>
                  <a:gd name="connsiteY1" fmla="*/ 25395 h 43258"/>
                  <a:gd name="connsiteX2" fmla="*/ 0 w 39404"/>
                  <a:gd name="connsiteY2" fmla="*/ 25395 h 43258"/>
                  <a:gd name="connsiteX3" fmla="*/ 0 w 39404"/>
                  <a:gd name="connsiteY3" fmla="*/ 17864 h 43258"/>
                  <a:gd name="connsiteX4" fmla="*/ 16339 w 39404"/>
                  <a:gd name="connsiteY4" fmla="*/ 17864 h 43258"/>
                  <a:gd name="connsiteX5" fmla="*/ 16339 w 39404"/>
                  <a:gd name="connsiteY5" fmla="*/ 0 h 43258"/>
                  <a:gd name="connsiteX6" fmla="*/ 23227 w 39404"/>
                  <a:gd name="connsiteY6" fmla="*/ 0 h 43258"/>
                  <a:gd name="connsiteX7" fmla="*/ 23227 w 39404"/>
                  <a:gd name="connsiteY7" fmla="*/ 17864 h 43258"/>
                  <a:gd name="connsiteX8" fmla="*/ 39405 w 39404"/>
                  <a:gd name="connsiteY8" fmla="*/ 17864 h 43258"/>
                  <a:gd name="connsiteX9" fmla="*/ 39405 w 39404"/>
                  <a:gd name="connsiteY9" fmla="*/ 25395 h 43258"/>
                  <a:gd name="connsiteX10" fmla="*/ 23227 w 39404"/>
                  <a:gd name="connsiteY10" fmla="*/ 25395 h 43258"/>
                  <a:gd name="connsiteX11" fmla="*/ 23227 w 39404"/>
                  <a:gd name="connsiteY11" fmla="*/ 43259 h 43258"/>
                  <a:gd name="connsiteX12" fmla="*/ 16339 w 39404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258">
                    <a:moveTo>
                      <a:pt x="16339" y="43259"/>
                    </a:moveTo>
                    <a:lnTo>
                      <a:pt x="16339" y="25395"/>
                    </a:lnTo>
                    <a:lnTo>
                      <a:pt x="0" y="25395"/>
                    </a:lnTo>
                    <a:lnTo>
                      <a:pt x="0" y="17864"/>
                    </a:lnTo>
                    <a:lnTo>
                      <a:pt x="16339" y="17864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864"/>
                    </a:lnTo>
                    <a:lnTo>
                      <a:pt x="39405" y="17864"/>
                    </a:lnTo>
                    <a:lnTo>
                      <a:pt x="39405" y="25395"/>
                    </a:lnTo>
                    <a:lnTo>
                      <a:pt x="23227" y="25395"/>
                    </a:lnTo>
                    <a:lnTo>
                      <a:pt x="23227" y="43259"/>
                    </a:lnTo>
                    <a:lnTo>
                      <a:pt x="16339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4" name="Freihandform: Form 113">
                <a:extLst>
                  <a:ext uri="{FF2B5EF4-FFF2-40B4-BE49-F238E27FC236}">
                    <a16:creationId xmlns:a16="http://schemas.microsoft.com/office/drawing/2014/main" id="{7FF79DA1-3E52-0ABD-AC0C-38A70BC16A9D}"/>
                  </a:ext>
                </a:extLst>
              </p:cNvPr>
              <p:cNvSpPr/>
              <p:nvPr/>
            </p:nvSpPr>
            <p:spPr>
              <a:xfrm>
                <a:off x="5882294" y="2254436"/>
                <a:ext cx="39405" cy="43083"/>
              </a:xfrm>
              <a:custGeom>
                <a:avLst/>
                <a:gdLst>
                  <a:gd name="connsiteX0" fmla="*/ 16339 w 39405"/>
                  <a:gd name="connsiteY0" fmla="*/ 43084 h 43083"/>
                  <a:gd name="connsiteX1" fmla="*/ 16339 w 39405"/>
                  <a:gd name="connsiteY1" fmla="*/ 25220 h 43083"/>
                  <a:gd name="connsiteX2" fmla="*/ 0 w 39405"/>
                  <a:gd name="connsiteY2" fmla="*/ 25220 h 43083"/>
                  <a:gd name="connsiteX3" fmla="*/ 0 w 39405"/>
                  <a:gd name="connsiteY3" fmla="*/ 17689 h 43083"/>
                  <a:gd name="connsiteX4" fmla="*/ 16339 w 39405"/>
                  <a:gd name="connsiteY4" fmla="*/ 17689 h 43083"/>
                  <a:gd name="connsiteX5" fmla="*/ 16339 w 39405"/>
                  <a:gd name="connsiteY5" fmla="*/ 0 h 43083"/>
                  <a:gd name="connsiteX6" fmla="*/ 23227 w 39405"/>
                  <a:gd name="connsiteY6" fmla="*/ 0 h 43083"/>
                  <a:gd name="connsiteX7" fmla="*/ 23227 w 39405"/>
                  <a:gd name="connsiteY7" fmla="*/ 17689 h 43083"/>
                  <a:gd name="connsiteX8" fmla="*/ 39405 w 39405"/>
                  <a:gd name="connsiteY8" fmla="*/ 17689 h 43083"/>
                  <a:gd name="connsiteX9" fmla="*/ 39405 w 39405"/>
                  <a:gd name="connsiteY9" fmla="*/ 25220 h 43083"/>
                  <a:gd name="connsiteX10" fmla="*/ 23227 w 39405"/>
                  <a:gd name="connsiteY10" fmla="*/ 25220 h 43083"/>
                  <a:gd name="connsiteX11" fmla="*/ 23227 w 39405"/>
                  <a:gd name="connsiteY11" fmla="*/ 43084 h 43083"/>
                  <a:gd name="connsiteX12" fmla="*/ 16339 w 3940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5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5" name="Freihandform: Form 114">
                <a:extLst>
                  <a:ext uri="{FF2B5EF4-FFF2-40B4-BE49-F238E27FC236}">
                    <a16:creationId xmlns:a16="http://schemas.microsoft.com/office/drawing/2014/main" id="{5AE7B8F9-FF4D-3FB4-E233-C0DEC5021F92}"/>
                  </a:ext>
                </a:extLst>
              </p:cNvPr>
              <p:cNvSpPr/>
              <p:nvPr/>
            </p:nvSpPr>
            <p:spPr>
              <a:xfrm>
                <a:off x="5903118" y="2260215"/>
                <a:ext cx="39565" cy="43083"/>
              </a:xfrm>
              <a:custGeom>
                <a:avLst/>
                <a:gdLst>
                  <a:gd name="connsiteX0" fmla="*/ 16339 w 39565"/>
                  <a:gd name="connsiteY0" fmla="*/ 43084 h 43083"/>
                  <a:gd name="connsiteX1" fmla="*/ 16339 w 39565"/>
                  <a:gd name="connsiteY1" fmla="*/ 25220 h 43083"/>
                  <a:gd name="connsiteX2" fmla="*/ 0 w 39565"/>
                  <a:gd name="connsiteY2" fmla="*/ 25220 h 43083"/>
                  <a:gd name="connsiteX3" fmla="*/ 0 w 39565"/>
                  <a:gd name="connsiteY3" fmla="*/ 17689 h 43083"/>
                  <a:gd name="connsiteX4" fmla="*/ 16339 w 39565"/>
                  <a:gd name="connsiteY4" fmla="*/ 17689 h 43083"/>
                  <a:gd name="connsiteX5" fmla="*/ 16339 w 39565"/>
                  <a:gd name="connsiteY5" fmla="*/ 0 h 43083"/>
                  <a:gd name="connsiteX6" fmla="*/ 23227 w 39565"/>
                  <a:gd name="connsiteY6" fmla="*/ 0 h 43083"/>
                  <a:gd name="connsiteX7" fmla="*/ 23227 w 39565"/>
                  <a:gd name="connsiteY7" fmla="*/ 17689 h 43083"/>
                  <a:gd name="connsiteX8" fmla="*/ 39565 w 39565"/>
                  <a:gd name="connsiteY8" fmla="*/ 17689 h 43083"/>
                  <a:gd name="connsiteX9" fmla="*/ 39565 w 39565"/>
                  <a:gd name="connsiteY9" fmla="*/ 25220 h 43083"/>
                  <a:gd name="connsiteX10" fmla="*/ 23227 w 39565"/>
                  <a:gd name="connsiteY10" fmla="*/ 25220 h 43083"/>
                  <a:gd name="connsiteX11" fmla="*/ 23227 w 39565"/>
                  <a:gd name="connsiteY11" fmla="*/ 43084 h 43083"/>
                  <a:gd name="connsiteX12" fmla="*/ 16339 w 3956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565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565" y="17689"/>
                    </a:lnTo>
                    <a:lnTo>
                      <a:pt x="3956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6" name="Freihandform: Form 115">
                <a:extLst>
                  <a:ext uri="{FF2B5EF4-FFF2-40B4-BE49-F238E27FC236}">
                    <a16:creationId xmlns:a16="http://schemas.microsoft.com/office/drawing/2014/main" id="{9C3F3896-C86D-413F-F388-E1716761482E}"/>
                  </a:ext>
                </a:extLst>
              </p:cNvPr>
              <p:cNvSpPr/>
              <p:nvPr/>
            </p:nvSpPr>
            <p:spPr>
              <a:xfrm>
                <a:off x="5912089" y="2260215"/>
                <a:ext cx="39565" cy="43083"/>
              </a:xfrm>
              <a:custGeom>
                <a:avLst/>
                <a:gdLst>
                  <a:gd name="connsiteX0" fmla="*/ 16339 w 39565"/>
                  <a:gd name="connsiteY0" fmla="*/ 43084 h 43083"/>
                  <a:gd name="connsiteX1" fmla="*/ 16339 w 39565"/>
                  <a:gd name="connsiteY1" fmla="*/ 25220 h 43083"/>
                  <a:gd name="connsiteX2" fmla="*/ 0 w 39565"/>
                  <a:gd name="connsiteY2" fmla="*/ 25220 h 43083"/>
                  <a:gd name="connsiteX3" fmla="*/ 0 w 39565"/>
                  <a:gd name="connsiteY3" fmla="*/ 17689 h 43083"/>
                  <a:gd name="connsiteX4" fmla="*/ 16339 w 39565"/>
                  <a:gd name="connsiteY4" fmla="*/ 17689 h 43083"/>
                  <a:gd name="connsiteX5" fmla="*/ 16339 w 39565"/>
                  <a:gd name="connsiteY5" fmla="*/ 0 h 43083"/>
                  <a:gd name="connsiteX6" fmla="*/ 23227 w 39565"/>
                  <a:gd name="connsiteY6" fmla="*/ 0 h 43083"/>
                  <a:gd name="connsiteX7" fmla="*/ 23227 w 39565"/>
                  <a:gd name="connsiteY7" fmla="*/ 17689 h 43083"/>
                  <a:gd name="connsiteX8" fmla="*/ 39565 w 39565"/>
                  <a:gd name="connsiteY8" fmla="*/ 17689 h 43083"/>
                  <a:gd name="connsiteX9" fmla="*/ 39565 w 39565"/>
                  <a:gd name="connsiteY9" fmla="*/ 25220 h 43083"/>
                  <a:gd name="connsiteX10" fmla="*/ 23227 w 39565"/>
                  <a:gd name="connsiteY10" fmla="*/ 25220 h 43083"/>
                  <a:gd name="connsiteX11" fmla="*/ 23227 w 39565"/>
                  <a:gd name="connsiteY11" fmla="*/ 43084 h 43083"/>
                  <a:gd name="connsiteX12" fmla="*/ 16339 w 3956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565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565" y="17689"/>
                    </a:lnTo>
                    <a:lnTo>
                      <a:pt x="3956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7" name="Freihandform: Form 116">
                <a:extLst>
                  <a:ext uri="{FF2B5EF4-FFF2-40B4-BE49-F238E27FC236}">
                    <a16:creationId xmlns:a16="http://schemas.microsoft.com/office/drawing/2014/main" id="{8CC12DED-6264-49C7-962C-78D8A228304E}"/>
                  </a:ext>
                </a:extLst>
              </p:cNvPr>
              <p:cNvSpPr/>
              <p:nvPr/>
            </p:nvSpPr>
            <p:spPr>
              <a:xfrm>
                <a:off x="5921059" y="2260215"/>
                <a:ext cx="39405" cy="43083"/>
              </a:xfrm>
              <a:custGeom>
                <a:avLst/>
                <a:gdLst>
                  <a:gd name="connsiteX0" fmla="*/ 16339 w 39405"/>
                  <a:gd name="connsiteY0" fmla="*/ 43084 h 43083"/>
                  <a:gd name="connsiteX1" fmla="*/ 16339 w 39405"/>
                  <a:gd name="connsiteY1" fmla="*/ 25220 h 43083"/>
                  <a:gd name="connsiteX2" fmla="*/ 0 w 39405"/>
                  <a:gd name="connsiteY2" fmla="*/ 25220 h 43083"/>
                  <a:gd name="connsiteX3" fmla="*/ 0 w 39405"/>
                  <a:gd name="connsiteY3" fmla="*/ 17689 h 43083"/>
                  <a:gd name="connsiteX4" fmla="*/ 16339 w 39405"/>
                  <a:gd name="connsiteY4" fmla="*/ 17689 h 43083"/>
                  <a:gd name="connsiteX5" fmla="*/ 16339 w 39405"/>
                  <a:gd name="connsiteY5" fmla="*/ 0 h 43083"/>
                  <a:gd name="connsiteX6" fmla="*/ 23227 w 39405"/>
                  <a:gd name="connsiteY6" fmla="*/ 0 h 43083"/>
                  <a:gd name="connsiteX7" fmla="*/ 23227 w 39405"/>
                  <a:gd name="connsiteY7" fmla="*/ 17689 h 43083"/>
                  <a:gd name="connsiteX8" fmla="*/ 39405 w 39405"/>
                  <a:gd name="connsiteY8" fmla="*/ 17689 h 43083"/>
                  <a:gd name="connsiteX9" fmla="*/ 39405 w 39405"/>
                  <a:gd name="connsiteY9" fmla="*/ 25220 h 43083"/>
                  <a:gd name="connsiteX10" fmla="*/ 23227 w 39405"/>
                  <a:gd name="connsiteY10" fmla="*/ 25220 h 43083"/>
                  <a:gd name="connsiteX11" fmla="*/ 23227 w 39405"/>
                  <a:gd name="connsiteY11" fmla="*/ 43084 h 43083"/>
                  <a:gd name="connsiteX12" fmla="*/ 16339 w 3940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5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8" name="Freihandform: Form 117">
                <a:extLst>
                  <a:ext uri="{FF2B5EF4-FFF2-40B4-BE49-F238E27FC236}">
                    <a16:creationId xmlns:a16="http://schemas.microsoft.com/office/drawing/2014/main" id="{218565A9-89DD-47DE-F300-BBEF5FB6A390}"/>
                  </a:ext>
                </a:extLst>
              </p:cNvPr>
              <p:cNvSpPr/>
              <p:nvPr/>
            </p:nvSpPr>
            <p:spPr>
              <a:xfrm>
                <a:off x="5980647" y="2260215"/>
                <a:ext cx="39405" cy="43083"/>
              </a:xfrm>
              <a:custGeom>
                <a:avLst/>
                <a:gdLst>
                  <a:gd name="connsiteX0" fmla="*/ 16179 w 39405"/>
                  <a:gd name="connsiteY0" fmla="*/ 43084 h 43083"/>
                  <a:gd name="connsiteX1" fmla="*/ 16179 w 39405"/>
                  <a:gd name="connsiteY1" fmla="*/ 25220 h 43083"/>
                  <a:gd name="connsiteX2" fmla="*/ 0 w 39405"/>
                  <a:gd name="connsiteY2" fmla="*/ 25220 h 43083"/>
                  <a:gd name="connsiteX3" fmla="*/ 0 w 39405"/>
                  <a:gd name="connsiteY3" fmla="*/ 17689 h 43083"/>
                  <a:gd name="connsiteX4" fmla="*/ 16179 w 39405"/>
                  <a:gd name="connsiteY4" fmla="*/ 17689 h 43083"/>
                  <a:gd name="connsiteX5" fmla="*/ 16179 w 39405"/>
                  <a:gd name="connsiteY5" fmla="*/ 0 h 43083"/>
                  <a:gd name="connsiteX6" fmla="*/ 23227 w 39405"/>
                  <a:gd name="connsiteY6" fmla="*/ 0 h 43083"/>
                  <a:gd name="connsiteX7" fmla="*/ 23227 w 39405"/>
                  <a:gd name="connsiteY7" fmla="*/ 17689 h 43083"/>
                  <a:gd name="connsiteX8" fmla="*/ 39405 w 39405"/>
                  <a:gd name="connsiteY8" fmla="*/ 17689 h 43083"/>
                  <a:gd name="connsiteX9" fmla="*/ 39405 w 39405"/>
                  <a:gd name="connsiteY9" fmla="*/ 25220 h 43083"/>
                  <a:gd name="connsiteX10" fmla="*/ 23227 w 39405"/>
                  <a:gd name="connsiteY10" fmla="*/ 25220 h 43083"/>
                  <a:gd name="connsiteX11" fmla="*/ 23227 w 39405"/>
                  <a:gd name="connsiteY11" fmla="*/ 43084 h 43083"/>
                  <a:gd name="connsiteX12" fmla="*/ 16179 w 3940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5" h="43083">
                    <a:moveTo>
                      <a:pt x="16179" y="43084"/>
                    </a:moveTo>
                    <a:lnTo>
                      <a:pt x="1617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9" y="17689"/>
                    </a:lnTo>
                    <a:lnTo>
                      <a:pt x="1617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17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9" name="Freihandform: Form 118">
                <a:extLst>
                  <a:ext uri="{FF2B5EF4-FFF2-40B4-BE49-F238E27FC236}">
                    <a16:creationId xmlns:a16="http://schemas.microsoft.com/office/drawing/2014/main" id="{0D028313-D00A-FD8C-873A-E9DDA03350E0}"/>
                  </a:ext>
                </a:extLst>
              </p:cNvPr>
              <p:cNvSpPr/>
              <p:nvPr/>
            </p:nvSpPr>
            <p:spPr>
              <a:xfrm>
                <a:off x="5995544" y="2260215"/>
                <a:ext cx="39404" cy="43083"/>
              </a:xfrm>
              <a:custGeom>
                <a:avLst/>
                <a:gdLst>
                  <a:gd name="connsiteX0" fmla="*/ 16339 w 39404"/>
                  <a:gd name="connsiteY0" fmla="*/ 43084 h 43083"/>
                  <a:gd name="connsiteX1" fmla="*/ 16339 w 39404"/>
                  <a:gd name="connsiteY1" fmla="*/ 25220 h 43083"/>
                  <a:gd name="connsiteX2" fmla="*/ 0 w 39404"/>
                  <a:gd name="connsiteY2" fmla="*/ 25220 h 43083"/>
                  <a:gd name="connsiteX3" fmla="*/ 0 w 39404"/>
                  <a:gd name="connsiteY3" fmla="*/ 17689 h 43083"/>
                  <a:gd name="connsiteX4" fmla="*/ 16339 w 39404"/>
                  <a:gd name="connsiteY4" fmla="*/ 17689 h 43083"/>
                  <a:gd name="connsiteX5" fmla="*/ 16339 w 39404"/>
                  <a:gd name="connsiteY5" fmla="*/ 0 h 43083"/>
                  <a:gd name="connsiteX6" fmla="*/ 23227 w 39404"/>
                  <a:gd name="connsiteY6" fmla="*/ 0 h 43083"/>
                  <a:gd name="connsiteX7" fmla="*/ 23227 w 39404"/>
                  <a:gd name="connsiteY7" fmla="*/ 17689 h 43083"/>
                  <a:gd name="connsiteX8" fmla="*/ 39405 w 39404"/>
                  <a:gd name="connsiteY8" fmla="*/ 17689 h 43083"/>
                  <a:gd name="connsiteX9" fmla="*/ 39405 w 39404"/>
                  <a:gd name="connsiteY9" fmla="*/ 25220 h 43083"/>
                  <a:gd name="connsiteX10" fmla="*/ 23227 w 39404"/>
                  <a:gd name="connsiteY10" fmla="*/ 25220 h 43083"/>
                  <a:gd name="connsiteX11" fmla="*/ 23227 w 39404"/>
                  <a:gd name="connsiteY11" fmla="*/ 43084 h 43083"/>
                  <a:gd name="connsiteX12" fmla="*/ 16339 w 39404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0" name="Freihandform: Form 119">
                <a:extLst>
                  <a:ext uri="{FF2B5EF4-FFF2-40B4-BE49-F238E27FC236}">
                    <a16:creationId xmlns:a16="http://schemas.microsoft.com/office/drawing/2014/main" id="{3AD21001-D78C-7492-4D6D-E314A129B5E6}"/>
                  </a:ext>
                </a:extLst>
              </p:cNvPr>
              <p:cNvSpPr/>
              <p:nvPr/>
            </p:nvSpPr>
            <p:spPr>
              <a:xfrm>
                <a:off x="6001471" y="2260215"/>
                <a:ext cx="39405" cy="43083"/>
              </a:xfrm>
              <a:custGeom>
                <a:avLst/>
                <a:gdLst>
                  <a:gd name="connsiteX0" fmla="*/ 16339 w 39405"/>
                  <a:gd name="connsiteY0" fmla="*/ 43084 h 43083"/>
                  <a:gd name="connsiteX1" fmla="*/ 16339 w 39405"/>
                  <a:gd name="connsiteY1" fmla="*/ 25220 h 43083"/>
                  <a:gd name="connsiteX2" fmla="*/ 0 w 39405"/>
                  <a:gd name="connsiteY2" fmla="*/ 25220 h 43083"/>
                  <a:gd name="connsiteX3" fmla="*/ 0 w 39405"/>
                  <a:gd name="connsiteY3" fmla="*/ 17689 h 43083"/>
                  <a:gd name="connsiteX4" fmla="*/ 16339 w 39405"/>
                  <a:gd name="connsiteY4" fmla="*/ 17689 h 43083"/>
                  <a:gd name="connsiteX5" fmla="*/ 16339 w 39405"/>
                  <a:gd name="connsiteY5" fmla="*/ 0 h 43083"/>
                  <a:gd name="connsiteX6" fmla="*/ 23227 w 39405"/>
                  <a:gd name="connsiteY6" fmla="*/ 0 h 43083"/>
                  <a:gd name="connsiteX7" fmla="*/ 23227 w 39405"/>
                  <a:gd name="connsiteY7" fmla="*/ 17689 h 43083"/>
                  <a:gd name="connsiteX8" fmla="*/ 39405 w 39405"/>
                  <a:gd name="connsiteY8" fmla="*/ 17689 h 43083"/>
                  <a:gd name="connsiteX9" fmla="*/ 39405 w 39405"/>
                  <a:gd name="connsiteY9" fmla="*/ 25220 h 43083"/>
                  <a:gd name="connsiteX10" fmla="*/ 23227 w 39405"/>
                  <a:gd name="connsiteY10" fmla="*/ 25220 h 43083"/>
                  <a:gd name="connsiteX11" fmla="*/ 23227 w 39405"/>
                  <a:gd name="connsiteY11" fmla="*/ 43084 h 43083"/>
                  <a:gd name="connsiteX12" fmla="*/ 16339 w 3940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5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1" name="Freihandform: Form 120">
                <a:extLst>
                  <a:ext uri="{FF2B5EF4-FFF2-40B4-BE49-F238E27FC236}">
                    <a16:creationId xmlns:a16="http://schemas.microsoft.com/office/drawing/2014/main" id="{B9C5A5DB-6899-2D77-1A2F-70BA7D6D07DC}"/>
                  </a:ext>
                </a:extLst>
              </p:cNvPr>
              <p:cNvSpPr/>
              <p:nvPr/>
            </p:nvSpPr>
            <p:spPr>
              <a:xfrm>
                <a:off x="6004514" y="2260215"/>
                <a:ext cx="39404" cy="43083"/>
              </a:xfrm>
              <a:custGeom>
                <a:avLst/>
                <a:gdLst>
                  <a:gd name="connsiteX0" fmla="*/ 16178 w 39404"/>
                  <a:gd name="connsiteY0" fmla="*/ 43084 h 43083"/>
                  <a:gd name="connsiteX1" fmla="*/ 16178 w 39404"/>
                  <a:gd name="connsiteY1" fmla="*/ 25220 h 43083"/>
                  <a:gd name="connsiteX2" fmla="*/ 0 w 39404"/>
                  <a:gd name="connsiteY2" fmla="*/ 25220 h 43083"/>
                  <a:gd name="connsiteX3" fmla="*/ 0 w 39404"/>
                  <a:gd name="connsiteY3" fmla="*/ 17689 h 43083"/>
                  <a:gd name="connsiteX4" fmla="*/ 16178 w 39404"/>
                  <a:gd name="connsiteY4" fmla="*/ 17689 h 43083"/>
                  <a:gd name="connsiteX5" fmla="*/ 16178 w 39404"/>
                  <a:gd name="connsiteY5" fmla="*/ 0 h 43083"/>
                  <a:gd name="connsiteX6" fmla="*/ 23227 w 39404"/>
                  <a:gd name="connsiteY6" fmla="*/ 0 h 43083"/>
                  <a:gd name="connsiteX7" fmla="*/ 23227 w 39404"/>
                  <a:gd name="connsiteY7" fmla="*/ 17689 h 43083"/>
                  <a:gd name="connsiteX8" fmla="*/ 39405 w 39404"/>
                  <a:gd name="connsiteY8" fmla="*/ 17689 h 43083"/>
                  <a:gd name="connsiteX9" fmla="*/ 39405 w 39404"/>
                  <a:gd name="connsiteY9" fmla="*/ 25220 h 43083"/>
                  <a:gd name="connsiteX10" fmla="*/ 23227 w 39404"/>
                  <a:gd name="connsiteY10" fmla="*/ 25220 h 43083"/>
                  <a:gd name="connsiteX11" fmla="*/ 23227 w 39404"/>
                  <a:gd name="connsiteY11" fmla="*/ 43084 h 43083"/>
                  <a:gd name="connsiteX12" fmla="*/ 16178 w 39404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083">
                    <a:moveTo>
                      <a:pt x="16178" y="43084"/>
                    </a:moveTo>
                    <a:lnTo>
                      <a:pt x="16178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8" y="17689"/>
                    </a:lnTo>
                    <a:lnTo>
                      <a:pt x="16178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178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2" name="Freihandform: Form 121">
                <a:extLst>
                  <a:ext uri="{FF2B5EF4-FFF2-40B4-BE49-F238E27FC236}">
                    <a16:creationId xmlns:a16="http://schemas.microsoft.com/office/drawing/2014/main" id="{6AB5C135-367D-6F46-0EFA-CF060A23603C}"/>
                  </a:ext>
                </a:extLst>
              </p:cNvPr>
              <p:cNvSpPr/>
              <p:nvPr/>
            </p:nvSpPr>
            <p:spPr>
              <a:xfrm>
                <a:off x="6022295" y="2260215"/>
                <a:ext cx="39404" cy="43083"/>
              </a:xfrm>
              <a:custGeom>
                <a:avLst/>
                <a:gdLst>
                  <a:gd name="connsiteX0" fmla="*/ 16339 w 39404"/>
                  <a:gd name="connsiteY0" fmla="*/ 43084 h 43083"/>
                  <a:gd name="connsiteX1" fmla="*/ 16339 w 39404"/>
                  <a:gd name="connsiteY1" fmla="*/ 25220 h 43083"/>
                  <a:gd name="connsiteX2" fmla="*/ 0 w 39404"/>
                  <a:gd name="connsiteY2" fmla="*/ 25220 h 43083"/>
                  <a:gd name="connsiteX3" fmla="*/ 0 w 39404"/>
                  <a:gd name="connsiteY3" fmla="*/ 17689 h 43083"/>
                  <a:gd name="connsiteX4" fmla="*/ 16339 w 39404"/>
                  <a:gd name="connsiteY4" fmla="*/ 17689 h 43083"/>
                  <a:gd name="connsiteX5" fmla="*/ 16339 w 39404"/>
                  <a:gd name="connsiteY5" fmla="*/ 0 h 43083"/>
                  <a:gd name="connsiteX6" fmla="*/ 23227 w 39404"/>
                  <a:gd name="connsiteY6" fmla="*/ 0 h 43083"/>
                  <a:gd name="connsiteX7" fmla="*/ 23227 w 39404"/>
                  <a:gd name="connsiteY7" fmla="*/ 17689 h 43083"/>
                  <a:gd name="connsiteX8" fmla="*/ 39405 w 39404"/>
                  <a:gd name="connsiteY8" fmla="*/ 17689 h 43083"/>
                  <a:gd name="connsiteX9" fmla="*/ 39405 w 39404"/>
                  <a:gd name="connsiteY9" fmla="*/ 25220 h 43083"/>
                  <a:gd name="connsiteX10" fmla="*/ 23227 w 39404"/>
                  <a:gd name="connsiteY10" fmla="*/ 25220 h 43083"/>
                  <a:gd name="connsiteX11" fmla="*/ 23227 w 39404"/>
                  <a:gd name="connsiteY11" fmla="*/ 43084 h 43083"/>
                  <a:gd name="connsiteX12" fmla="*/ 16339 w 39404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3" name="Freihandform: Form 122">
                <a:extLst>
                  <a:ext uri="{FF2B5EF4-FFF2-40B4-BE49-F238E27FC236}">
                    <a16:creationId xmlns:a16="http://schemas.microsoft.com/office/drawing/2014/main" id="{6F41B269-1745-69D1-2B13-1A72A852A567}"/>
                  </a:ext>
                </a:extLst>
              </p:cNvPr>
              <p:cNvSpPr/>
              <p:nvPr/>
            </p:nvSpPr>
            <p:spPr>
              <a:xfrm>
                <a:off x="6046162" y="2260215"/>
                <a:ext cx="39405" cy="43083"/>
              </a:xfrm>
              <a:custGeom>
                <a:avLst/>
                <a:gdLst>
                  <a:gd name="connsiteX0" fmla="*/ 16179 w 39405"/>
                  <a:gd name="connsiteY0" fmla="*/ 43084 h 43083"/>
                  <a:gd name="connsiteX1" fmla="*/ 16179 w 39405"/>
                  <a:gd name="connsiteY1" fmla="*/ 25220 h 43083"/>
                  <a:gd name="connsiteX2" fmla="*/ 0 w 39405"/>
                  <a:gd name="connsiteY2" fmla="*/ 25220 h 43083"/>
                  <a:gd name="connsiteX3" fmla="*/ 0 w 39405"/>
                  <a:gd name="connsiteY3" fmla="*/ 17689 h 43083"/>
                  <a:gd name="connsiteX4" fmla="*/ 16179 w 39405"/>
                  <a:gd name="connsiteY4" fmla="*/ 17689 h 43083"/>
                  <a:gd name="connsiteX5" fmla="*/ 16179 w 39405"/>
                  <a:gd name="connsiteY5" fmla="*/ 0 h 43083"/>
                  <a:gd name="connsiteX6" fmla="*/ 23227 w 39405"/>
                  <a:gd name="connsiteY6" fmla="*/ 0 h 43083"/>
                  <a:gd name="connsiteX7" fmla="*/ 23227 w 39405"/>
                  <a:gd name="connsiteY7" fmla="*/ 17689 h 43083"/>
                  <a:gd name="connsiteX8" fmla="*/ 39405 w 39405"/>
                  <a:gd name="connsiteY8" fmla="*/ 17689 h 43083"/>
                  <a:gd name="connsiteX9" fmla="*/ 39405 w 39405"/>
                  <a:gd name="connsiteY9" fmla="*/ 25220 h 43083"/>
                  <a:gd name="connsiteX10" fmla="*/ 23227 w 39405"/>
                  <a:gd name="connsiteY10" fmla="*/ 25220 h 43083"/>
                  <a:gd name="connsiteX11" fmla="*/ 23227 w 39405"/>
                  <a:gd name="connsiteY11" fmla="*/ 43084 h 43083"/>
                  <a:gd name="connsiteX12" fmla="*/ 16179 w 3940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5" h="43083">
                    <a:moveTo>
                      <a:pt x="16179" y="43084"/>
                    </a:moveTo>
                    <a:lnTo>
                      <a:pt x="1617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9" y="17689"/>
                    </a:lnTo>
                    <a:lnTo>
                      <a:pt x="1617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17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4" name="Freihandform: Form 123">
                <a:extLst>
                  <a:ext uri="{FF2B5EF4-FFF2-40B4-BE49-F238E27FC236}">
                    <a16:creationId xmlns:a16="http://schemas.microsoft.com/office/drawing/2014/main" id="{98AEAAC1-1788-91C6-2380-5E97D2876D44}"/>
                  </a:ext>
                </a:extLst>
              </p:cNvPr>
              <p:cNvSpPr/>
              <p:nvPr/>
            </p:nvSpPr>
            <p:spPr>
              <a:xfrm>
                <a:off x="6055132" y="2260215"/>
                <a:ext cx="39404" cy="43083"/>
              </a:xfrm>
              <a:custGeom>
                <a:avLst/>
                <a:gdLst>
                  <a:gd name="connsiteX0" fmla="*/ 16178 w 39404"/>
                  <a:gd name="connsiteY0" fmla="*/ 43084 h 43083"/>
                  <a:gd name="connsiteX1" fmla="*/ 16178 w 39404"/>
                  <a:gd name="connsiteY1" fmla="*/ 25220 h 43083"/>
                  <a:gd name="connsiteX2" fmla="*/ 0 w 39404"/>
                  <a:gd name="connsiteY2" fmla="*/ 25220 h 43083"/>
                  <a:gd name="connsiteX3" fmla="*/ 0 w 39404"/>
                  <a:gd name="connsiteY3" fmla="*/ 17689 h 43083"/>
                  <a:gd name="connsiteX4" fmla="*/ 16178 w 39404"/>
                  <a:gd name="connsiteY4" fmla="*/ 17689 h 43083"/>
                  <a:gd name="connsiteX5" fmla="*/ 16178 w 39404"/>
                  <a:gd name="connsiteY5" fmla="*/ 0 h 43083"/>
                  <a:gd name="connsiteX6" fmla="*/ 23227 w 39404"/>
                  <a:gd name="connsiteY6" fmla="*/ 0 h 43083"/>
                  <a:gd name="connsiteX7" fmla="*/ 23227 w 39404"/>
                  <a:gd name="connsiteY7" fmla="*/ 17689 h 43083"/>
                  <a:gd name="connsiteX8" fmla="*/ 39405 w 39404"/>
                  <a:gd name="connsiteY8" fmla="*/ 17689 h 43083"/>
                  <a:gd name="connsiteX9" fmla="*/ 39405 w 39404"/>
                  <a:gd name="connsiteY9" fmla="*/ 25220 h 43083"/>
                  <a:gd name="connsiteX10" fmla="*/ 23227 w 39404"/>
                  <a:gd name="connsiteY10" fmla="*/ 25220 h 43083"/>
                  <a:gd name="connsiteX11" fmla="*/ 23227 w 39404"/>
                  <a:gd name="connsiteY11" fmla="*/ 43084 h 43083"/>
                  <a:gd name="connsiteX12" fmla="*/ 16178 w 39404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083">
                    <a:moveTo>
                      <a:pt x="16178" y="43084"/>
                    </a:moveTo>
                    <a:lnTo>
                      <a:pt x="16178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8" y="17689"/>
                    </a:lnTo>
                    <a:lnTo>
                      <a:pt x="16178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178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5" name="Freihandform: Form 124">
                <a:extLst>
                  <a:ext uri="{FF2B5EF4-FFF2-40B4-BE49-F238E27FC236}">
                    <a16:creationId xmlns:a16="http://schemas.microsoft.com/office/drawing/2014/main" id="{4DBE634A-3AB2-1BB5-07C1-19271F683C8F}"/>
                  </a:ext>
                </a:extLst>
              </p:cNvPr>
              <p:cNvSpPr/>
              <p:nvPr/>
            </p:nvSpPr>
            <p:spPr>
              <a:xfrm>
                <a:off x="6072913" y="2260215"/>
                <a:ext cx="39565" cy="43083"/>
              </a:xfrm>
              <a:custGeom>
                <a:avLst/>
                <a:gdLst>
                  <a:gd name="connsiteX0" fmla="*/ 16339 w 39565"/>
                  <a:gd name="connsiteY0" fmla="*/ 43084 h 43083"/>
                  <a:gd name="connsiteX1" fmla="*/ 16339 w 39565"/>
                  <a:gd name="connsiteY1" fmla="*/ 25220 h 43083"/>
                  <a:gd name="connsiteX2" fmla="*/ 0 w 39565"/>
                  <a:gd name="connsiteY2" fmla="*/ 25220 h 43083"/>
                  <a:gd name="connsiteX3" fmla="*/ 0 w 39565"/>
                  <a:gd name="connsiteY3" fmla="*/ 17689 h 43083"/>
                  <a:gd name="connsiteX4" fmla="*/ 16339 w 39565"/>
                  <a:gd name="connsiteY4" fmla="*/ 17689 h 43083"/>
                  <a:gd name="connsiteX5" fmla="*/ 16339 w 39565"/>
                  <a:gd name="connsiteY5" fmla="*/ 0 h 43083"/>
                  <a:gd name="connsiteX6" fmla="*/ 23227 w 39565"/>
                  <a:gd name="connsiteY6" fmla="*/ 0 h 43083"/>
                  <a:gd name="connsiteX7" fmla="*/ 23227 w 39565"/>
                  <a:gd name="connsiteY7" fmla="*/ 17689 h 43083"/>
                  <a:gd name="connsiteX8" fmla="*/ 39565 w 39565"/>
                  <a:gd name="connsiteY8" fmla="*/ 17689 h 43083"/>
                  <a:gd name="connsiteX9" fmla="*/ 39565 w 39565"/>
                  <a:gd name="connsiteY9" fmla="*/ 25220 h 43083"/>
                  <a:gd name="connsiteX10" fmla="*/ 23227 w 39565"/>
                  <a:gd name="connsiteY10" fmla="*/ 25220 h 43083"/>
                  <a:gd name="connsiteX11" fmla="*/ 23227 w 39565"/>
                  <a:gd name="connsiteY11" fmla="*/ 43084 h 43083"/>
                  <a:gd name="connsiteX12" fmla="*/ 16339 w 3956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565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565" y="17689"/>
                    </a:lnTo>
                    <a:lnTo>
                      <a:pt x="3956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6" name="Freihandform: Form 125">
                <a:extLst>
                  <a:ext uri="{FF2B5EF4-FFF2-40B4-BE49-F238E27FC236}">
                    <a16:creationId xmlns:a16="http://schemas.microsoft.com/office/drawing/2014/main" id="{DBA48749-98D7-EFB7-1FF0-5F2C85C5DC9D}"/>
                  </a:ext>
                </a:extLst>
              </p:cNvPr>
              <p:cNvSpPr/>
              <p:nvPr/>
            </p:nvSpPr>
            <p:spPr>
              <a:xfrm>
                <a:off x="6084926" y="2266520"/>
                <a:ext cx="39404" cy="43083"/>
              </a:xfrm>
              <a:custGeom>
                <a:avLst/>
                <a:gdLst>
                  <a:gd name="connsiteX0" fmla="*/ 16178 w 39404"/>
                  <a:gd name="connsiteY0" fmla="*/ 43084 h 43083"/>
                  <a:gd name="connsiteX1" fmla="*/ 16178 w 39404"/>
                  <a:gd name="connsiteY1" fmla="*/ 25220 h 43083"/>
                  <a:gd name="connsiteX2" fmla="*/ 0 w 39404"/>
                  <a:gd name="connsiteY2" fmla="*/ 25220 h 43083"/>
                  <a:gd name="connsiteX3" fmla="*/ 0 w 39404"/>
                  <a:gd name="connsiteY3" fmla="*/ 17689 h 43083"/>
                  <a:gd name="connsiteX4" fmla="*/ 16178 w 39404"/>
                  <a:gd name="connsiteY4" fmla="*/ 17689 h 43083"/>
                  <a:gd name="connsiteX5" fmla="*/ 16178 w 39404"/>
                  <a:gd name="connsiteY5" fmla="*/ 0 h 43083"/>
                  <a:gd name="connsiteX6" fmla="*/ 23227 w 39404"/>
                  <a:gd name="connsiteY6" fmla="*/ 0 h 43083"/>
                  <a:gd name="connsiteX7" fmla="*/ 23227 w 39404"/>
                  <a:gd name="connsiteY7" fmla="*/ 17689 h 43083"/>
                  <a:gd name="connsiteX8" fmla="*/ 39405 w 39404"/>
                  <a:gd name="connsiteY8" fmla="*/ 17689 h 43083"/>
                  <a:gd name="connsiteX9" fmla="*/ 39405 w 39404"/>
                  <a:gd name="connsiteY9" fmla="*/ 25220 h 43083"/>
                  <a:gd name="connsiteX10" fmla="*/ 23227 w 39404"/>
                  <a:gd name="connsiteY10" fmla="*/ 25220 h 43083"/>
                  <a:gd name="connsiteX11" fmla="*/ 23227 w 39404"/>
                  <a:gd name="connsiteY11" fmla="*/ 43084 h 43083"/>
                  <a:gd name="connsiteX12" fmla="*/ 16178 w 39404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083">
                    <a:moveTo>
                      <a:pt x="16178" y="43084"/>
                    </a:moveTo>
                    <a:lnTo>
                      <a:pt x="16178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8" y="17689"/>
                    </a:lnTo>
                    <a:lnTo>
                      <a:pt x="16178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178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7" name="Freihandform: Form 126">
                <a:extLst>
                  <a:ext uri="{FF2B5EF4-FFF2-40B4-BE49-F238E27FC236}">
                    <a16:creationId xmlns:a16="http://schemas.microsoft.com/office/drawing/2014/main" id="{BEDC0572-EC0E-5D35-ACA3-5BB43A25C5BC}"/>
                  </a:ext>
                </a:extLst>
              </p:cNvPr>
              <p:cNvSpPr/>
              <p:nvPr/>
            </p:nvSpPr>
            <p:spPr>
              <a:xfrm>
                <a:off x="6087810" y="2266520"/>
                <a:ext cx="39565" cy="43083"/>
              </a:xfrm>
              <a:custGeom>
                <a:avLst/>
                <a:gdLst>
                  <a:gd name="connsiteX0" fmla="*/ 16339 w 39565"/>
                  <a:gd name="connsiteY0" fmla="*/ 43084 h 43083"/>
                  <a:gd name="connsiteX1" fmla="*/ 16339 w 39565"/>
                  <a:gd name="connsiteY1" fmla="*/ 25220 h 43083"/>
                  <a:gd name="connsiteX2" fmla="*/ 0 w 39565"/>
                  <a:gd name="connsiteY2" fmla="*/ 25220 h 43083"/>
                  <a:gd name="connsiteX3" fmla="*/ 0 w 39565"/>
                  <a:gd name="connsiteY3" fmla="*/ 17689 h 43083"/>
                  <a:gd name="connsiteX4" fmla="*/ 16339 w 39565"/>
                  <a:gd name="connsiteY4" fmla="*/ 17689 h 43083"/>
                  <a:gd name="connsiteX5" fmla="*/ 16339 w 39565"/>
                  <a:gd name="connsiteY5" fmla="*/ 0 h 43083"/>
                  <a:gd name="connsiteX6" fmla="*/ 23227 w 39565"/>
                  <a:gd name="connsiteY6" fmla="*/ 0 h 43083"/>
                  <a:gd name="connsiteX7" fmla="*/ 23227 w 39565"/>
                  <a:gd name="connsiteY7" fmla="*/ 17689 h 43083"/>
                  <a:gd name="connsiteX8" fmla="*/ 39565 w 39565"/>
                  <a:gd name="connsiteY8" fmla="*/ 17689 h 43083"/>
                  <a:gd name="connsiteX9" fmla="*/ 39565 w 39565"/>
                  <a:gd name="connsiteY9" fmla="*/ 25220 h 43083"/>
                  <a:gd name="connsiteX10" fmla="*/ 23227 w 39565"/>
                  <a:gd name="connsiteY10" fmla="*/ 25220 h 43083"/>
                  <a:gd name="connsiteX11" fmla="*/ 23227 w 39565"/>
                  <a:gd name="connsiteY11" fmla="*/ 43084 h 43083"/>
                  <a:gd name="connsiteX12" fmla="*/ 16339 w 3956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565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565" y="17689"/>
                    </a:lnTo>
                    <a:lnTo>
                      <a:pt x="3956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8" name="Freihandform: Form 127">
                <a:extLst>
                  <a:ext uri="{FF2B5EF4-FFF2-40B4-BE49-F238E27FC236}">
                    <a16:creationId xmlns:a16="http://schemas.microsoft.com/office/drawing/2014/main" id="{0D966311-84B1-4E31-5A15-AAD916884FAF}"/>
                  </a:ext>
                </a:extLst>
              </p:cNvPr>
              <p:cNvSpPr/>
              <p:nvPr/>
            </p:nvSpPr>
            <p:spPr>
              <a:xfrm>
                <a:off x="6090853" y="2272650"/>
                <a:ext cx="39404" cy="43258"/>
              </a:xfrm>
              <a:custGeom>
                <a:avLst/>
                <a:gdLst>
                  <a:gd name="connsiteX0" fmla="*/ 16339 w 39404"/>
                  <a:gd name="connsiteY0" fmla="*/ 43259 h 43258"/>
                  <a:gd name="connsiteX1" fmla="*/ 16339 w 39404"/>
                  <a:gd name="connsiteY1" fmla="*/ 25220 h 43258"/>
                  <a:gd name="connsiteX2" fmla="*/ 0 w 39404"/>
                  <a:gd name="connsiteY2" fmla="*/ 25220 h 43258"/>
                  <a:gd name="connsiteX3" fmla="*/ 0 w 39404"/>
                  <a:gd name="connsiteY3" fmla="*/ 17864 h 43258"/>
                  <a:gd name="connsiteX4" fmla="*/ 16339 w 39404"/>
                  <a:gd name="connsiteY4" fmla="*/ 17864 h 43258"/>
                  <a:gd name="connsiteX5" fmla="*/ 16339 w 39404"/>
                  <a:gd name="connsiteY5" fmla="*/ 0 h 43258"/>
                  <a:gd name="connsiteX6" fmla="*/ 23227 w 39404"/>
                  <a:gd name="connsiteY6" fmla="*/ 0 h 43258"/>
                  <a:gd name="connsiteX7" fmla="*/ 23227 w 39404"/>
                  <a:gd name="connsiteY7" fmla="*/ 17864 h 43258"/>
                  <a:gd name="connsiteX8" fmla="*/ 39405 w 39404"/>
                  <a:gd name="connsiteY8" fmla="*/ 17864 h 43258"/>
                  <a:gd name="connsiteX9" fmla="*/ 39405 w 39404"/>
                  <a:gd name="connsiteY9" fmla="*/ 25220 h 43258"/>
                  <a:gd name="connsiteX10" fmla="*/ 23227 w 39404"/>
                  <a:gd name="connsiteY10" fmla="*/ 25220 h 43258"/>
                  <a:gd name="connsiteX11" fmla="*/ 23227 w 39404"/>
                  <a:gd name="connsiteY11" fmla="*/ 43259 h 43258"/>
                  <a:gd name="connsiteX12" fmla="*/ 16339 w 39404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258">
                    <a:moveTo>
                      <a:pt x="16339" y="43259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864"/>
                    </a:lnTo>
                    <a:lnTo>
                      <a:pt x="16339" y="17864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864"/>
                    </a:lnTo>
                    <a:lnTo>
                      <a:pt x="39405" y="17864"/>
                    </a:lnTo>
                    <a:lnTo>
                      <a:pt x="39405" y="25220"/>
                    </a:lnTo>
                    <a:lnTo>
                      <a:pt x="23227" y="25220"/>
                    </a:lnTo>
                    <a:lnTo>
                      <a:pt x="23227" y="43259"/>
                    </a:lnTo>
                    <a:lnTo>
                      <a:pt x="16339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9" name="Freihandform: Form 128">
                <a:extLst>
                  <a:ext uri="{FF2B5EF4-FFF2-40B4-BE49-F238E27FC236}">
                    <a16:creationId xmlns:a16="http://schemas.microsoft.com/office/drawing/2014/main" id="{68F6E162-5E7B-E83F-E0E3-27B9C55EE5F3}"/>
                  </a:ext>
                </a:extLst>
              </p:cNvPr>
              <p:cNvSpPr/>
              <p:nvPr/>
            </p:nvSpPr>
            <p:spPr>
              <a:xfrm>
                <a:off x="6093736" y="2272650"/>
                <a:ext cx="39565" cy="43258"/>
              </a:xfrm>
              <a:custGeom>
                <a:avLst/>
                <a:gdLst>
                  <a:gd name="connsiteX0" fmla="*/ 16339 w 39565"/>
                  <a:gd name="connsiteY0" fmla="*/ 43259 h 43258"/>
                  <a:gd name="connsiteX1" fmla="*/ 16339 w 39565"/>
                  <a:gd name="connsiteY1" fmla="*/ 25220 h 43258"/>
                  <a:gd name="connsiteX2" fmla="*/ 0 w 39565"/>
                  <a:gd name="connsiteY2" fmla="*/ 25220 h 43258"/>
                  <a:gd name="connsiteX3" fmla="*/ 0 w 39565"/>
                  <a:gd name="connsiteY3" fmla="*/ 17864 h 43258"/>
                  <a:gd name="connsiteX4" fmla="*/ 16339 w 39565"/>
                  <a:gd name="connsiteY4" fmla="*/ 17864 h 43258"/>
                  <a:gd name="connsiteX5" fmla="*/ 16339 w 39565"/>
                  <a:gd name="connsiteY5" fmla="*/ 0 h 43258"/>
                  <a:gd name="connsiteX6" fmla="*/ 23227 w 39565"/>
                  <a:gd name="connsiteY6" fmla="*/ 0 h 43258"/>
                  <a:gd name="connsiteX7" fmla="*/ 23227 w 39565"/>
                  <a:gd name="connsiteY7" fmla="*/ 17864 h 43258"/>
                  <a:gd name="connsiteX8" fmla="*/ 39565 w 39565"/>
                  <a:gd name="connsiteY8" fmla="*/ 17864 h 43258"/>
                  <a:gd name="connsiteX9" fmla="*/ 39565 w 39565"/>
                  <a:gd name="connsiteY9" fmla="*/ 25220 h 43258"/>
                  <a:gd name="connsiteX10" fmla="*/ 23227 w 39565"/>
                  <a:gd name="connsiteY10" fmla="*/ 25220 h 43258"/>
                  <a:gd name="connsiteX11" fmla="*/ 23227 w 39565"/>
                  <a:gd name="connsiteY11" fmla="*/ 43259 h 43258"/>
                  <a:gd name="connsiteX12" fmla="*/ 16339 w 39565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565" h="43258">
                    <a:moveTo>
                      <a:pt x="16339" y="43259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864"/>
                    </a:lnTo>
                    <a:lnTo>
                      <a:pt x="16339" y="17864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864"/>
                    </a:lnTo>
                    <a:lnTo>
                      <a:pt x="39565" y="17864"/>
                    </a:lnTo>
                    <a:lnTo>
                      <a:pt x="39565" y="25220"/>
                    </a:lnTo>
                    <a:lnTo>
                      <a:pt x="23227" y="25220"/>
                    </a:lnTo>
                    <a:lnTo>
                      <a:pt x="23227" y="43259"/>
                    </a:lnTo>
                    <a:lnTo>
                      <a:pt x="16339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0" name="Freihandform: Form 129">
                <a:extLst>
                  <a:ext uri="{FF2B5EF4-FFF2-40B4-BE49-F238E27FC236}">
                    <a16:creationId xmlns:a16="http://schemas.microsoft.com/office/drawing/2014/main" id="{7115F2A8-99C5-0924-EF86-AD0F1AB61711}"/>
                  </a:ext>
                </a:extLst>
              </p:cNvPr>
              <p:cNvSpPr/>
              <p:nvPr/>
            </p:nvSpPr>
            <p:spPr>
              <a:xfrm>
                <a:off x="6105750" y="2278955"/>
                <a:ext cx="39405" cy="43083"/>
              </a:xfrm>
              <a:custGeom>
                <a:avLst/>
                <a:gdLst>
                  <a:gd name="connsiteX0" fmla="*/ 16179 w 39405"/>
                  <a:gd name="connsiteY0" fmla="*/ 43084 h 43083"/>
                  <a:gd name="connsiteX1" fmla="*/ 16179 w 39405"/>
                  <a:gd name="connsiteY1" fmla="*/ 25220 h 43083"/>
                  <a:gd name="connsiteX2" fmla="*/ 0 w 39405"/>
                  <a:gd name="connsiteY2" fmla="*/ 25220 h 43083"/>
                  <a:gd name="connsiteX3" fmla="*/ 0 w 39405"/>
                  <a:gd name="connsiteY3" fmla="*/ 17689 h 43083"/>
                  <a:gd name="connsiteX4" fmla="*/ 16179 w 39405"/>
                  <a:gd name="connsiteY4" fmla="*/ 17689 h 43083"/>
                  <a:gd name="connsiteX5" fmla="*/ 16179 w 39405"/>
                  <a:gd name="connsiteY5" fmla="*/ 0 h 43083"/>
                  <a:gd name="connsiteX6" fmla="*/ 23227 w 39405"/>
                  <a:gd name="connsiteY6" fmla="*/ 0 h 43083"/>
                  <a:gd name="connsiteX7" fmla="*/ 23227 w 39405"/>
                  <a:gd name="connsiteY7" fmla="*/ 17689 h 43083"/>
                  <a:gd name="connsiteX8" fmla="*/ 39405 w 39405"/>
                  <a:gd name="connsiteY8" fmla="*/ 17689 h 43083"/>
                  <a:gd name="connsiteX9" fmla="*/ 39405 w 39405"/>
                  <a:gd name="connsiteY9" fmla="*/ 25220 h 43083"/>
                  <a:gd name="connsiteX10" fmla="*/ 23227 w 39405"/>
                  <a:gd name="connsiteY10" fmla="*/ 25220 h 43083"/>
                  <a:gd name="connsiteX11" fmla="*/ 23227 w 39405"/>
                  <a:gd name="connsiteY11" fmla="*/ 43084 h 43083"/>
                  <a:gd name="connsiteX12" fmla="*/ 16179 w 3940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5" h="43083">
                    <a:moveTo>
                      <a:pt x="16179" y="43084"/>
                    </a:moveTo>
                    <a:lnTo>
                      <a:pt x="1617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9" y="17689"/>
                    </a:lnTo>
                    <a:lnTo>
                      <a:pt x="1617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17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1" name="Freihandform: Form 130">
                <a:extLst>
                  <a:ext uri="{FF2B5EF4-FFF2-40B4-BE49-F238E27FC236}">
                    <a16:creationId xmlns:a16="http://schemas.microsoft.com/office/drawing/2014/main" id="{B6FF281A-82B5-8B7C-57DA-3EBD98FF7BBE}"/>
                  </a:ext>
                </a:extLst>
              </p:cNvPr>
              <p:cNvSpPr/>
              <p:nvPr/>
            </p:nvSpPr>
            <p:spPr>
              <a:xfrm>
                <a:off x="6126574" y="2278955"/>
                <a:ext cx="39405" cy="43083"/>
              </a:xfrm>
              <a:custGeom>
                <a:avLst/>
                <a:gdLst>
                  <a:gd name="connsiteX0" fmla="*/ 16179 w 39405"/>
                  <a:gd name="connsiteY0" fmla="*/ 43084 h 43083"/>
                  <a:gd name="connsiteX1" fmla="*/ 16179 w 39405"/>
                  <a:gd name="connsiteY1" fmla="*/ 25220 h 43083"/>
                  <a:gd name="connsiteX2" fmla="*/ 0 w 39405"/>
                  <a:gd name="connsiteY2" fmla="*/ 25220 h 43083"/>
                  <a:gd name="connsiteX3" fmla="*/ 0 w 39405"/>
                  <a:gd name="connsiteY3" fmla="*/ 17689 h 43083"/>
                  <a:gd name="connsiteX4" fmla="*/ 16179 w 39405"/>
                  <a:gd name="connsiteY4" fmla="*/ 17689 h 43083"/>
                  <a:gd name="connsiteX5" fmla="*/ 16179 w 39405"/>
                  <a:gd name="connsiteY5" fmla="*/ 0 h 43083"/>
                  <a:gd name="connsiteX6" fmla="*/ 23227 w 39405"/>
                  <a:gd name="connsiteY6" fmla="*/ 0 h 43083"/>
                  <a:gd name="connsiteX7" fmla="*/ 23227 w 39405"/>
                  <a:gd name="connsiteY7" fmla="*/ 17689 h 43083"/>
                  <a:gd name="connsiteX8" fmla="*/ 39405 w 39405"/>
                  <a:gd name="connsiteY8" fmla="*/ 17689 h 43083"/>
                  <a:gd name="connsiteX9" fmla="*/ 39405 w 39405"/>
                  <a:gd name="connsiteY9" fmla="*/ 25220 h 43083"/>
                  <a:gd name="connsiteX10" fmla="*/ 23227 w 39405"/>
                  <a:gd name="connsiteY10" fmla="*/ 25220 h 43083"/>
                  <a:gd name="connsiteX11" fmla="*/ 23227 w 39405"/>
                  <a:gd name="connsiteY11" fmla="*/ 43084 h 43083"/>
                  <a:gd name="connsiteX12" fmla="*/ 16179 w 3940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5" h="43083">
                    <a:moveTo>
                      <a:pt x="16179" y="43084"/>
                    </a:moveTo>
                    <a:lnTo>
                      <a:pt x="1617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9" y="17689"/>
                    </a:lnTo>
                    <a:lnTo>
                      <a:pt x="1617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17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2" name="Freihandform: Form 131">
                <a:extLst>
                  <a:ext uri="{FF2B5EF4-FFF2-40B4-BE49-F238E27FC236}">
                    <a16:creationId xmlns:a16="http://schemas.microsoft.com/office/drawing/2014/main" id="{7A7E7588-9D77-0AFF-5D28-11F1BA7743FE}"/>
                  </a:ext>
                </a:extLst>
              </p:cNvPr>
              <p:cNvSpPr/>
              <p:nvPr/>
            </p:nvSpPr>
            <p:spPr>
              <a:xfrm>
                <a:off x="6132501" y="2278955"/>
                <a:ext cx="39565" cy="43083"/>
              </a:xfrm>
              <a:custGeom>
                <a:avLst/>
                <a:gdLst>
                  <a:gd name="connsiteX0" fmla="*/ 16339 w 39565"/>
                  <a:gd name="connsiteY0" fmla="*/ 43084 h 43083"/>
                  <a:gd name="connsiteX1" fmla="*/ 16339 w 39565"/>
                  <a:gd name="connsiteY1" fmla="*/ 25220 h 43083"/>
                  <a:gd name="connsiteX2" fmla="*/ 0 w 39565"/>
                  <a:gd name="connsiteY2" fmla="*/ 25220 h 43083"/>
                  <a:gd name="connsiteX3" fmla="*/ 0 w 39565"/>
                  <a:gd name="connsiteY3" fmla="*/ 17689 h 43083"/>
                  <a:gd name="connsiteX4" fmla="*/ 16339 w 39565"/>
                  <a:gd name="connsiteY4" fmla="*/ 17689 h 43083"/>
                  <a:gd name="connsiteX5" fmla="*/ 16339 w 39565"/>
                  <a:gd name="connsiteY5" fmla="*/ 0 h 43083"/>
                  <a:gd name="connsiteX6" fmla="*/ 23227 w 39565"/>
                  <a:gd name="connsiteY6" fmla="*/ 0 h 43083"/>
                  <a:gd name="connsiteX7" fmla="*/ 23227 w 39565"/>
                  <a:gd name="connsiteY7" fmla="*/ 17689 h 43083"/>
                  <a:gd name="connsiteX8" fmla="*/ 39565 w 39565"/>
                  <a:gd name="connsiteY8" fmla="*/ 17689 h 43083"/>
                  <a:gd name="connsiteX9" fmla="*/ 39565 w 39565"/>
                  <a:gd name="connsiteY9" fmla="*/ 25220 h 43083"/>
                  <a:gd name="connsiteX10" fmla="*/ 23227 w 39565"/>
                  <a:gd name="connsiteY10" fmla="*/ 25220 h 43083"/>
                  <a:gd name="connsiteX11" fmla="*/ 23227 w 39565"/>
                  <a:gd name="connsiteY11" fmla="*/ 43084 h 43083"/>
                  <a:gd name="connsiteX12" fmla="*/ 16339 w 3956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565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565" y="17689"/>
                    </a:lnTo>
                    <a:lnTo>
                      <a:pt x="3956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3" name="Freihandform: Form 132">
                <a:extLst>
                  <a:ext uri="{FF2B5EF4-FFF2-40B4-BE49-F238E27FC236}">
                    <a16:creationId xmlns:a16="http://schemas.microsoft.com/office/drawing/2014/main" id="{75516657-69EB-FC92-9099-DF0C029A9F22}"/>
                  </a:ext>
                </a:extLst>
              </p:cNvPr>
              <p:cNvSpPr/>
              <p:nvPr/>
            </p:nvSpPr>
            <p:spPr>
              <a:xfrm>
                <a:off x="6150441" y="2278955"/>
                <a:ext cx="39404" cy="43083"/>
              </a:xfrm>
              <a:custGeom>
                <a:avLst/>
                <a:gdLst>
                  <a:gd name="connsiteX0" fmla="*/ 16178 w 39404"/>
                  <a:gd name="connsiteY0" fmla="*/ 43084 h 43083"/>
                  <a:gd name="connsiteX1" fmla="*/ 16178 w 39404"/>
                  <a:gd name="connsiteY1" fmla="*/ 25220 h 43083"/>
                  <a:gd name="connsiteX2" fmla="*/ 0 w 39404"/>
                  <a:gd name="connsiteY2" fmla="*/ 25220 h 43083"/>
                  <a:gd name="connsiteX3" fmla="*/ 0 w 39404"/>
                  <a:gd name="connsiteY3" fmla="*/ 17689 h 43083"/>
                  <a:gd name="connsiteX4" fmla="*/ 16178 w 39404"/>
                  <a:gd name="connsiteY4" fmla="*/ 17689 h 43083"/>
                  <a:gd name="connsiteX5" fmla="*/ 16178 w 39404"/>
                  <a:gd name="connsiteY5" fmla="*/ 0 h 43083"/>
                  <a:gd name="connsiteX6" fmla="*/ 23227 w 39404"/>
                  <a:gd name="connsiteY6" fmla="*/ 0 h 43083"/>
                  <a:gd name="connsiteX7" fmla="*/ 23227 w 39404"/>
                  <a:gd name="connsiteY7" fmla="*/ 17689 h 43083"/>
                  <a:gd name="connsiteX8" fmla="*/ 39405 w 39404"/>
                  <a:gd name="connsiteY8" fmla="*/ 17689 h 43083"/>
                  <a:gd name="connsiteX9" fmla="*/ 39405 w 39404"/>
                  <a:gd name="connsiteY9" fmla="*/ 25220 h 43083"/>
                  <a:gd name="connsiteX10" fmla="*/ 23227 w 39404"/>
                  <a:gd name="connsiteY10" fmla="*/ 25220 h 43083"/>
                  <a:gd name="connsiteX11" fmla="*/ 23227 w 39404"/>
                  <a:gd name="connsiteY11" fmla="*/ 43084 h 43083"/>
                  <a:gd name="connsiteX12" fmla="*/ 16178 w 39404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083">
                    <a:moveTo>
                      <a:pt x="16178" y="43084"/>
                    </a:moveTo>
                    <a:lnTo>
                      <a:pt x="16178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8" y="17689"/>
                    </a:lnTo>
                    <a:lnTo>
                      <a:pt x="16178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178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4" name="Freihandform: Form 133">
                <a:extLst>
                  <a:ext uri="{FF2B5EF4-FFF2-40B4-BE49-F238E27FC236}">
                    <a16:creationId xmlns:a16="http://schemas.microsoft.com/office/drawing/2014/main" id="{AB0B2C7B-06A8-40A3-5475-4AFDE9A8EE3A}"/>
                  </a:ext>
                </a:extLst>
              </p:cNvPr>
              <p:cNvSpPr/>
              <p:nvPr/>
            </p:nvSpPr>
            <p:spPr>
              <a:xfrm>
                <a:off x="6153485" y="2278955"/>
                <a:ext cx="39404" cy="43083"/>
              </a:xfrm>
              <a:custGeom>
                <a:avLst/>
                <a:gdLst>
                  <a:gd name="connsiteX0" fmla="*/ 16178 w 39404"/>
                  <a:gd name="connsiteY0" fmla="*/ 43084 h 43083"/>
                  <a:gd name="connsiteX1" fmla="*/ 16178 w 39404"/>
                  <a:gd name="connsiteY1" fmla="*/ 25220 h 43083"/>
                  <a:gd name="connsiteX2" fmla="*/ 0 w 39404"/>
                  <a:gd name="connsiteY2" fmla="*/ 25220 h 43083"/>
                  <a:gd name="connsiteX3" fmla="*/ 0 w 39404"/>
                  <a:gd name="connsiteY3" fmla="*/ 17689 h 43083"/>
                  <a:gd name="connsiteX4" fmla="*/ 16178 w 39404"/>
                  <a:gd name="connsiteY4" fmla="*/ 17689 h 43083"/>
                  <a:gd name="connsiteX5" fmla="*/ 16178 w 39404"/>
                  <a:gd name="connsiteY5" fmla="*/ 0 h 43083"/>
                  <a:gd name="connsiteX6" fmla="*/ 23066 w 39404"/>
                  <a:gd name="connsiteY6" fmla="*/ 0 h 43083"/>
                  <a:gd name="connsiteX7" fmla="*/ 23066 w 39404"/>
                  <a:gd name="connsiteY7" fmla="*/ 17689 h 43083"/>
                  <a:gd name="connsiteX8" fmla="*/ 39405 w 39404"/>
                  <a:gd name="connsiteY8" fmla="*/ 17689 h 43083"/>
                  <a:gd name="connsiteX9" fmla="*/ 39405 w 39404"/>
                  <a:gd name="connsiteY9" fmla="*/ 25220 h 43083"/>
                  <a:gd name="connsiteX10" fmla="*/ 23066 w 39404"/>
                  <a:gd name="connsiteY10" fmla="*/ 25220 h 43083"/>
                  <a:gd name="connsiteX11" fmla="*/ 23066 w 39404"/>
                  <a:gd name="connsiteY11" fmla="*/ 43084 h 43083"/>
                  <a:gd name="connsiteX12" fmla="*/ 16178 w 39404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083">
                    <a:moveTo>
                      <a:pt x="16178" y="43084"/>
                    </a:moveTo>
                    <a:lnTo>
                      <a:pt x="16178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8" y="17689"/>
                    </a:lnTo>
                    <a:lnTo>
                      <a:pt x="16178" y="0"/>
                    </a:lnTo>
                    <a:lnTo>
                      <a:pt x="23066" y="0"/>
                    </a:lnTo>
                    <a:lnTo>
                      <a:pt x="23066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066" y="25220"/>
                    </a:lnTo>
                    <a:lnTo>
                      <a:pt x="23066" y="43084"/>
                    </a:lnTo>
                    <a:lnTo>
                      <a:pt x="16178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5" name="Freihandform: Form 134">
                <a:extLst>
                  <a:ext uri="{FF2B5EF4-FFF2-40B4-BE49-F238E27FC236}">
                    <a16:creationId xmlns:a16="http://schemas.microsoft.com/office/drawing/2014/main" id="{B0945336-BA16-8656-8C98-1DF2A1599013}"/>
                  </a:ext>
                </a:extLst>
              </p:cNvPr>
              <p:cNvSpPr/>
              <p:nvPr/>
            </p:nvSpPr>
            <p:spPr>
              <a:xfrm>
                <a:off x="6162295" y="2278955"/>
                <a:ext cx="39565" cy="43083"/>
              </a:xfrm>
              <a:custGeom>
                <a:avLst/>
                <a:gdLst>
                  <a:gd name="connsiteX0" fmla="*/ 16339 w 39565"/>
                  <a:gd name="connsiteY0" fmla="*/ 43084 h 43083"/>
                  <a:gd name="connsiteX1" fmla="*/ 16339 w 39565"/>
                  <a:gd name="connsiteY1" fmla="*/ 25220 h 43083"/>
                  <a:gd name="connsiteX2" fmla="*/ 0 w 39565"/>
                  <a:gd name="connsiteY2" fmla="*/ 25220 h 43083"/>
                  <a:gd name="connsiteX3" fmla="*/ 0 w 39565"/>
                  <a:gd name="connsiteY3" fmla="*/ 17689 h 43083"/>
                  <a:gd name="connsiteX4" fmla="*/ 16339 w 39565"/>
                  <a:gd name="connsiteY4" fmla="*/ 17689 h 43083"/>
                  <a:gd name="connsiteX5" fmla="*/ 16339 w 39565"/>
                  <a:gd name="connsiteY5" fmla="*/ 0 h 43083"/>
                  <a:gd name="connsiteX6" fmla="*/ 23227 w 39565"/>
                  <a:gd name="connsiteY6" fmla="*/ 0 h 43083"/>
                  <a:gd name="connsiteX7" fmla="*/ 23227 w 39565"/>
                  <a:gd name="connsiteY7" fmla="*/ 17689 h 43083"/>
                  <a:gd name="connsiteX8" fmla="*/ 39565 w 39565"/>
                  <a:gd name="connsiteY8" fmla="*/ 17689 h 43083"/>
                  <a:gd name="connsiteX9" fmla="*/ 39565 w 39565"/>
                  <a:gd name="connsiteY9" fmla="*/ 25220 h 43083"/>
                  <a:gd name="connsiteX10" fmla="*/ 23227 w 39565"/>
                  <a:gd name="connsiteY10" fmla="*/ 25220 h 43083"/>
                  <a:gd name="connsiteX11" fmla="*/ 23227 w 39565"/>
                  <a:gd name="connsiteY11" fmla="*/ 43084 h 43083"/>
                  <a:gd name="connsiteX12" fmla="*/ 16339 w 3956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565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565" y="17689"/>
                    </a:lnTo>
                    <a:lnTo>
                      <a:pt x="3956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6" name="Freihandform: Form 135">
                <a:extLst>
                  <a:ext uri="{FF2B5EF4-FFF2-40B4-BE49-F238E27FC236}">
                    <a16:creationId xmlns:a16="http://schemas.microsoft.com/office/drawing/2014/main" id="{89835111-06BF-DE11-3A6A-BDA29C254EDC}"/>
                  </a:ext>
                </a:extLst>
              </p:cNvPr>
              <p:cNvSpPr/>
              <p:nvPr/>
            </p:nvSpPr>
            <p:spPr>
              <a:xfrm>
                <a:off x="6168222" y="2285960"/>
                <a:ext cx="39404" cy="43083"/>
              </a:xfrm>
              <a:custGeom>
                <a:avLst/>
                <a:gdLst>
                  <a:gd name="connsiteX0" fmla="*/ 16339 w 39404"/>
                  <a:gd name="connsiteY0" fmla="*/ 43084 h 43083"/>
                  <a:gd name="connsiteX1" fmla="*/ 16339 w 39404"/>
                  <a:gd name="connsiteY1" fmla="*/ 25220 h 43083"/>
                  <a:gd name="connsiteX2" fmla="*/ 0 w 39404"/>
                  <a:gd name="connsiteY2" fmla="*/ 25220 h 43083"/>
                  <a:gd name="connsiteX3" fmla="*/ 0 w 39404"/>
                  <a:gd name="connsiteY3" fmla="*/ 17689 h 43083"/>
                  <a:gd name="connsiteX4" fmla="*/ 16339 w 39404"/>
                  <a:gd name="connsiteY4" fmla="*/ 17689 h 43083"/>
                  <a:gd name="connsiteX5" fmla="*/ 16339 w 39404"/>
                  <a:gd name="connsiteY5" fmla="*/ 0 h 43083"/>
                  <a:gd name="connsiteX6" fmla="*/ 23227 w 39404"/>
                  <a:gd name="connsiteY6" fmla="*/ 0 h 43083"/>
                  <a:gd name="connsiteX7" fmla="*/ 23227 w 39404"/>
                  <a:gd name="connsiteY7" fmla="*/ 17689 h 43083"/>
                  <a:gd name="connsiteX8" fmla="*/ 39405 w 39404"/>
                  <a:gd name="connsiteY8" fmla="*/ 17689 h 43083"/>
                  <a:gd name="connsiteX9" fmla="*/ 39405 w 39404"/>
                  <a:gd name="connsiteY9" fmla="*/ 25220 h 43083"/>
                  <a:gd name="connsiteX10" fmla="*/ 23227 w 39404"/>
                  <a:gd name="connsiteY10" fmla="*/ 25220 h 43083"/>
                  <a:gd name="connsiteX11" fmla="*/ 23227 w 39404"/>
                  <a:gd name="connsiteY11" fmla="*/ 43084 h 43083"/>
                  <a:gd name="connsiteX12" fmla="*/ 16339 w 39404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7" name="Freihandform: Form 136">
                <a:extLst>
                  <a:ext uri="{FF2B5EF4-FFF2-40B4-BE49-F238E27FC236}">
                    <a16:creationId xmlns:a16="http://schemas.microsoft.com/office/drawing/2014/main" id="{CD9AE113-DB56-BD86-0362-9D459A0D4FE6}"/>
                  </a:ext>
                </a:extLst>
              </p:cNvPr>
              <p:cNvSpPr/>
              <p:nvPr/>
            </p:nvSpPr>
            <p:spPr>
              <a:xfrm>
                <a:off x="6174148" y="2285960"/>
                <a:ext cx="39565" cy="43083"/>
              </a:xfrm>
              <a:custGeom>
                <a:avLst/>
                <a:gdLst>
                  <a:gd name="connsiteX0" fmla="*/ 16339 w 39565"/>
                  <a:gd name="connsiteY0" fmla="*/ 43084 h 43083"/>
                  <a:gd name="connsiteX1" fmla="*/ 16339 w 39565"/>
                  <a:gd name="connsiteY1" fmla="*/ 25220 h 43083"/>
                  <a:gd name="connsiteX2" fmla="*/ 0 w 39565"/>
                  <a:gd name="connsiteY2" fmla="*/ 25220 h 43083"/>
                  <a:gd name="connsiteX3" fmla="*/ 0 w 39565"/>
                  <a:gd name="connsiteY3" fmla="*/ 17689 h 43083"/>
                  <a:gd name="connsiteX4" fmla="*/ 16339 w 39565"/>
                  <a:gd name="connsiteY4" fmla="*/ 17689 h 43083"/>
                  <a:gd name="connsiteX5" fmla="*/ 16339 w 39565"/>
                  <a:gd name="connsiteY5" fmla="*/ 0 h 43083"/>
                  <a:gd name="connsiteX6" fmla="*/ 23227 w 39565"/>
                  <a:gd name="connsiteY6" fmla="*/ 0 h 43083"/>
                  <a:gd name="connsiteX7" fmla="*/ 23227 w 39565"/>
                  <a:gd name="connsiteY7" fmla="*/ 17689 h 43083"/>
                  <a:gd name="connsiteX8" fmla="*/ 39565 w 39565"/>
                  <a:gd name="connsiteY8" fmla="*/ 17689 h 43083"/>
                  <a:gd name="connsiteX9" fmla="*/ 39565 w 39565"/>
                  <a:gd name="connsiteY9" fmla="*/ 25220 h 43083"/>
                  <a:gd name="connsiteX10" fmla="*/ 23227 w 39565"/>
                  <a:gd name="connsiteY10" fmla="*/ 25220 h 43083"/>
                  <a:gd name="connsiteX11" fmla="*/ 23227 w 39565"/>
                  <a:gd name="connsiteY11" fmla="*/ 43084 h 43083"/>
                  <a:gd name="connsiteX12" fmla="*/ 16339 w 3956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565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565" y="17689"/>
                    </a:lnTo>
                    <a:lnTo>
                      <a:pt x="3956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8" name="Freihandform: Form 137">
                <a:extLst>
                  <a:ext uri="{FF2B5EF4-FFF2-40B4-BE49-F238E27FC236}">
                    <a16:creationId xmlns:a16="http://schemas.microsoft.com/office/drawing/2014/main" id="{20770B47-4B92-0D23-59C8-6BDABA655D7C}"/>
                  </a:ext>
                </a:extLst>
              </p:cNvPr>
              <p:cNvSpPr/>
              <p:nvPr/>
            </p:nvSpPr>
            <p:spPr>
              <a:xfrm>
                <a:off x="6186162" y="2285960"/>
                <a:ext cx="39405" cy="43083"/>
              </a:xfrm>
              <a:custGeom>
                <a:avLst/>
                <a:gdLst>
                  <a:gd name="connsiteX0" fmla="*/ 16178 w 39405"/>
                  <a:gd name="connsiteY0" fmla="*/ 43084 h 43083"/>
                  <a:gd name="connsiteX1" fmla="*/ 16178 w 39405"/>
                  <a:gd name="connsiteY1" fmla="*/ 25220 h 43083"/>
                  <a:gd name="connsiteX2" fmla="*/ 0 w 39405"/>
                  <a:gd name="connsiteY2" fmla="*/ 25220 h 43083"/>
                  <a:gd name="connsiteX3" fmla="*/ 0 w 39405"/>
                  <a:gd name="connsiteY3" fmla="*/ 17689 h 43083"/>
                  <a:gd name="connsiteX4" fmla="*/ 16178 w 39405"/>
                  <a:gd name="connsiteY4" fmla="*/ 17689 h 43083"/>
                  <a:gd name="connsiteX5" fmla="*/ 16178 w 39405"/>
                  <a:gd name="connsiteY5" fmla="*/ 0 h 43083"/>
                  <a:gd name="connsiteX6" fmla="*/ 23066 w 39405"/>
                  <a:gd name="connsiteY6" fmla="*/ 0 h 43083"/>
                  <a:gd name="connsiteX7" fmla="*/ 23066 w 39405"/>
                  <a:gd name="connsiteY7" fmla="*/ 17689 h 43083"/>
                  <a:gd name="connsiteX8" fmla="*/ 39405 w 39405"/>
                  <a:gd name="connsiteY8" fmla="*/ 17689 h 43083"/>
                  <a:gd name="connsiteX9" fmla="*/ 39405 w 39405"/>
                  <a:gd name="connsiteY9" fmla="*/ 25220 h 43083"/>
                  <a:gd name="connsiteX10" fmla="*/ 23066 w 39405"/>
                  <a:gd name="connsiteY10" fmla="*/ 25220 h 43083"/>
                  <a:gd name="connsiteX11" fmla="*/ 23066 w 39405"/>
                  <a:gd name="connsiteY11" fmla="*/ 43084 h 43083"/>
                  <a:gd name="connsiteX12" fmla="*/ 16178 w 3940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5" h="43083">
                    <a:moveTo>
                      <a:pt x="16178" y="43084"/>
                    </a:moveTo>
                    <a:lnTo>
                      <a:pt x="16178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8" y="17689"/>
                    </a:lnTo>
                    <a:lnTo>
                      <a:pt x="16178" y="0"/>
                    </a:lnTo>
                    <a:lnTo>
                      <a:pt x="23066" y="0"/>
                    </a:lnTo>
                    <a:lnTo>
                      <a:pt x="23066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066" y="25220"/>
                    </a:lnTo>
                    <a:lnTo>
                      <a:pt x="23066" y="43084"/>
                    </a:lnTo>
                    <a:lnTo>
                      <a:pt x="16178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9" name="Freihandform: Form 138">
                <a:extLst>
                  <a:ext uri="{FF2B5EF4-FFF2-40B4-BE49-F238E27FC236}">
                    <a16:creationId xmlns:a16="http://schemas.microsoft.com/office/drawing/2014/main" id="{270C8F40-FBCC-0F0E-E171-6BB25A1A284B}"/>
                  </a:ext>
                </a:extLst>
              </p:cNvPr>
              <p:cNvSpPr/>
              <p:nvPr/>
            </p:nvSpPr>
            <p:spPr>
              <a:xfrm>
                <a:off x="6189046" y="2285960"/>
                <a:ext cx="39565" cy="43083"/>
              </a:xfrm>
              <a:custGeom>
                <a:avLst/>
                <a:gdLst>
                  <a:gd name="connsiteX0" fmla="*/ 16339 w 39565"/>
                  <a:gd name="connsiteY0" fmla="*/ 43084 h 43083"/>
                  <a:gd name="connsiteX1" fmla="*/ 16339 w 39565"/>
                  <a:gd name="connsiteY1" fmla="*/ 25220 h 43083"/>
                  <a:gd name="connsiteX2" fmla="*/ 0 w 39565"/>
                  <a:gd name="connsiteY2" fmla="*/ 25220 h 43083"/>
                  <a:gd name="connsiteX3" fmla="*/ 0 w 39565"/>
                  <a:gd name="connsiteY3" fmla="*/ 17689 h 43083"/>
                  <a:gd name="connsiteX4" fmla="*/ 16339 w 39565"/>
                  <a:gd name="connsiteY4" fmla="*/ 17689 h 43083"/>
                  <a:gd name="connsiteX5" fmla="*/ 16339 w 39565"/>
                  <a:gd name="connsiteY5" fmla="*/ 0 h 43083"/>
                  <a:gd name="connsiteX6" fmla="*/ 23227 w 39565"/>
                  <a:gd name="connsiteY6" fmla="*/ 0 h 43083"/>
                  <a:gd name="connsiteX7" fmla="*/ 23227 w 39565"/>
                  <a:gd name="connsiteY7" fmla="*/ 17689 h 43083"/>
                  <a:gd name="connsiteX8" fmla="*/ 39565 w 39565"/>
                  <a:gd name="connsiteY8" fmla="*/ 17689 h 43083"/>
                  <a:gd name="connsiteX9" fmla="*/ 39565 w 39565"/>
                  <a:gd name="connsiteY9" fmla="*/ 25220 h 43083"/>
                  <a:gd name="connsiteX10" fmla="*/ 23227 w 39565"/>
                  <a:gd name="connsiteY10" fmla="*/ 25220 h 43083"/>
                  <a:gd name="connsiteX11" fmla="*/ 23227 w 39565"/>
                  <a:gd name="connsiteY11" fmla="*/ 43084 h 43083"/>
                  <a:gd name="connsiteX12" fmla="*/ 16339 w 3956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565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565" y="17689"/>
                    </a:lnTo>
                    <a:lnTo>
                      <a:pt x="3956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0" name="Freihandform: Form 139">
                <a:extLst>
                  <a:ext uri="{FF2B5EF4-FFF2-40B4-BE49-F238E27FC236}">
                    <a16:creationId xmlns:a16="http://schemas.microsoft.com/office/drawing/2014/main" id="{5C52E021-0BFB-1DEC-234A-0FF77A86E9FC}"/>
                  </a:ext>
                </a:extLst>
              </p:cNvPr>
              <p:cNvSpPr/>
              <p:nvPr/>
            </p:nvSpPr>
            <p:spPr>
              <a:xfrm>
                <a:off x="6192089" y="2285960"/>
                <a:ext cx="39405" cy="43083"/>
              </a:xfrm>
              <a:custGeom>
                <a:avLst/>
                <a:gdLst>
                  <a:gd name="connsiteX0" fmla="*/ 16179 w 39405"/>
                  <a:gd name="connsiteY0" fmla="*/ 43084 h 43083"/>
                  <a:gd name="connsiteX1" fmla="*/ 16179 w 39405"/>
                  <a:gd name="connsiteY1" fmla="*/ 25220 h 43083"/>
                  <a:gd name="connsiteX2" fmla="*/ 0 w 39405"/>
                  <a:gd name="connsiteY2" fmla="*/ 25220 h 43083"/>
                  <a:gd name="connsiteX3" fmla="*/ 0 w 39405"/>
                  <a:gd name="connsiteY3" fmla="*/ 17689 h 43083"/>
                  <a:gd name="connsiteX4" fmla="*/ 16179 w 39405"/>
                  <a:gd name="connsiteY4" fmla="*/ 17689 h 43083"/>
                  <a:gd name="connsiteX5" fmla="*/ 16179 w 39405"/>
                  <a:gd name="connsiteY5" fmla="*/ 0 h 43083"/>
                  <a:gd name="connsiteX6" fmla="*/ 23227 w 39405"/>
                  <a:gd name="connsiteY6" fmla="*/ 0 h 43083"/>
                  <a:gd name="connsiteX7" fmla="*/ 23227 w 39405"/>
                  <a:gd name="connsiteY7" fmla="*/ 17689 h 43083"/>
                  <a:gd name="connsiteX8" fmla="*/ 39405 w 39405"/>
                  <a:gd name="connsiteY8" fmla="*/ 17689 h 43083"/>
                  <a:gd name="connsiteX9" fmla="*/ 39405 w 39405"/>
                  <a:gd name="connsiteY9" fmla="*/ 25220 h 43083"/>
                  <a:gd name="connsiteX10" fmla="*/ 23227 w 39405"/>
                  <a:gd name="connsiteY10" fmla="*/ 25220 h 43083"/>
                  <a:gd name="connsiteX11" fmla="*/ 23227 w 39405"/>
                  <a:gd name="connsiteY11" fmla="*/ 43084 h 43083"/>
                  <a:gd name="connsiteX12" fmla="*/ 16179 w 3940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5" h="43083">
                    <a:moveTo>
                      <a:pt x="16179" y="43084"/>
                    </a:moveTo>
                    <a:lnTo>
                      <a:pt x="1617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9" y="17689"/>
                    </a:lnTo>
                    <a:lnTo>
                      <a:pt x="1617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17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1" name="Freihandform: Form 140">
                <a:extLst>
                  <a:ext uri="{FF2B5EF4-FFF2-40B4-BE49-F238E27FC236}">
                    <a16:creationId xmlns:a16="http://schemas.microsoft.com/office/drawing/2014/main" id="{5BD3C0F9-4FAF-5039-BCCB-61E74ABFB72F}"/>
                  </a:ext>
                </a:extLst>
              </p:cNvPr>
              <p:cNvSpPr/>
              <p:nvPr/>
            </p:nvSpPr>
            <p:spPr>
              <a:xfrm>
                <a:off x="6195132" y="2285960"/>
                <a:ext cx="39405" cy="43083"/>
              </a:xfrm>
              <a:custGeom>
                <a:avLst/>
                <a:gdLst>
                  <a:gd name="connsiteX0" fmla="*/ 16179 w 39405"/>
                  <a:gd name="connsiteY0" fmla="*/ 43084 h 43083"/>
                  <a:gd name="connsiteX1" fmla="*/ 16179 w 39405"/>
                  <a:gd name="connsiteY1" fmla="*/ 25220 h 43083"/>
                  <a:gd name="connsiteX2" fmla="*/ 0 w 39405"/>
                  <a:gd name="connsiteY2" fmla="*/ 25220 h 43083"/>
                  <a:gd name="connsiteX3" fmla="*/ 0 w 39405"/>
                  <a:gd name="connsiteY3" fmla="*/ 17689 h 43083"/>
                  <a:gd name="connsiteX4" fmla="*/ 16179 w 39405"/>
                  <a:gd name="connsiteY4" fmla="*/ 17689 h 43083"/>
                  <a:gd name="connsiteX5" fmla="*/ 16179 w 39405"/>
                  <a:gd name="connsiteY5" fmla="*/ 0 h 43083"/>
                  <a:gd name="connsiteX6" fmla="*/ 23066 w 39405"/>
                  <a:gd name="connsiteY6" fmla="*/ 0 h 43083"/>
                  <a:gd name="connsiteX7" fmla="*/ 23066 w 39405"/>
                  <a:gd name="connsiteY7" fmla="*/ 17689 h 43083"/>
                  <a:gd name="connsiteX8" fmla="*/ 39405 w 39405"/>
                  <a:gd name="connsiteY8" fmla="*/ 17689 h 43083"/>
                  <a:gd name="connsiteX9" fmla="*/ 39405 w 39405"/>
                  <a:gd name="connsiteY9" fmla="*/ 25220 h 43083"/>
                  <a:gd name="connsiteX10" fmla="*/ 23066 w 39405"/>
                  <a:gd name="connsiteY10" fmla="*/ 25220 h 43083"/>
                  <a:gd name="connsiteX11" fmla="*/ 23066 w 39405"/>
                  <a:gd name="connsiteY11" fmla="*/ 43084 h 43083"/>
                  <a:gd name="connsiteX12" fmla="*/ 16179 w 3940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5" h="43083">
                    <a:moveTo>
                      <a:pt x="16179" y="43084"/>
                    </a:moveTo>
                    <a:lnTo>
                      <a:pt x="1617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9" y="17689"/>
                    </a:lnTo>
                    <a:lnTo>
                      <a:pt x="16179" y="0"/>
                    </a:lnTo>
                    <a:lnTo>
                      <a:pt x="23066" y="0"/>
                    </a:lnTo>
                    <a:lnTo>
                      <a:pt x="23066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066" y="25220"/>
                    </a:lnTo>
                    <a:lnTo>
                      <a:pt x="23066" y="43084"/>
                    </a:lnTo>
                    <a:lnTo>
                      <a:pt x="1617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2" name="Freihandform: Form 141">
                <a:extLst>
                  <a:ext uri="{FF2B5EF4-FFF2-40B4-BE49-F238E27FC236}">
                    <a16:creationId xmlns:a16="http://schemas.microsoft.com/office/drawing/2014/main" id="{18AD4E0C-55DC-C89A-926E-675F12B48ACB}"/>
                  </a:ext>
                </a:extLst>
              </p:cNvPr>
              <p:cNvSpPr/>
              <p:nvPr/>
            </p:nvSpPr>
            <p:spPr>
              <a:xfrm>
                <a:off x="6198016" y="2285960"/>
                <a:ext cx="39565" cy="43083"/>
              </a:xfrm>
              <a:custGeom>
                <a:avLst/>
                <a:gdLst>
                  <a:gd name="connsiteX0" fmla="*/ 16339 w 39565"/>
                  <a:gd name="connsiteY0" fmla="*/ 43084 h 43083"/>
                  <a:gd name="connsiteX1" fmla="*/ 16339 w 39565"/>
                  <a:gd name="connsiteY1" fmla="*/ 25220 h 43083"/>
                  <a:gd name="connsiteX2" fmla="*/ 0 w 39565"/>
                  <a:gd name="connsiteY2" fmla="*/ 25220 h 43083"/>
                  <a:gd name="connsiteX3" fmla="*/ 0 w 39565"/>
                  <a:gd name="connsiteY3" fmla="*/ 17689 h 43083"/>
                  <a:gd name="connsiteX4" fmla="*/ 16339 w 39565"/>
                  <a:gd name="connsiteY4" fmla="*/ 17689 h 43083"/>
                  <a:gd name="connsiteX5" fmla="*/ 16339 w 39565"/>
                  <a:gd name="connsiteY5" fmla="*/ 0 h 43083"/>
                  <a:gd name="connsiteX6" fmla="*/ 23227 w 39565"/>
                  <a:gd name="connsiteY6" fmla="*/ 0 h 43083"/>
                  <a:gd name="connsiteX7" fmla="*/ 23227 w 39565"/>
                  <a:gd name="connsiteY7" fmla="*/ 17689 h 43083"/>
                  <a:gd name="connsiteX8" fmla="*/ 39565 w 39565"/>
                  <a:gd name="connsiteY8" fmla="*/ 17689 h 43083"/>
                  <a:gd name="connsiteX9" fmla="*/ 39565 w 39565"/>
                  <a:gd name="connsiteY9" fmla="*/ 25220 h 43083"/>
                  <a:gd name="connsiteX10" fmla="*/ 23227 w 39565"/>
                  <a:gd name="connsiteY10" fmla="*/ 25220 h 43083"/>
                  <a:gd name="connsiteX11" fmla="*/ 23227 w 39565"/>
                  <a:gd name="connsiteY11" fmla="*/ 43084 h 43083"/>
                  <a:gd name="connsiteX12" fmla="*/ 16339 w 3956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565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565" y="17689"/>
                    </a:lnTo>
                    <a:lnTo>
                      <a:pt x="3956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3" name="Freihandform: Form 142">
                <a:extLst>
                  <a:ext uri="{FF2B5EF4-FFF2-40B4-BE49-F238E27FC236}">
                    <a16:creationId xmlns:a16="http://schemas.microsoft.com/office/drawing/2014/main" id="{5A9C7365-4F90-F71D-0089-87B97CB7A609}"/>
                  </a:ext>
                </a:extLst>
              </p:cNvPr>
              <p:cNvSpPr/>
              <p:nvPr/>
            </p:nvSpPr>
            <p:spPr>
              <a:xfrm>
                <a:off x="6201059" y="2285960"/>
                <a:ext cx="39404" cy="43083"/>
              </a:xfrm>
              <a:custGeom>
                <a:avLst/>
                <a:gdLst>
                  <a:gd name="connsiteX0" fmla="*/ 16178 w 39404"/>
                  <a:gd name="connsiteY0" fmla="*/ 43084 h 43083"/>
                  <a:gd name="connsiteX1" fmla="*/ 16178 w 39404"/>
                  <a:gd name="connsiteY1" fmla="*/ 25220 h 43083"/>
                  <a:gd name="connsiteX2" fmla="*/ 0 w 39404"/>
                  <a:gd name="connsiteY2" fmla="*/ 25220 h 43083"/>
                  <a:gd name="connsiteX3" fmla="*/ 0 w 39404"/>
                  <a:gd name="connsiteY3" fmla="*/ 17689 h 43083"/>
                  <a:gd name="connsiteX4" fmla="*/ 16178 w 39404"/>
                  <a:gd name="connsiteY4" fmla="*/ 17689 h 43083"/>
                  <a:gd name="connsiteX5" fmla="*/ 16178 w 39404"/>
                  <a:gd name="connsiteY5" fmla="*/ 0 h 43083"/>
                  <a:gd name="connsiteX6" fmla="*/ 23227 w 39404"/>
                  <a:gd name="connsiteY6" fmla="*/ 0 h 43083"/>
                  <a:gd name="connsiteX7" fmla="*/ 23227 w 39404"/>
                  <a:gd name="connsiteY7" fmla="*/ 17689 h 43083"/>
                  <a:gd name="connsiteX8" fmla="*/ 39405 w 39404"/>
                  <a:gd name="connsiteY8" fmla="*/ 17689 h 43083"/>
                  <a:gd name="connsiteX9" fmla="*/ 39405 w 39404"/>
                  <a:gd name="connsiteY9" fmla="*/ 25220 h 43083"/>
                  <a:gd name="connsiteX10" fmla="*/ 23227 w 39404"/>
                  <a:gd name="connsiteY10" fmla="*/ 25220 h 43083"/>
                  <a:gd name="connsiteX11" fmla="*/ 23227 w 39404"/>
                  <a:gd name="connsiteY11" fmla="*/ 43084 h 43083"/>
                  <a:gd name="connsiteX12" fmla="*/ 16178 w 39404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083">
                    <a:moveTo>
                      <a:pt x="16178" y="43084"/>
                    </a:moveTo>
                    <a:lnTo>
                      <a:pt x="16178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8" y="17689"/>
                    </a:lnTo>
                    <a:lnTo>
                      <a:pt x="16178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178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4" name="Freihandform: Form 143">
                <a:extLst>
                  <a:ext uri="{FF2B5EF4-FFF2-40B4-BE49-F238E27FC236}">
                    <a16:creationId xmlns:a16="http://schemas.microsoft.com/office/drawing/2014/main" id="{40D908EA-C5F2-D9AB-9EDB-75A7CF2D38D1}"/>
                  </a:ext>
                </a:extLst>
              </p:cNvPr>
              <p:cNvSpPr/>
              <p:nvPr/>
            </p:nvSpPr>
            <p:spPr>
              <a:xfrm>
                <a:off x="6204103" y="2285960"/>
                <a:ext cx="39405" cy="43083"/>
              </a:xfrm>
              <a:custGeom>
                <a:avLst/>
                <a:gdLst>
                  <a:gd name="connsiteX0" fmla="*/ 16179 w 39405"/>
                  <a:gd name="connsiteY0" fmla="*/ 43084 h 43083"/>
                  <a:gd name="connsiteX1" fmla="*/ 16179 w 39405"/>
                  <a:gd name="connsiteY1" fmla="*/ 25220 h 43083"/>
                  <a:gd name="connsiteX2" fmla="*/ 0 w 39405"/>
                  <a:gd name="connsiteY2" fmla="*/ 25220 h 43083"/>
                  <a:gd name="connsiteX3" fmla="*/ 0 w 39405"/>
                  <a:gd name="connsiteY3" fmla="*/ 17689 h 43083"/>
                  <a:gd name="connsiteX4" fmla="*/ 16179 w 39405"/>
                  <a:gd name="connsiteY4" fmla="*/ 17689 h 43083"/>
                  <a:gd name="connsiteX5" fmla="*/ 16179 w 39405"/>
                  <a:gd name="connsiteY5" fmla="*/ 0 h 43083"/>
                  <a:gd name="connsiteX6" fmla="*/ 23066 w 39405"/>
                  <a:gd name="connsiteY6" fmla="*/ 0 h 43083"/>
                  <a:gd name="connsiteX7" fmla="*/ 23066 w 39405"/>
                  <a:gd name="connsiteY7" fmla="*/ 17689 h 43083"/>
                  <a:gd name="connsiteX8" fmla="*/ 39405 w 39405"/>
                  <a:gd name="connsiteY8" fmla="*/ 17689 h 43083"/>
                  <a:gd name="connsiteX9" fmla="*/ 39405 w 39405"/>
                  <a:gd name="connsiteY9" fmla="*/ 25220 h 43083"/>
                  <a:gd name="connsiteX10" fmla="*/ 23066 w 39405"/>
                  <a:gd name="connsiteY10" fmla="*/ 25220 h 43083"/>
                  <a:gd name="connsiteX11" fmla="*/ 23066 w 39405"/>
                  <a:gd name="connsiteY11" fmla="*/ 43084 h 43083"/>
                  <a:gd name="connsiteX12" fmla="*/ 16179 w 3940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5" h="43083">
                    <a:moveTo>
                      <a:pt x="16179" y="43084"/>
                    </a:moveTo>
                    <a:lnTo>
                      <a:pt x="1617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9" y="17689"/>
                    </a:lnTo>
                    <a:lnTo>
                      <a:pt x="16179" y="0"/>
                    </a:lnTo>
                    <a:lnTo>
                      <a:pt x="23066" y="0"/>
                    </a:lnTo>
                    <a:lnTo>
                      <a:pt x="23066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066" y="25220"/>
                    </a:lnTo>
                    <a:lnTo>
                      <a:pt x="23066" y="43084"/>
                    </a:lnTo>
                    <a:lnTo>
                      <a:pt x="1617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5" name="Freihandform: Form 144">
                <a:extLst>
                  <a:ext uri="{FF2B5EF4-FFF2-40B4-BE49-F238E27FC236}">
                    <a16:creationId xmlns:a16="http://schemas.microsoft.com/office/drawing/2014/main" id="{E79EDDA3-212D-848F-9FE4-3E6DC549312E}"/>
                  </a:ext>
                </a:extLst>
              </p:cNvPr>
              <p:cNvSpPr/>
              <p:nvPr/>
            </p:nvSpPr>
            <p:spPr>
              <a:xfrm>
                <a:off x="6210030" y="2285960"/>
                <a:ext cx="39404" cy="43083"/>
              </a:xfrm>
              <a:custGeom>
                <a:avLst/>
                <a:gdLst>
                  <a:gd name="connsiteX0" fmla="*/ 16178 w 39404"/>
                  <a:gd name="connsiteY0" fmla="*/ 43084 h 43083"/>
                  <a:gd name="connsiteX1" fmla="*/ 16178 w 39404"/>
                  <a:gd name="connsiteY1" fmla="*/ 25220 h 43083"/>
                  <a:gd name="connsiteX2" fmla="*/ 0 w 39404"/>
                  <a:gd name="connsiteY2" fmla="*/ 25220 h 43083"/>
                  <a:gd name="connsiteX3" fmla="*/ 0 w 39404"/>
                  <a:gd name="connsiteY3" fmla="*/ 17689 h 43083"/>
                  <a:gd name="connsiteX4" fmla="*/ 16178 w 39404"/>
                  <a:gd name="connsiteY4" fmla="*/ 17689 h 43083"/>
                  <a:gd name="connsiteX5" fmla="*/ 16178 w 39404"/>
                  <a:gd name="connsiteY5" fmla="*/ 0 h 43083"/>
                  <a:gd name="connsiteX6" fmla="*/ 23227 w 39404"/>
                  <a:gd name="connsiteY6" fmla="*/ 0 h 43083"/>
                  <a:gd name="connsiteX7" fmla="*/ 23227 w 39404"/>
                  <a:gd name="connsiteY7" fmla="*/ 17689 h 43083"/>
                  <a:gd name="connsiteX8" fmla="*/ 39405 w 39404"/>
                  <a:gd name="connsiteY8" fmla="*/ 17689 h 43083"/>
                  <a:gd name="connsiteX9" fmla="*/ 39405 w 39404"/>
                  <a:gd name="connsiteY9" fmla="*/ 25220 h 43083"/>
                  <a:gd name="connsiteX10" fmla="*/ 23227 w 39404"/>
                  <a:gd name="connsiteY10" fmla="*/ 25220 h 43083"/>
                  <a:gd name="connsiteX11" fmla="*/ 23227 w 39404"/>
                  <a:gd name="connsiteY11" fmla="*/ 43084 h 43083"/>
                  <a:gd name="connsiteX12" fmla="*/ 16178 w 39404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083">
                    <a:moveTo>
                      <a:pt x="16178" y="43084"/>
                    </a:moveTo>
                    <a:lnTo>
                      <a:pt x="16178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8" y="17689"/>
                    </a:lnTo>
                    <a:lnTo>
                      <a:pt x="16178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178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6" name="Freihandform: Form 145">
                <a:extLst>
                  <a:ext uri="{FF2B5EF4-FFF2-40B4-BE49-F238E27FC236}">
                    <a16:creationId xmlns:a16="http://schemas.microsoft.com/office/drawing/2014/main" id="{B50A9508-8505-324D-7FE9-2BA965CFBFBD}"/>
                  </a:ext>
                </a:extLst>
              </p:cNvPr>
              <p:cNvSpPr/>
              <p:nvPr/>
            </p:nvSpPr>
            <p:spPr>
              <a:xfrm>
                <a:off x="6212913" y="2285960"/>
                <a:ext cx="39565" cy="43083"/>
              </a:xfrm>
              <a:custGeom>
                <a:avLst/>
                <a:gdLst>
                  <a:gd name="connsiteX0" fmla="*/ 16339 w 39565"/>
                  <a:gd name="connsiteY0" fmla="*/ 43084 h 43083"/>
                  <a:gd name="connsiteX1" fmla="*/ 16339 w 39565"/>
                  <a:gd name="connsiteY1" fmla="*/ 25220 h 43083"/>
                  <a:gd name="connsiteX2" fmla="*/ 0 w 39565"/>
                  <a:gd name="connsiteY2" fmla="*/ 25220 h 43083"/>
                  <a:gd name="connsiteX3" fmla="*/ 0 w 39565"/>
                  <a:gd name="connsiteY3" fmla="*/ 17689 h 43083"/>
                  <a:gd name="connsiteX4" fmla="*/ 16339 w 39565"/>
                  <a:gd name="connsiteY4" fmla="*/ 17689 h 43083"/>
                  <a:gd name="connsiteX5" fmla="*/ 16339 w 39565"/>
                  <a:gd name="connsiteY5" fmla="*/ 0 h 43083"/>
                  <a:gd name="connsiteX6" fmla="*/ 23227 w 39565"/>
                  <a:gd name="connsiteY6" fmla="*/ 0 h 43083"/>
                  <a:gd name="connsiteX7" fmla="*/ 23227 w 39565"/>
                  <a:gd name="connsiteY7" fmla="*/ 17689 h 43083"/>
                  <a:gd name="connsiteX8" fmla="*/ 39566 w 39565"/>
                  <a:gd name="connsiteY8" fmla="*/ 17689 h 43083"/>
                  <a:gd name="connsiteX9" fmla="*/ 39566 w 39565"/>
                  <a:gd name="connsiteY9" fmla="*/ 25220 h 43083"/>
                  <a:gd name="connsiteX10" fmla="*/ 23227 w 39565"/>
                  <a:gd name="connsiteY10" fmla="*/ 25220 h 43083"/>
                  <a:gd name="connsiteX11" fmla="*/ 23227 w 39565"/>
                  <a:gd name="connsiteY11" fmla="*/ 43084 h 43083"/>
                  <a:gd name="connsiteX12" fmla="*/ 16339 w 3956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565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566" y="17689"/>
                    </a:lnTo>
                    <a:lnTo>
                      <a:pt x="39566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7" name="Freihandform: Form 146">
                <a:extLst>
                  <a:ext uri="{FF2B5EF4-FFF2-40B4-BE49-F238E27FC236}">
                    <a16:creationId xmlns:a16="http://schemas.microsoft.com/office/drawing/2014/main" id="{94B1F8B8-BCB3-00CC-37F7-9D9493D6CC96}"/>
                  </a:ext>
                </a:extLst>
              </p:cNvPr>
              <p:cNvSpPr/>
              <p:nvPr/>
            </p:nvSpPr>
            <p:spPr>
              <a:xfrm>
                <a:off x="6218840" y="2285960"/>
                <a:ext cx="39565" cy="43083"/>
              </a:xfrm>
              <a:custGeom>
                <a:avLst/>
                <a:gdLst>
                  <a:gd name="connsiteX0" fmla="*/ 16339 w 39565"/>
                  <a:gd name="connsiteY0" fmla="*/ 43084 h 43083"/>
                  <a:gd name="connsiteX1" fmla="*/ 16339 w 39565"/>
                  <a:gd name="connsiteY1" fmla="*/ 25220 h 43083"/>
                  <a:gd name="connsiteX2" fmla="*/ 0 w 39565"/>
                  <a:gd name="connsiteY2" fmla="*/ 25220 h 43083"/>
                  <a:gd name="connsiteX3" fmla="*/ 0 w 39565"/>
                  <a:gd name="connsiteY3" fmla="*/ 17689 h 43083"/>
                  <a:gd name="connsiteX4" fmla="*/ 16339 w 39565"/>
                  <a:gd name="connsiteY4" fmla="*/ 17689 h 43083"/>
                  <a:gd name="connsiteX5" fmla="*/ 16339 w 39565"/>
                  <a:gd name="connsiteY5" fmla="*/ 0 h 43083"/>
                  <a:gd name="connsiteX6" fmla="*/ 23227 w 39565"/>
                  <a:gd name="connsiteY6" fmla="*/ 0 h 43083"/>
                  <a:gd name="connsiteX7" fmla="*/ 23227 w 39565"/>
                  <a:gd name="connsiteY7" fmla="*/ 17689 h 43083"/>
                  <a:gd name="connsiteX8" fmla="*/ 39565 w 39565"/>
                  <a:gd name="connsiteY8" fmla="*/ 17689 h 43083"/>
                  <a:gd name="connsiteX9" fmla="*/ 39565 w 39565"/>
                  <a:gd name="connsiteY9" fmla="*/ 25220 h 43083"/>
                  <a:gd name="connsiteX10" fmla="*/ 23227 w 39565"/>
                  <a:gd name="connsiteY10" fmla="*/ 25220 h 43083"/>
                  <a:gd name="connsiteX11" fmla="*/ 23227 w 39565"/>
                  <a:gd name="connsiteY11" fmla="*/ 43084 h 43083"/>
                  <a:gd name="connsiteX12" fmla="*/ 16339 w 3956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565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565" y="17689"/>
                    </a:lnTo>
                    <a:lnTo>
                      <a:pt x="3956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8" name="Freihandform: Form 147">
                <a:extLst>
                  <a:ext uri="{FF2B5EF4-FFF2-40B4-BE49-F238E27FC236}">
                    <a16:creationId xmlns:a16="http://schemas.microsoft.com/office/drawing/2014/main" id="{11CAEE8B-049D-E20B-CE60-00E2C4D42556}"/>
                  </a:ext>
                </a:extLst>
              </p:cNvPr>
              <p:cNvSpPr/>
              <p:nvPr/>
            </p:nvSpPr>
            <p:spPr>
              <a:xfrm>
                <a:off x="6233897" y="2285960"/>
                <a:ext cx="39405" cy="43083"/>
              </a:xfrm>
              <a:custGeom>
                <a:avLst/>
                <a:gdLst>
                  <a:gd name="connsiteX0" fmla="*/ 16178 w 39405"/>
                  <a:gd name="connsiteY0" fmla="*/ 43084 h 43083"/>
                  <a:gd name="connsiteX1" fmla="*/ 16178 w 39405"/>
                  <a:gd name="connsiteY1" fmla="*/ 25220 h 43083"/>
                  <a:gd name="connsiteX2" fmla="*/ 0 w 39405"/>
                  <a:gd name="connsiteY2" fmla="*/ 25220 h 43083"/>
                  <a:gd name="connsiteX3" fmla="*/ 0 w 39405"/>
                  <a:gd name="connsiteY3" fmla="*/ 17689 h 43083"/>
                  <a:gd name="connsiteX4" fmla="*/ 16178 w 39405"/>
                  <a:gd name="connsiteY4" fmla="*/ 17689 h 43083"/>
                  <a:gd name="connsiteX5" fmla="*/ 16178 w 39405"/>
                  <a:gd name="connsiteY5" fmla="*/ 0 h 43083"/>
                  <a:gd name="connsiteX6" fmla="*/ 23067 w 39405"/>
                  <a:gd name="connsiteY6" fmla="*/ 0 h 43083"/>
                  <a:gd name="connsiteX7" fmla="*/ 23067 w 39405"/>
                  <a:gd name="connsiteY7" fmla="*/ 17689 h 43083"/>
                  <a:gd name="connsiteX8" fmla="*/ 39405 w 39405"/>
                  <a:gd name="connsiteY8" fmla="*/ 17689 h 43083"/>
                  <a:gd name="connsiteX9" fmla="*/ 39405 w 39405"/>
                  <a:gd name="connsiteY9" fmla="*/ 25220 h 43083"/>
                  <a:gd name="connsiteX10" fmla="*/ 23067 w 39405"/>
                  <a:gd name="connsiteY10" fmla="*/ 25220 h 43083"/>
                  <a:gd name="connsiteX11" fmla="*/ 23067 w 39405"/>
                  <a:gd name="connsiteY11" fmla="*/ 43084 h 43083"/>
                  <a:gd name="connsiteX12" fmla="*/ 16178 w 3940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5" h="43083">
                    <a:moveTo>
                      <a:pt x="16178" y="43084"/>
                    </a:moveTo>
                    <a:lnTo>
                      <a:pt x="16178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8" y="17689"/>
                    </a:lnTo>
                    <a:lnTo>
                      <a:pt x="16178" y="0"/>
                    </a:lnTo>
                    <a:lnTo>
                      <a:pt x="23067" y="0"/>
                    </a:lnTo>
                    <a:lnTo>
                      <a:pt x="23067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067" y="25220"/>
                    </a:lnTo>
                    <a:lnTo>
                      <a:pt x="23067" y="43084"/>
                    </a:lnTo>
                    <a:lnTo>
                      <a:pt x="16178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9" name="Freihandform: Form 148">
                <a:extLst>
                  <a:ext uri="{FF2B5EF4-FFF2-40B4-BE49-F238E27FC236}">
                    <a16:creationId xmlns:a16="http://schemas.microsoft.com/office/drawing/2014/main" id="{DCBB851F-27A7-431F-02AF-912B1534F365}"/>
                  </a:ext>
                </a:extLst>
              </p:cNvPr>
              <p:cNvSpPr/>
              <p:nvPr/>
            </p:nvSpPr>
            <p:spPr>
              <a:xfrm>
                <a:off x="6242707" y="2285960"/>
                <a:ext cx="39404" cy="43083"/>
              </a:xfrm>
              <a:custGeom>
                <a:avLst/>
                <a:gdLst>
                  <a:gd name="connsiteX0" fmla="*/ 16179 w 39404"/>
                  <a:gd name="connsiteY0" fmla="*/ 43084 h 43083"/>
                  <a:gd name="connsiteX1" fmla="*/ 16179 w 39404"/>
                  <a:gd name="connsiteY1" fmla="*/ 25220 h 43083"/>
                  <a:gd name="connsiteX2" fmla="*/ 0 w 39404"/>
                  <a:gd name="connsiteY2" fmla="*/ 25220 h 43083"/>
                  <a:gd name="connsiteX3" fmla="*/ 0 w 39404"/>
                  <a:gd name="connsiteY3" fmla="*/ 17689 h 43083"/>
                  <a:gd name="connsiteX4" fmla="*/ 16179 w 39404"/>
                  <a:gd name="connsiteY4" fmla="*/ 17689 h 43083"/>
                  <a:gd name="connsiteX5" fmla="*/ 16179 w 39404"/>
                  <a:gd name="connsiteY5" fmla="*/ 0 h 43083"/>
                  <a:gd name="connsiteX6" fmla="*/ 23227 w 39404"/>
                  <a:gd name="connsiteY6" fmla="*/ 0 h 43083"/>
                  <a:gd name="connsiteX7" fmla="*/ 23227 w 39404"/>
                  <a:gd name="connsiteY7" fmla="*/ 17689 h 43083"/>
                  <a:gd name="connsiteX8" fmla="*/ 39405 w 39404"/>
                  <a:gd name="connsiteY8" fmla="*/ 17689 h 43083"/>
                  <a:gd name="connsiteX9" fmla="*/ 39405 w 39404"/>
                  <a:gd name="connsiteY9" fmla="*/ 25220 h 43083"/>
                  <a:gd name="connsiteX10" fmla="*/ 23227 w 39404"/>
                  <a:gd name="connsiteY10" fmla="*/ 25220 h 43083"/>
                  <a:gd name="connsiteX11" fmla="*/ 23227 w 39404"/>
                  <a:gd name="connsiteY11" fmla="*/ 43084 h 43083"/>
                  <a:gd name="connsiteX12" fmla="*/ 16179 w 39404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083">
                    <a:moveTo>
                      <a:pt x="16179" y="43084"/>
                    </a:moveTo>
                    <a:lnTo>
                      <a:pt x="1617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9" y="17689"/>
                    </a:lnTo>
                    <a:lnTo>
                      <a:pt x="1617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17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0" name="Freihandform: Form 149">
                <a:extLst>
                  <a:ext uri="{FF2B5EF4-FFF2-40B4-BE49-F238E27FC236}">
                    <a16:creationId xmlns:a16="http://schemas.microsoft.com/office/drawing/2014/main" id="{6E1A0819-CC7F-EDD2-32A8-D6CC7779CEE0}"/>
                  </a:ext>
                </a:extLst>
              </p:cNvPr>
              <p:cNvSpPr/>
              <p:nvPr/>
            </p:nvSpPr>
            <p:spPr>
              <a:xfrm>
                <a:off x="6251677" y="2285960"/>
                <a:ext cx="39404" cy="43083"/>
              </a:xfrm>
              <a:custGeom>
                <a:avLst/>
                <a:gdLst>
                  <a:gd name="connsiteX0" fmla="*/ 16179 w 39404"/>
                  <a:gd name="connsiteY0" fmla="*/ 43084 h 43083"/>
                  <a:gd name="connsiteX1" fmla="*/ 16179 w 39404"/>
                  <a:gd name="connsiteY1" fmla="*/ 25220 h 43083"/>
                  <a:gd name="connsiteX2" fmla="*/ 0 w 39404"/>
                  <a:gd name="connsiteY2" fmla="*/ 25220 h 43083"/>
                  <a:gd name="connsiteX3" fmla="*/ 0 w 39404"/>
                  <a:gd name="connsiteY3" fmla="*/ 17689 h 43083"/>
                  <a:gd name="connsiteX4" fmla="*/ 16179 w 39404"/>
                  <a:gd name="connsiteY4" fmla="*/ 17689 h 43083"/>
                  <a:gd name="connsiteX5" fmla="*/ 16179 w 39404"/>
                  <a:gd name="connsiteY5" fmla="*/ 0 h 43083"/>
                  <a:gd name="connsiteX6" fmla="*/ 23227 w 39404"/>
                  <a:gd name="connsiteY6" fmla="*/ 0 h 43083"/>
                  <a:gd name="connsiteX7" fmla="*/ 23227 w 39404"/>
                  <a:gd name="connsiteY7" fmla="*/ 17689 h 43083"/>
                  <a:gd name="connsiteX8" fmla="*/ 39405 w 39404"/>
                  <a:gd name="connsiteY8" fmla="*/ 17689 h 43083"/>
                  <a:gd name="connsiteX9" fmla="*/ 39405 w 39404"/>
                  <a:gd name="connsiteY9" fmla="*/ 25220 h 43083"/>
                  <a:gd name="connsiteX10" fmla="*/ 23227 w 39404"/>
                  <a:gd name="connsiteY10" fmla="*/ 25220 h 43083"/>
                  <a:gd name="connsiteX11" fmla="*/ 23227 w 39404"/>
                  <a:gd name="connsiteY11" fmla="*/ 43084 h 43083"/>
                  <a:gd name="connsiteX12" fmla="*/ 16179 w 39404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083">
                    <a:moveTo>
                      <a:pt x="16179" y="43084"/>
                    </a:moveTo>
                    <a:lnTo>
                      <a:pt x="1617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9" y="17689"/>
                    </a:lnTo>
                    <a:lnTo>
                      <a:pt x="1617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17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1" name="Freihandform: Form 150">
                <a:extLst>
                  <a:ext uri="{FF2B5EF4-FFF2-40B4-BE49-F238E27FC236}">
                    <a16:creationId xmlns:a16="http://schemas.microsoft.com/office/drawing/2014/main" id="{CA05BD25-3BFA-533C-BF6B-77A34C37A36F}"/>
                  </a:ext>
                </a:extLst>
              </p:cNvPr>
              <p:cNvSpPr/>
              <p:nvPr/>
            </p:nvSpPr>
            <p:spPr>
              <a:xfrm>
                <a:off x="6263530" y="2285960"/>
                <a:ext cx="39565" cy="43083"/>
              </a:xfrm>
              <a:custGeom>
                <a:avLst/>
                <a:gdLst>
                  <a:gd name="connsiteX0" fmla="*/ 16339 w 39565"/>
                  <a:gd name="connsiteY0" fmla="*/ 43084 h 43083"/>
                  <a:gd name="connsiteX1" fmla="*/ 16339 w 39565"/>
                  <a:gd name="connsiteY1" fmla="*/ 25220 h 43083"/>
                  <a:gd name="connsiteX2" fmla="*/ 0 w 39565"/>
                  <a:gd name="connsiteY2" fmla="*/ 25220 h 43083"/>
                  <a:gd name="connsiteX3" fmla="*/ 0 w 39565"/>
                  <a:gd name="connsiteY3" fmla="*/ 17689 h 43083"/>
                  <a:gd name="connsiteX4" fmla="*/ 16339 w 39565"/>
                  <a:gd name="connsiteY4" fmla="*/ 17689 h 43083"/>
                  <a:gd name="connsiteX5" fmla="*/ 16339 w 39565"/>
                  <a:gd name="connsiteY5" fmla="*/ 0 h 43083"/>
                  <a:gd name="connsiteX6" fmla="*/ 23227 w 39565"/>
                  <a:gd name="connsiteY6" fmla="*/ 0 h 43083"/>
                  <a:gd name="connsiteX7" fmla="*/ 23227 w 39565"/>
                  <a:gd name="connsiteY7" fmla="*/ 17689 h 43083"/>
                  <a:gd name="connsiteX8" fmla="*/ 39565 w 39565"/>
                  <a:gd name="connsiteY8" fmla="*/ 17689 h 43083"/>
                  <a:gd name="connsiteX9" fmla="*/ 39565 w 39565"/>
                  <a:gd name="connsiteY9" fmla="*/ 25220 h 43083"/>
                  <a:gd name="connsiteX10" fmla="*/ 23227 w 39565"/>
                  <a:gd name="connsiteY10" fmla="*/ 25220 h 43083"/>
                  <a:gd name="connsiteX11" fmla="*/ 23227 w 39565"/>
                  <a:gd name="connsiteY11" fmla="*/ 43084 h 43083"/>
                  <a:gd name="connsiteX12" fmla="*/ 16339 w 3956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565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565" y="17689"/>
                    </a:lnTo>
                    <a:lnTo>
                      <a:pt x="3956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2" name="Freihandform: Form 151">
                <a:extLst>
                  <a:ext uri="{FF2B5EF4-FFF2-40B4-BE49-F238E27FC236}">
                    <a16:creationId xmlns:a16="http://schemas.microsoft.com/office/drawing/2014/main" id="{7BA8EE7F-862B-0C97-77FD-0D8952A7FF63}"/>
                  </a:ext>
                </a:extLst>
              </p:cNvPr>
              <p:cNvSpPr/>
              <p:nvPr/>
            </p:nvSpPr>
            <p:spPr>
              <a:xfrm>
                <a:off x="6266574" y="2285960"/>
                <a:ext cx="39405" cy="43083"/>
              </a:xfrm>
              <a:custGeom>
                <a:avLst/>
                <a:gdLst>
                  <a:gd name="connsiteX0" fmla="*/ 16179 w 39405"/>
                  <a:gd name="connsiteY0" fmla="*/ 43084 h 43083"/>
                  <a:gd name="connsiteX1" fmla="*/ 16179 w 39405"/>
                  <a:gd name="connsiteY1" fmla="*/ 25220 h 43083"/>
                  <a:gd name="connsiteX2" fmla="*/ 0 w 39405"/>
                  <a:gd name="connsiteY2" fmla="*/ 25220 h 43083"/>
                  <a:gd name="connsiteX3" fmla="*/ 0 w 39405"/>
                  <a:gd name="connsiteY3" fmla="*/ 17689 h 43083"/>
                  <a:gd name="connsiteX4" fmla="*/ 16179 w 39405"/>
                  <a:gd name="connsiteY4" fmla="*/ 17689 h 43083"/>
                  <a:gd name="connsiteX5" fmla="*/ 16179 w 39405"/>
                  <a:gd name="connsiteY5" fmla="*/ 0 h 43083"/>
                  <a:gd name="connsiteX6" fmla="*/ 23227 w 39405"/>
                  <a:gd name="connsiteY6" fmla="*/ 0 h 43083"/>
                  <a:gd name="connsiteX7" fmla="*/ 23227 w 39405"/>
                  <a:gd name="connsiteY7" fmla="*/ 17689 h 43083"/>
                  <a:gd name="connsiteX8" fmla="*/ 39405 w 39405"/>
                  <a:gd name="connsiteY8" fmla="*/ 17689 h 43083"/>
                  <a:gd name="connsiteX9" fmla="*/ 39405 w 39405"/>
                  <a:gd name="connsiteY9" fmla="*/ 25220 h 43083"/>
                  <a:gd name="connsiteX10" fmla="*/ 23227 w 39405"/>
                  <a:gd name="connsiteY10" fmla="*/ 25220 h 43083"/>
                  <a:gd name="connsiteX11" fmla="*/ 23227 w 39405"/>
                  <a:gd name="connsiteY11" fmla="*/ 43084 h 43083"/>
                  <a:gd name="connsiteX12" fmla="*/ 16179 w 3940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5" h="43083">
                    <a:moveTo>
                      <a:pt x="16179" y="43084"/>
                    </a:moveTo>
                    <a:lnTo>
                      <a:pt x="1617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9" y="17689"/>
                    </a:lnTo>
                    <a:lnTo>
                      <a:pt x="1617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17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3" name="Freihandform: Form 152">
                <a:extLst>
                  <a:ext uri="{FF2B5EF4-FFF2-40B4-BE49-F238E27FC236}">
                    <a16:creationId xmlns:a16="http://schemas.microsoft.com/office/drawing/2014/main" id="{A93A6594-6B9A-31D0-BF36-5B339D7F9B2B}"/>
                  </a:ext>
                </a:extLst>
              </p:cNvPr>
              <p:cNvSpPr/>
              <p:nvPr/>
            </p:nvSpPr>
            <p:spPr>
              <a:xfrm>
                <a:off x="6281471" y="2285960"/>
                <a:ext cx="39404" cy="43083"/>
              </a:xfrm>
              <a:custGeom>
                <a:avLst/>
                <a:gdLst>
                  <a:gd name="connsiteX0" fmla="*/ 16339 w 39404"/>
                  <a:gd name="connsiteY0" fmla="*/ 43084 h 43083"/>
                  <a:gd name="connsiteX1" fmla="*/ 16339 w 39404"/>
                  <a:gd name="connsiteY1" fmla="*/ 25220 h 43083"/>
                  <a:gd name="connsiteX2" fmla="*/ 0 w 39404"/>
                  <a:gd name="connsiteY2" fmla="*/ 25220 h 43083"/>
                  <a:gd name="connsiteX3" fmla="*/ 0 w 39404"/>
                  <a:gd name="connsiteY3" fmla="*/ 17689 h 43083"/>
                  <a:gd name="connsiteX4" fmla="*/ 16339 w 39404"/>
                  <a:gd name="connsiteY4" fmla="*/ 17689 h 43083"/>
                  <a:gd name="connsiteX5" fmla="*/ 16339 w 39404"/>
                  <a:gd name="connsiteY5" fmla="*/ 0 h 43083"/>
                  <a:gd name="connsiteX6" fmla="*/ 23226 w 39404"/>
                  <a:gd name="connsiteY6" fmla="*/ 0 h 43083"/>
                  <a:gd name="connsiteX7" fmla="*/ 23226 w 39404"/>
                  <a:gd name="connsiteY7" fmla="*/ 17689 h 43083"/>
                  <a:gd name="connsiteX8" fmla="*/ 39405 w 39404"/>
                  <a:gd name="connsiteY8" fmla="*/ 17689 h 43083"/>
                  <a:gd name="connsiteX9" fmla="*/ 39405 w 39404"/>
                  <a:gd name="connsiteY9" fmla="*/ 25220 h 43083"/>
                  <a:gd name="connsiteX10" fmla="*/ 23226 w 39404"/>
                  <a:gd name="connsiteY10" fmla="*/ 25220 h 43083"/>
                  <a:gd name="connsiteX11" fmla="*/ 23226 w 39404"/>
                  <a:gd name="connsiteY11" fmla="*/ 43084 h 43083"/>
                  <a:gd name="connsiteX12" fmla="*/ 16339 w 39404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6" y="0"/>
                    </a:lnTo>
                    <a:lnTo>
                      <a:pt x="23226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226" y="25220"/>
                    </a:lnTo>
                    <a:lnTo>
                      <a:pt x="23226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4" name="Freihandform: Form 153">
                <a:extLst>
                  <a:ext uri="{FF2B5EF4-FFF2-40B4-BE49-F238E27FC236}">
                    <a16:creationId xmlns:a16="http://schemas.microsoft.com/office/drawing/2014/main" id="{63C2DF29-6E0A-FB83-F733-8D24BC248CB5}"/>
                  </a:ext>
                </a:extLst>
              </p:cNvPr>
              <p:cNvSpPr/>
              <p:nvPr/>
            </p:nvSpPr>
            <p:spPr>
              <a:xfrm>
                <a:off x="6284515" y="2285960"/>
                <a:ext cx="39404" cy="43083"/>
              </a:xfrm>
              <a:custGeom>
                <a:avLst/>
                <a:gdLst>
                  <a:gd name="connsiteX0" fmla="*/ 16178 w 39404"/>
                  <a:gd name="connsiteY0" fmla="*/ 43084 h 43083"/>
                  <a:gd name="connsiteX1" fmla="*/ 16178 w 39404"/>
                  <a:gd name="connsiteY1" fmla="*/ 25220 h 43083"/>
                  <a:gd name="connsiteX2" fmla="*/ 0 w 39404"/>
                  <a:gd name="connsiteY2" fmla="*/ 25220 h 43083"/>
                  <a:gd name="connsiteX3" fmla="*/ 0 w 39404"/>
                  <a:gd name="connsiteY3" fmla="*/ 17689 h 43083"/>
                  <a:gd name="connsiteX4" fmla="*/ 16178 w 39404"/>
                  <a:gd name="connsiteY4" fmla="*/ 17689 h 43083"/>
                  <a:gd name="connsiteX5" fmla="*/ 16178 w 39404"/>
                  <a:gd name="connsiteY5" fmla="*/ 0 h 43083"/>
                  <a:gd name="connsiteX6" fmla="*/ 23066 w 39404"/>
                  <a:gd name="connsiteY6" fmla="*/ 0 h 43083"/>
                  <a:gd name="connsiteX7" fmla="*/ 23066 w 39404"/>
                  <a:gd name="connsiteY7" fmla="*/ 17689 h 43083"/>
                  <a:gd name="connsiteX8" fmla="*/ 39405 w 39404"/>
                  <a:gd name="connsiteY8" fmla="*/ 17689 h 43083"/>
                  <a:gd name="connsiteX9" fmla="*/ 39405 w 39404"/>
                  <a:gd name="connsiteY9" fmla="*/ 25220 h 43083"/>
                  <a:gd name="connsiteX10" fmla="*/ 23066 w 39404"/>
                  <a:gd name="connsiteY10" fmla="*/ 25220 h 43083"/>
                  <a:gd name="connsiteX11" fmla="*/ 23066 w 39404"/>
                  <a:gd name="connsiteY11" fmla="*/ 43084 h 43083"/>
                  <a:gd name="connsiteX12" fmla="*/ 16178 w 39404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083">
                    <a:moveTo>
                      <a:pt x="16178" y="43084"/>
                    </a:moveTo>
                    <a:lnTo>
                      <a:pt x="16178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8" y="17689"/>
                    </a:lnTo>
                    <a:lnTo>
                      <a:pt x="16178" y="0"/>
                    </a:lnTo>
                    <a:lnTo>
                      <a:pt x="23066" y="0"/>
                    </a:lnTo>
                    <a:lnTo>
                      <a:pt x="23066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066" y="25220"/>
                    </a:lnTo>
                    <a:lnTo>
                      <a:pt x="23066" y="43084"/>
                    </a:lnTo>
                    <a:lnTo>
                      <a:pt x="16178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5" name="Freihandform: Form 154">
                <a:extLst>
                  <a:ext uri="{FF2B5EF4-FFF2-40B4-BE49-F238E27FC236}">
                    <a16:creationId xmlns:a16="http://schemas.microsoft.com/office/drawing/2014/main" id="{88C1D7D6-30B8-1EF7-4F8A-803432FD1628}"/>
                  </a:ext>
                </a:extLst>
              </p:cNvPr>
              <p:cNvSpPr/>
              <p:nvPr/>
            </p:nvSpPr>
            <p:spPr>
              <a:xfrm>
                <a:off x="6302295" y="2285960"/>
                <a:ext cx="39404" cy="43083"/>
              </a:xfrm>
              <a:custGeom>
                <a:avLst/>
                <a:gdLst>
                  <a:gd name="connsiteX0" fmla="*/ 16339 w 39404"/>
                  <a:gd name="connsiteY0" fmla="*/ 43084 h 43083"/>
                  <a:gd name="connsiteX1" fmla="*/ 16339 w 39404"/>
                  <a:gd name="connsiteY1" fmla="*/ 25220 h 43083"/>
                  <a:gd name="connsiteX2" fmla="*/ 0 w 39404"/>
                  <a:gd name="connsiteY2" fmla="*/ 25220 h 43083"/>
                  <a:gd name="connsiteX3" fmla="*/ 0 w 39404"/>
                  <a:gd name="connsiteY3" fmla="*/ 17689 h 43083"/>
                  <a:gd name="connsiteX4" fmla="*/ 16339 w 39404"/>
                  <a:gd name="connsiteY4" fmla="*/ 17689 h 43083"/>
                  <a:gd name="connsiteX5" fmla="*/ 16339 w 39404"/>
                  <a:gd name="connsiteY5" fmla="*/ 0 h 43083"/>
                  <a:gd name="connsiteX6" fmla="*/ 23227 w 39404"/>
                  <a:gd name="connsiteY6" fmla="*/ 0 h 43083"/>
                  <a:gd name="connsiteX7" fmla="*/ 23227 w 39404"/>
                  <a:gd name="connsiteY7" fmla="*/ 17689 h 43083"/>
                  <a:gd name="connsiteX8" fmla="*/ 39405 w 39404"/>
                  <a:gd name="connsiteY8" fmla="*/ 17689 h 43083"/>
                  <a:gd name="connsiteX9" fmla="*/ 39405 w 39404"/>
                  <a:gd name="connsiteY9" fmla="*/ 25220 h 43083"/>
                  <a:gd name="connsiteX10" fmla="*/ 23227 w 39404"/>
                  <a:gd name="connsiteY10" fmla="*/ 25220 h 43083"/>
                  <a:gd name="connsiteX11" fmla="*/ 23227 w 39404"/>
                  <a:gd name="connsiteY11" fmla="*/ 43084 h 43083"/>
                  <a:gd name="connsiteX12" fmla="*/ 16339 w 39404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6" name="Freihandform: Form 155">
                <a:extLst>
                  <a:ext uri="{FF2B5EF4-FFF2-40B4-BE49-F238E27FC236}">
                    <a16:creationId xmlns:a16="http://schemas.microsoft.com/office/drawing/2014/main" id="{80BBC714-6415-C758-A987-455251646130}"/>
                  </a:ext>
                </a:extLst>
              </p:cNvPr>
              <p:cNvSpPr/>
              <p:nvPr/>
            </p:nvSpPr>
            <p:spPr>
              <a:xfrm>
                <a:off x="6305339" y="2285960"/>
                <a:ext cx="39404" cy="43083"/>
              </a:xfrm>
              <a:custGeom>
                <a:avLst/>
                <a:gdLst>
                  <a:gd name="connsiteX0" fmla="*/ 16179 w 39404"/>
                  <a:gd name="connsiteY0" fmla="*/ 43084 h 43083"/>
                  <a:gd name="connsiteX1" fmla="*/ 16179 w 39404"/>
                  <a:gd name="connsiteY1" fmla="*/ 25220 h 43083"/>
                  <a:gd name="connsiteX2" fmla="*/ 0 w 39404"/>
                  <a:gd name="connsiteY2" fmla="*/ 25220 h 43083"/>
                  <a:gd name="connsiteX3" fmla="*/ 0 w 39404"/>
                  <a:gd name="connsiteY3" fmla="*/ 17689 h 43083"/>
                  <a:gd name="connsiteX4" fmla="*/ 16179 w 39404"/>
                  <a:gd name="connsiteY4" fmla="*/ 17689 h 43083"/>
                  <a:gd name="connsiteX5" fmla="*/ 16179 w 39404"/>
                  <a:gd name="connsiteY5" fmla="*/ 0 h 43083"/>
                  <a:gd name="connsiteX6" fmla="*/ 23227 w 39404"/>
                  <a:gd name="connsiteY6" fmla="*/ 0 h 43083"/>
                  <a:gd name="connsiteX7" fmla="*/ 23227 w 39404"/>
                  <a:gd name="connsiteY7" fmla="*/ 17689 h 43083"/>
                  <a:gd name="connsiteX8" fmla="*/ 39405 w 39404"/>
                  <a:gd name="connsiteY8" fmla="*/ 17689 h 43083"/>
                  <a:gd name="connsiteX9" fmla="*/ 39405 w 39404"/>
                  <a:gd name="connsiteY9" fmla="*/ 25220 h 43083"/>
                  <a:gd name="connsiteX10" fmla="*/ 23227 w 39404"/>
                  <a:gd name="connsiteY10" fmla="*/ 25220 h 43083"/>
                  <a:gd name="connsiteX11" fmla="*/ 23227 w 39404"/>
                  <a:gd name="connsiteY11" fmla="*/ 43084 h 43083"/>
                  <a:gd name="connsiteX12" fmla="*/ 16179 w 39404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083">
                    <a:moveTo>
                      <a:pt x="16179" y="43084"/>
                    </a:moveTo>
                    <a:lnTo>
                      <a:pt x="1617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9" y="17689"/>
                    </a:lnTo>
                    <a:lnTo>
                      <a:pt x="1617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17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7" name="Freihandform: Form 156">
                <a:extLst>
                  <a:ext uri="{FF2B5EF4-FFF2-40B4-BE49-F238E27FC236}">
                    <a16:creationId xmlns:a16="http://schemas.microsoft.com/office/drawing/2014/main" id="{2A6B685A-B741-4639-826F-8F538E056745}"/>
                  </a:ext>
                </a:extLst>
              </p:cNvPr>
              <p:cNvSpPr/>
              <p:nvPr/>
            </p:nvSpPr>
            <p:spPr>
              <a:xfrm>
                <a:off x="6308222" y="2285960"/>
                <a:ext cx="39565" cy="43083"/>
              </a:xfrm>
              <a:custGeom>
                <a:avLst/>
                <a:gdLst>
                  <a:gd name="connsiteX0" fmla="*/ 16339 w 39565"/>
                  <a:gd name="connsiteY0" fmla="*/ 43084 h 43083"/>
                  <a:gd name="connsiteX1" fmla="*/ 16339 w 39565"/>
                  <a:gd name="connsiteY1" fmla="*/ 25220 h 43083"/>
                  <a:gd name="connsiteX2" fmla="*/ 0 w 39565"/>
                  <a:gd name="connsiteY2" fmla="*/ 25220 h 43083"/>
                  <a:gd name="connsiteX3" fmla="*/ 0 w 39565"/>
                  <a:gd name="connsiteY3" fmla="*/ 17689 h 43083"/>
                  <a:gd name="connsiteX4" fmla="*/ 16339 w 39565"/>
                  <a:gd name="connsiteY4" fmla="*/ 17689 h 43083"/>
                  <a:gd name="connsiteX5" fmla="*/ 16339 w 39565"/>
                  <a:gd name="connsiteY5" fmla="*/ 0 h 43083"/>
                  <a:gd name="connsiteX6" fmla="*/ 23227 w 39565"/>
                  <a:gd name="connsiteY6" fmla="*/ 0 h 43083"/>
                  <a:gd name="connsiteX7" fmla="*/ 23227 w 39565"/>
                  <a:gd name="connsiteY7" fmla="*/ 17689 h 43083"/>
                  <a:gd name="connsiteX8" fmla="*/ 39565 w 39565"/>
                  <a:gd name="connsiteY8" fmla="*/ 17689 h 43083"/>
                  <a:gd name="connsiteX9" fmla="*/ 39565 w 39565"/>
                  <a:gd name="connsiteY9" fmla="*/ 25220 h 43083"/>
                  <a:gd name="connsiteX10" fmla="*/ 23227 w 39565"/>
                  <a:gd name="connsiteY10" fmla="*/ 25220 h 43083"/>
                  <a:gd name="connsiteX11" fmla="*/ 23227 w 39565"/>
                  <a:gd name="connsiteY11" fmla="*/ 43084 h 43083"/>
                  <a:gd name="connsiteX12" fmla="*/ 16339 w 3956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565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565" y="17689"/>
                    </a:lnTo>
                    <a:lnTo>
                      <a:pt x="3956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8" name="Freihandform: Form 157">
                <a:extLst>
                  <a:ext uri="{FF2B5EF4-FFF2-40B4-BE49-F238E27FC236}">
                    <a16:creationId xmlns:a16="http://schemas.microsoft.com/office/drawing/2014/main" id="{88535B5B-2386-0E0C-FEC7-880D4F71BAB9}"/>
                  </a:ext>
                </a:extLst>
              </p:cNvPr>
              <p:cNvSpPr/>
              <p:nvPr/>
            </p:nvSpPr>
            <p:spPr>
              <a:xfrm>
                <a:off x="6311265" y="2285960"/>
                <a:ext cx="39404" cy="43083"/>
              </a:xfrm>
              <a:custGeom>
                <a:avLst/>
                <a:gdLst>
                  <a:gd name="connsiteX0" fmla="*/ 16179 w 39404"/>
                  <a:gd name="connsiteY0" fmla="*/ 43084 h 43083"/>
                  <a:gd name="connsiteX1" fmla="*/ 16179 w 39404"/>
                  <a:gd name="connsiteY1" fmla="*/ 25220 h 43083"/>
                  <a:gd name="connsiteX2" fmla="*/ 0 w 39404"/>
                  <a:gd name="connsiteY2" fmla="*/ 25220 h 43083"/>
                  <a:gd name="connsiteX3" fmla="*/ 0 w 39404"/>
                  <a:gd name="connsiteY3" fmla="*/ 17689 h 43083"/>
                  <a:gd name="connsiteX4" fmla="*/ 16179 w 39404"/>
                  <a:gd name="connsiteY4" fmla="*/ 17689 h 43083"/>
                  <a:gd name="connsiteX5" fmla="*/ 16179 w 39404"/>
                  <a:gd name="connsiteY5" fmla="*/ 0 h 43083"/>
                  <a:gd name="connsiteX6" fmla="*/ 23227 w 39404"/>
                  <a:gd name="connsiteY6" fmla="*/ 0 h 43083"/>
                  <a:gd name="connsiteX7" fmla="*/ 23227 w 39404"/>
                  <a:gd name="connsiteY7" fmla="*/ 17689 h 43083"/>
                  <a:gd name="connsiteX8" fmla="*/ 39405 w 39404"/>
                  <a:gd name="connsiteY8" fmla="*/ 17689 h 43083"/>
                  <a:gd name="connsiteX9" fmla="*/ 39405 w 39404"/>
                  <a:gd name="connsiteY9" fmla="*/ 25220 h 43083"/>
                  <a:gd name="connsiteX10" fmla="*/ 23227 w 39404"/>
                  <a:gd name="connsiteY10" fmla="*/ 25220 h 43083"/>
                  <a:gd name="connsiteX11" fmla="*/ 23227 w 39404"/>
                  <a:gd name="connsiteY11" fmla="*/ 43084 h 43083"/>
                  <a:gd name="connsiteX12" fmla="*/ 16179 w 39404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083">
                    <a:moveTo>
                      <a:pt x="16179" y="43084"/>
                    </a:moveTo>
                    <a:lnTo>
                      <a:pt x="1617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9" y="17689"/>
                    </a:lnTo>
                    <a:lnTo>
                      <a:pt x="1617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17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9" name="Freihandform: Form 158">
                <a:extLst>
                  <a:ext uri="{FF2B5EF4-FFF2-40B4-BE49-F238E27FC236}">
                    <a16:creationId xmlns:a16="http://schemas.microsoft.com/office/drawing/2014/main" id="{8F0FF5A3-1813-B4E9-B73B-6D9538F07AB6}"/>
                  </a:ext>
                </a:extLst>
              </p:cNvPr>
              <p:cNvSpPr/>
              <p:nvPr/>
            </p:nvSpPr>
            <p:spPr>
              <a:xfrm>
                <a:off x="6314148" y="2285960"/>
                <a:ext cx="39405" cy="43083"/>
              </a:xfrm>
              <a:custGeom>
                <a:avLst/>
                <a:gdLst>
                  <a:gd name="connsiteX0" fmla="*/ 16339 w 39405"/>
                  <a:gd name="connsiteY0" fmla="*/ 43084 h 43083"/>
                  <a:gd name="connsiteX1" fmla="*/ 16339 w 39405"/>
                  <a:gd name="connsiteY1" fmla="*/ 25220 h 43083"/>
                  <a:gd name="connsiteX2" fmla="*/ 0 w 39405"/>
                  <a:gd name="connsiteY2" fmla="*/ 25220 h 43083"/>
                  <a:gd name="connsiteX3" fmla="*/ 0 w 39405"/>
                  <a:gd name="connsiteY3" fmla="*/ 17689 h 43083"/>
                  <a:gd name="connsiteX4" fmla="*/ 16339 w 39405"/>
                  <a:gd name="connsiteY4" fmla="*/ 17689 h 43083"/>
                  <a:gd name="connsiteX5" fmla="*/ 16339 w 39405"/>
                  <a:gd name="connsiteY5" fmla="*/ 0 h 43083"/>
                  <a:gd name="connsiteX6" fmla="*/ 23227 w 39405"/>
                  <a:gd name="connsiteY6" fmla="*/ 0 h 43083"/>
                  <a:gd name="connsiteX7" fmla="*/ 23227 w 39405"/>
                  <a:gd name="connsiteY7" fmla="*/ 17689 h 43083"/>
                  <a:gd name="connsiteX8" fmla="*/ 39405 w 39405"/>
                  <a:gd name="connsiteY8" fmla="*/ 17689 h 43083"/>
                  <a:gd name="connsiteX9" fmla="*/ 39405 w 39405"/>
                  <a:gd name="connsiteY9" fmla="*/ 25220 h 43083"/>
                  <a:gd name="connsiteX10" fmla="*/ 23227 w 39405"/>
                  <a:gd name="connsiteY10" fmla="*/ 25220 h 43083"/>
                  <a:gd name="connsiteX11" fmla="*/ 23227 w 39405"/>
                  <a:gd name="connsiteY11" fmla="*/ 43084 h 43083"/>
                  <a:gd name="connsiteX12" fmla="*/ 16339 w 3940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5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0" name="Freihandform: Form 159">
                <a:extLst>
                  <a:ext uri="{FF2B5EF4-FFF2-40B4-BE49-F238E27FC236}">
                    <a16:creationId xmlns:a16="http://schemas.microsoft.com/office/drawing/2014/main" id="{B088EB25-5836-E564-3824-1F8E4EB880E0}"/>
                  </a:ext>
                </a:extLst>
              </p:cNvPr>
              <p:cNvSpPr/>
              <p:nvPr/>
            </p:nvSpPr>
            <p:spPr>
              <a:xfrm>
                <a:off x="6326162" y="2285960"/>
                <a:ext cx="39405" cy="43083"/>
              </a:xfrm>
              <a:custGeom>
                <a:avLst/>
                <a:gdLst>
                  <a:gd name="connsiteX0" fmla="*/ 16179 w 39405"/>
                  <a:gd name="connsiteY0" fmla="*/ 43084 h 43083"/>
                  <a:gd name="connsiteX1" fmla="*/ 16179 w 39405"/>
                  <a:gd name="connsiteY1" fmla="*/ 25220 h 43083"/>
                  <a:gd name="connsiteX2" fmla="*/ 0 w 39405"/>
                  <a:gd name="connsiteY2" fmla="*/ 25220 h 43083"/>
                  <a:gd name="connsiteX3" fmla="*/ 0 w 39405"/>
                  <a:gd name="connsiteY3" fmla="*/ 17689 h 43083"/>
                  <a:gd name="connsiteX4" fmla="*/ 16179 w 39405"/>
                  <a:gd name="connsiteY4" fmla="*/ 17689 h 43083"/>
                  <a:gd name="connsiteX5" fmla="*/ 16179 w 39405"/>
                  <a:gd name="connsiteY5" fmla="*/ 0 h 43083"/>
                  <a:gd name="connsiteX6" fmla="*/ 23227 w 39405"/>
                  <a:gd name="connsiteY6" fmla="*/ 0 h 43083"/>
                  <a:gd name="connsiteX7" fmla="*/ 23227 w 39405"/>
                  <a:gd name="connsiteY7" fmla="*/ 17689 h 43083"/>
                  <a:gd name="connsiteX8" fmla="*/ 39405 w 39405"/>
                  <a:gd name="connsiteY8" fmla="*/ 17689 h 43083"/>
                  <a:gd name="connsiteX9" fmla="*/ 39405 w 39405"/>
                  <a:gd name="connsiteY9" fmla="*/ 25220 h 43083"/>
                  <a:gd name="connsiteX10" fmla="*/ 23227 w 39405"/>
                  <a:gd name="connsiteY10" fmla="*/ 25220 h 43083"/>
                  <a:gd name="connsiteX11" fmla="*/ 23227 w 39405"/>
                  <a:gd name="connsiteY11" fmla="*/ 43084 h 43083"/>
                  <a:gd name="connsiteX12" fmla="*/ 16179 w 3940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5" h="43083">
                    <a:moveTo>
                      <a:pt x="16179" y="43084"/>
                    </a:moveTo>
                    <a:lnTo>
                      <a:pt x="1617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9" y="17689"/>
                    </a:lnTo>
                    <a:lnTo>
                      <a:pt x="1617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17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1" name="Freihandform: Form 160">
                <a:extLst>
                  <a:ext uri="{FF2B5EF4-FFF2-40B4-BE49-F238E27FC236}">
                    <a16:creationId xmlns:a16="http://schemas.microsoft.com/office/drawing/2014/main" id="{55167776-584B-DEC8-D600-E2E155A9486B}"/>
                  </a:ext>
                </a:extLst>
              </p:cNvPr>
              <p:cNvSpPr/>
              <p:nvPr/>
            </p:nvSpPr>
            <p:spPr>
              <a:xfrm>
                <a:off x="6329046" y="2285960"/>
                <a:ext cx="39565" cy="43083"/>
              </a:xfrm>
              <a:custGeom>
                <a:avLst/>
                <a:gdLst>
                  <a:gd name="connsiteX0" fmla="*/ 16339 w 39565"/>
                  <a:gd name="connsiteY0" fmla="*/ 43084 h 43083"/>
                  <a:gd name="connsiteX1" fmla="*/ 16339 w 39565"/>
                  <a:gd name="connsiteY1" fmla="*/ 25220 h 43083"/>
                  <a:gd name="connsiteX2" fmla="*/ 0 w 39565"/>
                  <a:gd name="connsiteY2" fmla="*/ 25220 h 43083"/>
                  <a:gd name="connsiteX3" fmla="*/ 0 w 39565"/>
                  <a:gd name="connsiteY3" fmla="*/ 17689 h 43083"/>
                  <a:gd name="connsiteX4" fmla="*/ 16339 w 39565"/>
                  <a:gd name="connsiteY4" fmla="*/ 17689 h 43083"/>
                  <a:gd name="connsiteX5" fmla="*/ 16339 w 39565"/>
                  <a:gd name="connsiteY5" fmla="*/ 0 h 43083"/>
                  <a:gd name="connsiteX6" fmla="*/ 23226 w 39565"/>
                  <a:gd name="connsiteY6" fmla="*/ 0 h 43083"/>
                  <a:gd name="connsiteX7" fmla="*/ 23226 w 39565"/>
                  <a:gd name="connsiteY7" fmla="*/ 17689 h 43083"/>
                  <a:gd name="connsiteX8" fmla="*/ 39565 w 39565"/>
                  <a:gd name="connsiteY8" fmla="*/ 17689 h 43083"/>
                  <a:gd name="connsiteX9" fmla="*/ 39565 w 39565"/>
                  <a:gd name="connsiteY9" fmla="*/ 25220 h 43083"/>
                  <a:gd name="connsiteX10" fmla="*/ 23226 w 39565"/>
                  <a:gd name="connsiteY10" fmla="*/ 25220 h 43083"/>
                  <a:gd name="connsiteX11" fmla="*/ 23226 w 39565"/>
                  <a:gd name="connsiteY11" fmla="*/ 43084 h 43083"/>
                  <a:gd name="connsiteX12" fmla="*/ 16339 w 3956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565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6" y="0"/>
                    </a:lnTo>
                    <a:lnTo>
                      <a:pt x="23226" y="17689"/>
                    </a:lnTo>
                    <a:lnTo>
                      <a:pt x="39565" y="17689"/>
                    </a:lnTo>
                    <a:lnTo>
                      <a:pt x="39565" y="25220"/>
                    </a:lnTo>
                    <a:lnTo>
                      <a:pt x="23226" y="25220"/>
                    </a:lnTo>
                    <a:lnTo>
                      <a:pt x="23226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2" name="Freihandform: Form 161">
                <a:extLst>
                  <a:ext uri="{FF2B5EF4-FFF2-40B4-BE49-F238E27FC236}">
                    <a16:creationId xmlns:a16="http://schemas.microsoft.com/office/drawing/2014/main" id="{F33E3F50-5210-9099-B45D-01E556BC24D3}"/>
                  </a:ext>
                </a:extLst>
              </p:cNvPr>
              <p:cNvSpPr/>
              <p:nvPr/>
            </p:nvSpPr>
            <p:spPr>
              <a:xfrm>
                <a:off x="6338016" y="2292616"/>
                <a:ext cx="39404" cy="43083"/>
              </a:xfrm>
              <a:custGeom>
                <a:avLst/>
                <a:gdLst>
                  <a:gd name="connsiteX0" fmla="*/ 16339 w 39404"/>
                  <a:gd name="connsiteY0" fmla="*/ 43084 h 43083"/>
                  <a:gd name="connsiteX1" fmla="*/ 16339 w 39404"/>
                  <a:gd name="connsiteY1" fmla="*/ 25220 h 43083"/>
                  <a:gd name="connsiteX2" fmla="*/ 0 w 39404"/>
                  <a:gd name="connsiteY2" fmla="*/ 25220 h 43083"/>
                  <a:gd name="connsiteX3" fmla="*/ 0 w 39404"/>
                  <a:gd name="connsiteY3" fmla="*/ 17689 h 43083"/>
                  <a:gd name="connsiteX4" fmla="*/ 16339 w 39404"/>
                  <a:gd name="connsiteY4" fmla="*/ 17689 h 43083"/>
                  <a:gd name="connsiteX5" fmla="*/ 16339 w 39404"/>
                  <a:gd name="connsiteY5" fmla="*/ 0 h 43083"/>
                  <a:gd name="connsiteX6" fmla="*/ 23226 w 39404"/>
                  <a:gd name="connsiteY6" fmla="*/ 0 h 43083"/>
                  <a:gd name="connsiteX7" fmla="*/ 23226 w 39404"/>
                  <a:gd name="connsiteY7" fmla="*/ 17689 h 43083"/>
                  <a:gd name="connsiteX8" fmla="*/ 39405 w 39404"/>
                  <a:gd name="connsiteY8" fmla="*/ 17689 h 43083"/>
                  <a:gd name="connsiteX9" fmla="*/ 39405 w 39404"/>
                  <a:gd name="connsiteY9" fmla="*/ 25220 h 43083"/>
                  <a:gd name="connsiteX10" fmla="*/ 23226 w 39404"/>
                  <a:gd name="connsiteY10" fmla="*/ 25220 h 43083"/>
                  <a:gd name="connsiteX11" fmla="*/ 23226 w 39404"/>
                  <a:gd name="connsiteY11" fmla="*/ 43084 h 43083"/>
                  <a:gd name="connsiteX12" fmla="*/ 16339 w 39404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6" y="0"/>
                    </a:lnTo>
                    <a:lnTo>
                      <a:pt x="23226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226" y="25220"/>
                    </a:lnTo>
                    <a:lnTo>
                      <a:pt x="23226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3" name="Freihandform: Form 162">
                <a:extLst>
                  <a:ext uri="{FF2B5EF4-FFF2-40B4-BE49-F238E27FC236}">
                    <a16:creationId xmlns:a16="http://schemas.microsoft.com/office/drawing/2014/main" id="{6D7BB900-9C85-D675-2EFE-E97FDFD0AE93}"/>
                  </a:ext>
                </a:extLst>
              </p:cNvPr>
              <p:cNvSpPr/>
              <p:nvPr/>
            </p:nvSpPr>
            <p:spPr>
              <a:xfrm>
                <a:off x="6341060" y="2292616"/>
                <a:ext cx="39404" cy="43083"/>
              </a:xfrm>
              <a:custGeom>
                <a:avLst/>
                <a:gdLst>
                  <a:gd name="connsiteX0" fmla="*/ 16178 w 39404"/>
                  <a:gd name="connsiteY0" fmla="*/ 43084 h 43083"/>
                  <a:gd name="connsiteX1" fmla="*/ 16178 w 39404"/>
                  <a:gd name="connsiteY1" fmla="*/ 25220 h 43083"/>
                  <a:gd name="connsiteX2" fmla="*/ 0 w 39404"/>
                  <a:gd name="connsiteY2" fmla="*/ 25220 h 43083"/>
                  <a:gd name="connsiteX3" fmla="*/ 0 w 39404"/>
                  <a:gd name="connsiteY3" fmla="*/ 17689 h 43083"/>
                  <a:gd name="connsiteX4" fmla="*/ 16178 w 39404"/>
                  <a:gd name="connsiteY4" fmla="*/ 17689 h 43083"/>
                  <a:gd name="connsiteX5" fmla="*/ 16178 w 39404"/>
                  <a:gd name="connsiteY5" fmla="*/ 0 h 43083"/>
                  <a:gd name="connsiteX6" fmla="*/ 23066 w 39404"/>
                  <a:gd name="connsiteY6" fmla="*/ 0 h 43083"/>
                  <a:gd name="connsiteX7" fmla="*/ 23066 w 39404"/>
                  <a:gd name="connsiteY7" fmla="*/ 17689 h 43083"/>
                  <a:gd name="connsiteX8" fmla="*/ 39405 w 39404"/>
                  <a:gd name="connsiteY8" fmla="*/ 17689 h 43083"/>
                  <a:gd name="connsiteX9" fmla="*/ 39405 w 39404"/>
                  <a:gd name="connsiteY9" fmla="*/ 25220 h 43083"/>
                  <a:gd name="connsiteX10" fmla="*/ 23066 w 39404"/>
                  <a:gd name="connsiteY10" fmla="*/ 25220 h 43083"/>
                  <a:gd name="connsiteX11" fmla="*/ 23066 w 39404"/>
                  <a:gd name="connsiteY11" fmla="*/ 43084 h 43083"/>
                  <a:gd name="connsiteX12" fmla="*/ 16178 w 39404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083">
                    <a:moveTo>
                      <a:pt x="16178" y="43084"/>
                    </a:moveTo>
                    <a:lnTo>
                      <a:pt x="16178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8" y="17689"/>
                    </a:lnTo>
                    <a:lnTo>
                      <a:pt x="16178" y="0"/>
                    </a:lnTo>
                    <a:lnTo>
                      <a:pt x="23066" y="0"/>
                    </a:lnTo>
                    <a:lnTo>
                      <a:pt x="23066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066" y="25220"/>
                    </a:lnTo>
                    <a:lnTo>
                      <a:pt x="23066" y="43084"/>
                    </a:lnTo>
                    <a:lnTo>
                      <a:pt x="16178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4" name="Freihandform: Form 163">
                <a:extLst>
                  <a:ext uri="{FF2B5EF4-FFF2-40B4-BE49-F238E27FC236}">
                    <a16:creationId xmlns:a16="http://schemas.microsoft.com/office/drawing/2014/main" id="{D2F7FB49-68DC-83A5-10EE-A537EC65D205}"/>
                  </a:ext>
                </a:extLst>
              </p:cNvPr>
              <p:cNvSpPr/>
              <p:nvPr/>
            </p:nvSpPr>
            <p:spPr>
              <a:xfrm>
                <a:off x="6346986" y="2292616"/>
                <a:ext cx="39404" cy="43083"/>
              </a:xfrm>
              <a:custGeom>
                <a:avLst/>
                <a:gdLst>
                  <a:gd name="connsiteX0" fmla="*/ 16178 w 39404"/>
                  <a:gd name="connsiteY0" fmla="*/ 43084 h 43083"/>
                  <a:gd name="connsiteX1" fmla="*/ 16178 w 39404"/>
                  <a:gd name="connsiteY1" fmla="*/ 25220 h 43083"/>
                  <a:gd name="connsiteX2" fmla="*/ 0 w 39404"/>
                  <a:gd name="connsiteY2" fmla="*/ 25220 h 43083"/>
                  <a:gd name="connsiteX3" fmla="*/ 0 w 39404"/>
                  <a:gd name="connsiteY3" fmla="*/ 17689 h 43083"/>
                  <a:gd name="connsiteX4" fmla="*/ 16178 w 39404"/>
                  <a:gd name="connsiteY4" fmla="*/ 17689 h 43083"/>
                  <a:gd name="connsiteX5" fmla="*/ 16178 w 39404"/>
                  <a:gd name="connsiteY5" fmla="*/ 0 h 43083"/>
                  <a:gd name="connsiteX6" fmla="*/ 23226 w 39404"/>
                  <a:gd name="connsiteY6" fmla="*/ 0 h 43083"/>
                  <a:gd name="connsiteX7" fmla="*/ 23226 w 39404"/>
                  <a:gd name="connsiteY7" fmla="*/ 17689 h 43083"/>
                  <a:gd name="connsiteX8" fmla="*/ 39405 w 39404"/>
                  <a:gd name="connsiteY8" fmla="*/ 17689 h 43083"/>
                  <a:gd name="connsiteX9" fmla="*/ 39405 w 39404"/>
                  <a:gd name="connsiteY9" fmla="*/ 25220 h 43083"/>
                  <a:gd name="connsiteX10" fmla="*/ 23226 w 39404"/>
                  <a:gd name="connsiteY10" fmla="*/ 25220 h 43083"/>
                  <a:gd name="connsiteX11" fmla="*/ 23226 w 39404"/>
                  <a:gd name="connsiteY11" fmla="*/ 43084 h 43083"/>
                  <a:gd name="connsiteX12" fmla="*/ 16178 w 39404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083">
                    <a:moveTo>
                      <a:pt x="16178" y="43084"/>
                    </a:moveTo>
                    <a:lnTo>
                      <a:pt x="16178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8" y="17689"/>
                    </a:lnTo>
                    <a:lnTo>
                      <a:pt x="16178" y="0"/>
                    </a:lnTo>
                    <a:lnTo>
                      <a:pt x="23226" y="0"/>
                    </a:lnTo>
                    <a:lnTo>
                      <a:pt x="23226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226" y="25220"/>
                    </a:lnTo>
                    <a:lnTo>
                      <a:pt x="23226" y="43084"/>
                    </a:lnTo>
                    <a:lnTo>
                      <a:pt x="16178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5" name="Freihandform: Form 164">
                <a:extLst>
                  <a:ext uri="{FF2B5EF4-FFF2-40B4-BE49-F238E27FC236}">
                    <a16:creationId xmlns:a16="http://schemas.microsoft.com/office/drawing/2014/main" id="{36448591-9C98-2A5F-FDCF-005668A6A0F2}"/>
                  </a:ext>
                </a:extLst>
              </p:cNvPr>
              <p:cNvSpPr/>
              <p:nvPr/>
            </p:nvSpPr>
            <p:spPr>
              <a:xfrm>
                <a:off x="6355957" y="2292616"/>
                <a:ext cx="39404" cy="43083"/>
              </a:xfrm>
              <a:custGeom>
                <a:avLst/>
                <a:gdLst>
                  <a:gd name="connsiteX0" fmla="*/ 16179 w 39404"/>
                  <a:gd name="connsiteY0" fmla="*/ 43084 h 43083"/>
                  <a:gd name="connsiteX1" fmla="*/ 16179 w 39404"/>
                  <a:gd name="connsiteY1" fmla="*/ 25220 h 43083"/>
                  <a:gd name="connsiteX2" fmla="*/ 0 w 39404"/>
                  <a:gd name="connsiteY2" fmla="*/ 25220 h 43083"/>
                  <a:gd name="connsiteX3" fmla="*/ 0 w 39404"/>
                  <a:gd name="connsiteY3" fmla="*/ 17689 h 43083"/>
                  <a:gd name="connsiteX4" fmla="*/ 16179 w 39404"/>
                  <a:gd name="connsiteY4" fmla="*/ 17689 h 43083"/>
                  <a:gd name="connsiteX5" fmla="*/ 16179 w 39404"/>
                  <a:gd name="connsiteY5" fmla="*/ 0 h 43083"/>
                  <a:gd name="connsiteX6" fmla="*/ 23226 w 39404"/>
                  <a:gd name="connsiteY6" fmla="*/ 0 h 43083"/>
                  <a:gd name="connsiteX7" fmla="*/ 23226 w 39404"/>
                  <a:gd name="connsiteY7" fmla="*/ 17689 h 43083"/>
                  <a:gd name="connsiteX8" fmla="*/ 39405 w 39404"/>
                  <a:gd name="connsiteY8" fmla="*/ 17689 h 43083"/>
                  <a:gd name="connsiteX9" fmla="*/ 39405 w 39404"/>
                  <a:gd name="connsiteY9" fmla="*/ 25220 h 43083"/>
                  <a:gd name="connsiteX10" fmla="*/ 23226 w 39404"/>
                  <a:gd name="connsiteY10" fmla="*/ 25220 h 43083"/>
                  <a:gd name="connsiteX11" fmla="*/ 23226 w 39404"/>
                  <a:gd name="connsiteY11" fmla="*/ 43084 h 43083"/>
                  <a:gd name="connsiteX12" fmla="*/ 16179 w 39404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083">
                    <a:moveTo>
                      <a:pt x="16179" y="43084"/>
                    </a:moveTo>
                    <a:lnTo>
                      <a:pt x="1617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9" y="17689"/>
                    </a:lnTo>
                    <a:lnTo>
                      <a:pt x="16179" y="0"/>
                    </a:lnTo>
                    <a:lnTo>
                      <a:pt x="23226" y="0"/>
                    </a:lnTo>
                    <a:lnTo>
                      <a:pt x="23226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226" y="25220"/>
                    </a:lnTo>
                    <a:lnTo>
                      <a:pt x="23226" y="43084"/>
                    </a:lnTo>
                    <a:lnTo>
                      <a:pt x="1617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6" name="Freihandform: Form 165">
                <a:extLst>
                  <a:ext uri="{FF2B5EF4-FFF2-40B4-BE49-F238E27FC236}">
                    <a16:creationId xmlns:a16="http://schemas.microsoft.com/office/drawing/2014/main" id="{C22EB958-1214-283F-05D3-E0D396A3F249}"/>
                  </a:ext>
                </a:extLst>
              </p:cNvPr>
              <p:cNvSpPr/>
              <p:nvPr/>
            </p:nvSpPr>
            <p:spPr>
              <a:xfrm>
                <a:off x="6364927" y="2299096"/>
                <a:ext cx="39404" cy="43083"/>
              </a:xfrm>
              <a:custGeom>
                <a:avLst/>
                <a:gdLst>
                  <a:gd name="connsiteX0" fmla="*/ 16179 w 39404"/>
                  <a:gd name="connsiteY0" fmla="*/ 43084 h 43083"/>
                  <a:gd name="connsiteX1" fmla="*/ 16179 w 39404"/>
                  <a:gd name="connsiteY1" fmla="*/ 25220 h 43083"/>
                  <a:gd name="connsiteX2" fmla="*/ 0 w 39404"/>
                  <a:gd name="connsiteY2" fmla="*/ 25220 h 43083"/>
                  <a:gd name="connsiteX3" fmla="*/ 0 w 39404"/>
                  <a:gd name="connsiteY3" fmla="*/ 17689 h 43083"/>
                  <a:gd name="connsiteX4" fmla="*/ 16179 w 39404"/>
                  <a:gd name="connsiteY4" fmla="*/ 17689 h 43083"/>
                  <a:gd name="connsiteX5" fmla="*/ 16179 w 39404"/>
                  <a:gd name="connsiteY5" fmla="*/ 0 h 43083"/>
                  <a:gd name="connsiteX6" fmla="*/ 23066 w 39404"/>
                  <a:gd name="connsiteY6" fmla="*/ 0 h 43083"/>
                  <a:gd name="connsiteX7" fmla="*/ 23066 w 39404"/>
                  <a:gd name="connsiteY7" fmla="*/ 17689 h 43083"/>
                  <a:gd name="connsiteX8" fmla="*/ 39405 w 39404"/>
                  <a:gd name="connsiteY8" fmla="*/ 17689 h 43083"/>
                  <a:gd name="connsiteX9" fmla="*/ 39405 w 39404"/>
                  <a:gd name="connsiteY9" fmla="*/ 25220 h 43083"/>
                  <a:gd name="connsiteX10" fmla="*/ 23066 w 39404"/>
                  <a:gd name="connsiteY10" fmla="*/ 25220 h 43083"/>
                  <a:gd name="connsiteX11" fmla="*/ 23066 w 39404"/>
                  <a:gd name="connsiteY11" fmla="*/ 43084 h 43083"/>
                  <a:gd name="connsiteX12" fmla="*/ 16179 w 39404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083">
                    <a:moveTo>
                      <a:pt x="16179" y="43084"/>
                    </a:moveTo>
                    <a:lnTo>
                      <a:pt x="1617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9" y="17689"/>
                    </a:lnTo>
                    <a:lnTo>
                      <a:pt x="16179" y="0"/>
                    </a:lnTo>
                    <a:lnTo>
                      <a:pt x="23066" y="0"/>
                    </a:lnTo>
                    <a:lnTo>
                      <a:pt x="23066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066" y="25220"/>
                    </a:lnTo>
                    <a:lnTo>
                      <a:pt x="23066" y="43084"/>
                    </a:lnTo>
                    <a:lnTo>
                      <a:pt x="1617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7" name="Freihandform: Form 166">
                <a:extLst>
                  <a:ext uri="{FF2B5EF4-FFF2-40B4-BE49-F238E27FC236}">
                    <a16:creationId xmlns:a16="http://schemas.microsoft.com/office/drawing/2014/main" id="{2BC46827-26AC-F4DC-3968-29515973DD5E}"/>
                  </a:ext>
                </a:extLst>
              </p:cNvPr>
              <p:cNvSpPr/>
              <p:nvPr/>
            </p:nvSpPr>
            <p:spPr>
              <a:xfrm>
                <a:off x="6370853" y="2299096"/>
                <a:ext cx="39404" cy="43083"/>
              </a:xfrm>
              <a:custGeom>
                <a:avLst/>
                <a:gdLst>
                  <a:gd name="connsiteX0" fmla="*/ 16179 w 39404"/>
                  <a:gd name="connsiteY0" fmla="*/ 43084 h 43083"/>
                  <a:gd name="connsiteX1" fmla="*/ 16179 w 39404"/>
                  <a:gd name="connsiteY1" fmla="*/ 25220 h 43083"/>
                  <a:gd name="connsiteX2" fmla="*/ 0 w 39404"/>
                  <a:gd name="connsiteY2" fmla="*/ 25220 h 43083"/>
                  <a:gd name="connsiteX3" fmla="*/ 0 w 39404"/>
                  <a:gd name="connsiteY3" fmla="*/ 17689 h 43083"/>
                  <a:gd name="connsiteX4" fmla="*/ 16179 w 39404"/>
                  <a:gd name="connsiteY4" fmla="*/ 17689 h 43083"/>
                  <a:gd name="connsiteX5" fmla="*/ 16179 w 39404"/>
                  <a:gd name="connsiteY5" fmla="*/ 0 h 43083"/>
                  <a:gd name="connsiteX6" fmla="*/ 23227 w 39404"/>
                  <a:gd name="connsiteY6" fmla="*/ 0 h 43083"/>
                  <a:gd name="connsiteX7" fmla="*/ 23227 w 39404"/>
                  <a:gd name="connsiteY7" fmla="*/ 17689 h 43083"/>
                  <a:gd name="connsiteX8" fmla="*/ 39405 w 39404"/>
                  <a:gd name="connsiteY8" fmla="*/ 17689 h 43083"/>
                  <a:gd name="connsiteX9" fmla="*/ 39405 w 39404"/>
                  <a:gd name="connsiteY9" fmla="*/ 25220 h 43083"/>
                  <a:gd name="connsiteX10" fmla="*/ 23227 w 39404"/>
                  <a:gd name="connsiteY10" fmla="*/ 25220 h 43083"/>
                  <a:gd name="connsiteX11" fmla="*/ 23227 w 39404"/>
                  <a:gd name="connsiteY11" fmla="*/ 43084 h 43083"/>
                  <a:gd name="connsiteX12" fmla="*/ 16179 w 39404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083">
                    <a:moveTo>
                      <a:pt x="16179" y="43084"/>
                    </a:moveTo>
                    <a:lnTo>
                      <a:pt x="1617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9" y="17689"/>
                    </a:lnTo>
                    <a:lnTo>
                      <a:pt x="1617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17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8" name="Freihandform: Form 167">
                <a:extLst>
                  <a:ext uri="{FF2B5EF4-FFF2-40B4-BE49-F238E27FC236}">
                    <a16:creationId xmlns:a16="http://schemas.microsoft.com/office/drawing/2014/main" id="{11795082-933B-D217-E4DB-3C63CF8E149F}"/>
                  </a:ext>
                </a:extLst>
              </p:cNvPr>
              <p:cNvSpPr/>
              <p:nvPr/>
            </p:nvSpPr>
            <p:spPr>
              <a:xfrm>
                <a:off x="6376780" y="2299096"/>
                <a:ext cx="39405" cy="43083"/>
              </a:xfrm>
              <a:custGeom>
                <a:avLst/>
                <a:gdLst>
                  <a:gd name="connsiteX0" fmla="*/ 16179 w 39405"/>
                  <a:gd name="connsiteY0" fmla="*/ 43084 h 43083"/>
                  <a:gd name="connsiteX1" fmla="*/ 16179 w 39405"/>
                  <a:gd name="connsiteY1" fmla="*/ 25220 h 43083"/>
                  <a:gd name="connsiteX2" fmla="*/ 0 w 39405"/>
                  <a:gd name="connsiteY2" fmla="*/ 25220 h 43083"/>
                  <a:gd name="connsiteX3" fmla="*/ 0 w 39405"/>
                  <a:gd name="connsiteY3" fmla="*/ 17689 h 43083"/>
                  <a:gd name="connsiteX4" fmla="*/ 16179 w 39405"/>
                  <a:gd name="connsiteY4" fmla="*/ 17689 h 43083"/>
                  <a:gd name="connsiteX5" fmla="*/ 16179 w 39405"/>
                  <a:gd name="connsiteY5" fmla="*/ 0 h 43083"/>
                  <a:gd name="connsiteX6" fmla="*/ 23227 w 39405"/>
                  <a:gd name="connsiteY6" fmla="*/ 0 h 43083"/>
                  <a:gd name="connsiteX7" fmla="*/ 23227 w 39405"/>
                  <a:gd name="connsiteY7" fmla="*/ 17689 h 43083"/>
                  <a:gd name="connsiteX8" fmla="*/ 39405 w 39405"/>
                  <a:gd name="connsiteY8" fmla="*/ 17689 h 43083"/>
                  <a:gd name="connsiteX9" fmla="*/ 39405 w 39405"/>
                  <a:gd name="connsiteY9" fmla="*/ 25220 h 43083"/>
                  <a:gd name="connsiteX10" fmla="*/ 23227 w 39405"/>
                  <a:gd name="connsiteY10" fmla="*/ 25220 h 43083"/>
                  <a:gd name="connsiteX11" fmla="*/ 23227 w 39405"/>
                  <a:gd name="connsiteY11" fmla="*/ 43084 h 43083"/>
                  <a:gd name="connsiteX12" fmla="*/ 16179 w 3940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5" h="43083">
                    <a:moveTo>
                      <a:pt x="16179" y="43084"/>
                    </a:moveTo>
                    <a:lnTo>
                      <a:pt x="1617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9" y="17689"/>
                    </a:lnTo>
                    <a:lnTo>
                      <a:pt x="1617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17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9" name="Freihandform: Form 168">
                <a:extLst>
                  <a:ext uri="{FF2B5EF4-FFF2-40B4-BE49-F238E27FC236}">
                    <a16:creationId xmlns:a16="http://schemas.microsoft.com/office/drawing/2014/main" id="{457C61E6-036B-E21B-110E-DEA92E4818CF}"/>
                  </a:ext>
                </a:extLst>
              </p:cNvPr>
              <p:cNvSpPr/>
              <p:nvPr/>
            </p:nvSpPr>
            <p:spPr>
              <a:xfrm>
                <a:off x="6397604" y="2305401"/>
                <a:ext cx="39404" cy="43258"/>
              </a:xfrm>
              <a:custGeom>
                <a:avLst/>
                <a:gdLst>
                  <a:gd name="connsiteX0" fmla="*/ 16178 w 39404"/>
                  <a:gd name="connsiteY0" fmla="*/ 43259 h 43258"/>
                  <a:gd name="connsiteX1" fmla="*/ 16178 w 39404"/>
                  <a:gd name="connsiteY1" fmla="*/ 25395 h 43258"/>
                  <a:gd name="connsiteX2" fmla="*/ 0 w 39404"/>
                  <a:gd name="connsiteY2" fmla="*/ 25395 h 43258"/>
                  <a:gd name="connsiteX3" fmla="*/ 0 w 39404"/>
                  <a:gd name="connsiteY3" fmla="*/ 17864 h 43258"/>
                  <a:gd name="connsiteX4" fmla="*/ 16178 w 39404"/>
                  <a:gd name="connsiteY4" fmla="*/ 17864 h 43258"/>
                  <a:gd name="connsiteX5" fmla="*/ 16178 w 39404"/>
                  <a:gd name="connsiteY5" fmla="*/ 0 h 43258"/>
                  <a:gd name="connsiteX6" fmla="*/ 23226 w 39404"/>
                  <a:gd name="connsiteY6" fmla="*/ 0 h 43258"/>
                  <a:gd name="connsiteX7" fmla="*/ 23226 w 39404"/>
                  <a:gd name="connsiteY7" fmla="*/ 17864 h 43258"/>
                  <a:gd name="connsiteX8" fmla="*/ 39405 w 39404"/>
                  <a:gd name="connsiteY8" fmla="*/ 17864 h 43258"/>
                  <a:gd name="connsiteX9" fmla="*/ 39405 w 39404"/>
                  <a:gd name="connsiteY9" fmla="*/ 25395 h 43258"/>
                  <a:gd name="connsiteX10" fmla="*/ 23226 w 39404"/>
                  <a:gd name="connsiteY10" fmla="*/ 25395 h 43258"/>
                  <a:gd name="connsiteX11" fmla="*/ 23226 w 39404"/>
                  <a:gd name="connsiteY11" fmla="*/ 43259 h 43258"/>
                  <a:gd name="connsiteX12" fmla="*/ 16178 w 39404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258">
                    <a:moveTo>
                      <a:pt x="16178" y="43259"/>
                    </a:moveTo>
                    <a:lnTo>
                      <a:pt x="16178" y="25395"/>
                    </a:lnTo>
                    <a:lnTo>
                      <a:pt x="0" y="25395"/>
                    </a:lnTo>
                    <a:lnTo>
                      <a:pt x="0" y="17864"/>
                    </a:lnTo>
                    <a:lnTo>
                      <a:pt x="16178" y="17864"/>
                    </a:lnTo>
                    <a:lnTo>
                      <a:pt x="16178" y="0"/>
                    </a:lnTo>
                    <a:lnTo>
                      <a:pt x="23226" y="0"/>
                    </a:lnTo>
                    <a:lnTo>
                      <a:pt x="23226" y="17864"/>
                    </a:lnTo>
                    <a:lnTo>
                      <a:pt x="39405" y="17864"/>
                    </a:lnTo>
                    <a:lnTo>
                      <a:pt x="39405" y="25395"/>
                    </a:lnTo>
                    <a:lnTo>
                      <a:pt x="23226" y="25395"/>
                    </a:lnTo>
                    <a:lnTo>
                      <a:pt x="23226" y="43259"/>
                    </a:lnTo>
                    <a:lnTo>
                      <a:pt x="16178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0" name="Freihandform: Form 169">
                <a:extLst>
                  <a:ext uri="{FF2B5EF4-FFF2-40B4-BE49-F238E27FC236}">
                    <a16:creationId xmlns:a16="http://schemas.microsoft.com/office/drawing/2014/main" id="{E0AA4DF7-1BC9-B0D0-F1B0-EFFC19406AD2}"/>
                  </a:ext>
                </a:extLst>
              </p:cNvPr>
              <p:cNvSpPr/>
              <p:nvPr/>
            </p:nvSpPr>
            <p:spPr>
              <a:xfrm>
                <a:off x="6400648" y="2305401"/>
                <a:ext cx="39404" cy="43258"/>
              </a:xfrm>
              <a:custGeom>
                <a:avLst/>
                <a:gdLst>
                  <a:gd name="connsiteX0" fmla="*/ 16178 w 39404"/>
                  <a:gd name="connsiteY0" fmla="*/ 43259 h 43258"/>
                  <a:gd name="connsiteX1" fmla="*/ 16178 w 39404"/>
                  <a:gd name="connsiteY1" fmla="*/ 25395 h 43258"/>
                  <a:gd name="connsiteX2" fmla="*/ 0 w 39404"/>
                  <a:gd name="connsiteY2" fmla="*/ 25395 h 43258"/>
                  <a:gd name="connsiteX3" fmla="*/ 0 w 39404"/>
                  <a:gd name="connsiteY3" fmla="*/ 17864 h 43258"/>
                  <a:gd name="connsiteX4" fmla="*/ 16178 w 39404"/>
                  <a:gd name="connsiteY4" fmla="*/ 17864 h 43258"/>
                  <a:gd name="connsiteX5" fmla="*/ 16178 w 39404"/>
                  <a:gd name="connsiteY5" fmla="*/ 0 h 43258"/>
                  <a:gd name="connsiteX6" fmla="*/ 23066 w 39404"/>
                  <a:gd name="connsiteY6" fmla="*/ 0 h 43258"/>
                  <a:gd name="connsiteX7" fmla="*/ 23066 w 39404"/>
                  <a:gd name="connsiteY7" fmla="*/ 17864 h 43258"/>
                  <a:gd name="connsiteX8" fmla="*/ 39405 w 39404"/>
                  <a:gd name="connsiteY8" fmla="*/ 17864 h 43258"/>
                  <a:gd name="connsiteX9" fmla="*/ 39405 w 39404"/>
                  <a:gd name="connsiteY9" fmla="*/ 25395 h 43258"/>
                  <a:gd name="connsiteX10" fmla="*/ 23066 w 39404"/>
                  <a:gd name="connsiteY10" fmla="*/ 25395 h 43258"/>
                  <a:gd name="connsiteX11" fmla="*/ 23066 w 39404"/>
                  <a:gd name="connsiteY11" fmla="*/ 43259 h 43258"/>
                  <a:gd name="connsiteX12" fmla="*/ 16178 w 39404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258">
                    <a:moveTo>
                      <a:pt x="16178" y="43259"/>
                    </a:moveTo>
                    <a:lnTo>
                      <a:pt x="16178" y="25395"/>
                    </a:lnTo>
                    <a:lnTo>
                      <a:pt x="0" y="25395"/>
                    </a:lnTo>
                    <a:lnTo>
                      <a:pt x="0" y="17864"/>
                    </a:lnTo>
                    <a:lnTo>
                      <a:pt x="16178" y="17864"/>
                    </a:lnTo>
                    <a:lnTo>
                      <a:pt x="16178" y="0"/>
                    </a:lnTo>
                    <a:lnTo>
                      <a:pt x="23066" y="0"/>
                    </a:lnTo>
                    <a:lnTo>
                      <a:pt x="23066" y="17864"/>
                    </a:lnTo>
                    <a:lnTo>
                      <a:pt x="39405" y="17864"/>
                    </a:lnTo>
                    <a:lnTo>
                      <a:pt x="39405" y="25395"/>
                    </a:lnTo>
                    <a:lnTo>
                      <a:pt x="23066" y="25395"/>
                    </a:lnTo>
                    <a:lnTo>
                      <a:pt x="23066" y="43259"/>
                    </a:lnTo>
                    <a:lnTo>
                      <a:pt x="16178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1" name="Freihandform: Form 170">
                <a:extLst>
                  <a:ext uri="{FF2B5EF4-FFF2-40B4-BE49-F238E27FC236}">
                    <a16:creationId xmlns:a16="http://schemas.microsoft.com/office/drawing/2014/main" id="{B578352B-F583-D26C-0E1B-A5DD04DE0C29}"/>
                  </a:ext>
                </a:extLst>
              </p:cNvPr>
              <p:cNvSpPr/>
              <p:nvPr/>
            </p:nvSpPr>
            <p:spPr>
              <a:xfrm>
                <a:off x="6409458" y="2305401"/>
                <a:ext cx="39565" cy="43258"/>
              </a:xfrm>
              <a:custGeom>
                <a:avLst/>
                <a:gdLst>
                  <a:gd name="connsiteX0" fmla="*/ 16339 w 39565"/>
                  <a:gd name="connsiteY0" fmla="*/ 43259 h 43258"/>
                  <a:gd name="connsiteX1" fmla="*/ 16339 w 39565"/>
                  <a:gd name="connsiteY1" fmla="*/ 25395 h 43258"/>
                  <a:gd name="connsiteX2" fmla="*/ 0 w 39565"/>
                  <a:gd name="connsiteY2" fmla="*/ 25395 h 43258"/>
                  <a:gd name="connsiteX3" fmla="*/ 0 w 39565"/>
                  <a:gd name="connsiteY3" fmla="*/ 17864 h 43258"/>
                  <a:gd name="connsiteX4" fmla="*/ 16339 w 39565"/>
                  <a:gd name="connsiteY4" fmla="*/ 17864 h 43258"/>
                  <a:gd name="connsiteX5" fmla="*/ 16339 w 39565"/>
                  <a:gd name="connsiteY5" fmla="*/ 0 h 43258"/>
                  <a:gd name="connsiteX6" fmla="*/ 23227 w 39565"/>
                  <a:gd name="connsiteY6" fmla="*/ 0 h 43258"/>
                  <a:gd name="connsiteX7" fmla="*/ 23227 w 39565"/>
                  <a:gd name="connsiteY7" fmla="*/ 17864 h 43258"/>
                  <a:gd name="connsiteX8" fmla="*/ 39565 w 39565"/>
                  <a:gd name="connsiteY8" fmla="*/ 17864 h 43258"/>
                  <a:gd name="connsiteX9" fmla="*/ 39565 w 39565"/>
                  <a:gd name="connsiteY9" fmla="*/ 25395 h 43258"/>
                  <a:gd name="connsiteX10" fmla="*/ 23227 w 39565"/>
                  <a:gd name="connsiteY10" fmla="*/ 25395 h 43258"/>
                  <a:gd name="connsiteX11" fmla="*/ 23227 w 39565"/>
                  <a:gd name="connsiteY11" fmla="*/ 43259 h 43258"/>
                  <a:gd name="connsiteX12" fmla="*/ 16339 w 39565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565" h="43258">
                    <a:moveTo>
                      <a:pt x="16339" y="43259"/>
                    </a:moveTo>
                    <a:lnTo>
                      <a:pt x="16339" y="25395"/>
                    </a:lnTo>
                    <a:lnTo>
                      <a:pt x="0" y="25395"/>
                    </a:lnTo>
                    <a:lnTo>
                      <a:pt x="0" y="17864"/>
                    </a:lnTo>
                    <a:lnTo>
                      <a:pt x="16339" y="17864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864"/>
                    </a:lnTo>
                    <a:lnTo>
                      <a:pt x="39565" y="17864"/>
                    </a:lnTo>
                    <a:lnTo>
                      <a:pt x="39565" y="25395"/>
                    </a:lnTo>
                    <a:lnTo>
                      <a:pt x="23227" y="25395"/>
                    </a:lnTo>
                    <a:lnTo>
                      <a:pt x="23227" y="43259"/>
                    </a:lnTo>
                    <a:lnTo>
                      <a:pt x="16339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2" name="Freihandform: Form 171">
                <a:extLst>
                  <a:ext uri="{FF2B5EF4-FFF2-40B4-BE49-F238E27FC236}">
                    <a16:creationId xmlns:a16="http://schemas.microsoft.com/office/drawing/2014/main" id="{53C8F58F-EAF3-9CC7-A6F6-2D9D6FFC1DD6}"/>
                  </a:ext>
                </a:extLst>
              </p:cNvPr>
              <p:cNvSpPr/>
              <p:nvPr/>
            </p:nvSpPr>
            <p:spPr>
              <a:xfrm>
                <a:off x="6412501" y="2305401"/>
                <a:ext cx="39404" cy="43258"/>
              </a:xfrm>
              <a:custGeom>
                <a:avLst/>
                <a:gdLst>
                  <a:gd name="connsiteX0" fmla="*/ 16179 w 39404"/>
                  <a:gd name="connsiteY0" fmla="*/ 43259 h 43258"/>
                  <a:gd name="connsiteX1" fmla="*/ 16179 w 39404"/>
                  <a:gd name="connsiteY1" fmla="*/ 25395 h 43258"/>
                  <a:gd name="connsiteX2" fmla="*/ 0 w 39404"/>
                  <a:gd name="connsiteY2" fmla="*/ 25395 h 43258"/>
                  <a:gd name="connsiteX3" fmla="*/ 0 w 39404"/>
                  <a:gd name="connsiteY3" fmla="*/ 17864 h 43258"/>
                  <a:gd name="connsiteX4" fmla="*/ 16179 w 39404"/>
                  <a:gd name="connsiteY4" fmla="*/ 17864 h 43258"/>
                  <a:gd name="connsiteX5" fmla="*/ 16179 w 39404"/>
                  <a:gd name="connsiteY5" fmla="*/ 0 h 43258"/>
                  <a:gd name="connsiteX6" fmla="*/ 23226 w 39404"/>
                  <a:gd name="connsiteY6" fmla="*/ 0 h 43258"/>
                  <a:gd name="connsiteX7" fmla="*/ 23226 w 39404"/>
                  <a:gd name="connsiteY7" fmla="*/ 17864 h 43258"/>
                  <a:gd name="connsiteX8" fmla="*/ 39405 w 39404"/>
                  <a:gd name="connsiteY8" fmla="*/ 17864 h 43258"/>
                  <a:gd name="connsiteX9" fmla="*/ 39405 w 39404"/>
                  <a:gd name="connsiteY9" fmla="*/ 25395 h 43258"/>
                  <a:gd name="connsiteX10" fmla="*/ 23226 w 39404"/>
                  <a:gd name="connsiteY10" fmla="*/ 25395 h 43258"/>
                  <a:gd name="connsiteX11" fmla="*/ 23226 w 39404"/>
                  <a:gd name="connsiteY11" fmla="*/ 43259 h 43258"/>
                  <a:gd name="connsiteX12" fmla="*/ 16179 w 39404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258">
                    <a:moveTo>
                      <a:pt x="16179" y="43259"/>
                    </a:moveTo>
                    <a:lnTo>
                      <a:pt x="16179" y="25395"/>
                    </a:lnTo>
                    <a:lnTo>
                      <a:pt x="0" y="25395"/>
                    </a:lnTo>
                    <a:lnTo>
                      <a:pt x="0" y="17864"/>
                    </a:lnTo>
                    <a:lnTo>
                      <a:pt x="16179" y="17864"/>
                    </a:lnTo>
                    <a:lnTo>
                      <a:pt x="16179" y="0"/>
                    </a:lnTo>
                    <a:lnTo>
                      <a:pt x="23226" y="0"/>
                    </a:lnTo>
                    <a:lnTo>
                      <a:pt x="23226" y="17864"/>
                    </a:lnTo>
                    <a:lnTo>
                      <a:pt x="39405" y="17864"/>
                    </a:lnTo>
                    <a:lnTo>
                      <a:pt x="39405" y="25395"/>
                    </a:lnTo>
                    <a:lnTo>
                      <a:pt x="23226" y="25395"/>
                    </a:lnTo>
                    <a:lnTo>
                      <a:pt x="23226" y="43259"/>
                    </a:lnTo>
                    <a:lnTo>
                      <a:pt x="16179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3" name="Freihandform: Form 172">
                <a:extLst>
                  <a:ext uri="{FF2B5EF4-FFF2-40B4-BE49-F238E27FC236}">
                    <a16:creationId xmlns:a16="http://schemas.microsoft.com/office/drawing/2014/main" id="{3EB871EB-D338-3078-0B11-E41BA604FF6D}"/>
                  </a:ext>
                </a:extLst>
              </p:cNvPr>
              <p:cNvSpPr/>
              <p:nvPr/>
            </p:nvSpPr>
            <p:spPr>
              <a:xfrm>
                <a:off x="6415545" y="2305401"/>
                <a:ext cx="39404" cy="43258"/>
              </a:xfrm>
              <a:custGeom>
                <a:avLst/>
                <a:gdLst>
                  <a:gd name="connsiteX0" fmla="*/ 16178 w 39404"/>
                  <a:gd name="connsiteY0" fmla="*/ 43259 h 43258"/>
                  <a:gd name="connsiteX1" fmla="*/ 16178 w 39404"/>
                  <a:gd name="connsiteY1" fmla="*/ 25395 h 43258"/>
                  <a:gd name="connsiteX2" fmla="*/ 0 w 39404"/>
                  <a:gd name="connsiteY2" fmla="*/ 25395 h 43258"/>
                  <a:gd name="connsiteX3" fmla="*/ 0 w 39404"/>
                  <a:gd name="connsiteY3" fmla="*/ 17864 h 43258"/>
                  <a:gd name="connsiteX4" fmla="*/ 16178 w 39404"/>
                  <a:gd name="connsiteY4" fmla="*/ 17864 h 43258"/>
                  <a:gd name="connsiteX5" fmla="*/ 16178 w 39404"/>
                  <a:gd name="connsiteY5" fmla="*/ 0 h 43258"/>
                  <a:gd name="connsiteX6" fmla="*/ 23066 w 39404"/>
                  <a:gd name="connsiteY6" fmla="*/ 0 h 43258"/>
                  <a:gd name="connsiteX7" fmla="*/ 23066 w 39404"/>
                  <a:gd name="connsiteY7" fmla="*/ 17864 h 43258"/>
                  <a:gd name="connsiteX8" fmla="*/ 39405 w 39404"/>
                  <a:gd name="connsiteY8" fmla="*/ 17864 h 43258"/>
                  <a:gd name="connsiteX9" fmla="*/ 39405 w 39404"/>
                  <a:gd name="connsiteY9" fmla="*/ 25395 h 43258"/>
                  <a:gd name="connsiteX10" fmla="*/ 23066 w 39404"/>
                  <a:gd name="connsiteY10" fmla="*/ 25395 h 43258"/>
                  <a:gd name="connsiteX11" fmla="*/ 23066 w 39404"/>
                  <a:gd name="connsiteY11" fmla="*/ 43259 h 43258"/>
                  <a:gd name="connsiteX12" fmla="*/ 16178 w 39404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258">
                    <a:moveTo>
                      <a:pt x="16178" y="43259"/>
                    </a:moveTo>
                    <a:lnTo>
                      <a:pt x="16178" y="25395"/>
                    </a:lnTo>
                    <a:lnTo>
                      <a:pt x="0" y="25395"/>
                    </a:lnTo>
                    <a:lnTo>
                      <a:pt x="0" y="17864"/>
                    </a:lnTo>
                    <a:lnTo>
                      <a:pt x="16178" y="17864"/>
                    </a:lnTo>
                    <a:lnTo>
                      <a:pt x="16178" y="0"/>
                    </a:lnTo>
                    <a:lnTo>
                      <a:pt x="23066" y="0"/>
                    </a:lnTo>
                    <a:lnTo>
                      <a:pt x="23066" y="17864"/>
                    </a:lnTo>
                    <a:lnTo>
                      <a:pt x="39405" y="17864"/>
                    </a:lnTo>
                    <a:lnTo>
                      <a:pt x="39405" y="25395"/>
                    </a:lnTo>
                    <a:lnTo>
                      <a:pt x="23066" y="25395"/>
                    </a:lnTo>
                    <a:lnTo>
                      <a:pt x="23066" y="43259"/>
                    </a:lnTo>
                    <a:lnTo>
                      <a:pt x="16178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4" name="Freihandform: Form 173">
                <a:extLst>
                  <a:ext uri="{FF2B5EF4-FFF2-40B4-BE49-F238E27FC236}">
                    <a16:creationId xmlns:a16="http://schemas.microsoft.com/office/drawing/2014/main" id="{1E48D3B4-C554-7584-4F5F-CB21ECED299B}"/>
                  </a:ext>
                </a:extLst>
              </p:cNvPr>
              <p:cNvSpPr/>
              <p:nvPr/>
            </p:nvSpPr>
            <p:spPr>
              <a:xfrm>
                <a:off x="6421471" y="2305401"/>
                <a:ext cx="39404" cy="43258"/>
              </a:xfrm>
              <a:custGeom>
                <a:avLst/>
                <a:gdLst>
                  <a:gd name="connsiteX0" fmla="*/ 16179 w 39404"/>
                  <a:gd name="connsiteY0" fmla="*/ 43259 h 43258"/>
                  <a:gd name="connsiteX1" fmla="*/ 16179 w 39404"/>
                  <a:gd name="connsiteY1" fmla="*/ 25395 h 43258"/>
                  <a:gd name="connsiteX2" fmla="*/ 0 w 39404"/>
                  <a:gd name="connsiteY2" fmla="*/ 25395 h 43258"/>
                  <a:gd name="connsiteX3" fmla="*/ 0 w 39404"/>
                  <a:gd name="connsiteY3" fmla="*/ 17864 h 43258"/>
                  <a:gd name="connsiteX4" fmla="*/ 16179 w 39404"/>
                  <a:gd name="connsiteY4" fmla="*/ 17864 h 43258"/>
                  <a:gd name="connsiteX5" fmla="*/ 16179 w 39404"/>
                  <a:gd name="connsiteY5" fmla="*/ 0 h 43258"/>
                  <a:gd name="connsiteX6" fmla="*/ 23227 w 39404"/>
                  <a:gd name="connsiteY6" fmla="*/ 0 h 43258"/>
                  <a:gd name="connsiteX7" fmla="*/ 23227 w 39404"/>
                  <a:gd name="connsiteY7" fmla="*/ 17864 h 43258"/>
                  <a:gd name="connsiteX8" fmla="*/ 39405 w 39404"/>
                  <a:gd name="connsiteY8" fmla="*/ 17864 h 43258"/>
                  <a:gd name="connsiteX9" fmla="*/ 39405 w 39404"/>
                  <a:gd name="connsiteY9" fmla="*/ 25395 h 43258"/>
                  <a:gd name="connsiteX10" fmla="*/ 23227 w 39404"/>
                  <a:gd name="connsiteY10" fmla="*/ 25395 h 43258"/>
                  <a:gd name="connsiteX11" fmla="*/ 23227 w 39404"/>
                  <a:gd name="connsiteY11" fmla="*/ 43259 h 43258"/>
                  <a:gd name="connsiteX12" fmla="*/ 16179 w 39404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258">
                    <a:moveTo>
                      <a:pt x="16179" y="43259"/>
                    </a:moveTo>
                    <a:lnTo>
                      <a:pt x="16179" y="25395"/>
                    </a:lnTo>
                    <a:lnTo>
                      <a:pt x="0" y="25395"/>
                    </a:lnTo>
                    <a:lnTo>
                      <a:pt x="0" y="17864"/>
                    </a:lnTo>
                    <a:lnTo>
                      <a:pt x="16179" y="17864"/>
                    </a:lnTo>
                    <a:lnTo>
                      <a:pt x="16179" y="0"/>
                    </a:lnTo>
                    <a:lnTo>
                      <a:pt x="23227" y="0"/>
                    </a:lnTo>
                    <a:lnTo>
                      <a:pt x="23227" y="17864"/>
                    </a:lnTo>
                    <a:lnTo>
                      <a:pt x="39405" y="17864"/>
                    </a:lnTo>
                    <a:lnTo>
                      <a:pt x="39405" y="25395"/>
                    </a:lnTo>
                    <a:lnTo>
                      <a:pt x="23227" y="25395"/>
                    </a:lnTo>
                    <a:lnTo>
                      <a:pt x="23227" y="43259"/>
                    </a:lnTo>
                    <a:lnTo>
                      <a:pt x="16179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5" name="Freihandform: Form 174">
                <a:extLst>
                  <a:ext uri="{FF2B5EF4-FFF2-40B4-BE49-F238E27FC236}">
                    <a16:creationId xmlns:a16="http://schemas.microsoft.com/office/drawing/2014/main" id="{E89618EF-48EC-34DC-0494-25750A455AB7}"/>
                  </a:ext>
                </a:extLst>
              </p:cNvPr>
              <p:cNvSpPr/>
              <p:nvPr/>
            </p:nvSpPr>
            <p:spPr>
              <a:xfrm>
                <a:off x="6436368" y="2312406"/>
                <a:ext cx="39404" cy="43258"/>
              </a:xfrm>
              <a:custGeom>
                <a:avLst/>
                <a:gdLst>
                  <a:gd name="connsiteX0" fmla="*/ 16179 w 39404"/>
                  <a:gd name="connsiteY0" fmla="*/ 43259 h 43258"/>
                  <a:gd name="connsiteX1" fmla="*/ 16179 w 39404"/>
                  <a:gd name="connsiteY1" fmla="*/ 25220 h 43258"/>
                  <a:gd name="connsiteX2" fmla="*/ 0 w 39404"/>
                  <a:gd name="connsiteY2" fmla="*/ 25220 h 43258"/>
                  <a:gd name="connsiteX3" fmla="*/ 0 w 39404"/>
                  <a:gd name="connsiteY3" fmla="*/ 17689 h 43258"/>
                  <a:gd name="connsiteX4" fmla="*/ 16179 w 39404"/>
                  <a:gd name="connsiteY4" fmla="*/ 17689 h 43258"/>
                  <a:gd name="connsiteX5" fmla="*/ 16179 w 39404"/>
                  <a:gd name="connsiteY5" fmla="*/ 0 h 43258"/>
                  <a:gd name="connsiteX6" fmla="*/ 23227 w 39404"/>
                  <a:gd name="connsiteY6" fmla="*/ 0 h 43258"/>
                  <a:gd name="connsiteX7" fmla="*/ 23227 w 39404"/>
                  <a:gd name="connsiteY7" fmla="*/ 17689 h 43258"/>
                  <a:gd name="connsiteX8" fmla="*/ 39405 w 39404"/>
                  <a:gd name="connsiteY8" fmla="*/ 17689 h 43258"/>
                  <a:gd name="connsiteX9" fmla="*/ 39405 w 39404"/>
                  <a:gd name="connsiteY9" fmla="*/ 25220 h 43258"/>
                  <a:gd name="connsiteX10" fmla="*/ 23227 w 39404"/>
                  <a:gd name="connsiteY10" fmla="*/ 25220 h 43258"/>
                  <a:gd name="connsiteX11" fmla="*/ 23227 w 39404"/>
                  <a:gd name="connsiteY11" fmla="*/ 43259 h 43258"/>
                  <a:gd name="connsiteX12" fmla="*/ 16179 w 39404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258">
                    <a:moveTo>
                      <a:pt x="16179" y="43259"/>
                    </a:moveTo>
                    <a:lnTo>
                      <a:pt x="1617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9" y="17689"/>
                    </a:lnTo>
                    <a:lnTo>
                      <a:pt x="1617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227" y="25220"/>
                    </a:lnTo>
                    <a:lnTo>
                      <a:pt x="23227" y="43259"/>
                    </a:lnTo>
                    <a:lnTo>
                      <a:pt x="16179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6" name="Freihandform: Form 175">
                <a:extLst>
                  <a:ext uri="{FF2B5EF4-FFF2-40B4-BE49-F238E27FC236}">
                    <a16:creationId xmlns:a16="http://schemas.microsoft.com/office/drawing/2014/main" id="{E3686928-BCFA-1B6A-D244-768C65875CE3}"/>
                  </a:ext>
                </a:extLst>
              </p:cNvPr>
              <p:cNvSpPr/>
              <p:nvPr/>
            </p:nvSpPr>
            <p:spPr>
              <a:xfrm>
                <a:off x="6442295" y="2312406"/>
                <a:ext cx="39405" cy="43258"/>
              </a:xfrm>
              <a:custGeom>
                <a:avLst/>
                <a:gdLst>
                  <a:gd name="connsiteX0" fmla="*/ 16339 w 39405"/>
                  <a:gd name="connsiteY0" fmla="*/ 43259 h 43258"/>
                  <a:gd name="connsiteX1" fmla="*/ 16339 w 39405"/>
                  <a:gd name="connsiteY1" fmla="*/ 25220 h 43258"/>
                  <a:gd name="connsiteX2" fmla="*/ 0 w 39405"/>
                  <a:gd name="connsiteY2" fmla="*/ 25220 h 43258"/>
                  <a:gd name="connsiteX3" fmla="*/ 0 w 39405"/>
                  <a:gd name="connsiteY3" fmla="*/ 17689 h 43258"/>
                  <a:gd name="connsiteX4" fmla="*/ 16339 w 39405"/>
                  <a:gd name="connsiteY4" fmla="*/ 17689 h 43258"/>
                  <a:gd name="connsiteX5" fmla="*/ 16339 w 39405"/>
                  <a:gd name="connsiteY5" fmla="*/ 0 h 43258"/>
                  <a:gd name="connsiteX6" fmla="*/ 23227 w 39405"/>
                  <a:gd name="connsiteY6" fmla="*/ 0 h 43258"/>
                  <a:gd name="connsiteX7" fmla="*/ 23227 w 39405"/>
                  <a:gd name="connsiteY7" fmla="*/ 17689 h 43258"/>
                  <a:gd name="connsiteX8" fmla="*/ 39405 w 39405"/>
                  <a:gd name="connsiteY8" fmla="*/ 17689 h 43258"/>
                  <a:gd name="connsiteX9" fmla="*/ 39405 w 39405"/>
                  <a:gd name="connsiteY9" fmla="*/ 25220 h 43258"/>
                  <a:gd name="connsiteX10" fmla="*/ 23227 w 39405"/>
                  <a:gd name="connsiteY10" fmla="*/ 25220 h 43258"/>
                  <a:gd name="connsiteX11" fmla="*/ 23227 w 39405"/>
                  <a:gd name="connsiteY11" fmla="*/ 43259 h 43258"/>
                  <a:gd name="connsiteX12" fmla="*/ 16339 w 39405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5" h="43258">
                    <a:moveTo>
                      <a:pt x="16339" y="43259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227" y="25220"/>
                    </a:lnTo>
                    <a:lnTo>
                      <a:pt x="23227" y="43259"/>
                    </a:lnTo>
                    <a:lnTo>
                      <a:pt x="16339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7" name="Freihandform: Form 176">
                <a:extLst>
                  <a:ext uri="{FF2B5EF4-FFF2-40B4-BE49-F238E27FC236}">
                    <a16:creationId xmlns:a16="http://schemas.microsoft.com/office/drawing/2014/main" id="{322E5673-EC09-8320-9D56-90795A045788}"/>
                  </a:ext>
                </a:extLst>
              </p:cNvPr>
              <p:cNvSpPr/>
              <p:nvPr/>
            </p:nvSpPr>
            <p:spPr>
              <a:xfrm>
                <a:off x="6463119" y="2319937"/>
                <a:ext cx="39404" cy="43083"/>
              </a:xfrm>
              <a:custGeom>
                <a:avLst/>
                <a:gdLst>
                  <a:gd name="connsiteX0" fmla="*/ 16178 w 39404"/>
                  <a:gd name="connsiteY0" fmla="*/ 43084 h 43083"/>
                  <a:gd name="connsiteX1" fmla="*/ 16178 w 39404"/>
                  <a:gd name="connsiteY1" fmla="*/ 25220 h 43083"/>
                  <a:gd name="connsiteX2" fmla="*/ 0 w 39404"/>
                  <a:gd name="connsiteY2" fmla="*/ 25220 h 43083"/>
                  <a:gd name="connsiteX3" fmla="*/ 0 w 39404"/>
                  <a:gd name="connsiteY3" fmla="*/ 17689 h 43083"/>
                  <a:gd name="connsiteX4" fmla="*/ 16178 w 39404"/>
                  <a:gd name="connsiteY4" fmla="*/ 17689 h 43083"/>
                  <a:gd name="connsiteX5" fmla="*/ 16178 w 39404"/>
                  <a:gd name="connsiteY5" fmla="*/ 0 h 43083"/>
                  <a:gd name="connsiteX6" fmla="*/ 23226 w 39404"/>
                  <a:gd name="connsiteY6" fmla="*/ 0 h 43083"/>
                  <a:gd name="connsiteX7" fmla="*/ 23226 w 39404"/>
                  <a:gd name="connsiteY7" fmla="*/ 17689 h 43083"/>
                  <a:gd name="connsiteX8" fmla="*/ 39405 w 39404"/>
                  <a:gd name="connsiteY8" fmla="*/ 17689 h 43083"/>
                  <a:gd name="connsiteX9" fmla="*/ 39405 w 39404"/>
                  <a:gd name="connsiteY9" fmla="*/ 25220 h 43083"/>
                  <a:gd name="connsiteX10" fmla="*/ 23226 w 39404"/>
                  <a:gd name="connsiteY10" fmla="*/ 25220 h 43083"/>
                  <a:gd name="connsiteX11" fmla="*/ 23226 w 39404"/>
                  <a:gd name="connsiteY11" fmla="*/ 43084 h 43083"/>
                  <a:gd name="connsiteX12" fmla="*/ 16178 w 39404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083">
                    <a:moveTo>
                      <a:pt x="16178" y="43084"/>
                    </a:moveTo>
                    <a:lnTo>
                      <a:pt x="16178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8" y="17689"/>
                    </a:lnTo>
                    <a:lnTo>
                      <a:pt x="16178" y="0"/>
                    </a:lnTo>
                    <a:lnTo>
                      <a:pt x="23226" y="0"/>
                    </a:lnTo>
                    <a:lnTo>
                      <a:pt x="23226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226" y="25220"/>
                    </a:lnTo>
                    <a:lnTo>
                      <a:pt x="23226" y="43084"/>
                    </a:lnTo>
                    <a:lnTo>
                      <a:pt x="16178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8" name="Freihandform: Form 177">
                <a:extLst>
                  <a:ext uri="{FF2B5EF4-FFF2-40B4-BE49-F238E27FC236}">
                    <a16:creationId xmlns:a16="http://schemas.microsoft.com/office/drawing/2014/main" id="{EE04D54D-2889-BC9E-AF3A-2BE1D3765B1D}"/>
                  </a:ext>
                </a:extLst>
              </p:cNvPr>
              <p:cNvSpPr/>
              <p:nvPr/>
            </p:nvSpPr>
            <p:spPr>
              <a:xfrm>
                <a:off x="6466163" y="2319937"/>
                <a:ext cx="39404" cy="43083"/>
              </a:xfrm>
              <a:custGeom>
                <a:avLst/>
                <a:gdLst>
                  <a:gd name="connsiteX0" fmla="*/ 16178 w 39404"/>
                  <a:gd name="connsiteY0" fmla="*/ 43084 h 43083"/>
                  <a:gd name="connsiteX1" fmla="*/ 16178 w 39404"/>
                  <a:gd name="connsiteY1" fmla="*/ 25220 h 43083"/>
                  <a:gd name="connsiteX2" fmla="*/ 0 w 39404"/>
                  <a:gd name="connsiteY2" fmla="*/ 25220 h 43083"/>
                  <a:gd name="connsiteX3" fmla="*/ 0 w 39404"/>
                  <a:gd name="connsiteY3" fmla="*/ 17689 h 43083"/>
                  <a:gd name="connsiteX4" fmla="*/ 16178 w 39404"/>
                  <a:gd name="connsiteY4" fmla="*/ 17689 h 43083"/>
                  <a:gd name="connsiteX5" fmla="*/ 16178 w 39404"/>
                  <a:gd name="connsiteY5" fmla="*/ 0 h 43083"/>
                  <a:gd name="connsiteX6" fmla="*/ 23066 w 39404"/>
                  <a:gd name="connsiteY6" fmla="*/ 0 h 43083"/>
                  <a:gd name="connsiteX7" fmla="*/ 23066 w 39404"/>
                  <a:gd name="connsiteY7" fmla="*/ 17689 h 43083"/>
                  <a:gd name="connsiteX8" fmla="*/ 39405 w 39404"/>
                  <a:gd name="connsiteY8" fmla="*/ 17689 h 43083"/>
                  <a:gd name="connsiteX9" fmla="*/ 39405 w 39404"/>
                  <a:gd name="connsiteY9" fmla="*/ 25220 h 43083"/>
                  <a:gd name="connsiteX10" fmla="*/ 23066 w 39404"/>
                  <a:gd name="connsiteY10" fmla="*/ 25220 h 43083"/>
                  <a:gd name="connsiteX11" fmla="*/ 23066 w 39404"/>
                  <a:gd name="connsiteY11" fmla="*/ 43084 h 43083"/>
                  <a:gd name="connsiteX12" fmla="*/ 16178 w 39404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083">
                    <a:moveTo>
                      <a:pt x="16178" y="43084"/>
                    </a:moveTo>
                    <a:lnTo>
                      <a:pt x="16178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8" y="17689"/>
                    </a:lnTo>
                    <a:lnTo>
                      <a:pt x="16178" y="0"/>
                    </a:lnTo>
                    <a:lnTo>
                      <a:pt x="23066" y="0"/>
                    </a:lnTo>
                    <a:lnTo>
                      <a:pt x="23066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066" y="25220"/>
                    </a:lnTo>
                    <a:lnTo>
                      <a:pt x="23066" y="43084"/>
                    </a:lnTo>
                    <a:lnTo>
                      <a:pt x="16178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9" name="Freihandform: Form 178">
                <a:extLst>
                  <a:ext uri="{FF2B5EF4-FFF2-40B4-BE49-F238E27FC236}">
                    <a16:creationId xmlns:a16="http://schemas.microsoft.com/office/drawing/2014/main" id="{B2942CB9-EDEB-29FD-0D52-602F6602E568}"/>
                  </a:ext>
                </a:extLst>
              </p:cNvPr>
              <p:cNvSpPr/>
              <p:nvPr/>
            </p:nvSpPr>
            <p:spPr>
              <a:xfrm>
                <a:off x="6486986" y="2319937"/>
                <a:ext cx="39404" cy="43083"/>
              </a:xfrm>
              <a:custGeom>
                <a:avLst/>
                <a:gdLst>
                  <a:gd name="connsiteX0" fmla="*/ 16179 w 39404"/>
                  <a:gd name="connsiteY0" fmla="*/ 43084 h 43083"/>
                  <a:gd name="connsiteX1" fmla="*/ 16179 w 39404"/>
                  <a:gd name="connsiteY1" fmla="*/ 25220 h 43083"/>
                  <a:gd name="connsiteX2" fmla="*/ 0 w 39404"/>
                  <a:gd name="connsiteY2" fmla="*/ 25220 h 43083"/>
                  <a:gd name="connsiteX3" fmla="*/ 0 w 39404"/>
                  <a:gd name="connsiteY3" fmla="*/ 17689 h 43083"/>
                  <a:gd name="connsiteX4" fmla="*/ 16179 w 39404"/>
                  <a:gd name="connsiteY4" fmla="*/ 17689 h 43083"/>
                  <a:gd name="connsiteX5" fmla="*/ 16179 w 39404"/>
                  <a:gd name="connsiteY5" fmla="*/ 0 h 43083"/>
                  <a:gd name="connsiteX6" fmla="*/ 23227 w 39404"/>
                  <a:gd name="connsiteY6" fmla="*/ 0 h 43083"/>
                  <a:gd name="connsiteX7" fmla="*/ 23227 w 39404"/>
                  <a:gd name="connsiteY7" fmla="*/ 17689 h 43083"/>
                  <a:gd name="connsiteX8" fmla="*/ 39405 w 39404"/>
                  <a:gd name="connsiteY8" fmla="*/ 17689 h 43083"/>
                  <a:gd name="connsiteX9" fmla="*/ 39405 w 39404"/>
                  <a:gd name="connsiteY9" fmla="*/ 25220 h 43083"/>
                  <a:gd name="connsiteX10" fmla="*/ 23227 w 39404"/>
                  <a:gd name="connsiteY10" fmla="*/ 25220 h 43083"/>
                  <a:gd name="connsiteX11" fmla="*/ 23227 w 39404"/>
                  <a:gd name="connsiteY11" fmla="*/ 43084 h 43083"/>
                  <a:gd name="connsiteX12" fmla="*/ 16179 w 39404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083">
                    <a:moveTo>
                      <a:pt x="16179" y="43084"/>
                    </a:moveTo>
                    <a:lnTo>
                      <a:pt x="1617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9" y="17689"/>
                    </a:lnTo>
                    <a:lnTo>
                      <a:pt x="1617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17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0" name="Freihandform: Form 179">
                <a:extLst>
                  <a:ext uri="{FF2B5EF4-FFF2-40B4-BE49-F238E27FC236}">
                    <a16:creationId xmlns:a16="http://schemas.microsoft.com/office/drawing/2014/main" id="{4BB01147-102D-7CDC-2AF9-2BE57BEAB71E}"/>
                  </a:ext>
                </a:extLst>
              </p:cNvPr>
              <p:cNvSpPr/>
              <p:nvPr/>
            </p:nvSpPr>
            <p:spPr>
              <a:xfrm>
                <a:off x="6495957" y="2319937"/>
                <a:ext cx="39404" cy="43083"/>
              </a:xfrm>
              <a:custGeom>
                <a:avLst/>
                <a:gdLst>
                  <a:gd name="connsiteX0" fmla="*/ 16179 w 39404"/>
                  <a:gd name="connsiteY0" fmla="*/ 43084 h 43083"/>
                  <a:gd name="connsiteX1" fmla="*/ 16179 w 39404"/>
                  <a:gd name="connsiteY1" fmla="*/ 25220 h 43083"/>
                  <a:gd name="connsiteX2" fmla="*/ 0 w 39404"/>
                  <a:gd name="connsiteY2" fmla="*/ 25220 h 43083"/>
                  <a:gd name="connsiteX3" fmla="*/ 0 w 39404"/>
                  <a:gd name="connsiteY3" fmla="*/ 17689 h 43083"/>
                  <a:gd name="connsiteX4" fmla="*/ 16179 w 39404"/>
                  <a:gd name="connsiteY4" fmla="*/ 17689 h 43083"/>
                  <a:gd name="connsiteX5" fmla="*/ 16179 w 39404"/>
                  <a:gd name="connsiteY5" fmla="*/ 0 h 43083"/>
                  <a:gd name="connsiteX6" fmla="*/ 23066 w 39404"/>
                  <a:gd name="connsiteY6" fmla="*/ 0 h 43083"/>
                  <a:gd name="connsiteX7" fmla="*/ 23066 w 39404"/>
                  <a:gd name="connsiteY7" fmla="*/ 17689 h 43083"/>
                  <a:gd name="connsiteX8" fmla="*/ 39405 w 39404"/>
                  <a:gd name="connsiteY8" fmla="*/ 17689 h 43083"/>
                  <a:gd name="connsiteX9" fmla="*/ 39405 w 39404"/>
                  <a:gd name="connsiteY9" fmla="*/ 25220 h 43083"/>
                  <a:gd name="connsiteX10" fmla="*/ 23066 w 39404"/>
                  <a:gd name="connsiteY10" fmla="*/ 25220 h 43083"/>
                  <a:gd name="connsiteX11" fmla="*/ 23066 w 39404"/>
                  <a:gd name="connsiteY11" fmla="*/ 43084 h 43083"/>
                  <a:gd name="connsiteX12" fmla="*/ 16179 w 39404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083">
                    <a:moveTo>
                      <a:pt x="16179" y="43084"/>
                    </a:moveTo>
                    <a:lnTo>
                      <a:pt x="1617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9" y="17689"/>
                    </a:lnTo>
                    <a:lnTo>
                      <a:pt x="16179" y="0"/>
                    </a:lnTo>
                    <a:lnTo>
                      <a:pt x="23066" y="0"/>
                    </a:lnTo>
                    <a:lnTo>
                      <a:pt x="23066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066" y="25220"/>
                    </a:lnTo>
                    <a:lnTo>
                      <a:pt x="23066" y="43084"/>
                    </a:lnTo>
                    <a:lnTo>
                      <a:pt x="1617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1" name="Freihandform: Form 180">
                <a:extLst>
                  <a:ext uri="{FF2B5EF4-FFF2-40B4-BE49-F238E27FC236}">
                    <a16:creationId xmlns:a16="http://schemas.microsoft.com/office/drawing/2014/main" id="{EA8AE97A-56D6-B01F-C04E-23B7F0EB4F91}"/>
                  </a:ext>
                </a:extLst>
              </p:cNvPr>
              <p:cNvSpPr/>
              <p:nvPr/>
            </p:nvSpPr>
            <p:spPr>
              <a:xfrm>
                <a:off x="6501883" y="2319937"/>
                <a:ext cx="39405" cy="43083"/>
              </a:xfrm>
              <a:custGeom>
                <a:avLst/>
                <a:gdLst>
                  <a:gd name="connsiteX0" fmla="*/ 16179 w 39405"/>
                  <a:gd name="connsiteY0" fmla="*/ 43084 h 43083"/>
                  <a:gd name="connsiteX1" fmla="*/ 16179 w 39405"/>
                  <a:gd name="connsiteY1" fmla="*/ 25220 h 43083"/>
                  <a:gd name="connsiteX2" fmla="*/ 0 w 39405"/>
                  <a:gd name="connsiteY2" fmla="*/ 25220 h 43083"/>
                  <a:gd name="connsiteX3" fmla="*/ 0 w 39405"/>
                  <a:gd name="connsiteY3" fmla="*/ 17689 h 43083"/>
                  <a:gd name="connsiteX4" fmla="*/ 16179 w 39405"/>
                  <a:gd name="connsiteY4" fmla="*/ 17689 h 43083"/>
                  <a:gd name="connsiteX5" fmla="*/ 16179 w 39405"/>
                  <a:gd name="connsiteY5" fmla="*/ 0 h 43083"/>
                  <a:gd name="connsiteX6" fmla="*/ 23227 w 39405"/>
                  <a:gd name="connsiteY6" fmla="*/ 0 h 43083"/>
                  <a:gd name="connsiteX7" fmla="*/ 23227 w 39405"/>
                  <a:gd name="connsiteY7" fmla="*/ 17689 h 43083"/>
                  <a:gd name="connsiteX8" fmla="*/ 39405 w 39405"/>
                  <a:gd name="connsiteY8" fmla="*/ 17689 h 43083"/>
                  <a:gd name="connsiteX9" fmla="*/ 39405 w 39405"/>
                  <a:gd name="connsiteY9" fmla="*/ 25220 h 43083"/>
                  <a:gd name="connsiteX10" fmla="*/ 23227 w 39405"/>
                  <a:gd name="connsiteY10" fmla="*/ 25220 h 43083"/>
                  <a:gd name="connsiteX11" fmla="*/ 23227 w 39405"/>
                  <a:gd name="connsiteY11" fmla="*/ 43084 h 43083"/>
                  <a:gd name="connsiteX12" fmla="*/ 16179 w 3940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5" h="43083">
                    <a:moveTo>
                      <a:pt x="16179" y="43084"/>
                    </a:moveTo>
                    <a:lnTo>
                      <a:pt x="1617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9" y="17689"/>
                    </a:lnTo>
                    <a:lnTo>
                      <a:pt x="1617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17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2" name="Freihandform: Form 181">
                <a:extLst>
                  <a:ext uri="{FF2B5EF4-FFF2-40B4-BE49-F238E27FC236}">
                    <a16:creationId xmlns:a16="http://schemas.microsoft.com/office/drawing/2014/main" id="{568A91B4-E79F-6567-0293-CE5A1303DDC2}"/>
                  </a:ext>
                </a:extLst>
              </p:cNvPr>
              <p:cNvSpPr/>
              <p:nvPr/>
            </p:nvSpPr>
            <p:spPr>
              <a:xfrm>
                <a:off x="6507810" y="2319937"/>
                <a:ext cx="39405" cy="43083"/>
              </a:xfrm>
              <a:custGeom>
                <a:avLst/>
                <a:gdLst>
                  <a:gd name="connsiteX0" fmla="*/ 16339 w 39405"/>
                  <a:gd name="connsiteY0" fmla="*/ 43084 h 43083"/>
                  <a:gd name="connsiteX1" fmla="*/ 16339 w 39405"/>
                  <a:gd name="connsiteY1" fmla="*/ 25220 h 43083"/>
                  <a:gd name="connsiteX2" fmla="*/ 0 w 39405"/>
                  <a:gd name="connsiteY2" fmla="*/ 25220 h 43083"/>
                  <a:gd name="connsiteX3" fmla="*/ 0 w 39405"/>
                  <a:gd name="connsiteY3" fmla="*/ 17689 h 43083"/>
                  <a:gd name="connsiteX4" fmla="*/ 16339 w 39405"/>
                  <a:gd name="connsiteY4" fmla="*/ 17689 h 43083"/>
                  <a:gd name="connsiteX5" fmla="*/ 16339 w 39405"/>
                  <a:gd name="connsiteY5" fmla="*/ 0 h 43083"/>
                  <a:gd name="connsiteX6" fmla="*/ 23227 w 39405"/>
                  <a:gd name="connsiteY6" fmla="*/ 0 h 43083"/>
                  <a:gd name="connsiteX7" fmla="*/ 23227 w 39405"/>
                  <a:gd name="connsiteY7" fmla="*/ 17689 h 43083"/>
                  <a:gd name="connsiteX8" fmla="*/ 39405 w 39405"/>
                  <a:gd name="connsiteY8" fmla="*/ 17689 h 43083"/>
                  <a:gd name="connsiteX9" fmla="*/ 39405 w 39405"/>
                  <a:gd name="connsiteY9" fmla="*/ 25220 h 43083"/>
                  <a:gd name="connsiteX10" fmla="*/ 23227 w 39405"/>
                  <a:gd name="connsiteY10" fmla="*/ 25220 h 43083"/>
                  <a:gd name="connsiteX11" fmla="*/ 23227 w 39405"/>
                  <a:gd name="connsiteY11" fmla="*/ 43084 h 43083"/>
                  <a:gd name="connsiteX12" fmla="*/ 16339 w 3940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5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3" name="Freihandform: Form 182">
                <a:extLst>
                  <a:ext uri="{FF2B5EF4-FFF2-40B4-BE49-F238E27FC236}">
                    <a16:creationId xmlns:a16="http://schemas.microsoft.com/office/drawing/2014/main" id="{E4EDF63F-58D8-A16B-3345-4056A6B0478C}"/>
                  </a:ext>
                </a:extLst>
              </p:cNvPr>
              <p:cNvSpPr/>
              <p:nvPr/>
            </p:nvSpPr>
            <p:spPr>
              <a:xfrm>
                <a:off x="6510853" y="2319937"/>
                <a:ext cx="39405" cy="43083"/>
              </a:xfrm>
              <a:custGeom>
                <a:avLst/>
                <a:gdLst>
                  <a:gd name="connsiteX0" fmla="*/ 16179 w 39405"/>
                  <a:gd name="connsiteY0" fmla="*/ 43084 h 43083"/>
                  <a:gd name="connsiteX1" fmla="*/ 16179 w 39405"/>
                  <a:gd name="connsiteY1" fmla="*/ 25220 h 43083"/>
                  <a:gd name="connsiteX2" fmla="*/ 0 w 39405"/>
                  <a:gd name="connsiteY2" fmla="*/ 25220 h 43083"/>
                  <a:gd name="connsiteX3" fmla="*/ 0 w 39405"/>
                  <a:gd name="connsiteY3" fmla="*/ 17689 h 43083"/>
                  <a:gd name="connsiteX4" fmla="*/ 16179 w 39405"/>
                  <a:gd name="connsiteY4" fmla="*/ 17689 h 43083"/>
                  <a:gd name="connsiteX5" fmla="*/ 16179 w 39405"/>
                  <a:gd name="connsiteY5" fmla="*/ 0 h 43083"/>
                  <a:gd name="connsiteX6" fmla="*/ 23066 w 39405"/>
                  <a:gd name="connsiteY6" fmla="*/ 0 h 43083"/>
                  <a:gd name="connsiteX7" fmla="*/ 23066 w 39405"/>
                  <a:gd name="connsiteY7" fmla="*/ 17689 h 43083"/>
                  <a:gd name="connsiteX8" fmla="*/ 39405 w 39405"/>
                  <a:gd name="connsiteY8" fmla="*/ 17689 h 43083"/>
                  <a:gd name="connsiteX9" fmla="*/ 39405 w 39405"/>
                  <a:gd name="connsiteY9" fmla="*/ 25220 h 43083"/>
                  <a:gd name="connsiteX10" fmla="*/ 23066 w 39405"/>
                  <a:gd name="connsiteY10" fmla="*/ 25220 h 43083"/>
                  <a:gd name="connsiteX11" fmla="*/ 23066 w 39405"/>
                  <a:gd name="connsiteY11" fmla="*/ 43084 h 43083"/>
                  <a:gd name="connsiteX12" fmla="*/ 16179 w 3940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5" h="43083">
                    <a:moveTo>
                      <a:pt x="16179" y="43084"/>
                    </a:moveTo>
                    <a:lnTo>
                      <a:pt x="1617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9" y="17689"/>
                    </a:lnTo>
                    <a:lnTo>
                      <a:pt x="16179" y="0"/>
                    </a:lnTo>
                    <a:lnTo>
                      <a:pt x="23066" y="0"/>
                    </a:lnTo>
                    <a:lnTo>
                      <a:pt x="23066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066" y="25220"/>
                    </a:lnTo>
                    <a:lnTo>
                      <a:pt x="23066" y="43084"/>
                    </a:lnTo>
                    <a:lnTo>
                      <a:pt x="1617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4" name="Freihandform: Form 183">
                <a:extLst>
                  <a:ext uri="{FF2B5EF4-FFF2-40B4-BE49-F238E27FC236}">
                    <a16:creationId xmlns:a16="http://schemas.microsoft.com/office/drawing/2014/main" id="{1BFFCCD1-CB67-7D6F-CBEF-CBA602501469}"/>
                  </a:ext>
                </a:extLst>
              </p:cNvPr>
              <p:cNvSpPr/>
              <p:nvPr/>
            </p:nvSpPr>
            <p:spPr>
              <a:xfrm>
                <a:off x="6513737" y="2319937"/>
                <a:ext cx="39404" cy="43083"/>
              </a:xfrm>
              <a:custGeom>
                <a:avLst/>
                <a:gdLst>
                  <a:gd name="connsiteX0" fmla="*/ 16339 w 39404"/>
                  <a:gd name="connsiteY0" fmla="*/ 43084 h 43083"/>
                  <a:gd name="connsiteX1" fmla="*/ 16339 w 39404"/>
                  <a:gd name="connsiteY1" fmla="*/ 25220 h 43083"/>
                  <a:gd name="connsiteX2" fmla="*/ 0 w 39404"/>
                  <a:gd name="connsiteY2" fmla="*/ 25220 h 43083"/>
                  <a:gd name="connsiteX3" fmla="*/ 0 w 39404"/>
                  <a:gd name="connsiteY3" fmla="*/ 17689 h 43083"/>
                  <a:gd name="connsiteX4" fmla="*/ 16339 w 39404"/>
                  <a:gd name="connsiteY4" fmla="*/ 17689 h 43083"/>
                  <a:gd name="connsiteX5" fmla="*/ 16339 w 39404"/>
                  <a:gd name="connsiteY5" fmla="*/ 0 h 43083"/>
                  <a:gd name="connsiteX6" fmla="*/ 23226 w 39404"/>
                  <a:gd name="connsiteY6" fmla="*/ 0 h 43083"/>
                  <a:gd name="connsiteX7" fmla="*/ 23226 w 39404"/>
                  <a:gd name="connsiteY7" fmla="*/ 17689 h 43083"/>
                  <a:gd name="connsiteX8" fmla="*/ 39405 w 39404"/>
                  <a:gd name="connsiteY8" fmla="*/ 17689 h 43083"/>
                  <a:gd name="connsiteX9" fmla="*/ 39405 w 39404"/>
                  <a:gd name="connsiteY9" fmla="*/ 25220 h 43083"/>
                  <a:gd name="connsiteX10" fmla="*/ 23226 w 39404"/>
                  <a:gd name="connsiteY10" fmla="*/ 25220 h 43083"/>
                  <a:gd name="connsiteX11" fmla="*/ 23226 w 39404"/>
                  <a:gd name="connsiteY11" fmla="*/ 43084 h 43083"/>
                  <a:gd name="connsiteX12" fmla="*/ 16339 w 39404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6" y="0"/>
                    </a:lnTo>
                    <a:lnTo>
                      <a:pt x="23226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226" y="25220"/>
                    </a:lnTo>
                    <a:lnTo>
                      <a:pt x="23226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5" name="Freihandform: Form 184">
                <a:extLst>
                  <a:ext uri="{FF2B5EF4-FFF2-40B4-BE49-F238E27FC236}">
                    <a16:creationId xmlns:a16="http://schemas.microsoft.com/office/drawing/2014/main" id="{85EB229B-9FDD-A992-8FFC-323625671538}"/>
                  </a:ext>
                </a:extLst>
              </p:cNvPr>
              <p:cNvSpPr/>
              <p:nvPr/>
            </p:nvSpPr>
            <p:spPr>
              <a:xfrm>
                <a:off x="6516781" y="2319937"/>
                <a:ext cx="39404" cy="43083"/>
              </a:xfrm>
              <a:custGeom>
                <a:avLst/>
                <a:gdLst>
                  <a:gd name="connsiteX0" fmla="*/ 16339 w 39404"/>
                  <a:gd name="connsiteY0" fmla="*/ 43084 h 43083"/>
                  <a:gd name="connsiteX1" fmla="*/ 16339 w 39404"/>
                  <a:gd name="connsiteY1" fmla="*/ 25220 h 43083"/>
                  <a:gd name="connsiteX2" fmla="*/ 0 w 39404"/>
                  <a:gd name="connsiteY2" fmla="*/ 25220 h 43083"/>
                  <a:gd name="connsiteX3" fmla="*/ 0 w 39404"/>
                  <a:gd name="connsiteY3" fmla="*/ 17689 h 43083"/>
                  <a:gd name="connsiteX4" fmla="*/ 16339 w 39404"/>
                  <a:gd name="connsiteY4" fmla="*/ 17689 h 43083"/>
                  <a:gd name="connsiteX5" fmla="*/ 16339 w 39404"/>
                  <a:gd name="connsiteY5" fmla="*/ 0 h 43083"/>
                  <a:gd name="connsiteX6" fmla="*/ 23226 w 39404"/>
                  <a:gd name="connsiteY6" fmla="*/ 0 h 43083"/>
                  <a:gd name="connsiteX7" fmla="*/ 23226 w 39404"/>
                  <a:gd name="connsiteY7" fmla="*/ 17689 h 43083"/>
                  <a:gd name="connsiteX8" fmla="*/ 39405 w 39404"/>
                  <a:gd name="connsiteY8" fmla="*/ 17689 h 43083"/>
                  <a:gd name="connsiteX9" fmla="*/ 39405 w 39404"/>
                  <a:gd name="connsiteY9" fmla="*/ 25220 h 43083"/>
                  <a:gd name="connsiteX10" fmla="*/ 23226 w 39404"/>
                  <a:gd name="connsiteY10" fmla="*/ 25220 h 43083"/>
                  <a:gd name="connsiteX11" fmla="*/ 23226 w 39404"/>
                  <a:gd name="connsiteY11" fmla="*/ 43084 h 43083"/>
                  <a:gd name="connsiteX12" fmla="*/ 16339 w 39404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6" y="0"/>
                    </a:lnTo>
                    <a:lnTo>
                      <a:pt x="23226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226" y="25220"/>
                    </a:lnTo>
                    <a:lnTo>
                      <a:pt x="23226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6" name="Freihandform: Form 185">
                <a:extLst>
                  <a:ext uri="{FF2B5EF4-FFF2-40B4-BE49-F238E27FC236}">
                    <a16:creationId xmlns:a16="http://schemas.microsoft.com/office/drawing/2014/main" id="{9510D104-CD0A-F75D-FBBB-170BF29E6124}"/>
                  </a:ext>
                </a:extLst>
              </p:cNvPr>
              <p:cNvSpPr/>
              <p:nvPr/>
            </p:nvSpPr>
            <p:spPr>
              <a:xfrm>
                <a:off x="6528634" y="2319937"/>
                <a:ext cx="39565" cy="43083"/>
              </a:xfrm>
              <a:custGeom>
                <a:avLst/>
                <a:gdLst>
                  <a:gd name="connsiteX0" fmla="*/ 16339 w 39565"/>
                  <a:gd name="connsiteY0" fmla="*/ 43084 h 43083"/>
                  <a:gd name="connsiteX1" fmla="*/ 16339 w 39565"/>
                  <a:gd name="connsiteY1" fmla="*/ 25220 h 43083"/>
                  <a:gd name="connsiteX2" fmla="*/ 0 w 39565"/>
                  <a:gd name="connsiteY2" fmla="*/ 25220 h 43083"/>
                  <a:gd name="connsiteX3" fmla="*/ 0 w 39565"/>
                  <a:gd name="connsiteY3" fmla="*/ 17689 h 43083"/>
                  <a:gd name="connsiteX4" fmla="*/ 16339 w 39565"/>
                  <a:gd name="connsiteY4" fmla="*/ 17689 h 43083"/>
                  <a:gd name="connsiteX5" fmla="*/ 16339 w 39565"/>
                  <a:gd name="connsiteY5" fmla="*/ 0 h 43083"/>
                  <a:gd name="connsiteX6" fmla="*/ 23226 w 39565"/>
                  <a:gd name="connsiteY6" fmla="*/ 0 h 43083"/>
                  <a:gd name="connsiteX7" fmla="*/ 23226 w 39565"/>
                  <a:gd name="connsiteY7" fmla="*/ 17689 h 43083"/>
                  <a:gd name="connsiteX8" fmla="*/ 39565 w 39565"/>
                  <a:gd name="connsiteY8" fmla="*/ 17689 h 43083"/>
                  <a:gd name="connsiteX9" fmla="*/ 39565 w 39565"/>
                  <a:gd name="connsiteY9" fmla="*/ 25220 h 43083"/>
                  <a:gd name="connsiteX10" fmla="*/ 23226 w 39565"/>
                  <a:gd name="connsiteY10" fmla="*/ 25220 h 43083"/>
                  <a:gd name="connsiteX11" fmla="*/ 23226 w 39565"/>
                  <a:gd name="connsiteY11" fmla="*/ 43084 h 43083"/>
                  <a:gd name="connsiteX12" fmla="*/ 16339 w 3956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565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6" y="0"/>
                    </a:lnTo>
                    <a:lnTo>
                      <a:pt x="23226" y="17689"/>
                    </a:lnTo>
                    <a:lnTo>
                      <a:pt x="39565" y="17689"/>
                    </a:lnTo>
                    <a:lnTo>
                      <a:pt x="39565" y="25220"/>
                    </a:lnTo>
                    <a:lnTo>
                      <a:pt x="23226" y="25220"/>
                    </a:lnTo>
                    <a:lnTo>
                      <a:pt x="23226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7" name="Freihandform: Form 186">
                <a:extLst>
                  <a:ext uri="{FF2B5EF4-FFF2-40B4-BE49-F238E27FC236}">
                    <a16:creationId xmlns:a16="http://schemas.microsoft.com/office/drawing/2014/main" id="{A14C145B-EA78-FEC3-12BF-9131CD4E8CE3}"/>
                  </a:ext>
                </a:extLst>
              </p:cNvPr>
              <p:cNvSpPr/>
              <p:nvPr/>
            </p:nvSpPr>
            <p:spPr>
              <a:xfrm>
                <a:off x="6534561" y="2319937"/>
                <a:ext cx="39565" cy="43083"/>
              </a:xfrm>
              <a:custGeom>
                <a:avLst/>
                <a:gdLst>
                  <a:gd name="connsiteX0" fmla="*/ 16339 w 39565"/>
                  <a:gd name="connsiteY0" fmla="*/ 43084 h 43083"/>
                  <a:gd name="connsiteX1" fmla="*/ 16339 w 39565"/>
                  <a:gd name="connsiteY1" fmla="*/ 25220 h 43083"/>
                  <a:gd name="connsiteX2" fmla="*/ 0 w 39565"/>
                  <a:gd name="connsiteY2" fmla="*/ 25220 h 43083"/>
                  <a:gd name="connsiteX3" fmla="*/ 0 w 39565"/>
                  <a:gd name="connsiteY3" fmla="*/ 17689 h 43083"/>
                  <a:gd name="connsiteX4" fmla="*/ 16339 w 39565"/>
                  <a:gd name="connsiteY4" fmla="*/ 17689 h 43083"/>
                  <a:gd name="connsiteX5" fmla="*/ 16339 w 39565"/>
                  <a:gd name="connsiteY5" fmla="*/ 0 h 43083"/>
                  <a:gd name="connsiteX6" fmla="*/ 23227 w 39565"/>
                  <a:gd name="connsiteY6" fmla="*/ 0 h 43083"/>
                  <a:gd name="connsiteX7" fmla="*/ 23227 w 39565"/>
                  <a:gd name="connsiteY7" fmla="*/ 17689 h 43083"/>
                  <a:gd name="connsiteX8" fmla="*/ 39565 w 39565"/>
                  <a:gd name="connsiteY8" fmla="*/ 17689 h 43083"/>
                  <a:gd name="connsiteX9" fmla="*/ 39565 w 39565"/>
                  <a:gd name="connsiteY9" fmla="*/ 25220 h 43083"/>
                  <a:gd name="connsiteX10" fmla="*/ 23227 w 39565"/>
                  <a:gd name="connsiteY10" fmla="*/ 25220 h 43083"/>
                  <a:gd name="connsiteX11" fmla="*/ 23227 w 39565"/>
                  <a:gd name="connsiteY11" fmla="*/ 43084 h 43083"/>
                  <a:gd name="connsiteX12" fmla="*/ 16339 w 3956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565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565" y="17689"/>
                    </a:lnTo>
                    <a:lnTo>
                      <a:pt x="3956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8" name="Freihandform: Form 187">
                <a:extLst>
                  <a:ext uri="{FF2B5EF4-FFF2-40B4-BE49-F238E27FC236}">
                    <a16:creationId xmlns:a16="http://schemas.microsoft.com/office/drawing/2014/main" id="{D8952B0B-6374-3D63-5563-2B22CE836A9B}"/>
                  </a:ext>
                </a:extLst>
              </p:cNvPr>
              <p:cNvSpPr/>
              <p:nvPr/>
            </p:nvSpPr>
            <p:spPr>
              <a:xfrm>
                <a:off x="6543531" y="2319937"/>
                <a:ext cx="39404" cy="43083"/>
              </a:xfrm>
              <a:custGeom>
                <a:avLst/>
                <a:gdLst>
                  <a:gd name="connsiteX0" fmla="*/ 16179 w 39404"/>
                  <a:gd name="connsiteY0" fmla="*/ 43084 h 43083"/>
                  <a:gd name="connsiteX1" fmla="*/ 16179 w 39404"/>
                  <a:gd name="connsiteY1" fmla="*/ 25220 h 43083"/>
                  <a:gd name="connsiteX2" fmla="*/ 0 w 39404"/>
                  <a:gd name="connsiteY2" fmla="*/ 25220 h 43083"/>
                  <a:gd name="connsiteX3" fmla="*/ 0 w 39404"/>
                  <a:gd name="connsiteY3" fmla="*/ 17689 h 43083"/>
                  <a:gd name="connsiteX4" fmla="*/ 16179 w 39404"/>
                  <a:gd name="connsiteY4" fmla="*/ 17689 h 43083"/>
                  <a:gd name="connsiteX5" fmla="*/ 16179 w 39404"/>
                  <a:gd name="connsiteY5" fmla="*/ 0 h 43083"/>
                  <a:gd name="connsiteX6" fmla="*/ 23227 w 39404"/>
                  <a:gd name="connsiteY6" fmla="*/ 0 h 43083"/>
                  <a:gd name="connsiteX7" fmla="*/ 23227 w 39404"/>
                  <a:gd name="connsiteY7" fmla="*/ 17689 h 43083"/>
                  <a:gd name="connsiteX8" fmla="*/ 39405 w 39404"/>
                  <a:gd name="connsiteY8" fmla="*/ 17689 h 43083"/>
                  <a:gd name="connsiteX9" fmla="*/ 39405 w 39404"/>
                  <a:gd name="connsiteY9" fmla="*/ 25220 h 43083"/>
                  <a:gd name="connsiteX10" fmla="*/ 23227 w 39404"/>
                  <a:gd name="connsiteY10" fmla="*/ 25220 h 43083"/>
                  <a:gd name="connsiteX11" fmla="*/ 23227 w 39404"/>
                  <a:gd name="connsiteY11" fmla="*/ 43084 h 43083"/>
                  <a:gd name="connsiteX12" fmla="*/ 16179 w 39404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083">
                    <a:moveTo>
                      <a:pt x="16179" y="43084"/>
                    </a:moveTo>
                    <a:lnTo>
                      <a:pt x="1617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9" y="17689"/>
                    </a:lnTo>
                    <a:lnTo>
                      <a:pt x="1617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17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9" name="Freihandform: Form 188">
                <a:extLst>
                  <a:ext uri="{FF2B5EF4-FFF2-40B4-BE49-F238E27FC236}">
                    <a16:creationId xmlns:a16="http://schemas.microsoft.com/office/drawing/2014/main" id="{DBC2DB20-1C6A-1730-9484-49C4F887D467}"/>
                  </a:ext>
                </a:extLst>
              </p:cNvPr>
              <p:cNvSpPr/>
              <p:nvPr/>
            </p:nvSpPr>
            <p:spPr>
              <a:xfrm>
                <a:off x="6546574" y="2319937"/>
                <a:ext cx="39404" cy="43083"/>
              </a:xfrm>
              <a:custGeom>
                <a:avLst/>
                <a:gdLst>
                  <a:gd name="connsiteX0" fmla="*/ 16179 w 39404"/>
                  <a:gd name="connsiteY0" fmla="*/ 43084 h 43083"/>
                  <a:gd name="connsiteX1" fmla="*/ 16179 w 39404"/>
                  <a:gd name="connsiteY1" fmla="*/ 25220 h 43083"/>
                  <a:gd name="connsiteX2" fmla="*/ 0 w 39404"/>
                  <a:gd name="connsiteY2" fmla="*/ 25220 h 43083"/>
                  <a:gd name="connsiteX3" fmla="*/ 0 w 39404"/>
                  <a:gd name="connsiteY3" fmla="*/ 17689 h 43083"/>
                  <a:gd name="connsiteX4" fmla="*/ 16179 w 39404"/>
                  <a:gd name="connsiteY4" fmla="*/ 17689 h 43083"/>
                  <a:gd name="connsiteX5" fmla="*/ 16179 w 39404"/>
                  <a:gd name="connsiteY5" fmla="*/ 0 h 43083"/>
                  <a:gd name="connsiteX6" fmla="*/ 23066 w 39404"/>
                  <a:gd name="connsiteY6" fmla="*/ 0 h 43083"/>
                  <a:gd name="connsiteX7" fmla="*/ 23066 w 39404"/>
                  <a:gd name="connsiteY7" fmla="*/ 17689 h 43083"/>
                  <a:gd name="connsiteX8" fmla="*/ 39405 w 39404"/>
                  <a:gd name="connsiteY8" fmla="*/ 17689 h 43083"/>
                  <a:gd name="connsiteX9" fmla="*/ 39405 w 39404"/>
                  <a:gd name="connsiteY9" fmla="*/ 25220 h 43083"/>
                  <a:gd name="connsiteX10" fmla="*/ 23066 w 39404"/>
                  <a:gd name="connsiteY10" fmla="*/ 25220 h 43083"/>
                  <a:gd name="connsiteX11" fmla="*/ 23066 w 39404"/>
                  <a:gd name="connsiteY11" fmla="*/ 43084 h 43083"/>
                  <a:gd name="connsiteX12" fmla="*/ 16179 w 39404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083">
                    <a:moveTo>
                      <a:pt x="16179" y="43084"/>
                    </a:moveTo>
                    <a:lnTo>
                      <a:pt x="1617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9" y="17689"/>
                    </a:lnTo>
                    <a:lnTo>
                      <a:pt x="16179" y="0"/>
                    </a:lnTo>
                    <a:lnTo>
                      <a:pt x="23066" y="0"/>
                    </a:lnTo>
                    <a:lnTo>
                      <a:pt x="23066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066" y="25220"/>
                    </a:lnTo>
                    <a:lnTo>
                      <a:pt x="23066" y="43084"/>
                    </a:lnTo>
                    <a:lnTo>
                      <a:pt x="1617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0" name="Freihandform: Form 189">
                <a:extLst>
                  <a:ext uri="{FF2B5EF4-FFF2-40B4-BE49-F238E27FC236}">
                    <a16:creationId xmlns:a16="http://schemas.microsoft.com/office/drawing/2014/main" id="{B54E313D-ACC3-3ACF-9D9D-BD4840926D83}"/>
                  </a:ext>
                </a:extLst>
              </p:cNvPr>
              <p:cNvSpPr/>
              <p:nvPr/>
            </p:nvSpPr>
            <p:spPr>
              <a:xfrm>
                <a:off x="6549458" y="2319937"/>
                <a:ext cx="39565" cy="43083"/>
              </a:xfrm>
              <a:custGeom>
                <a:avLst/>
                <a:gdLst>
                  <a:gd name="connsiteX0" fmla="*/ 16339 w 39565"/>
                  <a:gd name="connsiteY0" fmla="*/ 43084 h 43083"/>
                  <a:gd name="connsiteX1" fmla="*/ 16339 w 39565"/>
                  <a:gd name="connsiteY1" fmla="*/ 25220 h 43083"/>
                  <a:gd name="connsiteX2" fmla="*/ 0 w 39565"/>
                  <a:gd name="connsiteY2" fmla="*/ 25220 h 43083"/>
                  <a:gd name="connsiteX3" fmla="*/ 0 w 39565"/>
                  <a:gd name="connsiteY3" fmla="*/ 17689 h 43083"/>
                  <a:gd name="connsiteX4" fmla="*/ 16339 w 39565"/>
                  <a:gd name="connsiteY4" fmla="*/ 17689 h 43083"/>
                  <a:gd name="connsiteX5" fmla="*/ 16339 w 39565"/>
                  <a:gd name="connsiteY5" fmla="*/ 0 h 43083"/>
                  <a:gd name="connsiteX6" fmla="*/ 23227 w 39565"/>
                  <a:gd name="connsiteY6" fmla="*/ 0 h 43083"/>
                  <a:gd name="connsiteX7" fmla="*/ 23227 w 39565"/>
                  <a:gd name="connsiteY7" fmla="*/ 17689 h 43083"/>
                  <a:gd name="connsiteX8" fmla="*/ 39565 w 39565"/>
                  <a:gd name="connsiteY8" fmla="*/ 17689 h 43083"/>
                  <a:gd name="connsiteX9" fmla="*/ 39565 w 39565"/>
                  <a:gd name="connsiteY9" fmla="*/ 25220 h 43083"/>
                  <a:gd name="connsiteX10" fmla="*/ 23227 w 39565"/>
                  <a:gd name="connsiteY10" fmla="*/ 25220 h 43083"/>
                  <a:gd name="connsiteX11" fmla="*/ 23227 w 39565"/>
                  <a:gd name="connsiteY11" fmla="*/ 43084 h 43083"/>
                  <a:gd name="connsiteX12" fmla="*/ 16339 w 3956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565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565" y="17689"/>
                    </a:lnTo>
                    <a:lnTo>
                      <a:pt x="3956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1" name="Freihandform: Form 190">
                <a:extLst>
                  <a:ext uri="{FF2B5EF4-FFF2-40B4-BE49-F238E27FC236}">
                    <a16:creationId xmlns:a16="http://schemas.microsoft.com/office/drawing/2014/main" id="{FC5E960E-E7D7-CC03-4281-3D05E116A98B}"/>
                  </a:ext>
                </a:extLst>
              </p:cNvPr>
              <p:cNvSpPr/>
              <p:nvPr/>
            </p:nvSpPr>
            <p:spPr>
              <a:xfrm>
                <a:off x="6555545" y="2319937"/>
                <a:ext cx="39404" cy="43083"/>
              </a:xfrm>
              <a:custGeom>
                <a:avLst/>
                <a:gdLst>
                  <a:gd name="connsiteX0" fmla="*/ 16179 w 39404"/>
                  <a:gd name="connsiteY0" fmla="*/ 43084 h 43083"/>
                  <a:gd name="connsiteX1" fmla="*/ 16179 w 39404"/>
                  <a:gd name="connsiteY1" fmla="*/ 25220 h 43083"/>
                  <a:gd name="connsiteX2" fmla="*/ 0 w 39404"/>
                  <a:gd name="connsiteY2" fmla="*/ 25220 h 43083"/>
                  <a:gd name="connsiteX3" fmla="*/ 0 w 39404"/>
                  <a:gd name="connsiteY3" fmla="*/ 17689 h 43083"/>
                  <a:gd name="connsiteX4" fmla="*/ 16179 w 39404"/>
                  <a:gd name="connsiteY4" fmla="*/ 17689 h 43083"/>
                  <a:gd name="connsiteX5" fmla="*/ 16179 w 39404"/>
                  <a:gd name="connsiteY5" fmla="*/ 0 h 43083"/>
                  <a:gd name="connsiteX6" fmla="*/ 23066 w 39404"/>
                  <a:gd name="connsiteY6" fmla="*/ 0 h 43083"/>
                  <a:gd name="connsiteX7" fmla="*/ 23066 w 39404"/>
                  <a:gd name="connsiteY7" fmla="*/ 17689 h 43083"/>
                  <a:gd name="connsiteX8" fmla="*/ 39405 w 39404"/>
                  <a:gd name="connsiteY8" fmla="*/ 17689 h 43083"/>
                  <a:gd name="connsiteX9" fmla="*/ 39405 w 39404"/>
                  <a:gd name="connsiteY9" fmla="*/ 25220 h 43083"/>
                  <a:gd name="connsiteX10" fmla="*/ 23066 w 39404"/>
                  <a:gd name="connsiteY10" fmla="*/ 25220 h 43083"/>
                  <a:gd name="connsiteX11" fmla="*/ 23066 w 39404"/>
                  <a:gd name="connsiteY11" fmla="*/ 43084 h 43083"/>
                  <a:gd name="connsiteX12" fmla="*/ 16179 w 39404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083">
                    <a:moveTo>
                      <a:pt x="16179" y="43084"/>
                    </a:moveTo>
                    <a:lnTo>
                      <a:pt x="1617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9" y="17689"/>
                    </a:lnTo>
                    <a:lnTo>
                      <a:pt x="16179" y="0"/>
                    </a:lnTo>
                    <a:lnTo>
                      <a:pt x="23066" y="0"/>
                    </a:lnTo>
                    <a:lnTo>
                      <a:pt x="23066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066" y="25220"/>
                    </a:lnTo>
                    <a:lnTo>
                      <a:pt x="23066" y="43084"/>
                    </a:lnTo>
                    <a:lnTo>
                      <a:pt x="1617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2" name="Freihandform: Form 191">
                <a:extLst>
                  <a:ext uri="{FF2B5EF4-FFF2-40B4-BE49-F238E27FC236}">
                    <a16:creationId xmlns:a16="http://schemas.microsoft.com/office/drawing/2014/main" id="{212EFFF6-B46A-8433-D7C3-E087E1CAC772}"/>
                  </a:ext>
                </a:extLst>
              </p:cNvPr>
              <p:cNvSpPr/>
              <p:nvPr/>
            </p:nvSpPr>
            <p:spPr>
              <a:xfrm>
                <a:off x="6561471" y="2327818"/>
                <a:ext cx="39405" cy="43083"/>
              </a:xfrm>
              <a:custGeom>
                <a:avLst/>
                <a:gdLst>
                  <a:gd name="connsiteX0" fmla="*/ 16179 w 39405"/>
                  <a:gd name="connsiteY0" fmla="*/ 43084 h 43083"/>
                  <a:gd name="connsiteX1" fmla="*/ 16179 w 39405"/>
                  <a:gd name="connsiteY1" fmla="*/ 25220 h 43083"/>
                  <a:gd name="connsiteX2" fmla="*/ 0 w 39405"/>
                  <a:gd name="connsiteY2" fmla="*/ 25220 h 43083"/>
                  <a:gd name="connsiteX3" fmla="*/ 0 w 39405"/>
                  <a:gd name="connsiteY3" fmla="*/ 17689 h 43083"/>
                  <a:gd name="connsiteX4" fmla="*/ 16179 w 39405"/>
                  <a:gd name="connsiteY4" fmla="*/ 17689 h 43083"/>
                  <a:gd name="connsiteX5" fmla="*/ 16179 w 39405"/>
                  <a:gd name="connsiteY5" fmla="*/ 0 h 43083"/>
                  <a:gd name="connsiteX6" fmla="*/ 23066 w 39405"/>
                  <a:gd name="connsiteY6" fmla="*/ 0 h 43083"/>
                  <a:gd name="connsiteX7" fmla="*/ 23066 w 39405"/>
                  <a:gd name="connsiteY7" fmla="*/ 17689 h 43083"/>
                  <a:gd name="connsiteX8" fmla="*/ 39405 w 39405"/>
                  <a:gd name="connsiteY8" fmla="*/ 17689 h 43083"/>
                  <a:gd name="connsiteX9" fmla="*/ 39405 w 39405"/>
                  <a:gd name="connsiteY9" fmla="*/ 25220 h 43083"/>
                  <a:gd name="connsiteX10" fmla="*/ 23066 w 39405"/>
                  <a:gd name="connsiteY10" fmla="*/ 25220 h 43083"/>
                  <a:gd name="connsiteX11" fmla="*/ 23066 w 39405"/>
                  <a:gd name="connsiteY11" fmla="*/ 43084 h 43083"/>
                  <a:gd name="connsiteX12" fmla="*/ 16179 w 3940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5" h="43083">
                    <a:moveTo>
                      <a:pt x="16179" y="43084"/>
                    </a:moveTo>
                    <a:lnTo>
                      <a:pt x="1617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9" y="17689"/>
                    </a:lnTo>
                    <a:lnTo>
                      <a:pt x="16179" y="0"/>
                    </a:lnTo>
                    <a:lnTo>
                      <a:pt x="23066" y="0"/>
                    </a:lnTo>
                    <a:lnTo>
                      <a:pt x="23066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066" y="25220"/>
                    </a:lnTo>
                    <a:lnTo>
                      <a:pt x="23066" y="43084"/>
                    </a:lnTo>
                    <a:lnTo>
                      <a:pt x="1617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3" name="Freihandform: Form 192">
                <a:extLst>
                  <a:ext uri="{FF2B5EF4-FFF2-40B4-BE49-F238E27FC236}">
                    <a16:creationId xmlns:a16="http://schemas.microsoft.com/office/drawing/2014/main" id="{9511BD30-5CEB-9BF6-D00E-5373FF6E0C00}"/>
                  </a:ext>
                </a:extLst>
              </p:cNvPr>
              <p:cNvSpPr/>
              <p:nvPr/>
            </p:nvSpPr>
            <p:spPr>
              <a:xfrm>
                <a:off x="6585179" y="2327818"/>
                <a:ext cx="39565" cy="43083"/>
              </a:xfrm>
              <a:custGeom>
                <a:avLst/>
                <a:gdLst>
                  <a:gd name="connsiteX0" fmla="*/ 16339 w 39565"/>
                  <a:gd name="connsiteY0" fmla="*/ 43084 h 43083"/>
                  <a:gd name="connsiteX1" fmla="*/ 16339 w 39565"/>
                  <a:gd name="connsiteY1" fmla="*/ 25220 h 43083"/>
                  <a:gd name="connsiteX2" fmla="*/ 0 w 39565"/>
                  <a:gd name="connsiteY2" fmla="*/ 25220 h 43083"/>
                  <a:gd name="connsiteX3" fmla="*/ 0 w 39565"/>
                  <a:gd name="connsiteY3" fmla="*/ 17689 h 43083"/>
                  <a:gd name="connsiteX4" fmla="*/ 16339 w 39565"/>
                  <a:gd name="connsiteY4" fmla="*/ 17689 h 43083"/>
                  <a:gd name="connsiteX5" fmla="*/ 16339 w 39565"/>
                  <a:gd name="connsiteY5" fmla="*/ 0 h 43083"/>
                  <a:gd name="connsiteX6" fmla="*/ 23227 w 39565"/>
                  <a:gd name="connsiteY6" fmla="*/ 0 h 43083"/>
                  <a:gd name="connsiteX7" fmla="*/ 23227 w 39565"/>
                  <a:gd name="connsiteY7" fmla="*/ 17689 h 43083"/>
                  <a:gd name="connsiteX8" fmla="*/ 39565 w 39565"/>
                  <a:gd name="connsiteY8" fmla="*/ 17689 h 43083"/>
                  <a:gd name="connsiteX9" fmla="*/ 39565 w 39565"/>
                  <a:gd name="connsiteY9" fmla="*/ 25220 h 43083"/>
                  <a:gd name="connsiteX10" fmla="*/ 23227 w 39565"/>
                  <a:gd name="connsiteY10" fmla="*/ 25220 h 43083"/>
                  <a:gd name="connsiteX11" fmla="*/ 23227 w 39565"/>
                  <a:gd name="connsiteY11" fmla="*/ 43084 h 43083"/>
                  <a:gd name="connsiteX12" fmla="*/ 16339 w 3956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565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565" y="17689"/>
                    </a:lnTo>
                    <a:lnTo>
                      <a:pt x="3956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4" name="Freihandform: Form 193">
                <a:extLst>
                  <a:ext uri="{FF2B5EF4-FFF2-40B4-BE49-F238E27FC236}">
                    <a16:creationId xmlns:a16="http://schemas.microsoft.com/office/drawing/2014/main" id="{D1B4C4C3-A4BE-FB2E-7088-EADE4EA871AF}"/>
                  </a:ext>
                </a:extLst>
              </p:cNvPr>
              <p:cNvSpPr/>
              <p:nvPr/>
            </p:nvSpPr>
            <p:spPr>
              <a:xfrm>
                <a:off x="6591266" y="2327818"/>
                <a:ext cx="39404" cy="43083"/>
              </a:xfrm>
              <a:custGeom>
                <a:avLst/>
                <a:gdLst>
                  <a:gd name="connsiteX0" fmla="*/ 16178 w 39404"/>
                  <a:gd name="connsiteY0" fmla="*/ 43084 h 43083"/>
                  <a:gd name="connsiteX1" fmla="*/ 16178 w 39404"/>
                  <a:gd name="connsiteY1" fmla="*/ 25220 h 43083"/>
                  <a:gd name="connsiteX2" fmla="*/ 0 w 39404"/>
                  <a:gd name="connsiteY2" fmla="*/ 25220 h 43083"/>
                  <a:gd name="connsiteX3" fmla="*/ 0 w 39404"/>
                  <a:gd name="connsiteY3" fmla="*/ 17689 h 43083"/>
                  <a:gd name="connsiteX4" fmla="*/ 16178 w 39404"/>
                  <a:gd name="connsiteY4" fmla="*/ 17689 h 43083"/>
                  <a:gd name="connsiteX5" fmla="*/ 16178 w 39404"/>
                  <a:gd name="connsiteY5" fmla="*/ 0 h 43083"/>
                  <a:gd name="connsiteX6" fmla="*/ 23066 w 39404"/>
                  <a:gd name="connsiteY6" fmla="*/ 0 h 43083"/>
                  <a:gd name="connsiteX7" fmla="*/ 23066 w 39404"/>
                  <a:gd name="connsiteY7" fmla="*/ 17689 h 43083"/>
                  <a:gd name="connsiteX8" fmla="*/ 39405 w 39404"/>
                  <a:gd name="connsiteY8" fmla="*/ 17689 h 43083"/>
                  <a:gd name="connsiteX9" fmla="*/ 39405 w 39404"/>
                  <a:gd name="connsiteY9" fmla="*/ 25220 h 43083"/>
                  <a:gd name="connsiteX10" fmla="*/ 23066 w 39404"/>
                  <a:gd name="connsiteY10" fmla="*/ 25220 h 43083"/>
                  <a:gd name="connsiteX11" fmla="*/ 23066 w 39404"/>
                  <a:gd name="connsiteY11" fmla="*/ 43084 h 43083"/>
                  <a:gd name="connsiteX12" fmla="*/ 16178 w 39404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083">
                    <a:moveTo>
                      <a:pt x="16178" y="43084"/>
                    </a:moveTo>
                    <a:lnTo>
                      <a:pt x="16178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8" y="17689"/>
                    </a:lnTo>
                    <a:lnTo>
                      <a:pt x="16178" y="0"/>
                    </a:lnTo>
                    <a:lnTo>
                      <a:pt x="23066" y="0"/>
                    </a:lnTo>
                    <a:lnTo>
                      <a:pt x="23066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066" y="25220"/>
                    </a:lnTo>
                    <a:lnTo>
                      <a:pt x="23066" y="43084"/>
                    </a:lnTo>
                    <a:lnTo>
                      <a:pt x="16178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5" name="Freihandform: Form 194">
                <a:extLst>
                  <a:ext uri="{FF2B5EF4-FFF2-40B4-BE49-F238E27FC236}">
                    <a16:creationId xmlns:a16="http://schemas.microsoft.com/office/drawing/2014/main" id="{140F7494-8DAC-2379-1501-1520BE8AF919}"/>
                  </a:ext>
                </a:extLst>
              </p:cNvPr>
              <p:cNvSpPr/>
              <p:nvPr/>
            </p:nvSpPr>
            <p:spPr>
              <a:xfrm>
                <a:off x="6603119" y="2327818"/>
                <a:ext cx="39565" cy="43083"/>
              </a:xfrm>
              <a:custGeom>
                <a:avLst/>
                <a:gdLst>
                  <a:gd name="connsiteX0" fmla="*/ 16339 w 39565"/>
                  <a:gd name="connsiteY0" fmla="*/ 43084 h 43083"/>
                  <a:gd name="connsiteX1" fmla="*/ 16339 w 39565"/>
                  <a:gd name="connsiteY1" fmla="*/ 25220 h 43083"/>
                  <a:gd name="connsiteX2" fmla="*/ 0 w 39565"/>
                  <a:gd name="connsiteY2" fmla="*/ 25220 h 43083"/>
                  <a:gd name="connsiteX3" fmla="*/ 0 w 39565"/>
                  <a:gd name="connsiteY3" fmla="*/ 17689 h 43083"/>
                  <a:gd name="connsiteX4" fmla="*/ 16339 w 39565"/>
                  <a:gd name="connsiteY4" fmla="*/ 17689 h 43083"/>
                  <a:gd name="connsiteX5" fmla="*/ 16339 w 39565"/>
                  <a:gd name="connsiteY5" fmla="*/ 0 h 43083"/>
                  <a:gd name="connsiteX6" fmla="*/ 23227 w 39565"/>
                  <a:gd name="connsiteY6" fmla="*/ 0 h 43083"/>
                  <a:gd name="connsiteX7" fmla="*/ 23227 w 39565"/>
                  <a:gd name="connsiteY7" fmla="*/ 17689 h 43083"/>
                  <a:gd name="connsiteX8" fmla="*/ 39565 w 39565"/>
                  <a:gd name="connsiteY8" fmla="*/ 17689 h 43083"/>
                  <a:gd name="connsiteX9" fmla="*/ 39565 w 39565"/>
                  <a:gd name="connsiteY9" fmla="*/ 25220 h 43083"/>
                  <a:gd name="connsiteX10" fmla="*/ 23227 w 39565"/>
                  <a:gd name="connsiteY10" fmla="*/ 25220 h 43083"/>
                  <a:gd name="connsiteX11" fmla="*/ 23227 w 39565"/>
                  <a:gd name="connsiteY11" fmla="*/ 43084 h 43083"/>
                  <a:gd name="connsiteX12" fmla="*/ 16339 w 3956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565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565" y="17689"/>
                    </a:lnTo>
                    <a:lnTo>
                      <a:pt x="3956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6" name="Freihandform: Form 195">
                <a:extLst>
                  <a:ext uri="{FF2B5EF4-FFF2-40B4-BE49-F238E27FC236}">
                    <a16:creationId xmlns:a16="http://schemas.microsoft.com/office/drawing/2014/main" id="{0955FB35-9F80-1083-F1A1-6062773633FF}"/>
                  </a:ext>
                </a:extLst>
              </p:cNvPr>
              <p:cNvSpPr/>
              <p:nvPr/>
            </p:nvSpPr>
            <p:spPr>
              <a:xfrm>
                <a:off x="6606163" y="2327818"/>
                <a:ext cx="39404" cy="43083"/>
              </a:xfrm>
              <a:custGeom>
                <a:avLst/>
                <a:gdLst>
                  <a:gd name="connsiteX0" fmla="*/ 16179 w 39404"/>
                  <a:gd name="connsiteY0" fmla="*/ 43084 h 43083"/>
                  <a:gd name="connsiteX1" fmla="*/ 16179 w 39404"/>
                  <a:gd name="connsiteY1" fmla="*/ 25220 h 43083"/>
                  <a:gd name="connsiteX2" fmla="*/ 0 w 39404"/>
                  <a:gd name="connsiteY2" fmla="*/ 25220 h 43083"/>
                  <a:gd name="connsiteX3" fmla="*/ 0 w 39404"/>
                  <a:gd name="connsiteY3" fmla="*/ 17689 h 43083"/>
                  <a:gd name="connsiteX4" fmla="*/ 16179 w 39404"/>
                  <a:gd name="connsiteY4" fmla="*/ 17689 h 43083"/>
                  <a:gd name="connsiteX5" fmla="*/ 16179 w 39404"/>
                  <a:gd name="connsiteY5" fmla="*/ 0 h 43083"/>
                  <a:gd name="connsiteX6" fmla="*/ 23227 w 39404"/>
                  <a:gd name="connsiteY6" fmla="*/ 0 h 43083"/>
                  <a:gd name="connsiteX7" fmla="*/ 23227 w 39404"/>
                  <a:gd name="connsiteY7" fmla="*/ 17689 h 43083"/>
                  <a:gd name="connsiteX8" fmla="*/ 39405 w 39404"/>
                  <a:gd name="connsiteY8" fmla="*/ 17689 h 43083"/>
                  <a:gd name="connsiteX9" fmla="*/ 39405 w 39404"/>
                  <a:gd name="connsiteY9" fmla="*/ 25220 h 43083"/>
                  <a:gd name="connsiteX10" fmla="*/ 23227 w 39404"/>
                  <a:gd name="connsiteY10" fmla="*/ 25220 h 43083"/>
                  <a:gd name="connsiteX11" fmla="*/ 23227 w 39404"/>
                  <a:gd name="connsiteY11" fmla="*/ 43084 h 43083"/>
                  <a:gd name="connsiteX12" fmla="*/ 16179 w 39404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083">
                    <a:moveTo>
                      <a:pt x="16179" y="43084"/>
                    </a:moveTo>
                    <a:lnTo>
                      <a:pt x="1617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9" y="17689"/>
                    </a:lnTo>
                    <a:lnTo>
                      <a:pt x="1617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17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7" name="Freihandform: Form 196">
                <a:extLst>
                  <a:ext uri="{FF2B5EF4-FFF2-40B4-BE49-F238E27FC236}">
                    <a16:creationId xmlns:a16="http://schemas.microsoft.com/office/drawing/2014/main" id="{D26644A9-DC09-A1CC-B689-882AC8ABCB5D}"/>
                  </a:ext>
                </a:extLst>
              </p:cNvPr>
              <p:cNvSpPr/>
              <p:nvPr/>
            </p:nvSpPr>
            <p:spPr>
              <a:xfrm>
                <a:off x="6612089" y="2327818"/>
                <a:ext cx="39404" cy="43083"/>
              </a:xfrm>
              <a:custGeom>
                <a:avLst/>
                <a:gdLst>
                  <a:gd name="connsiteX0" fmla="*/ 16179 w 39404"/>
                  <a:gd name="connsiteY0" fmla="*/ 43084 h 43083"/>
                  <a:gd name="connsiteX1" fmla="*/ 16179 w 39404"/>
                  <a:gd name="connsiteY1" fmla="*/ 25220 h 43083"/>
                  <a:gd name="connsiteX2" fmla="*/ 0 w 39404"/>
                  <a:gd name="connsiteY2" fmla="*/ 25220 h 43083"/>
                  <a:gd name="connsiteX3" fmla="*/ 0 w 39404"/>
                  <a:gd name="connsiteY3" fmla="*/ 17689 h 43083"/>
                  <a:gd name="connsiteX4" fmla="*/ 16179 w 39404"/>
                  <a:gd name="connsiteY4" fmla="*/ 17689 h 43083"/>
                  <a:gd name="connsiteX5" fmla="*/ 16179 w 39404"/>
                  <a:gd name="connsiteY5" fmla="*/ 0 h 43083"/>
                  <a:gd name="connsiteX6" fmla="*/ 23066 w 39404"/>
                  <a:gd name="connsiteY6" fmla="*/ 0 h 43083"/>
                  <a:gd name="connsiteX7" fmla="*/ 23066 w 39404"/>
                  <a:gd name="connsiteY7" fmla="*/ 17689 h 43083"/>
                  <a:gd name="connsiteX8" fmla="*/ 39405 w 39404"/>
                  <a:gd name="connsiteY8" fmla="*/ 17689 h 43083"/>
                  <a:gd name="connsiteX9" fmla="*/ 39405 w 39404"/>
                  <a:gd name="connsiteY9" fmla="*/ 25220 h 43083"/>
                  <a:gd name="connsiteX10" fmla="*/ 23066 w 39404"/>
                  <a:gd name="connsiteY10" fmla="*/ 25220 h 43083"/>
                  <a:gd name="connsiteX11" fmla="*/ 23066 w 39404"/>
                  <a:gd name="connsiteY11" fmla="*/ 43084 h 43083"/>
                  <a:gd name="connsiteX12" fmla="*/ 16179 w 39404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083">
                    <a:moveTo>
                      <a:pt x="16179" y="43084"/>
                    </a:moveTo>
                    <a:lnTo>
                      <a:pt x="1617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9" y="17689"/>
                    </a:lnTo>
                    <a:lnTo>
                      <a:pt x="16179" y="0"/>
                    </a:lnTo>
                    <a:lnTo>
                      <a:pt x="23066" y="0"/>
                    </a:lnTo>
                    <a:lnTo>
                      <a:pt x="23066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066" y="25220"/>
                    </a:lnTo>
                    <a:lnTo>
                      <a:pt x="23066" y="43084"/>
                    </a:lnTo>
                    <a:lnTo>
                      <a:pt x="1617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8" name="Freihandform: Form 197">
                <a:extLst>
                  <a:ext uri="{FF2B5EF4-FFF2-40B4-BE49-F238E27FC236}">
                    <a16:creationId xmlns:a16="http://schemas.microsoft.com/office/drawing/2014/main" id="{E9A6D6DF-3E7F-B979-24F8-A4BCA3AD01ED}"/>
                  </a:ext>
                </a:extLst>
              </p:cNvPr>
              <p:cNvSpPr/>
              <p:nvPr/>
            </p:nvSpPr>
            <p:spPr>
              <a:xfrm>
                <a:off x="6614973" y="2327818"/>
                <a:ext cx="39405" cy="43083"/>
              </a:xfrm>
              <a:custGeom>
                <a:avLst/>
                <a:gdLst>
                  <a:gd name="connsiteX0" fmla="*/ 16339 w 39405"/>
                  <a:gd name="connsiteY0" fmla="*/ 43084 h 43083"/>
                  <a:gd name="connsiteX1" fmla="*/ 16339 w 39405"/>
                  <a:gd name="connsiteY1" fmla="*/ 25220 h 43083"/>
                  <a:gd name="connsiteX2" fmla="*/ 0 w 39405"/>
                  <a:gd name="connsiteY2" fmla="*/ 25220 h 43083"/>
                  <a:gd name="connsiteX3" fmla="*/ 0 w 39405"/>
                  <a:gd name="connsiteY3" fmla="*/ 17689 h 43083"/>
                  <a:gd name="connsiteX4" fmla="*/ 16339 w 39405"/>
                  <a:gd name="connsiteY4" fmla="*/ 17689 h 43083"/>
                  <a:gd name="connsiteX5" fmla="*/ 16339 w 39405"/>
                  <a:gd name="connsiteY5" fmla="*/ 0 h 43083"/>
                  <a:gd name="connsiteX6" fmla="*/ 23227 w 39405"/>
                  <a:gd name="connsiteY6" fmla="*/ 0 h 43083"/>
                  <a:gd name="connsiteX7" fmla="*/ 23227 w 39405"/>
                  <a:gd name="connsiteY7" fmla="*/ 17689 h 43083"/>
                  <a:gd name="connsiteX8" fmla="*/ 39405 w 39405"/>
                  <a:gd name="connsiteY8" fmla="*/ 17689 h 43083"/>
                  <a:gd name="connsiteX9" fmla="*/ 39405 w 39405"/>
                  <a:gd name="connsiteY9" fmla="*/ 25220 h 43083"/>
                  <a:gd name="connsiteX10" fmla="*/ 23227 w 39405"/>
                  <a:gd name="connsiteY10" fmla="*/ 25220 h 43083"/>
                  <a:gd name="connsiteX11" fmla="*/ 23227 w 39405"/>
                  <a:gd name="connsiteY11" fmla="*/ 43084 h 43083"/>
                  <a:gd name="connsiteX12" fmla="*/ 16339 w 3940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5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9" name="Freihandform: Form 198">
                <a:extLst>
                  <a:ext uri="{FF2B5EF4-FFF2-40B4-BE49-F238E27FC236}">
                    <a16:creationId xmlns:a16="http://schemas.microsoft.com/office/drawing/2014/main" id="{6D87AB10-F239-659C-748C-57611DD11526}"/>
                  </a:ext>
                </a:extLst>
              </p:cNvPr>
              <p:cNvSpPr/>
              <p:nvPr/>
            </p:nvSpPr>
            <p:spPr>
              <a:xfrm>
                <a:off x="6621060" y="2327818"/>
                <a:ext cx="39405" cy="43083"/>
              </a:xfrm>
              <a:custGeom>
                <a:avLst/>
                <a:gdLst>
                  <a:gd name="connsiteX0" fmla="*/ 16179 w 39405"/>
                  <a:gd name="connsiteY0" fmla="*/ 43084 h 43083"/>
                  <a:gd name="connsiteX1" fmla="*/ 16179 w 39405"/>
                  <a:gd name="connsiteY1" fmla="*/ 25220 h 43083"/>
                  <a:gd name="connsiteX2" fmla="*/ 0 w 39405"/>
                  <a:gd name="connsiteY2" fmla="*/ 25220 h 43083"/>
                  <a:gd name="connsiteX3" fmla="*/ 0 w 39405"/>
                  <a:gd name="connsiteY3" fmla="*/ 17689 h 43083"/>
                  <a:gd name="connsiteX4" fmla="*/ 16179 w 39405"/>
                  <a:gd name="connsiteY4" fmla="*/ 17689 h 43083"/>
                  <a:gd name="connsiteX5" fmla="*/ 16179 w 39405"/>
                  <a:gd name="connsiteY5" fmla="*/ 0 h 43083"/>
                  <a:gd name="connsiteX6" fmla="*/ 23066 w 39405"/>
                  <a:gd name="connsiteY6" fmla="*/ 0 h 43083"/>
                  <a:gd name="connsiteX7" fmla="*/ 23066 w 39405"/>
                  <a:gd name="connsiteY7" fmla="*/ 17689 h 43083"/>
                  <a:gd name="connsiteX8" fmla="*/ 39405 w 39405"/>
                  <a:gd name="connsiteY8" fmla="*/ 17689 h 43083"/>
                  <a:gd name="connsiteX9" fmla="*/ 39405 w 39405"/>
                  <a:gd name="connsiteY9" fmla="*/ 25220 h 43083"/>
                  <a:gd name="connsiteX10" fmla="*/ 23066 w 39405"/>
                  <a:gd name="connsiteY10" fmla="*/ 25220 h 43083"/>
                  <a:gd name="connsiteX11" fmla="*/ 23066 w 39405"/>
                  <a:gd name="connsiteY11" fmla="*/ 43084 h 43083"/>
                  <a:gd name="connsiteX12" fmla="*/ 16179 w 3940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5" h="43083">
                    <a:moveTo>
                      <a:pt x="16179" y="43084"/>
                    </a:moveTo>
                    <a:lnTo>
                      <a:pt x="1617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9" y="17689"/>
                    </a:lnTo>
                    <a:lnTo>
                      <a:pt x="16179" y="0"/>
                    </a:lnTo>
                    <a:lnTo>
                      <a:pt x="23066" y="0"/>
                    </a:lnTo>
                    <a:lnTo>
                      <a:pt x="23066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066" y="25220"/>
                    </a:lnTo>
                    <a:lnTo>
                      <a:pt x="23066" y="43084"/>
                    </a:lnTo>
                    <a:lnTo>
                      <a:pt x="1617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0" name="Freihandform: Form 199">
                <a:extLst>
                  <a:ext uri="{FF2B5EF4-FFF2-40B4-BE49-F238E27FC236}">
                    <a16:creationId xmlns:a16="http://schemas.microsoft.com/office/drawing/2014/main" id="{D20B651D-0A99-AC91-9E66-C261D8A8C590}"/>
                  </a:ext>
                </a:extLst>
              </p:cNvPr>
              <p:cNvSpPr/>
              <p:nvPr/>
            </p:nvSpPr>
            <p:spPr>
              <a:xfrm>
                <a:off x="6626986" y="2327818"/>
                <a:ext cx="39405" cy="43083"/>
              </a:xfrm>
              <a:custGeom>
                <a:avLst/>
                <a:gdLst>
                  <a:gd name="connsiteX0" fmla="*/ 16179 w 39405"/>
                  <a:gd name="connsiteY0" fmla="*/ 43084 h 43083"/>
                  <a:gd name="connsiteX1" fmla="*/ 16179 w 39405"/>
                  <a:gd name="connsiteY1" fmla="*/ 25220 h 43083"/>
                  <a:gd name="connsiteX2" fmla="*/ 0 w 39405"/>
                  <a:gd name="connsiteY2" fmla="*/ 25220 h 43083"/>
                  <a:gd name="connsiteX3" fmla="*/ 0 w 39405"/>
                  <a:gd name="connsiteY3" fmla="*/ 17689 h 43083"/>
                  <a:gd name="connsiteX4" fmla="*/ 16179 w 39405"/>
                  <a:gd name="connsiteY4" fmla="*/ 17689 h 43083"/>
                  <a:gd name="connsiteX5" fmla="*/ 16179 w 39405"/>
                  <a:gd name="connsiteY5" fmla="*/ 0 h 43083"/>
                  <a:gd name="connsiteX6" fmla="*/ 23227 w 39405"/>
                  <a:gd name="connsiteY6" fmla="*/ 0 h 43083"/>
                  <a:gd name="connsiteX7" fmla="*/ 23227 w 39405"/>
                  <a:gd name="connsiteY7" fmla="*/ 17689 h 43083"/>
                  <a:gd name="connsiteX8" fmla="*/ 39405 w 39405"/>
                  <a:gd name="connsiteY8" fmla="*/ 17689 h 43083"/>
                  <a:gd name="connsiteX9" fmla="*/ 39405 w 39405"/>
                  <a:gd name="connsiteY9" fmla="*/ 25220 h 43083"/>
                  <a:gd name="connsiteX10" fmla="*/ 23227 w 39405"/>
                  <a:gd name="connsiteY10" fmla="*/ 25220 h 43083"/>
                  <a:gd name="connsiteX11" fmla="*/ 23227 w 39405"/>
                  <a:gd name="connsiteY11" fmla="*/ 43084 h 43083"/>
                  <a:gd name="connsiteX12" fmla="*/ 16179 w 3940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5" h="43083">
                    <a:moveTo>
                      <a:pt x="16179" y="43084"/>
                    </a:moveTo>
                    <a:lnTo>
                      <a:pt x="1617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9" y="17689"/>
                    </a:lnTo>
                    <a:lnTo>
                      <a:pt x="1617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17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1" name="Freihandform: Form 200">
                <a:extLst>
                  <a:ext uri="{FF2B5EF4-FFF2-40B4-BE49-F238E27FC236}">
                    <a16:creationId xmlns:a16="http://schemas.microsoft.com/office/drawing/2014/main" id="{B28FDE35-C70D-5F08-33CE-D12268DC73CA}"/>
                  </a:ext>
                </a:extLst>
              </p:cNvPr>
              <p:cNvSpPr/>
              <p:nvPr/>
            </p:nvSpPr>
            <p:spPr>
              <a:xfrm>
                <a:off x="6629870" y="2327818"/>
                <a:ext cx="39565" cy="43083"/>
              </a:xfrm>
              <a:custGeom>
                <a:avLst/>
                <a:gdLst>
                  <a:gd name="connsiteX0" fmla="*/ 16339 w 39565"/>
                  <a:gd name="connsiteY0" fmla="*/ 43084 h 43083"/>
                  <a:gd name="connsiteX1" fmla="*/ 16339 w 39565"/>
                  <a:gd name="connsiteY1" fmla="*/ 25220 h 43083"/>
                  <a:gd name="connsiteX2" fmla="*/ 0 w 39565"/>
                  <a:gd name="connsiteY2" fmla="*/ 25220 h 43083"/>
                  <a:gd name="connsiteX3" fmla="*/ 0 w 39565"/>
                  <a:gd name="connsiteY3" fmla="*/ 17689 h 43083"/>
                  <a:gd name="connsiteX4" fmla="*/ 16339 w 39565"/>
                  <a:gd name="connsiteY4" fmla="*/ 17689 h 43083"/>
                  <a:gd name="connsiteX5" fmla="*/ 16339 w 39565"/>
                  <a:gd name="connsiteY5" fmla="*/ 0 h 43083"/>
                  <a:gd name="connsiteX6" fmla="*/ 23226 w 39565"/>
                  <a:gd name="connsiteY6" fmla="*/ 0 h 43083"/>
                  <a:gd name="connsiteX7" fmla="*/ 23226 w 39565"/>
                  <a:gd name="connsiteY7" fmla="*/ 17689 h 43083"/>
                  <a:gd name="connsiteX8" fmla="*/ 39565 w 39565"/>
                  <a:gd name="connsiteY8" fmla="*/ 17689 h 43083"/>
                  <a:gd name="connsiteX9" fmla="*/ 39565 w 39565"/>
                  <a:gd name="connsiteY9" fmla="*/ 25220 h 43083"/>
                  <a:gd name="connsiteX10" fmla="*/ 23226 w 39565"/>
                  <a:gd name="connsiteY10" fmla="*/ 25220 h 43083"/>
                  <a:gd name="connsiteX11" fmla="*/ 23226 w 39565"/>
                  <a:gd name="connsiteY11" fmla="*/ 43084 h 43083"/>
                  <a:gd name="connsiteX12" fmla="*/ 16339 w 3956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565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6" y="0"/>
                    </a:lnTo>
                    <a:lnTo>
                      <a:pt x="23226" y="17689"/>
                    </a:lnTo>
                    <a:lnTo>
                      <a:pt x="39565" y="17689"/>
                    </a:lnTo>
                    <a:lnTo>
                      <a:pt x="39565" y="25220"/>
                    </a:lnTo>
                    <a:lnTo>
                      <a:pt x="23226" y="25220"/>
                    </a:lnTo>
                    <a:lnTo>
                      <a:pt x="23226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2" name="Freihandform: Form 201">
                <a:extLst>
                  <a:ext uri="{FF2B5EF4-FFF2-40B4-BE49-F238E27FC236}">
                    <a16:creationId xmlns:a16="http://schemas.microsoft.com/office/drawing/2014/main" id="{73451CCE-B234-9AAA-63AA-3C055F8A6D81}"/>
                  </a:ext>
                </a:extLst>
              </p:cNvPr>
              <p:cNvSpPr/>
              <p:nvPr/>
            </p:nvSpPr>
            <p:spPr>
              <a:xfrm>
                <a:off x="6638840" y="2327818"/>
                <a:ext cx="39565" cy="43083"/>
              </a:xfrm>
              <a:custGeom>
                <a:avLst/>
                <a:gdLst>
                  <a:gd name="connsiteX0" fmla="*/ 16339 w 39565"/>
                  <a:gd name="connsiteY0" fmla="*/ 43084 h 43083"/>
                  <a:gd name="connsiteX1" fmla="*/ 16339 w 39565"/>
                  <a:gd name="connsiteY1" fmla="*/ 25220 h 43083"/>
                  <a:gd name="connsiteX2" fmla="*/ 0 w 39565"/>
                  <a:gd name="connsiteY2" fmla="*/ 25220 h 43083"/>
                  <a:gd name="connsiteX3" fmla="*/ 0 w 39565"/>
                  <a:gd name="connsiteY3" fmla="*/ 17689 h 43083"/>
                  <a:gd name="connsiteX4" fmla="*/ 16339 w 39565"/>
                  <a:gd name="connsiteY4" fmla="*/ 17689 h 43083"/>
                  <a:gd name="connsiteX5" fmla="*/ 16339 w 39565"/>
                  <a:gd name="connsiteY5" fmla="*/ 0 h 43083"/>
                  <a:gd name="connsiteX6" fmla="*/ 23226 w 39565"/>
                  <a:gd name="connsiteY6" fmla="*/ 0 h 43083"/>
                  <a:gd name="connsiteX7" fmla="*/ 23226 w 39565"/>
                  <a:gd name="connsiteY7" fmla="*/ 17689 h 43083"/>
                  <a:gd name="connsiteX8" fmla="*/ 39565 w 39565"/>
                  <a:gd name="connsiteY8" fmla="*/ 17689 h 43083"/>
                  <a:gd name="connsiteX9" fmla="*/ 39565 w 39565"/>
                  <a:gd name="connsiteY9" fmla="*/ 25220 h 43083"/>
                  <a:gd name="connsiteX10" fmla="*/ 23226 w 39565"/>
                  <a:gd name="connsiteY10" fmla="*/ 25220 h 43083"/>
                  <a:gd name="connsiteX11" fmla="*/ 23226 w 39565"/>
                  <a:gd name="connsiteY11" fmla="*/ 43084 h 43083"/>
                  <a:gd name="connsiteX12" fmla="*/ 16339 w 3956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565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6" y="0"/>
                    </a:lnTo>
                    <a:lnTo>
                      <a:pt x="23226" y="17689"/>
                    </a:lnTo>
                    <a:lnTo>
                      <a:pt x="39565" y="17689"/>
                    </a:lnTo>
                    <a:lnTo>
                      <a:pt x="39565" y="25220"/>
                    </a:lnTo>
                    <a:lnTo>
                      <a:pt x="23226" y="25220"/>
                    </a:lnTo>
                    <a:lnTo>
                      <a:pt x="23226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3" name="Freihandform: Form 202">
                <a:extLst>
                  <a:ext uri="{FF2B5EF4-FFF2-40B4-BE49-F238E27FC236}">
                    <a16:creationId xmlns:a16="http://schemas.microsoft.com/office/drawing/2014/main" id="{082975AD-5031-0D0B-0596-62D0F440FF94}"/>
                  </a:ext>
                </a:extLst>
              </p:cNvPr>
              <p:cNvSpPr/>
              <p:nvPr/>
            </p:nvSpPr>
            <p:spPr>
              <a:xfrm>
                <a:off x="6647810" y="2327818"/>
                <a:ext cx="39404" cy="43083"/>
              </a:xfrm>
              <a:custGeom>
                <a:avLst/>
                <a:gdLst>
                  <a:gd name="connsiteX0" fmla="*/ 16339 w 39404"/>
                  <a:gd name="connsiteY0" fmla="*/ 43084 h 43083"/>
                  <a:gd name="connsiteX1" fmla="*/ 16339 w 39404"/>
                  <a:gd name="connsiteY1" fmla="*/ 25220 h 43083"/>
                  <a:gd name="connsiteX2" fmla="*/ 0 w 39404"/>
                  <a:gd name="connsiteY2" fmla="*/ 25220 h 43083"/>
                  <a:gd name="connsiteX3" fmla="*/ 0 w 39404"/>
                  <a:gd name="connsiteY3" fmla="*/ 17689 h 43083"/>
                  <a:gd name="connsiteX4" fmla="*/ 16339 w 39404"/>
                  <a:gd name="connsiteY4" fmla="*/ 17689 h 43083"/>
                  <a:gd name="connsiteX5" fmla="*/ 16339 w 39404"/>
                  <a:gd name="connsiteY5" fmla="*/ 0 h 43083"/>
                  <a:gd name="connsiteX6" fmla="*/ 23226 w 39404"/>
                  <a:gd name="connsiteY6" fmla="*/ 0 h 43083"/>
                  <a:gd name="connsiteX7" fmla="*/ 23226 w 39404"/>
                  <a:gd name="connsiteY7" fmla="*/ 17689 h 43083"/>
                  <a:gd name="connsiteX8" fmla="*/ 39405 w 39404"/>
                  <a:gd name="connsiteY8" fmla="*/ 17689 h 43083"/>
                  <a:gd name="connsiteX9" fmla="*/ 39405 w 39404"/>
                  <a:gd name="connsiteY9" fmla="*/ 25220 h 43083"/>
                  <a:gd name="connsiteX10" fmla="*/ 23226 w 39404"/>
                  <a:gd name="connsiteY10" fmla="*/ 25220 h 43083"/>
                  <a:gd name="connsiteX11" fmla="*/ 23226 w 39404"/>
                  <a:gd name="connsiteY11" fmla="*/ 43084 h 43083"/>
                  <a:gd name="connsiteX12" fmla="*/ 16339 w 39404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6" y="0"/>
                    </a:lnTo>
                    <a:lnTo>
                      <a:pt x="23226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226" y="25220"/>
                    </a:lnTo>
                    <a:lnTo>
                      <a:pt x="23226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4" name="Freihandform: Form 203">
                <a:extLst>
                  <a:ext uri="{FF2B5EF4-FFF2-40B4-BE49-F238E27FC236}">
                    <a16:creationId xmlns:a16="http://schemas.microsoft.com/office/drawing/2014/main" id="{81B8D05E-BAF7-2608-E947-1FF2B21B52D8}"/>
                  </a:ext>
                </a:extLst>
              </p:cNvPr>
              <p:cNvSpPr/>
              <p:nvPr/>
            </p:nvSpPr>
            <p:spPr>
              <a:xfrm>
                <a:off x="6653737" y="2327818"/>
                <a:ext cx="39565" cy="43083"/>
              </a:xfrm>
              <a:custGeom>
                <a:avLst/>
                <a:gdLst>
                  <a:gd name="connsiteX0" fmla="*/ 16339 w 39565"/>
                  <a:gd name="connsiteY0" fmla="*/ 43084 h 43083"/>
                  <a:gd name="connsiteX1" fmla="*/ 16339 w 39565"/>
                  <a:gd name="connsiteY1" fmla="*/ 25220 h 43083"/>
                  <a:gd name="connsiteX2" fmla="*/ 0 w 39565"/>
                  <a:gd name="connsiteY2" fmla="*/ 25220 h 43083"/>
                  <a:gd name="connsiteX3" fmla="*/ 0 w 39565"/>
                  <a:gd name="connsiteY3" fmla="*/ 17689 h 43083"/>
                  <a:gd name="connsiteX4" fmla="*/ 16339 w 39565"/>
                  <a:gd name="connsiteY4" fmla="*/ 17689 h 43083"/>
                  <a:gd name="connsiteX5" fmla="*/ 16339 w 39565"/>
                  <a:gd name="connsiteY5" fmla="*/ 0 h 43083"/>
                  <a:gd name="connsiteX6" fmla="*/ 23227 w 39565"/>
                  <a:gd name="connsiteY6" fmla="*/ 0 h 43083"/>
                  <a:gd name="connsiteX7" fmla="*/ 23227 w 39565"/>
                  <a:gd name="connsiteY7" fmla="*/ 17689 h 43083"/>
                  <a:gd name="connsiteX8" fmla="*/ 39565 w 39565"/>
                  <a:gd name="connsiteY8" fmla="*/ 17689 h 43083"/>
                  <a:gd name="connsiteX9" fmla="*/ 39565 w 39565"/>
                  <a:gd name="connsiteY9" fmla="*/ 25220 h 43083"/>
                  <a:gd name="connsiteX10" fmla="*/ 23227 w 39565"/>
                  <a:gd name="connsiteY10" fmla="*/ 25220 h 43083"/>
                  <a:gd name="connsiteX11" fmla="*/ 23227 w 39565"/>
                  <a:gd name="connsiteY11" fmla="*/ 43084 h 43083"/>
                  <a:gd name="connsiteX12" fmla="*/ 16339 w 3956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565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565" y="17689"/>
                    </a:lnTo>
                    <a:lnTo>
                      <a:pt x="3956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5" name="Freihandform: Form 204">
                <a:extLst>
                  <a:ext uri="{FF2B5EF4-FFF2-40B4-BE49-F238E27FC236}">
                    <a16:creationId xmlns:a16="http://schemas.microsoft.com/office/drawing/2014/main" id="{3925908F-8CE8-817C-FEE7-6C742EBAAD55}"/>
                  </a:ext>
                </a:extLst>
              </p:cNvPr>
              <p:cNvSpPr/>
              <p:nvPr/>
            </p:nvSpPr>
            <p:spPr>
              <a:xfrm>
                <a:off x="6659824" y="2336575"/>
                <a:ext cx="39404" cy="43083"/>
              </a:xfrm>
              <a:custGeom>
                <a:avLst/>
                <a:gdLst>
                  <a:gd name="connsiteX0" fmla="*/ 16178 w 39404"/>
                  <a:gd name="connsiteY0" fmla="*/ 43084 h 43083"/>
                  <a:gd name="connsiteX1" fmla="*/ 16178 w 39404"/>
                  <a:gd name="connsiteY1" fmla="*/ 25220 h 43083"/>
                  <a:gd name="connsiteX2" fmla="*/ 0 w 39404"/>
                  <a:gd name="connsiteY2" fmla="*/ 25220 h 43083"/>
                  <a:gd name="connsiteX3" fmla="*/ 0 w 39404"/>
                  <a:gd name="connsiteY3" fmla="*/ 17689 h 43083"/>
                  <a:gd name="connsiteX4" fmla="*/ 16178 w 39404"/>
                  <a:gd name="connsiteY4" fmla="*/ 17689 h 43083"/>
                  <a:gd name="connsiteX5" fmla="*/ 16178 w 39404"/>
                  <a:gd name="connsiteY5" fmla="*/ 0 h 43083"/>
                  <a:gd name="connsiteX6" fmla="*/ 23066 w 39404"/>
                  <a:gd name="connsiteY6" fmla="*/ 0 h 43083"/>
                  <a:gd name="connsiteX7" fmla="*/ 23066 w 39404"/>
                  <a:gd name="connsiteY7" fmla="*/ 17689 h 43083"/>
                  <a:gd name="connsiteX8" fmla="*/ 39405 w 39404"/>
                  <a:gd name="connsiteY8" fmla="*/ 17689 h 43083"/>
                  <a:gd name="connsiteX9" fmla="*/ 39405 w 39404"/>
                  <a:gd name="connsiteY9" fmla="*/ 25220 h 43083"/>
                  <a:gd name="connsiteX10" fmla="*/ 23066 w 39404"/>
                  <a:gd name="connsiteY10" fmla="*/ 25220 h 43083"/>
                  <a:gd name="connsiteX11" fmla="*/ 23066 w 39404"/>
                  <a:gd name="connsiteY11" fmla="*/ 43084 h 43083"/>
                  <a:gd name="connsiteX12" fmla="*/ 16178 w 39404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083">
                    <a:moveTo>
                      <a:pt x="16178" y="43084"/>
                    </a:moveTo>
                    <a:lnTo>
                      <a:pt x="16178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8" y="17689"/>
                    </a:lnTo>
                    <a:lnTo>
                      <a:pt x="16178" y="0"/>
                    </a:lnTo>
                    <a:lnTo>
                      <a:pt x="23066" y="0"/>
                    </a:lnTo>
                    <a:lnTo>
                      <a:pt x="23066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066" y="25220"/>
                    </a:lnTo>
                    <a:lnTo>
                      <a:pt x="23066" y="43084"/>
                    </a:lnTo>
                    <a:lnTo>
                      <a:pt x="16178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6" name="Freihandform: Form 205">
                <a:extLst>
                  <a:ext uri="{FF2B5EF4-FFF2-40B4-BE49-F238E27FC236}">
                    <a16:creationId xmlns:a16="http://schemas.microsoft.com/office/drawing/2014/main" id="{F6051849-C369-E09F-0711-125BBDA1AA2A}"/>
                  </a:ext>
                </a:extLst>
              </p:cNvPr>
              <p:cNvSpPr/>
              <p:nvPr/>
            </p:nvSpPr>
            <p:spPr>
              <a:xfrm>
                <a:off x="6662707" y="2336575"/>
                <a:ext cx="39404" cy="43083"/>
              </a:xfrm>
              <a:custGeom>
                <a:avLst/>
                <a:gdLst>
                  <a:gd name="connsiteX0" fmla="*/ 16339 w 39404"/>
                  <a:gd name="connsiteY0" fmla="*/ 43084 h 43083"/>
                  <a:gd name="connsiteX1" fmla="*/ 16339 w 39404"/>
                  <a:gd name="connsiteY1" fmla="*/ 25220 h 43083"/>
                  <a:gd name="connsiteX2" fmla="*/ 0 w 39404"/>
                  <a:gd name="connsiteY2" fmla="*/ 25220 h 43083"/>
                  <a:gd name="connsiteX3" fmla="*/ 0 w 39404"/>
                  <a:gd name="connsiteY3" fmla="*/ 17689 h 43083"/>
                  <a:gd name="connsiteX4" fmla="*/ 16339 w 39404"/>
                  <a:gd name="connsiteY4" fmla="*/ 17689 h 43083"/>
                  <a:gd name="connsiteX5" fmla="*/ 16339 w 39404"/>
                  <a:gd name="connsiteY5" fmla="*/ 0 h 43083"/>
                  <a:gd name="connsiteX6" fmla="*/ 23227 w 39404"/>
                  <a:gd name="connsiteY6" fmla="*/ 0 h 43083"/>
                  <a:gd name="connsiteX7" fmla="*/ 23227 w 39404"/>
                  <a:gd name="connsiteY7" fmla="*/ 17689 h 43083"/>
                  <a:gd name="connsiteX8" fmla="*/ 39405 w 39404"/>
                  <a:gd name="connsiteY8" fmla="*/ 17689 h 43083"/>
                  <a:gd name="connsiteX9" fmla="*/ 39405 w 39404"/>
                  <a:gd name="connsiteY9" fmla="*/ 25220 h 43083"/>
                  <a:gd name="connsiteX10" fmla="*/ 23227 w 39404"/>
                  <a:gd name="connsiteY10" fmla="*/ 25220 h 43083"/>
                  <a:gd name="connsiteX11" fmla="*/ 23227 w 39404"/>
                  <a:gd name="connsiteY11" fmla="*/ 43084 h 43083"/>
                  <a:gd name="connsiteX12" fmla="*/ 16339 w 39404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7" name="Freihandform: Form 206">
                <a:extLst>
                  <a:ext uri="{FF2B5EF4-FFF2-40B4-BE49-F238E27FC236}">
                    <a16:creationId xmlns:a16="http://schemas.microsoft.com/office/drawing/2014/main" id="{5F6A453B-497C-252F-8D59-DAC1B65A61E7}"/>
                  </a:ext>
                </a:extLst>
              </p:cNvPr>
              <p:cNvSpPr/>
              <p:nvPr/>
            </p:nvSpPr>
            <p:spPr>
              <a:xfrm>
                <a:off x="6668634" y="2336575"/>
                <a:ext cx="39565" cy="43083"/>
              </a:xfrm>
              <a:custGeom>
                <a:avLst/>
                <a:gdLst>
                  <a:gd name="connsiteX0" fmla="*/ 16339 w 39565"/>
                  <a:gd name="connsiteY0" fmla="*/ 43084 h 43083"/>
                  <a:gd name="connsiteX1" fmla="*/ 16339 w 39565"/>
                  <a:gd name="connsiteY1" fmla="*/ 25220 h 43083"/>
                  <a:gd name="connsiteX2" fmla="*/ 0 w 39565"/>
                  <a:gd name="connsiteY2" fmla="*/ 25220 h 43083"/>
                  <a:gd name="connsiteX3" fmla="*/ 0 w 39565"/>
                  <a:gd name="connsiteY3" fmla="*/ 17689 h 43083"/>
                  <a:gd name="connsiteX4" fmla="*/ 16339 w 39565"/>
                  <a:gd name="connsiteY4" fmla="*/ 17689 h 43083"/>
                  <a:gd name="connsiteX5" fmla="*/ 16339 w 39565"/>
                  <a:gd name="connsiteY5" fmla="*/ 0 h 43083"/>
                  <a:gd name="connsiteX6" fmla="*/ 23227 w 39565"/>
                  <a:gd name="connsiteY6" fmla="*/ 0 h 43083"/>
                  <a:gd name="connsiteX7" fmla="*/ 23227 w 39565"/>
                  <a:gd name="connsiteY7" fmla="*/ 17689 h 43083"/>
                  <a:gd name="connsiteX8" fmla="*/ 39565 w 39565"/>
                  <a:gd name="connsiteY8" fmla="*/ 17689 h 43083"/>
                  <a:gd name="connsiteX9" fmla="*/ 39565 w 39565"/>
                  <a:gd name="connsiteY9" fmla="*/ 25220 h 43083"/>
                  <a:gd name="connsiteX10" fmla="*/ 23227 w 39565"/>
                  <a:gd name="connsiteY10" fmla="*/ 25220 h 43083"/>
                  <a:gd name="connsiteX11" fmla="*/ 23227 w 39565"/>
                  <a:gd name="connsiteY11" fmla="*/ 43084 h 43083"/>
                  <a:gd name="connsiteX12" fmla="*/ 16339 w 3956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565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565" y="17689"/>
                    </a:lnTo>
                    <a:lnTo>
                      <a:pt x="3956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8" name="Freihandform: Form 207">
                <a:extLst>
                  <a:ext uri="{FF2B5EF4-FFF2-40B4-BE49-F238E27FC236}">
                    <a16:creationId xmlns:a16="http://schemas.microsoft.com/office/drawing/2014/main" id="{A989558B-2C4A-98CA-F118-08DBDB511B62}"/>
                  </a:ext>
                </a:extLst>
              </p:cNvPr>
              <p:cNvSpPr/>
              <p:nvPr/>
            </p:nvSpPr>
            <p:spPr>
              <a:xfrm>
                <a:off x="6671678" y="2336575"/>
                <a:ext cx="39404" cy="43083"/>
              </a:xfrm>
              <a:custGeom>
                <a:avLst/>
                <a:gdLst>
                  <a:gd name="connsiteX0" fmla="*/ 16179 w 39404"/>
                  <a:gd name="connsiteY0" fmla="*/ 43084 h 43083"/>
                  <a:gd name="connsiteX1" fmla="*/ 16179 w 39404"/>
                  <a:gd name="connsiteY1" fmla="*/ 25220 h 43083"/>
                  <a:gd name="connsiteX2" fmla="*/ 0 w 39404"/>
                  <a:gd name="connsiteY2" fmla="*/ 25220 h 43083"/>
                  <a:gd name="connsiteX3" fmla="*/ 0 w 39404"/>
                  <a:gd name="connsiteY3" fmla="*/ 17689 h 43083"/>
                  <a:gd name="connsiteX4" fmla="*/ 16179 w 39404"/>
                  <a:gd name="connsiteY4" fmla="*/ 17689 h 43083"/>
                  <a:gd name="connsiteX5" fmla="*/ 16179 w 39404"/>
                  <a:gd name="connsiteY5" fmla="*/ 0 h 43083"/>
                  <a:gd name="connsiteX6" fmla="*/ 23227 w 39404"/>
                  <a:gd name="connsiteY6" fmla="*/ 0 h 43083"/>
                  <a:gd name="connsiteX7" fmla="*/ 23227 w 39404"/>
                  <a:gd name="connsiteY7" fmla="*/ 17689 h 43083"/>
                  <a:gd name="connsiteX8" fmla="*/ 39405 w 39404"/>
                  <a:gd name="connsiteY8" fmla="*/ 17689 h 43083"/>
                  <a:gd name="connsiteX9" fmla="*/ 39405 w 39404"/>
                  <a:gd name="connsiteY9" fmla="*/ 25220 h 43083"/>
                  <a:gd name="connsiteX10" fmla="*/ 23227 w 39404"/>
                  <a:gd name="connsiteY10" fmla="*/ 25220 h 43083"/>
                  <a:gd name="connsiteX11" fmla="*/ 23227 w 39404"/>
                  <a:gd name="connsiteY11" fmla="*/ 43084 h 43083"/>
                  <a:gd name="connsiteX12" fmla="*/ 16179 w 39404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083">
                    <a:moveTo>
                      <a:pt x="16179" y="43084"/>
                    </a:moveTo>
                    <a:lnTo>
                      <a:pt x="1617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9" y="17689"/>
                    </a:lnTo>
                    <a:lnTo>
                      <a:pt x="1617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17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9" name="Freihandform: Form 208">
                <a:extLst>
                  <a:ext uri="{FF2B5EF4-FFF2-40B4-BE49-F238E27FC236}">
                    <a16:creationId xmlns:a16="http://schemas.microsoft.com/office/drawing/2014/main" id="{A874A4B1-AC6F-95A9-E2CA-D511D7534826}"/>
                  </a:ext>
                </a:extLst>
              </p:cNvPr>
              <p:cNvSpPr/>
              <p:nvPr/>
            </p:nvSpPr>
            <p:spPr>
              <a:xfrm>
                <a:off x="6683531" y="2336575"/>
                <a:ext cx="39405" cy="43083"/>
              </a:xfrm>
              <a:custGeom>
                <a:avLst/>
                <a:gdLst>
                  <a:gd name="connsiteX0" fmla="*/ 16339 w 39405"/>
                  <a:gd name="connsiteY0" fmla="*/ 43084 h 43083"/>
                  <a:gd name="connsiteX1" fmla="*/ 16339 w 39405"/>
                  <a:gd name="connsiteY1" fmla="*/ 25220 h 43083"/>
                  <a:gd name="connsiteX2" fmla="*/ 0 w 39405"/>
                  <a:gd name="connsiteY2" fmla="*/ 25220 h 43083"/>
                  <a:gd name="connsiteX3" fmla="*/ 0 w 39405"/>
                  <a:gd name="connsiteY3" fmla="*/ 17689 h 43083"/>
                  <a:gd name="connsiteX4" fmla="*/ 16339 w 39405"/>
                  <a:gd name="connsiteY4" fmla="*/ 17689 h 43083"/>
                  <a:gd name="connsiteX5" fmla="*/ 16339 w 39405"/>
                  <a:gd name="connsiteY5" fmla="*/ 0 h 43083"/>
                  <a:gd name="connsiteX6" fmla="*/ 23227 w 39405"/>
                  <a:gd name="connsiteY6" fmla="*/ 0 h 43083"/>
                  <a:gd name="connsiteX7" fmla="*/ 23227 w 39405"/>
                  <a:gd name="connsiteY7" fmla="*/ 17689 h 43083"/>
                  <a:gd name="connsiteX8" fmla="*/ 39405 w 39405"/>
                  <a:gd name="connsiteY8" fmla="*/ 17689 h 43083"/>
                  <a:gd name="connsiteX9" fmla="*/ 39405 w 39405"/>
                  <a:gd name="connsiteY9" fmla="*/ 25220 h 43083"/>
                  <a:gd name="connsiteX10" fmla="*/ 23227 w 39405"/>
                  <a:gd name="connsiteY10" fmla="*/ 25220 h 43083"/>
                  <a:gd name="connsiteX11" fmla="*/ 23227 w 39405"/>
                  <a:gd name="connsiteY11" fmla="*/ 43084 h 43083"/>
                  <a:gd name="connsiteX12" fmla="*/ 16339 w 3940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5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10" name="Freihandform: Form 209">
                <a:extLst>
                  <a:ext uri="{FF2B5EF4-FFF2-40B4-BE49-F238E27FC236}">
                    <a16:creationId xmlns:a16="http://schemas.microsoft.com/office/drawing/2014/main" id="{BE79E4AA-37E2-1FB9-350A-832BE80D3ACC}"/>
                  </a:ext>
                </a:extLst>
              </p:cNvPr>
              <p:cNvSpPr/>
              <p:nvPr/>
            </p:nvSpPr>
            <p:spPr>
              <a:xfrm>
                <a:off x="6686415" y="2336575"/>
                <a:ext cx="39565" cy="43083"/>
              </a:xfrm>
              <a:custGeom>
                <a:avLst/>
                <a:gdLst>
                  <a:gd name="connsiteX0" fmla="*/ 16339 w 39565"/>
                  <a:gd name="connsiteY0" fmla="*/ 43084 h 43083"/>
                  <a:gd name="connsiteX1" fmla="*/ 16339 w 39565"/>
                  <a:gd name="connsiteY1" fmla="*/ 25220 h 43083"/>
                  <a:gd name="connsiteX2" fmla="*/ 0 w 39565"/>
                  <a:gd name="connsiteY2" fmla="*/ 25220 h 43083"/>
                  <a:gd name="connsiteX3" fmla="*/ 0 w 39565"/>
                  <a:gd name="connsiteY3" fmla="*/ 17689 h 43083"/>
                  <a:gd name="connsiteX4" fmla="*/ 16339 w 39565"/>
                  <a:gd name="connsiteY4" fmla="*/ 17689 h 43083"/>
                  <a:gd name="connsiteX5" fmla="*/ 16339 w 39565"/>
                  <a:gd name="connsiteY5" fmla="*/ 0 h 43083"/>
                  <a:gd name="connsiteX6" fmla="*/ 23226 w 39565"/>
                  <a:gd name="connsiteY6" fmla="*/ 0 h 43083"/>
                  <a:gd name="connsiteX7" fmla="*/ 23226 w 39565"/>
                  <a:gd name="connsiteY7" fmla="*/ 17689 h 43083"/>
                  <a:gd name="connsiteX8" fmla="*/ 39565 w 39565"/>
                  <a:gd name="connsiteY8" fmla="*/ 17689 h 43083"/>
                  <a:gd name="connsiteX9" fmla="*/ 39565 w 39565"/>
                  <a:gd name="connsiteY9" fmla="*/ 25220 h 43083"/>
                  <a:gd name="connsiteX10" fmla="*/ 23226 w 39565"/>
                  <a:gd name="connsiteY10" fmla="*/ 25220 h 43083"/>
                  <a:gd name="connsiteX11" fmla="*/ 23226 w 39565"/>
                  <a:gd name="connsiteY11" fmla="*/ 43084 h 43083"/>
                  <a:gd name="connsiteX12" fmla="*/ 16339 w 3956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565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6" y="0"/>
                    </a:lnTo>
                    <a:lnTo>
                      <a:pt x="23226" y="17689"/>
                    </a:lnTo>
                    <a:lnTo>
                      <a:pt x="39565" y="17689"/>
                    </a:lnTo>
                    <a:lnTo>
                      <a:pt x="39565" y="25220"/>
                    </a:lnTo>
                    <a:lnTo>
                      <a:pt x="23226" y="25220"/>
                    </a:lnTo>
                    <a:lnTo>
                      <a:pt x="23226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11" name="Freihandform: Form 210">
                <a:extLst>
                  <a:ext uri="{FF2B5EF4-FFF2-40B4-BE49-F238E27FC236}">
                    <a16:creationId xmlns:a16="http://schemas.microsoft.com/office/drawing/2014/main" id="{7ABB6E77-4324-80AF-E96E-368E28F8ABCA}"/>
                  </a:ext>
                </a:extLst>
              </p:cNvPr>
              <p:cNvSpPr/>
              <p:nvPr/>
            </p:nvSpPr>
            <p:spPr>
              <a:xfrm>
                <a:off x="6692502" y="2336575"/>
                <a:ext cx="39404" cy="43083"/>
              </a:xfrm>
              <a:custGeom>
                <a:avLst/>
                <a:gdLst>
                  <a:gd name="connsiteX0" fmla="*/ 16178 w 39404"/>
                  <a:gd name="connsiteY0" fmla="*/ 43084 h 43083"/>
                  <a:gd name="connsiteX1" fmla="*/ 16178 w 39404"/>
                  <a:gd name="connsiteY1" fmla="*/ 25220 h 43083"/>
                  <a:gd name="connsiteX2" fmla="*/ 0 w 39404"/>
                  <a:gd name="connsiteY2" fmla="*/ 25220 h 43083"/>
                  <a:gd name="connsiteX3" fmla="*/ 0 w 39404"/>
                  <a:gd name="connsiteY3" fmla="*/ 17689 h 43083"/>
                  <a:gd name="connsiteX4" fmla="*/ 16178 w 39404"/>
                  <a:gd name="connsiteY4" fmla="*/ 17689 h 43083"/>
                  <a:gd name="connsiteX5" fmla="*/ 16178 w 39404"/>
                  <a:gd name="connsiteY5" fmla="*/ 0 h 43083"/>
                  <a:gd name="connsiteX6" fmla="*/ 23226 w 39404"/>
                  <a:gd name="connsiteY6" fmla="*/ 0 h 43083"/>
                  <a:gd name="connsiteX7" fmla="*/ 23226 w 39404"/>
                  <a:gd name="connsiteY7" fmla="*/ 17689 h 43083"/>
                  <a:gd name="connsiteX8" fmla="*/ 39405 w 39404"/>
                  <a:gd name="connsiteY8" fmla="*/ 17689 h 43083"/>
                  <a:gd name="connsiteX9" fmla="*/ 39405 w 39404"/>
                  <a:gd name="connsiteY9" fmla="*/ 25220 h 43083"/>
                  <a:gd name="connsiteX10" fmla="*/ 23226 w 39404"/>
                  <a:gd name="connsiteY10" fmla="*/ 25220 h 43083"/>
                  <a:gd name="connsiteX11" fmla="*/ 23226 w 39404"/>
                  <a:gd name="connsiteY11" fmla="*/ 43084 h 43083"/>
                  <a:gd name="connsiteX12" fmla="*/ 16178 w 39404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083">
                    <a:moveTo>
                      <a:pt x="16178" y="43084"/>
                    </a:moveTo>
                    <a:lnTo>
                      <a:pt x="16178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8" y="17689"/>
                    </a:lnTo>
                    <a:lnTo>
                      <a:pt x="16178" y="0"/>
                    </a:lnTo>
                    <a:lnTo>
                      <a:pt x="23226" y="0"/>
                    </a:lnTo>
                    <a:lnTo>
                      <a:pt x="23226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226" y="25220"/>
                    </a:lnTo>
                    <a:lnTo>
                      <a:pt x="23226" y="43084"/>
                    </a:lnTo>
                    <a:lnTo>
                      <a:pt x="16178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12" name="Freihandform: Form 211">
                <a:extLst>
                  <a:ext uri="{FF2B5EF4-FFF2-40B4-BE49-F238E27FC236}">
                    <a16:creationId xmlns:a16="http://schemas.microsoft.com/office/drawing/2014/main" id="{EA53CD45-8D1D-BCA3-5657-A2EBCF9F943E}"/>
                  </a:ext>
                </a:extLst>
              </p:cNvPr>
              <p:cNvSpPr/>
              <p:nvPr/>
            </p:nvSpPr>
            <p:spPr>
              <a:xfrm>
                <a:off x="6695385" y="2336575"/>
                <a:ext cx="39565" cy="43083"/>
              </a:xfrm>
              <a:custGeom>
                <a:avLst/>
                <a:gdLst>
                  <a:gd name="connsiteX0" fmla="*/ 16339 w 39565"/>
                  <a:gd name="connsiteY0" fmla="*/ 43084 h 43083"/>
                  <a:gd name="connsiteX1" fmla="*/ 16339 w 39565"/>
                  <a:gd name="connsiteY1" fmla="*/ 25220 h 43083"/>
                  <a:gd name="connsiteX2" fmla="*/ 0 w 39565"/>
                  <a:gd name="connsiteY2" fmla="*/ 25220 h 43083"/>
                  <a:gd name="connsiteX3" fmla="*/ 0 w 39565"/>
                  <a:gd name="connsiteY3" fmla="*/ 17689 h 43083"/>
                  <a:gd name="connsiteX4" fmla="*/ 16339 w 39565"/>
                  <a:gd name="connsiteY4" fmla="*/ 17689 h 43083"/>
                  <a:gd name="connsiteX5" fmla="*/ 16339 w 39565"/>
                  <a:gd name="connsiteY5" fmla="*/ 0 h 43083"/>
                  <a:gd name="connsiteX6" fmla="*/ 23226 w 39565"/>
                  <a:gd name="connsiteY6" fmla="*/ 0 h 43083"/>
                  <a:gd name="connsiteX7" fmla="*/ 23226 w 39565"/>
                  <a:gd name="connsiteY7" fmla="*/ 17689 h 43083"/>
                  <a:gd name="connsiteX8" fmla="*/ 39565 w 39565"/>
                  <a:gd name="connsiteY8" fmla="*/ 17689 h 43083"/>
                  <a:gd name="connsiteX9" fmla="*/ 39565 w 39565"/>
                  <a:gd name="connsiteY9" fmla="*/ 25220 h 43083"/>
                  <a:gd name="connsiteX10" fmla="*/ 23226 w 39565"/>
                  <a:gd name="connsiteY10" fmla="*/ 25220 h 43083"/>
                  <a:gd name="connsiteX11" fmla="*/ 23226 w 39565"/>
                  <a:gd name="connsiteY11" fmla="*/ 43084 h 43083"/>
                  <a:gd name="connsiteX12" fmla="*/ 16339 w 3956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565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6" y="0"/>
                    </a:lnTo>
                    <a:lnTo>
                      <a:pt x="23226" y="17689"/>
                    </a:lnTo>
                    <a:lnTo>
                      <a:pt x="39565" y="17689"/>
                    </a:lnTo>
                    <a:lnTo>
                      <a:pt x="39565" y="25220"/>
                    </a:lnTo>
                    <a:lnTo>
                      <a:pt x="23226" y="25220"/>
                    </a:lnTo>
                    <a:lnTo>
                      <a:pt x="23226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13" name="Freihandform: Form 212">
                <a:extLst>
                  <a:ext uri="{FF2B5EF4-FFF2-40B4-BE49-F238E27FC236}">
                    <a16:creationId xmlns:a16="http://schemas.microsoft.com/office/drawing/2014/main" id="{7BC417BC-D469-7449-CE59-5E2C48EAEDDC}"/>
                  </a:ext>
                </a:extLst>
              </p:cNvPr>
              <p:cNvSpPr/>
              <p:nvPr/>
            </p:nvSpPr>
            <p:spPr>
              <a:xfrm>
                <a:off x="6704355" y="2336575"/>
                <a:ext cx="39565" cy="43083"/>
              </a:xfrm>
              <a:custGeom>
                <a:avLst/>
                <a:gdLst>
                  <a:gd name="connsiteX0" fmla="*/ 16339 w 39565"/>
                  <a:gd name="connsiteY0" fmla="*/ 43084 h 43083"/>
                  <a:gd name="connsiteX1" fmla="*/ 16339 w 39565"/>
                  <a:gd name="connsiteY1" fmla="*/ 25220 h 43083"/>
                  <a:gd name="connsiteX2" fmla="*/ 0 w 39565"/>
                  <a:gd name="connsiteY2" fmla="*/ 25220 h 43083"/>
                  <a:gd name="connsiteX3" fmla="*/ 0 w 39565"/>
                  <a:gd name="connsiteY3" fmla="*/ 17689 h 43083"/>
                  <a:gd name="connsiteX4" fmla="*/ 16339 w 39565"/>
                  <a:gd name="connsiteY4" fmla="*/ 17689 h 43083"/>
                  <a:gd name="connsiteX5" fmla="*/ 16339 w 39565"/>
                  <a:gd name="connsiteY5" fmla="*/ 0 h 43083"/>
                  <a:gd name="connsiteX6" fmla="*/ 23226 w 39565"/>
                  <a:gd name="connsiteY6" fmla="*/ 0 h 43083"/>
                  <a:gd name="connsiteX7" fmla="*/ 23226 w 39565"/>
                  <a:gd name="connsiteY7" fmla="*/ 17689 h 43083"/>
                  <a:gd name="connsiteX8" fmla="*/ 39565 w 39565"/>
                  <a:gd name="connsiteY8" fmla="*/ 17689 h 43083"/>
                  <a:gd name="connsiteX9" fmla="*/ 39565 w 39565"/>
                  <a:gd name="connsiteY9" fmla="*/ 25220 h 43083"/>
                  <a:gd name="connsiteX10" fmla="*/ 23226 w 39565"/>
                  <a:gd name="connsiteY10" fmla="*/ 25220 h 43083"/>
                  <a:gd name="connsiteX11" fmla="*/ 23226 w 39565"/>
                  <a:gd name="connsiteY11" fmla="*/ 43084 h 43083"/>
                  <a:gd name="connsiteX12" fmla="*/ 16339 w 3956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565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6" y="0"/>
                    </a:lnTo>
                    <a:lnTo>
                      <a:pt x="23226" y="17689"/>
                    </a:lnTo>
                    <a:lnTo>
                      <a:pt x="39565" y="17689"/>
                    </a:lnTo>
                    <a:lnTo>
                      <a:pt x="39565" y="25220"/>
                    </a:lnTo>
                    <a:lnTo>
                      <a:pt x="23226" y="25220"/>
                    </a:lnTo>
                    <a:lnTo>
                      <a:pt x="23226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14" name="Freihandform: Form 213">
                <a:extLst>
                  <a:ext uri="{FF2B5EF4-FFF2-40B4-BE49-F238E27FC236}">
                    <a16:creationId xmlns:a16="http://schemas.microsoft.com/office/drawing/2014/main" id="{008879BD-A787-3737-E622-B4650F714E9D}"/>
                  </a:ext>
                </a:extLst>
              </p:cNvPr>
              <p:cNvSpPr/>
              <p:nvPr/>
            </p:nvSpPr>
            <p:spPr>
              <a:xfrm>
                <a:off x="6707399" y="2336575"/>
                <a:ext cx="39404" cy="43083"/>
              </a:xfrm>
              <a:custGeom>
                <a:avLst/>
                <a:gdLst>
                  <a:gd name="connsiteX0" fmla="*/ 16178 w 39404"/>
                  <a:gd name="connsiteY0" fmla="*/ 43084 h 43083"/>
                  <a:gd name="connsiteX1" fmla="*/ 16178 w 39404"/>
                  <a:gd name="connsiteY1" fmla="*/ 25220 h 43083"/>
                  <a:gd name="connsiteX2" fmla="*/ 0 w 39404"/>
                  <a:gd name="connsiteY2" fmla="*/ 25220 h 43083"/>
                  <a:gd name="connsiteX3" fmla="*/ 0 w 39404"/>
                  <a:gd name="connsiteY3" fmla="*/ 17689 h 43083"/>
                  <a:gd name="connsiteX4" fmla="*/ 16178 w 39404"/>
                  <a:gd name="connsiteY4" fmla="*/ 17689 h 43083"/>
                  <a:gd name="connsiteX5" fmla="*/ 16178 w 39404"/>
                  <a:gd name="connsiteY5" fmla="*/ 0 h 43083"/>
                  <a:gd name="connsiteX6" fmla="*/ 23066 w 39404"/>
                  <a:gd name="connsiteY6" fmla="*/ 0 h 43083"/>
                  <a:gd name="connsiteX7" fmla="*/ 23066 w 39404"/>
                  <a:gd name="connsiteY7" fmla="*/ 17689 h 43083"/>
                  <a:gd name="connsiteX8" fmla="*/ 39405 w 39404"/>
                  <a:gd name="connsiteY8" fmla="*/ 17689 h 43083"/>
                  <a:gd name="connsiteX9" fmla="*/ 39405 w 39404"/>
                  <a:gd name="connsiteY9" fmla="*/ 25220 h 43083"/>
                  <a:gd name="connsiteX10" fmla="*/ 23066 w 39404"/>
                  <a:gd name="connsiteY10" fmla="*/ 25220 h 43083"/>
                  <a:gd name="connsiteX11" fmla="*/ 23066 w 39404"/>
                  <a:gd name="connsiteY11" fmla="*/ 43084 h 43083"/>
                  <a:gd name="connsiteX12" fmla="*/ 16178 w 39404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083">
                    <a:moveTo>
                      <a:pt x="16178" y="43084"/>
                    </a:moveTo>
                    <a:lnTo>
                      <a:pt x="16178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8" y="17689"/>
                    </a:lnTo>
                    <a:lnTo>
                      <a:pt x="16178" y="0"/>
                    </a:lnTo>
                    <a:lnTo>
                      <a:pt x="23066" y="0"/>
                    </a:lnTo>
                    <a:lnTo>
                      <a:pt x="23066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066" y="25220"/>
                    </a:lnTo>
                    <a:lnTo>
                      <a:pt x="23066" y="43084"/>
                    </a:lnTo>
                    <a:lnTo>
                      <a:pt x="16178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15" name="Freihandform: Form 214">
                <a:extLst>
                  <a:ext uri="{FF2B5EF4-FFF2-40B4-BE49-F238E27FC236}">
                    <a16:creationId xmlns:a16="http://schemas.microsoft.com/office/drawing/2014/main" id="{A92B6260-AB00-DD84-A163-9092FDF2E475}"/>
                  </a:ext>
                </a:extLst>
              </p:cNvPr>
              <p:cNvSpPr/>
              <p:nvPr/>
            </p:nvSpPr>
            <p:spPr>
              <a:xfrm>
                <a:off x="6713325" y="2336575"/>
                <a:ext cx="39404" cy="43083"/>
              </a:xfrm>
              <a:custGeom>
                <a:avLst/>
                <a:gdLst>
                  <a:gd name="connsiteX0" fmla="*/ 16339 w 39404"/>
                  <a:gd name="connsiteY0" fmla="*/ 43084 h 43083"/>
                  <a:gd name="connsiteX1" fmla="*/ 16339 w 39404"/>
                  <a:gd name="connsiteY1" fmla="*/ 25220 h 43083"/>
                  <a:gd name="connsiteX2" fmla="*/ 0 w 39404"/>
                  <a:gd name="connsiteY2" fmla="*/ 25220 h 43083"/>
                  <a:gd name="connsiteX3" fmla="*/ 0 w 39404"/>
                  <a:gd name="connsiteY3" fmla="*/ 17689 h 43083"/>
                  <a:gd name="connsiteX4" fmla="*/ 16339 w 39404"/>
                  <a:gd name="connsiteY4" fmla="*/ 17689 h 43083"/>
                  <a:gd name="connsiteX5" fmla="*/ 16339 w 39404"/>
                  <a:gd name="connsiteY5" fmla="*/ 0 h 43083"/>
                  <a:gd name="connsiteX6" fmla="*/ 23227 w 39404"/>
                  <a:gd name="connsiteY6" fmla="*/ 0 h 43083"/>
                  <a:gd name="connsiteX7" fmla="*/ 23227 w 39404"/>
                  <a:gd name="connsiteY7" fmla="*/ 17689 h 43083"/>
                  <a:gd name="connsiteX8" fmla="*/ 39405 w 39404"/>
                  <a:gd name="connsiteY8" fmla="*/ 17689 h 43083"/>
                  <a:gd name="connsiteX9" fmla="*/ 39405 w 39404"/>
                  <a:gd name="connsiteY9" fmla="*/ 25220 h 43083"/>
                  <a:gd name="connsiteX10" fmla="*/ 23227 w 39404"/>
                  <a:gd name="connsiteY10" fmla="*/ 25220 h 43083"/>
                  <a:gd name="connsiteX11" fmla="*/ 23227 w 39404"/>
                  <a:gd name="connsiteY11" fmla="*/ 43084 h 43083"/>
                  <a:gd name="connsiteX12" fmla="*/ 16339 w 39404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16" name="Freihandform: Form 215">
                <a:extLst>
                  <a:ext uri="{FF2B5EF4-FFF2-40B4-BE49-F238E27FC236}">
                    <a16:creationId xmlns:a16="http://schemas.microsoft.com/office/drawing/2014/main" id="{2DF2AE9F-0EB1-8678-64D9-83373CFBD03B}"/>
                  </a:ext>
                </a:extLst>
              </p:cNvPr>
              <p:cNvSpPr/>
              <p:nvPr/>
            </p:nvSpPr>
            <p:spPr>
              <a:xfrm>
                <a:off x="6719252" y="2336575"/>
                <a:ext cx="39565" cy="43083"/>
              </a:xfrm>
              <a:custGeom>
                <a:avLst/>
                <a:gdLst>
                  <a:gd name="connsiteX0" fmla="*/ 16339 w 39565"/>
                  <a:gd name="connsiteY0" fmla="*/ 43084 h 43083"/>
                  <a:gd name="connsiteX1" fmla="*/ 16339 w 39565"/>
                  <a:gd name="connsiteY1" fmla="*/ 25220 h 43083"/>
                  <a:gd name="connsiteX2" fmla="*/ 0 w 39565"/>
                  <a:gd name="connsiteY2" fmla="*/ 25220 h 43083"/>
                  <a:gd name="connsiteX3" fmla="*/ 0 w 39565"/>
                  <a:gd name="connsiteY3" fmla="*/ 17689 h 43083"/>
                  <a:gd name="connsiteX4" fmla="*/ 16339 w 39565"/>
                  <a:gd name="connsiteY4" fmla="*/ 17689 h 43083"/>
                  <a:gd name="connsiteX5" fmla="*/ 16339 w 39565"/>
                  <a:gd name="connsiteY5" fmla="*/ 0 h 43083"/>
                  <a:gd name="connsiteX6" fmla="*/ 23227 w 39565"/>
                  <a:gd name="connsiteY6" fmla="*/ 0 h 43083"/>
                  <a:gd name="connsiteX7" fmla="*/ 23227 w 39565"/>
                  <a:gd name="connsiteY7" fmla="*/ 17689 h 43083"/>
                  <a:gd name="connsiteX8" fmla="*/ 39565 w 39565"/>
                  <a:gd name="connsiteY8" fmla="*/ 17689 h 43083"/>
                  <a:gd name="connsiteX9" fmla="*/ 39565 w 39565"/>
                  <a:gd name="connsiteY9" fmla="*/ 25220 h 43083"/>
                  <a:gd name="connsiteX10" fmla="*/ 23227 w 39565"/>
                  <a:gd name="connsiteY10" fmla="*/ 25220 h 43083"/>
                  <a:gd name="connsiteX11" fmla="*/ 23227 w 39565"/>
                  <a:gd name="connsiteY11" fmla="*/ 43084 h 43083"/>
                  <a:gd name="connsiteX12" fmla="*/ 16339 w 3956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565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565" y="17689"/>
                    </a:lnTo>
                    <a:lnTo>
                      <a:pt x="3956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17" name="Freihandform: Form 216">
                <a:extLst>
                  <a:ext uri="{FF2B5EF4-FFF2-40B4-BE49-F238E27FC236}">
                    <a16:creationId xmlns:a16="http://schemas.microsoft.com/office/drawing/2014/main" id="{68127D83-4162-EDE9-6B74-733DE231EA2B}"/>
                  </a:ext>
                </a:extLst>
              </p:cNvPr>
              <p:cNvSpPr/>
              <p:nvPr/>
            </p:nvSpPr>
            <p:spPr>
              <a:xfrm>
                <a:off x="6731266" y="2336575"/>
                <a:ext cx="39404" cy="43083"/>
              </a:xfrm>
              <a:custGeom>
                <a:avLst/>
                <a:gdLst>
                  <a:gd name="connsiteX0" fmla="*/ 16179 w 39404"/>
                  <a:gd name="connsiteY0" fmla="*/ 43084 h 43083"/>
                  <a:gd name="connsiteX1" fmla="*/ 16179 w 39404"/>
                  <a:gd name="connsiteY1" fmla="*/ 25220 h 43083"/>
                  <a:gd name="connsiteX2" fmla="*/ 0 w 39404"/>
                  <a:gd name="connsiteY2" fmla="*/ 25220 h 43083"/>
                  <a:gd name="connsiteX3" fmla="*/ 0 w 39404"/>
                  <a:gd name="connsiteY3" fmla="*/ 17689 h 43083"/>
                  <a:gd name="connsiteX4" fmla="*/ 16179 w 39404"/>
                  <a:gd name="connsiteY4" fmla="*/ 17689 h 43083"/>
                  <a:gd name="connsiteX5" fmla="*/ 16179 w 39404"/>
                  <a:gd name="connsiteY5" fmla="*/ 0 h 43083"/>
                  <a:gd name="connsiteX6" fmla="*/ 23066 w 39404"/>
                  <a:gd name="connsiteY6" fmla="*/ 0 h 43083"/>
                  <a:gd name="connsiteX7" fmla="*/ 23066 w 39404"/>
                  <a:gd name="connsiteY7" fmla="*/ 17689 h 43083"/>
                  <a:gd name="connsiteX8" fmla="*/ 39405 w 39404"/>
                  <a:gd name="connsiteY8" fmla="*/ 17689 h 43083"/>
                  <a:gd name="connsiteX9" fmla="*/ 39405 w 39404"/>
                  <a:gd name="connsiteY9" fmla="*/ 25220 h 43083"/>
                  <a:gd name="connsiteX10" fmla="*/ 23066 w 39404"/>
                  <a:gd name="connsiteY10" fmla="*/ 25220 h 43083"/>
                  <a:gd name="connsiteX11" fmla="*/ 23066 w 39404"/>
                  <a:gd name="connsiteY11" fmla="*/ 43084 h 43083"/>
                  <a:gd name="connsiteX12" fmla="*/ 16179 w 39404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083">
                    <a:moveTo>
                      <a:pt x="16179" y="43084"/>
                    </a:moveTo>
                    <a:lnTo>
                      <a:pt x="1617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9" y="17689"/>
                    </a:lnTo>
                    <a:lnTo>
                      <a:pt x="16179" y="0"/>
                    </a:lnTo>
                    <a:lnTo>
                      <a:pt x="23066" y="0"/>
                    </a:lnTo>
                    <a:lnTo>
                      <a:pt x="23066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066" y="25220"/>
                    </a:lnTo>
                    <a:lnTo>
                      <a:pt x="23066" y="43084"/>
                    </a:lnTo>
                    <a:lnTo>
                      <a:pt x="1617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18" name="Freihandform: Form 217">
                <a:extLst>
                  <a:ext uri="{FF2B5EF4-FFF2-40B4-BE49-F238E27FC236}">
                    <a16:creationId xmlns:a16="http://schemas.microsoft.com/office/drawing/2014/main" id="{95589C9F-4086-8655-91D8-104A292274D3}"/>
                  </a:ext>
                </a:extLst>
              </p:cNvPr>
              <p:cNvSpPr/>
              <p:nvPr/>
            </p:nvSpPr>
            <p:spPr>
              <a:xfrm>
                <a:off x="6737192" y="2336575"/>
                <a:ext cx="39405" cy="43083"/>
              </a:xfrm>
              <a:custGeom>
                <a:avLst/>
                <a:gdLst>
                  <a:gd name="connsiteX0" fmla="*/ 16179 w 39405"/>
                  <a:gd name="connsiteY0" fmla="*/ 43084 h 43083"/>
                  <a:gd name="connsiteX1" fmla="*/ 16179 w 39405"/>
                  <a:gd name="connsiteY1" fmla="*/ 25220 h 43083"/>
                  <a:gd name="connsiteX2" fmla="*/ 0 w 39405"/>
                  <a:gd name="connsiteY2" fmla="*/ 25220 h 43083"/>
                  <a:gd name="connsiteX3" fmla="*/ 0 w 39405"/>
                  <a:gd name="connsiteY3" fmla="*/ 17689 h 43083"/>
                  <a:gd name="connsiteX4" fmla="*/ 16179 w 39405"/>
                  <a:gd name="connsiteY4" fmla="*/ 17689 h 43083"/>
                  <a:gd name="connsiteX5" fmla="*/ 16179 w 39405"/>
                  <a:gd name="connsiteY5" fmla="*/ 0 h 43083"/>
                  <a:gd name="connsiteX6" fmla="*/ 23227 w 39405"/>
                  <a:gd name="connsiteY6" fmla="*/ 0 h 43083"/>
                  <a:gd name="connsiteX7" fmla="*/ 23227 w 39405"/>
                  <a:gd name="connsiteY7" fmla="*/ 17689 h 43083"/>
                  <a:gd name="connsiteX8" fmla="*/ 39405 w 39405"/>
                  <a:gd name="connsiteY8" fmla="*/ 17689 h 43083"/>
                  <a:gd name="connsiteX9" fmla="*/ 39405 w 39405"/>
                  <a:gd name="connsiteY9" fmla="*/ 25220 h 43083"/>
                  <a:gd name="connsiteX10" fmla="*/ 23227 w 39405"/>
                  <a:gd name="connsiteY10" fmla="*/ 25220 h 43083"/>
                  <a:gd name="connsiteX11" fmla="*/ 23227 w 39405"/>
                  <a:gd name="connsiteY11" fmla="*/ 43084 h 43083"/>
                  <a:gd name="connsiteX12" fmla="*/ 16179 w 3940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5" h="43083">
                    <a:moveTo>
                      <a:pt x="16179" y="43084"/>
                    </a:moveTo>
                    <a:lnTo>
                      <a:pt x="1617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9" y="17689"/>
                    </a:lnTo>
                    <a:lnTo>
                      <a:pt x="1617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17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19" name="Freihandform: Form 218">
                <a:extLst>
                  <a:ext uri="{FF2B5EF4-FFF2-40B4-BE49-F238E27FC236}">
                    <a16:creationId xmlns:a16="http://schemas.microsoft.com/office/drawing/2014/main" id="{558BA282-C094-FFC4-037C-9FCA3B833986}"/>
                  </a:ext>
                </a:extLst>
              </p:cNvPr>
              <p:cNvSpPr/>
              <p:nvPr/>
            </p:nvSpPr>
            <p:spPr>
              <a:xfrm>
                <a:off x="6760900" y="2336575"/>
                <a:ext cx="39565" cy="43083"/>
              </a:xfrm>
              <a:custGeom>
                <a:avLst/>
                <a:gdLst>
                  <a:gd name="connsiteX0" fmla="*/ 16339 w 39565"/>
                  <a:gd name="connsiteY0" fmla="*/ 43084 h 43083"/>
                  <a:gd name="connsiteX1" fmla="*/ 16339 w 39565"/>
                  <a:gd name="connsiteY1" fmla="*/ 25220 h 43083"/>
                  <a:gd name="connsiteX2" fmla="*/ 0 w 39565"/>
                  <a:gd name="connsiteY2" fmla="*/ 25220 h 43083"/>
                  <a:gd name="connsiteX3" fmla="*/ 0 w 39565"/>
                  <a:gd name="connsiteY3" fmla="*/ 17689 h 43083"/>
                  <a:gd name="connsiteX4" fmla="*/ 16339 w 39565"/>
                  <a:gd name="connsiteY4" fmla="*/ 17689 h 43083"/>
                  <a:gd name="connsiteX5" fmla="*/ 16339 w 39565"/>
                  <a:gd name="connsiteY5" fmla="*/ 0 h 43083"/>
                  <a:gd name="connsiteX6" fmla="*/ 23226 w 39565"/>
                  <a:gd name="connsiteY6" fmla="*/ 0 h 43083"/>
                  <a:gd name="connsiteX7" fmla="*/ 23226 w 39565"/>
                  <a:gd name="connsiteY7" fmla="*/ 17689 h 43083"/>
                  <a:gd name="connsiteX8" fmla="*/ 39565 w 39565"/>
                  <a:gd name="connsiteY8" fmla="*/ 17689 h 43083"/>
                  <a:gd name="connsiteX9" fmla="*/ 39565 w 39565"/>
                  <a:gd name="connsiteY9" fmla="*/ 25220 h 43083"/>
                  <a:gd name="connsiteX10" fmla="*/ 23226 w 39565"/>
                  <a:gd name="connsiteY10" fmla="*/ 25220 h 43083"/>
                  <a:gd name="connsiteX11" fmla="*/ 23226 w 39565"/>
                  <a:gd name="connsiteY11" fmla="*/ 43084 h 43083"/>
                  <a:gd name="connsiteX12" fmla="*/ 16339 w 3956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565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6" y="0"/>
                    </a:lnTo>
                    <a:lnTo>
                      <a:pt x="23226" y="17689"/>
                    </a:lnTo>
                    <a:lnTo>
                      <a:pt x="39565" y="17689"/>
                    </a:lnTo>
                    <a:lnTo>
                      <a:pt x="39565" y="25220"/>
                    </a:lnTo>
                    <a:lnTo>
                      <a:pt x="23226" y="25220"/>
                    </a:lnTo>
                    <a:lnTo>
                      <a:pt x="23226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20" name="Freihandform: Form 219">
                <a:extLst>
                  <a:ext uri="{FF2B5EF4-FFF2-40B4-BE49-F238E27FC236}">
                    <a16:creationId xmlns:a16="http://schemas.microsoft.com/office/drawing/2014/main" id="{AAB6EF43-3970-3D51-9392-649AEC7F83A9}"/>
                  </a:ext>
                </a:extLst>
              </p:cNvPr>
              <p:cNvSpPr/>
              <p:nvPr/>
            </p:nvSpPr>
            <p:spPr>
              <a:xfrm>
                <a:off x="6763943" y="2336575"/>
                <a:ext cx="39404" cy="43083"/>
              </a:xfrm>
              <a:custGeom>
                <a:avLst/>
                <a:gdLst>
                  <a:gd name="connsiteX0" fmla="*/ 16339 w 39404"/>
                  <a:gd name="connsiteY0" fmla="*/ 43084 h 43083"/>
                  <a:gd name="connsiteX1" fmla="*/ 16339 w 39404"/>
                  <a:gd name="connsiteY1" fmla="*/ 25220 h 43083"/>
                  <a:gd name="connsiteX2" fmla="*/ 0 w 39404"/>
                  <a:gd name="connsiteY2" fmla="*/ 25220 h 43083"/>
                  <a:gd name="connsiteX3" fmla="*/ 0 w 39404"/>
                  <a:gd name="connsiteY3" fmla="*/ 17689 h 43083"/>
                  <a:gd name="connsiteX4" fmla="*/ 16339 w 39404"/>
                  <a:gd name="connsiteY4" fmla="*/ 17689 h 43083"/>
                  <a:gd name="connsiteX5" fmla="*/ 16339 w 39404"/>
                  <a:gd name="connsiteY5" fmla="*/ 0 h 43083"/>
                  <a:gd name="connsiteX6" fmla="*/ 23226 w 39404"/>
                  <a:gd name="connsiteY6" fmla="*/ 0 h 43083"/>
                  <a:gd name="connsiteX7" fmla="*/ 23226 w 39404"/>
                  <a:gd name="connsiteY7" fmla="*/ 17689 h 43083"/>
                  <a:gd name="connsiteX8" fmla="*/ 39405 w 39404"/>
                  <a:gd name="connsiteY8" fmla="*/ 17689 h 43083"/>
                  <a:gd name="connsiteX9" fmla="*/ 39405 w 39404"/>
                  <a:gd name="connsiteY9" fmla="*/ 25220 h 43083"/>
                  <a:gd name="connsiteX10" fmla="*/ 23226 w 39404"/>
                  <a:gd name="connsiteY10" fmla="*/ 25220 h 43083"/>
                  <a:gd name="connsiteX11" fmla="*/ 23226 w 39404"/>
                  <a:gd name="connsiteY11" fmla="*/ 43084 h 43083"/>
                  <a:gd name="connsiteX12" fmla="*/ 16339 w 39404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6" y="0"/>
                    </a:lnTo>
                    <a:lnTo>
                      <a:pt x="23226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226" y="25220"/>
                    </a:lnTo>
                    <a:lnTo>
                      <a:pt x="23226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21" name="Freihandform: Form 220">
                <a:extLst>
                  <a:ext uri="{FF2B5EF4-FFF2-40B4-BE49-F238E27FC236}">
                    <a16:creationId xmlns:a16="http://schemas.microsoft.com/office/drawing/2014/main" id="{ACC5483C-02E9-8C1F-3946-39A0C0B14FE7}"/>
                  </a:ext>
                </a:extLst>
              </p:cNvPr>
              <p:cNvSpPr/>
              <p:nvPr/>
            </p:nvSpPr>
            <p:spPr>
              <a:xfrm>
                <a:off x="6775957" y="2336575"/>
                <a:ext cx="39404" cy="43083"/>
              </a:xfrm>
              <a:custGeom>
                <a:avLst/>
                <a:gdLst>
                  <a:gd name="connsiteX0" fmla="*/ 16178 w 39404"/>
                  <a:gd name="connsiteY0" fmla="*/ 43084 h 43083"/>
                  <a:gd name="connsiteX1" fmla="*/ 16178 w 39404"/>
                  <a:gd name="connsiteY1" fmla="*/ 25220 h 43083"/>
                  <a:gd name="connsiteX2" fmla="*/ 0 w 39404"/>
                  <a:gd name="connsiteY2" fmla="*/ 25220 h 43083"/>
                  <a:gd name="connsiteX3" fmla="*/ 0 w 39404"/>
                  <a:gd name="connsiteY3" fmla="*/ 17689 h 43083"/>
                  <a:gd name="connsiteX4" fmla="*/ 16178 w 39404"/>
                  <a:gd name="connsiteY4" fmla="*/ 17689 h 43083"/>
                  <a:gd name="connsiteX5" fmla="*/ 16178 w 39404"/>
                  <a:gd name="connsiteY5" fmla="*/ 0 h 43083"/>
                  <a:gd name="connsiteX6" fmla="*/ 23066 w 39404"/>
                  <a:gd name="connsiteY6" fmla="*/ 0 h 43083"/>
                  <a:gd name="connsiteX7" fmla="*/ 23066 w 39404"/>
                  <a:gd name="connsiteY7" fmla="*/ 17689 h 43083"/>
                  <a:gd name="connsiteX8" fmla="*/ 39405 w 39404"/>
                  <a:gd name="connsiteY8" fmla="*/ 17689 h 43083"/>
                  <a:gd name="connsiteX9" fmla="*/ 39405 w 39404"/>
                  <a:gd name="connsiteY9" fmla="*/ 25220 h 43083"/>
                  <a:gd name="connsiteX10" fmla="*/ 23066 w 39404"/>
                  <a:gd name="connsiteY10" fmla="*/ 25220 h 43083"/>
                  <a:gd name="connsiteX11" fmla="*/ 23066 w 39404"/>
                  <a:gd name="connsiteY11" fmla="*/ 43084 h 43083"/>
                  <a:gd name="connsiteX12" fmla="*/ 16178 w 39404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083">
                    <a:moveTo>
                      <a:pt x="16178" y="43084"/>
                    </a:moveTo>
                    <a:lnTo>
                      <a:pt x="16178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8" y="17689"/>
                    </a:lnTo>
                    <a:lnTo>
                      <a:pt x="16178" y="0"/>
                    </a:lnTo>
                    <a:lnTo>
                      <a:pt x="23066" y="0"/>
                    </a:lnTo>
                    <a:lnTo>
                      <a:pt x="23066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066" y="25220"/>
                    </a:lnTo>
                    <a:lnTo>
                      <a:pt x="23066" y="43084"/>
                    </a:lnTo>
                    <a:lnTo>
                      <a:pt x="16178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22" name="Freihandform: Form 221">
                <a:extLst>
                  <a:ext uri="{FF2B5EF4-FFF2-40B4-BE49-F238E27FC236}">
                    <a16:creationId xmlns:a16="http://schemas.microsoft.com/office/drawing/2014/main" id="{FFFFDC3D-D06E-D057-5196-85FEC276770C}"/>
                  </a:ext>
                </a:extLst>
              </p:cNvPr>
              <p:cNvSpPr/>
              <p:nvPr/>
            </p:nvSpPr>
            <p:spPr>
              <a:xfrm>
                <a:off x="6799664" y="2346208"/>
                <a:ext cx="39565" cy="43258"/>
              </a:xfrm>
              <a:custGeom>
                <a:avLst/>
                <a:gdLst>
                  <a:gd name="connsiteX0" fmla="*/ 16339 w 39565"/>
                  <a:gd name="connsiteY0" fmla="*/ 43259 h 43258"/>
                  <a:gd name="connsiteX1" fmla="*/ 16339 w 39565"/>
                  <a:gd name="connsiteY1" fmla="*/ 25395 h 43258"/>
                  <a:gd name="connsiteX2" fmla="*/ 0 w 39565"/>
                  <a:gd name="connsiteY2" fmla="*/ 25395 h 43258"/>
                  <a:gd name="connsiteX3" fmla="*/ 0 w 39565"/>
                  <a:gd name="connsiteY3" fmla="*/ 17864 h 43258"/>
                  <a:gd name="connsiteX4" fmla="*/ 16339 w 39565"/>
                  <a:gd name="connsiteY4" fmla="*/ 17864 h 43258"/>
                  <a:gd name="connsiteX5" fmla="*/ 16339 w 39565"/>
                  <a:gd name="connsiteY5" fmla="*/ 0 h 43258"/>
                  <a:gd name="connsiteX6" fmla="*/ 23227 w 39565"/>
                  <a:gd name="connsiteY6" fmla="*/ 0 h 43258"/>
                  <a:gd name="connsiteX7" fmla="*/ 23227 w 39565"/>
                  <a:gd name="connsiteY7" fmla="*/ 17864 h 43258"/>
                  <a:gd name="connsiteX8" fmla="*/ 39565 w 39565"/>
                  <a:gd name="connsiteY8" fmla="*/ 17864 h 43258"/>
                  <a:gd name="connsiteX9" fmla="*/ 39565 w 39565"/>
                  <a:gd name="connsiteY9" fmla="*/ 25395 h 43258"/>
                  <a:gd name="connsiteX10" fmla="*/ 23227 w 39565"/>
                  <a:gd name="connsiteY10" fmla="*/ 25395 h 43258"/>
                  <a:gd name="connsiteX11" fmla="*/ 23227 w 39565"/>
                  <a:gd name="connsiteY11" fmla="*/ 43259 h 43258"/>
                  <a:gd name="connsiteX12" fmla="*/ 16339 w 39565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565" h="43258">
                    <a:moveTo>
                      <a:pt x="16339" y="43259"/>
                    </a:moveTo>
                    <a:lnTo>
                      <a:pt x="16339" y="25395"/>
                    </a:lnTo>
                    <a:lnTo>
                      <a:pt x="0" y="25395"/>
                    </a:lnTo>
                    <a:lnTo>
                      <a:pt x="0" y="17864"/>
                    </a:lnTo>
                    <a:lnTo>
                      <a:pt x="16339" y="17864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864"/>
                    </a:lnTo>
                    <a:lnTo>
                      <a:pt x="39565" y="17864"/>
                    </a:lnTo>
                    <a:lnTo>
                      <a:pt x="39565" y="25395"/>
                    </a:lnTo>
                    <a:lnTo>
                      <a:pt x="23227" y="25395"/>
                    </a:lnTo>
                    <a:lnTo>
                      <a:pt x="23227" y="43259"/>
                    </a:lnTo>
                    <a:lnTo>
                      <a:pt x="16339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23" name="Freihandform: Form 222">
                <a:extLst>
                  <a:ext uri="{FF2B5EF4-FFF2-40B4-BE49-F238E27FC236}">
                    <a16:creationId xmlns:a16="http://schemas.microsoft.com/office/drawing/2014/main" id="{DDC6C161-D1C5-A125-012A-F78C20B3114D}"/>
                  </a:ext>
                </a:extLst>
              </p:cNvPr>
              <p:cNvSpPr/>
              <p:nvPr/>
            </p:nvSpPr>
            <p:spPr>
              <a:xfrm>
                <a:off x="6802707" y="2346208"/>
                <a:ext cx="39405" cy="43258"/>
              </a:xfrm>
              <a:custGeom>
                <a:avLst/>
                <a:gdLst>
                  <a:gd name="connsiteX0" fmla="*/ 16339 w 39405"/>
                  <a:gd name="connsiteY0" fmla="*/ 43259 h 43258"/>
                  <a:gd name="connsiteX1" fmla="*/ 16339 w 39405"/>
                  <a:gd name="connsiteY1" fmla="*/ 25395 h 43258"/>
                  <a:gd name="connsiteX2" fmla="*/ 0 w 39405"/>
                  <a:gd name="connsiteY2" fmla="*/ 25395 h 43258"/>
                  <a:gd name="connsiteX3" fmla="*/ 0 w 39405"/>
                  <a:gd name="connsiteY3" fmla="*/ 17864 h 43258"/>
                  <a:gd name="connsiteX4" fmla="*/ 16339 w 39405"/>
                  <a:gd name="connsiteY4" fmla="*/ 17864 h 43258"/>
                  <a:gd name="connsiteX5" fmla="*/ 16339 w 39405"/>
                  <a:gd name="connsiteY5" fmla="*/ 0 h 43258"/>
                  <a:gd name="connsiteX6" fmla="*/ 23227 w 39405"/>
                  <a:gd name="connsiteY6" fmla="*/ 0 h 43258"/>
                  <a:gd name="connsiteX7" fmla="*/ 23227 w 39405"/>
                  <a:gd name="connsiteY7" fmla="*/ 17864 h 43258"/>
                  <a:gd name="connsiteX8" fmla="*/ 39405 w 39405"/>
                  <a:gd name="connsiteY8" fmla="*/ 17864 h 43258"/>
                  <a:gd name="connsiteX9" fmla="*/ 39405 w 39405"/>
                  <a:gd name="connsiteY9" fmla="*/ 25395 h 43258"/>
                  <a:gd name="connsiteX10" fmla="*/ 23227 w 39405"/>
                  <a:gd name="connsiteY10" fmla="*/ 25395 h 43258"/>
                  <a:gd name="connsiteX11" fmla="*/ 23227 w 39405"/>
                  <a:gd name="connsiteY11" fmla="*/ 43259 h 43258"/>
                  <a:gd name="connsiteX12" fmla="*/ 16339 w 39405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5" h="43258">
                    <a:moveTo>
                      <a:pt x="16339" y="43259"/>
                    </a:moveTo>
                    <a:lnTo>
                      <a:pt x="16339" y="25395"/>
                    </a:lnTo>
                    <a:lnTo>
                      <a:pt x="0" y="25395"/>
                    </a:lnTo>
                    <a:lnTo>
                      <a:pt x="0" y="17864"/>
                    </a:lnTo>
                    <a:lnTo>
                      <a:pt x="16339" y="17864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864"/>
                    </a:lnTo>
                    <a:lnTo>
                      <a:pt x="39405" y="17864"/>
                    </a:lnTo>
                    <a:lnTo>
                      <a:pt x="39405" y="25395"/>
                    </a:lnTo>
                    <a:lnTo>
                      <a:pt x="23227" y="25395"/>
                    </a:lnTo>
                    <a:lnTo>
                      <a:pt x="23227" y="43259"/>
                    </a:lnTo>
                    <a:lnTo>
                      <a:pt x="16339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24" name="Freihandform: Form 223">
                <a:extLst>
                  <a:ext uri="{FF2B5EF4-FFF2-40B4-BE49-F238E27FC236}">
                    <a16:creationId xmlns:a16="http://schemas.microsoft.com/office/drawing/2014/main" id="{0EB0CBE6-B83B-E946-D4DD-C68720484361}"/>
                  </a:ext>
                </a:extLst>
              </p:cNvPr>
              <p:cNvSpPr/>
              <p:nvPr/>
            </p:nvSpPr>
            <p:spPr>
              <a:xfrm>
                <a:off x="6814561" y="2346208"/>
                <a:ext cx="39565" cy="43258"/>
              </a:xfrm>
              <a:custGeom>
                <a:avLst/>
                <a:gdLst>
                  <a:gd name="connsiteX0" fmla="*/ 16339 w 39565"/>
                  <a:gd name="connsiteY0" fmla="*/ 43259 h 43258"/>
                  <a:gd name="connsiteX1" fmla="*/ 16339 w 39565"/>
                  <a:gd name="connsiteY1" fmla="*/ 25395 h 43258"/>
                  <a:gd name="connsiteX2" fmla="*/ 0 w 39565"/>
                  <a:gd name="connsiteY2" fmla="*/ 25395 h 43258"/>
                  <a:gd name="connsiteX3" fmla="*/ 0 w 39565"/>
                  <a:gd name="connsiteY3" fmla="*/ 17864 h 43258"/>
                  <a:gd name="connsiteX4" fmla="*/ 16339 w 39565"/>
                  <a:gd name="connsiteY4" fmla="*/ 17864 h 43258"/>
                  <a:gd name="connsiteX5" fmla="*/ 16339 w 39565"/>
                  <a:gd name="connsiteY5" fmla="*/ 0 h 43258"/>
                  <a:gd name="connsiteX6" fmla="*/ 23226 w 39565"/>
                  <a:gd name="connsiteY6" fmla="*/ 0 h 43258"/>
                  <a:gd name="connsiteX7" fmla="*/ 23226 w 39565"/>
                  <a:gd name="connsiteY7" fmla="*/ 17864 h 43258"/>
                  <a:gd name="connsiteX8" fmla="*/ 39565 w 39565"/>
                  <a:gd name="connsiteY8" fmla="*/ 17864 h 43258"/>
                  <a:gd name="connsiteX9" fmla="*/ 39565 w 39565"/>
                  <a:gd name="connsiteY9" fmla="*/ 25395 h 43258"/>
                  <a:gd name="connsiteX10" fmla="*/ 23226 w 39565"/>
                  <a:gd name="connsiteY10" fmla="*/ 25395 h 43258"/>
                  <a:gd name="connsiteX11" fmla="*/ 23226 w 39565"/>
                  <a:gd name="connsiteY11" fmla="*/ 43259 h 43258"/>
                  <a:gd name="connsiteX12" fmla="*/ 16339 w 39565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565" h="43258">
                    <a:moveTo>
                      <a:pt x="16339" y="43259"/>
                    </a:moveTo>
                    <a:lnTo>
                      <a:pt x="16339" y="25395"/>
                    </a:lnTo>
                    <a:lnTo>
                      <a:pt x="0" y="25395"/>
                    </a:lnTo>
                    <a:lnTo>
                      <a:pt x="0" y="17864"/>
                    </a:lnTo>
                    <a:lnTo>
                      <a:pt x="16339" y="17864"/>
                    </a:lnTo>
                    <a:lnTo>
                      <a:pt x="16339" y="0"/>
                    </a:lnTo>
                    <a:lnTo>
                      <a:pt x="23226" y="0"/>
                    </a:lnTo>
                    <a:lnTo>
                      <a:pt x="23226" y="17864"/>
                    </a:lnTo>
                    <a:lnTo>
                      <a:pt x="39565" y="17864"/>
                    </a:lnTo>
                    <a:lnTo>
                      <a:pt x="39565" y="25395"/>
                    </a:lnTo>
                    <a:lnTo>
                      <a:pt x="23226" y="25395"/>
                    </a:lnTo>
                    <a:lnTo>
                      <a:pt x="23226" y="43259"/>
                    </a:lnTo>
                    <a:lnTo>
                      <a:pt x="16339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25" name="Freihandform: Form 224">
                <a:extLst>
                  <a:ext uri="{FF2B5EF4-FFF2-40B4-BE49-F238E27FC236}">
                    <a16:creationId xmlns:a16="http://schemas.microsoft.com/office/drawing/2014/main" id="{01C79ECD-D4C2-1512-99BA-29184A75DAC1}"/>
                  </a:ext>
                </a:extLst>
              </p:cNvPr>
              <p:cNvSpPr/>
              <p:nvPr/>
            </p:nvSpPr>
            <p:spPr>
              <a:xfrm>
                <a:off x="6838428" y="2346208"/>
                <a:ext cx="39404" cy="43258"/>
              </a:xfrm>
              <a:custGeom>
                <a:avLst/>
                <a:gdLst>
                  <a:gd name="connsiteX0" fmla="*/ 16179 w 39404"/>
                  <a:gd name="connsiteY0" fmla="*/ 43259 h 43258"/>
                  <a:gd name="connsiteX1" fmla="*/ 16179 w 39404"/>
                  <a:gd name="connsiteY1" fmla="*/ 25395 h 43258"/>
                  <a:gd name="connsiteX2" fmla="*/ 0 w 39404"/>
                  <a:gd name="connsiteY2" fmla="*/ 25395 h 43258"/>
                  <a:gd name="connsiteX3" fmla="*/ 0 w 39404"/>
                  <a:gd name="connsiteY3" fmla="*/ 17864 h 43258"/>
                  <a:gd name="connsiteX4" fmla="*/ 16179 w 39404"/>
                  <a:gd name="connsiteY4" fmla="*/ 17864 h 43258"/>
                  <a:gd name="connsiteX5" fmla="*/ 16179 w 39404"/>
                  <a:gd name="connsiteY5" fmla="*/ 0 h 43258"/>
                  <a:gd name="connsiteX6" fmla="*/ 23227 w 39404"/>
                  <a:gd name="connsiteY6" fmla="*/ 0 h 43258"/>
                  <a:gd name="connsiteX7" fmla="*/ 23227 w 39404"/>
                  <a:gd name="connsiteY7" fmla="*/ 17864 h 43258"/>
                  <a:gd name="connsiteX8" fmla="*/ 39405 w 39404"/>
                  <a:gd name="connsiteY8" fmla="*/ 17864 h 43258"/>
                  <a:gd name="connsiteX9" fmla="*/ 39405 w 39404"/>
                  <a:gd name="connsiteY9" fmla="*/ 25395 h 43258"/>
                  <a:gd name="connsiteX10" fmla="*/ 23227 w 39404"/>
                  <a:gd name="connsiteY10" fmla="*/ 25395 h 43258"/>
                  <a:gd name="connsiteX11" fmla="*/ 23227 w 39404"/>
                  <a:gd name="connsiteY11" fmla="*/ 43259 h 43258"/>
                  <a:gd name="connsiteX12" fmla="*/ 16179 w 39404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258">
                    <a:moveTo>
                      <a:pt x="16179" y="43259"/>
                    </a:moveTo>
                    <a:lnTo>
                      <a:pt x="16179" y="25395"/>
                    </a:lnTo>
                    <a:lnTo>
                      <a:pt x="0" y="25395"/>
                    </a:lnTo>
                    <a:lnTo>
                      <a:pt x="0" y="17864"/>
                    </a:lnTo>
                    <a:lnTo>
                      <a:pt x="16179" y="17864"/>
                    </a:lnTo>
                    <a:lnTo>
                      <a:pt x="16179" y="0"/>
                    </a:lnTo>
                    <a:lnTo>
                      <a:pt x="23227" y="0"/>
                    </a:lnTo>
                    <a:lnTo>
                      <a:pt x="23227" y="17864"/>
                    </a:lnTo>
                    <a:lnTo>
                      <a:pt x="39405" y="17864"/>
                    </a:lnTo>
                    <a:lnTo>
                      <a:pt x="39405" y="25395"/>
                    </a:lnTo>
                    <a:lnTo>
                      <a:pt x="23227" y="25395"/>
                    </a:lnTo>
                    <a:lnTo>
                      <a:pt x="23227" y="43259"/>
                    </a:lnTo>
                    <a:lnTo>
                      <a:pt x="16179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26" name="Freihandform: Form 225">
                <a:extLst>
                  <a:ext uri="{FF2B5EF4-FFF2-40B4-BE49-F238E27FC236}">
                    <a16:creationId xmlns:a16="http://schemas.microsoft.com/office/drawing/2014/main" id="{971E1A13-D3F9-9134-2A64-9B8FAAD32B22}"/>
                  </a:ext>
                </a:extLst>
              </p:cNvPr>
              <p:cNvSpPr/>
              <p:nvPr/>
            </p:nvSpPr>
            <p:spPr>
              <a:xfrm>
                <a:off x="6841472" y="2346208"/>
                <a:ext cx="39404" cy="43258"/>
              </a:xfrm>
              <a:custGeom>
                <a:avLst/>
                <a:gdLst>
                  <a:gd name="connsiteX0" fmla="*/ 16179 w 39404"/>
                  <a:gd name="connsiteY0" fmla="*/ 43259 h 43258"/>
                  <a:gd name="connsiteX1" fmla="*/ 16179 w 39404"/>
                  <a:gd name="connsiteY1" fmla="*/ 25395 h 43258"/>
                  <a:gd name="connsiteX2" fmla="*/ 0 w 39404"/>
                  <a:gd name="connsiteY2" fmla="*/ 25395 h 43258"/>
                  <a:gd name="connsiteX3" fmla="*/ 0 w 39404"/>
                  <a:gd name="connsiteY3" fmla="*/ 17864 h 43258"/>
                  <a:gd name="connsiteX4" fmla="*/ 16179 w 39404"/>
                  <a:gd name="connsiteY4" fmla="*/ 17864 h 43258"/>
                  <a:gd name="connsiteX5" fmla="*/ 16179 w 39404"/>
                  <a:gd name="connsiteY5" fmla="*/ 0 h 43258"/>
                  <a:gd name="connsiteX6" fmla="*/ 23066 w 39404"/>
                  <a:gd name="connsiteY6" fmla="*/ 0 h 43258"/>
                  <a:gd name="connsiteX7" fmla="*/ 23066 w 39404"/>
                  <a:gd name="connsiteY7" fmla="*/ 17864 h 43258"/>
                  <a:gd name="connsiteX8" fmla="*/ 39405 w 39404"/>
                  <a:gd name="connsiteY8" fmla="*/ 17864 h 43258"/>
                  <a:gd name="connsiteX9" fmla="*/ 39405 w 39404"/>
                  <a:gd name="connsiteY9" fmla="*/ 25395 h 43258"/>
                  <a:gd name="connsiteX10" fmla="*/ 23066 w 39404"/>
                  <a:gd name="connsiteY10" fmla="*/ 25395 h 43258"/>
                  <a:gd name="connsiteX11" fmla="*/ 23066 w 39404"/>
                  <a:gd name="connsiteY11" fmla="*/ 43259 h 43258"/>
                  <a:gd name="connsiteX12" fmla="*/ 16179 w 39404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258">
                    <a:moveTo>
                      <a:pt x="16179" y="43259"/>
                    </a:moveTo>
                    <a:lnTo>
                      <a:pt x="16179" y="25395"/>
                    </a:lnTo>
                    <a:lnTo>
                      <a:pt x="0" y="25395"/>
                    </a:lnTo>
                    <a:lnTo>
                      <a:pt x="0" y="17864"/>
                    </a:lnTo>
                    <a:lnTo>
                      <a:pt x="16179" y="17864"/>
                    </a:lnTo>
                    <a:lnTo>
                      <a:pt x="16179" y="0"/>
                    </a:lnTo>
                    <a:lnTo>
                      <a:pt x="23066" y="0"/>
                    </a:lnTo>
                    <a:lnTo>
                      <a:pt x="23066" y="17864"/>
                    </a:lnTo>
                    <a:lnTo>
                      <a:pt x="39405" y="17864"/>
                    </a:lnTo>
                    <a:lnTo>
                      <a:pt x="39405" y="25395"/>
                    </a:lnTo>
                    <a:lnTo>
                      <a:pt x="23066" y="25395"/>
                    </a:lnTo>
                    <a:lnTo>
                      <a:pt x="23066" y="43259"/>
                    </a:lnTo>
                    <a:lnTo>
                      <a:pt x="16179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27" name="Freihandform: Form 226">
                <a:extLst>
                  <a:ext uri="{FF2B5EF4-FFF2-40B4-BE49-F238E27FC236}">
                    <a16:creationId xmlns:a16="http://schemas.microsoft.com/office/drawing/2014/main" id="{47CD6069-7FEF-0884-3130-D6768E1E710F}"/>
                  </a:ext>
                </a:extLst>
              </p:cNvPr>
              <p:cNvSpPr/>
              <p:nvPr/>
            </p:nvSpPr>
            <p:spPr>
              <a:xfrm>
                <a:off x="6856369" y="2346208"/>
                <a:ext cx="39404" cy="43258"/>
              </a:xfrm>
              <a:custGeom>
                <a:avLst/>
                <a:gdLst>
                  <a:gd name="connsiteX0" fmla="*/ 16179 w 39404"/>
                  <a:gd name="connsiteY0" fmla="*/ 43259 h 43258"/>
                  <a:gd name="connsiteX1" fmla="*/ 16179 w 39404"/>
                  <a:gd name="connsiteY1" fmla="*/ 25395 h 43258"/>
                  <a:gd name="connsiteX2" fmla="*/ 0 w 39404"/>
                  <a:gd name="connsiteY2" fmla="*/ 25395 h 43258"/>
                  <a:gd name="connsiteX3" fmla="*/ 0 w 39404"/>
                  <a:gd name="connsiteY3" fmla="*/ 17864 h 43258"/>
                  <a:gd name="connsiteX4" fmla="*/ 16179 w 39404"/>
                  <a:gd name="connsiteY4" fmla="*/ 17864 h 43258"/>
                  <a:gd name="connsiteX5" fmla="*/ 16179 w 39404"/>
                  <a:gd name="connsiteY5" fmla="*/ 0 h 43258"/>
                  <a:gd name="connsiteX6" fmla="*/ 23066 w 39404"/>
                  <a:gd name="connsiteY6" fmla="*/ 0 h 43258"/>
                  <a:gd name="connsiteX7" fmla="*/ 23066 w 39404"/>
                  <a:gd name="connsiteY7" fmla="*/ 17864 h 43258"/>
                  <a:gd name="connsiteX8" fmla="*/ 39405 w 39404"/>
                  <a:gd name="connsiteY8" fmla="*/ 17864 h 43258"/>
                  <a:gd name="connsiteX9" fmla="*/ 39405 w 39404"/>
                  <a:gd name="connsiteY9" fmla="*/ 25395 h 43258"/>
                  <a:gd name="connsiteX10" fmla="*/ 23066 w 39404"/>
                  <a:gd name="connsiteY10" fmla="*/ 25395 h 43258"/>
                  <a:gd name="connsiteX11" fmla="*/ 23066 w 39404"/>
                  <a:gd name="connsiteY11" fmla="*/ 43259 h 43258"/>
                  <a:gd name="connsiteX12" fmla="*/ 16179 w 39404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258">
                    <a:moveTo>
                      <a:pt x="16179" y="43259"/>
                    </a:moveTo>
                    <a:lnTo>
                      <a:pt x="16179" y="25395"/>
                    </a:lnTo>
                    <a:lnTo>
                      <a:pt x="0" y="25395"/>
                    </a:lnTo>
                    <a:lnTo>
                      <a:pt x="0" y="17864"/>
                    </a:lnTo>
                    <a:lnTo>
                      <a:pt x="16179" y="17864"/>
                    </a:lnTo>
                    <a:lnTo>
                      <a:pt x="16179" y="0"/>
                    </a:lnTo>
                    <a:lnTo>
                      <a:pt x="23066" y="0"/>
                    </a:lnTo>
                    <a:lnTo>
                      <a:pt x="23066" y="17864"/>
                    </a:lnTo>
                    <a:lnTo>
                      <a:pt x="39405" y="17864"/>
                    </a:lnTo>
                    <a:lnTo>
                      <a:pt x="39405" y="25395"/>
                    </a:lnTo>
                    <a:lnTo>
                      <a:pt x="23066" y="25395"/>
                    </a:lnTo>
                    <a:lnTo>
                      <a:pt x="23066" y="43259"/>
                    </a:lnTo>
                    <a:lnTo>
                      <a:pt x="16179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28" name="Freihandform: Form 227">
                <a:extLst>
                  <a:ext uri="{FF2B5EF4-FFF2-40B4-BE49-F238E27FC236}">
                    <a16:creationId xmlns:a16="http://schemas.microsoft.com/office/drawing/2014/main" id="{C6519D99-6C47-F949-F391-DBB00AAC110C}"/>
                  </a:ext>
                </a:extLst>
              </p:cNvPr>
              <p:cNvSpPr/>
              <p:nvPr/>
            </p:nvSpPr>
            <p:spPr>
              <a:xfrm>
                <a:off x="6862296" y="2346208"/>
                <a:ext cx="39405" cy="43258"/>
              </a:xfrm>
              <a:custGeom>
                <a:avLst/>
                <a:gdLst>
                  <a:gd name="connsiteX0" fmla="*/ 16179 w 39405"/>
                  <a:gd name="connsiteY0" fmla="*/ 43259 h 43258"/>
                  <a:gd name="connsiteX1" fmla="*/ 16179 w 39405"/>
                  <a:gd name="connsiteY1" fmla="*/ 25395 h 43258"/>
                  <a:gd name="connsiteX2" fmla="*/ 0 w 39405"/>
                  <a:gd name="connsiteY2" fmla="*/ 25395 h 43258"/>
                  <a:gd name="connsiteX3" fmla="*/ 0 w 39405"/>
                  <a:gd name="connsiteY3" fmla="*/ 17864 h 43258"/>
                  <a:gd name="connsiteX4" fmla="*/ 16179 w 39405"/>
                  <a:gd name="connsiteY4" fmla="*/ 17864 h 43258"/>
                  <a:gd name="connsiteX5" fmla="*/ 16179 w 39405"/>
                  <a:gd name="connsiteY5" fmla="*/ 0 h 43258"/>
                  <a:gd name="connsiteX6" fmla="*/ 23227 w 39405"/>
                  <a:gd name="connsiteY6" fmla="*/ 0 h 43258"/>
                  <a:gd name="connsiteX7" fmla="*/ 23227 w 39405"/>
                  <a:gd name="connsiteY7" fmla="*/ 17864 h 43258"/>
                  <a:gd name="connsiteX8" fmla="*/ 39405 w 39405"/>
                  <a:gd name="connsiteY8" fmla="*/ 17864 h 43258"/>
                  <a:gd name="connsiteX9" fmla="*/ 39405 w 39405"/>
                  <a:gd name="connsiteY9" fmla="*/ 25395 h 43258"/>
                  <a:gd name="connsiteX10" fmla="*/ 23227 w 39405"/>
                  <a:gd name="connsiteY10" fmla="*/ 25395 h 43258"/>
                  <a:gd name="connsiteX11" fmla="*/ 23227 w 39405"/>
                  <a:gd name="connsiteY11" fmla="*/ 43259 h 43258"/>
                  <a:gd name="connsiteX12" fmla="*/ 16179 w 39405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5" h="43258">
                    <a:moveTo>
                      <a:pt x="16179" y="43259"/>
                    </a:moveTo>
                    <a:lnTo>
                      <a:pt x="16179" y="25395"/>
                    </a:lnTo>
                    <a:lnTo>
                      <a:pt x="0" y="25395"/>
                    </a:lnTo>
                    <a:lnTo>
                      <a:pt x="0" y="17864"/>
                    </a:lnTo>
                    <a:lnTo>
                      <a:pt x="16179" y="17864"/>
                    </a:lnTo>
                    <a:lnTo>
                      <a:pt x="16179" y="0"/>
                    </a:lnTo>
                    <a:lnTo>
                      <a:pt x="23227" y="0"/>
                    </a:lnTo>
                    <a:lnTo>
                      <a:pt x="23227" y="17864"/>
                    </a:lnTo>
                    <a:lnTo>
                      <a:pt x="39405" y="17864"/>
                    </a:lnTo>
                    <a:lnTo>
                      <a:pt x="39405" y="25395"/>
                    </a:lnTo>
                    <a:lnTo>
                      <a:pt x="23227" y="25395"/>
                    </a:lnTo>
                    <a:lnTo>
                      <a:pt x="23227" y="43259"/>
                    </a:lnTo>
                    <a:lnTo>
                      <a:pt x="16179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29" name="Freihandform: Form 228">
                <a:extLst>
                  <a:ext uri="{FF2B5EF4-FFF2-40B4-BE49-F238E27FC236}">
                    <a16:creationId xmlns:a16="http://schemas.microsoft.com/office/drawing/2014/main" id="{ADB9ECF6-C232-022D-417A-B880A009593D}"/>
                  </a:ext>
                </a:extLst>
              </p:cNvPr>
              <p:cNvSpPr/>
              <p:nvPr/>
            </p:nvSpPr>
            <p:spPr>
              <a:xfrm>
                <a:off x="6865179" y="2346208"/>
                <a:ext cx="39565" cy="43258"/>
              </a:xfrm>
              <a:custGeom>
                <a:avLst/>
                <a:gdLst>
                  <a:gd name="connsiteX0" fmla="*/ 16339 w 39565"/>
                  <a:gd name="connsiteY0" fmla="*/ 43259 h 43258"/>
                  <a:gd name="connsiteX1" fmla="*/ 16339 w 39565"/>
                  <a:gd name="connsiteY1" fmla="*/ 25395 h 43258"/>
                  <a:gd name="connsiteX2" fmla="*/ 0 w 39565"/>
                  <a:gd name="connsiteY2" fmla="*/ 25395 h 43258"/>
                  <a:gd name="connsiteX3" fmla="*/ 0 w 39565"/>
                  <a:gd name="connsiteY3" fmla="*/ 17864 h 43258"/>
                  <a:gd name="connsiteX4" fmla="*/ 16339 w 39565"/>
                  <a:gd name="connsiteY4" fmla="*/ 17864 h 43258"/>
                  <a:gd name="connsiteX5" fmla="*/ 16339 w 39565"/>
                  <a:gd name="connsiteY5" fmla="*/ 0 h 43258"/>
                  <a:gd name="connsiteX6" fmla="*/ 23226 w 39565"/>
                  <a:gd name="connsiteY6" fmla="*/ 0 h 43258"/>
                  <a:gd name="connsiteX7" fmla="*/ 23226 w 39565"/>
                  <a:gd name="connsiteY7" fmla="*/ 17864 h 43258"/>
                  <a:gd name="connsiteX8" fmla="*/ 39565 w 39565"/>
                  <a:gd name="connsiteY8" fmla="*/ 17864 h 43258"/>
                  <a:gd name="connsiteX9" fmla="*/ 39565 w 39565"/>
                  <a:gd name="connsiteY9" fmla="*/ 25395 h 43258"/>
                  <a:gd name="connsiteX10" fmla="*/ 23226 w 39565"/>
                  <a:gd name="connsiteY10" fmla="*/ 25395 h 43258"/>
                  <a:gd name="connsiteX11" fmla="*/ 23226 w 39565"/>
                  <a:gd name="connsiteY11" fmla="*/ 43259 h 43258"/>
                  <a:gd name="connsiteX12" fmla="*/ 16339 w 39565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565" h="43258">
                    <a:moveTo>
                      <a:pt x="16339" y="43259"/>
                    </a:moveTo>
                    <a:lnTo>
                      <a:pt x="16339" y="25395"/>
                    </a:lnTo>
                    <a:lnTo>
                      <a:pt x="0" y="25395"/>
                    </a:lnTo>
                    <a:lnTo>
                      <a:pt x="0" y="17864"/>
                    </a:lnTo>
                    <a:lnTo>
                      <a:pt x="16339" y="17864"/>
                    </a:lnTo>
                    <a:lnTo>
                      <a:pt x="16339" y="0"/>
                    </a:lnTo>
                    <a:lnTo>
                      <a:pt x="23226" y="0"/>
                    </a:lnTo>
                    <a:lnTo>
                      <a:pt x="23226" y="17864"/>
                    </a:lnTo>
                    <a:lnTo>
                      <a:pt x="39565" y="17864"/>
                    </a:lnTo>
                    <a:lnTo>
                      <a:pt x="39565" y="25395"/>
                    </a:lnTo>
                    <a:lnTo>
                      <a:pt x="23226" y="25395"/>
                    </a:lnTo>
                    <a:lnTo>
                      <a:pt x="23226" y="43259"/>
                    </a:lnTo>
                    <a:lnTo>
                      <a:pt x="16339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0" name="Freihandform: Form 229">
                <a:extLst>
                  <a:ext uri="{FF2B5EF4-FFF2-40B4-BE49-F238E27FC236}">
                    <a16:creationId xmlns:a16="http://schemas.microsoft.com/office/drawing/2014/main" id="{0FEA6E0F-C538-2748-001B-3DAE32068919}"/>
                  </a:ext>
                </a:extLst>
              </p:cNvPr>
              <p:cNvSpPr/>
              <p:nvPr/>
            </p:nvSpPr>
            <p:spPr>
              <a:xfrm>
                <a:off x="6868222" y="2346208"/>
                <a:ext cx="39405" cy="43258"/>
              </a:xfrm>
              <a:custGeom>
                <a:avLst/>
                <a:gdLst>
                  <a:gd name="connsiteX0" fmla="*/ 16339 w 39405"/>
                  <a:gd name="connsiteY0" fmla="*/ 43259 h 43258"/>
                  <a:gd name="connsiteX1" fmla="*/ 16339 w 39405"/>
                  <a:gd name="connsiteY1" fmla="*/ 25395 h 43258"/>
                  <a:gd name="connsiteX2" fmla="*/ 0 w 39405"/>
                  <a:gd name="connsiteY2" fmla="*/ 25395 h 43258"/>
                  <a:gd name="connsiteX3" fmla="*/ 0 w 39405"/>
                  <a:gd name="connsiteY3" fmla="*/ 17864 h 43258"/>
                  <a:gd name="connsiteX4" fmla="*/ 16339 w 39405"/>
                  <a:gd name="connsiteY4" fmla="*/ 17864 h 43258"/>
                  <a:gd name="connsiteX5" fmla="*/ 16339 w 39405"/>
                  <a:gd name="connsiteY5" fmla="*/ 0 h 43258"/>
                  <a:gd name="connsiteX6" fmla="*/ 23227 w 39405"/>
                  <a:gd name="connsiteY6" fmla="*/ 0 h 43258"/>
                  <a:gd name="connsiteX7" fmla="*/ 23227 w 39405"/>
                  <a:gd name="connsiteY7" fmla="*/ 17864 h 43258"/>
                  <a:gd name="connsiteX8" fmla="*/ 39405 w 39405"/>
                  <a:gd name="connsiteY8" fmla="*/ 17864 h 43258"/>
                  <a:gd name="connsiteX9" fmla="*/ 39405 w 39405"/>
                  <a:gd name="connsiteY9" fmla="*/ 25395 h 43258"/>
                  <a:gd name="connsiteX10" fmla="*/ 23227 w 39405"/>
                  <a:gd name="connsiteY10" fmla="*/ 25395 h 43258"/>
                  <a:gd name="connsiteX11" fmla="*/ 23227 w 39405"/>
                  <a:gd name="connsiteY11" fmla="*/ 43259 h 43258"/>
                  <a:gd name="connsiteX12" fmla="*/ 16339 w 39405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5" h="43258">
                    <a:moveTo>
                      <a:pt x="16339" y="43259"/>
                    </a:moveTo>
                    <a:lnTo>
                      <a:pt x="16339" y="25395"/>
                    </a:lnTo>
                    <a:lnTo>
                      <a:pt x="0" y="25395"/>
                    </a:lnTo>
                    <a:lnTo>
                      <a:pt x="0" y="17864"/>
                    </a:lnTo>
                    <a:lnTo>
                      <a:pt x="16339" y="17864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864"/>
                    </a:lnTo>
                    <a:lnTo>
                      <a:pt x="39405" y="17864"/>
                    </a:lnTo>
                    <a:lnTo>
                      <a:pt x="39405" y="25395"/>
                    </a:lnTo>
                    <a:lnTo>
                      <a:pt x="23227" y="25395"/>
                    </a:lnTo>
                    <a:lnTo>
                      <a:pt x="23227" y="43259"/>
                    </a:lnTo>
                    <a:lnTo>
                      <a:pt x="16339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1" name="Freihandform: Form 230">
                <a:extLst>
                  <a:ext uri="{FF2B5EF4-FFF2-40B4-BE49-F238E27FC236}">
                    <a16:creationId xmlns:a16="http://schemas.microsoft.com/office/drawing/2014/main" id="{B03EDE1B-312F-B676-E1F1-92FD235EF22F}"/>
                  </a:ext>
                </a:extLst>
              </p:cNvPr>
              <p:cNvSpPr/>
              <p:nvPr/>
            </p:nvSpPr>
            <p:spPr>
              <a:xfrm>
                <a:off x="6880076" y="2346208"/>
                <a:ext cx="39565" cy="43258"/>
              </a:xfrm>
              <a:custGeom>
                <a:avLst/>
                <a:gdLst>
                  <a:gd name="connsiteX0" fmla="*/ 16339 w 39565"/>
                  <a:gd name="connsiteY0" fmla="*/ 43259 h 43258"/>
                  <a:gd name="connsiteX1" fmla="*/ 16339 w 39565"/>
                  <a:gd name="connsiteY1" fmla="*/ 25395 h 43258"/>
                  <a:gd name="connsiteX2" fmla="*/ 0 w 39565"/>
                  <a:gd name="connsiteY2" fmla="*/ 25395 h 43258"/>
                  <a:gd name="connsiteX3" fmla="*/ 0 w 39565"/>
                  <a:gd name="connsiteY3" fmla="*/ 17864 h 43258"/>
                  <a:gd name="connsiteX4" fmla="*/ 16339 w 39565"/>
                  <a:gd name="connsiteY4" fmla="*/ 17864 h 43258"/>
                  <a:gd name="connsiteX5" fmla="*/ 16339 w 39565"/>
                  <a:gd name="connsiteY5" fmla="*/ 0 h 43258"/>
                  <a:gd name="connsiteX6" fmla="*/ 23226 w 39565"/>
                  <a:gd name="connsiteY6" fmla="*/ 0 h 43258"/>
                  <a:gd name="connsiteX7" fmla="*/ 23226 w 39565"/>
                  <a:gd name="connsiteY7" fmla="*/ 17864 h 43258"/>
                  <a:gd name="connsiteX8" fmla="*/ 39565 w 39565"/>
                  <a:gd name="connsiteY8" fmla="*/ 17864 h 43258"/>
                  <a:gd name="connsiteX9" fmla="*/ 39565 w 39565"/>
                  <a:gd name="connsiteY9" fmla="*/ 25395 h 43258"/>
                  <a:gd name="connsiteX10" fmla="*/ 23226 w 39565"/>
                  <a:gd name="connsiteY10" fmla="*/ 25395 h 43258"/>
                  <a:gd name="connsiteX11" fmla="*/ 23226 w 39565"/>
                  <a:gd name="connsiteY11" fmla="*/ 43259 h 43258"/>
                  <a:gd name="connsiteX12" fmla="*/ 16339 w 39565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565" h="43258">
                    <a:moveTo>
                      <a:pt x="16339" y="43259"/>
                    </a:moveTo>
                    <a:lnTo>
                      <a:pt x="16339" y="25395"/>
                    </a:lnTo>
                    <a:lnTo>
                      <a:pt x="0" y="25395"/>
                    </a:lnTo>
                    <a:lnTo>
                      <a:pt x="0" y="17864"/>
                    </a:lnTo>
                    <a:lnTo>
                      <a:pt x="16339" y="17864"/>
                    </a:lnTo>
                    <a:lnTo>
                      <a:pt x="16339" y="0"/>
                    </a:lnTo>
                    <a:lnTo>
                      <a:pt x="23226" y="0"/>
                    </a:lnTo>
                    <a:lnTo>
                      <a:pt x="23226" y="17864"/>
                    </a:lnTo>
                    <a:lnTo>
                      <a:pt x="39565" y="17864"/>
                    </a:lnTo>
                    <a:lnTo>
                      <a:pt x="39565" y="25395"/>
                    </a:lnTo>
                    <a:lnTo>
                      <a:pt x="23226" y="25395"/>
                    </a:lnTo>
                    <a:lnTo>
                      <a:pt x="23226" y="43259"/>
                    </a:lnTo>
                    <a:lnTo>
                      <a:pt x="16339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2" name="Freihandform: Form 231">
                <a:extLst>
                  <a:ext uri="{FF2B5EF4-FFF2-40B4-BE49-F238E27FC236}">
                    <a16:creationId xmlns:a16="http://schemas.microsoft.com/office/drawing/2014/main" id="{EEB2F585-6720-3E2B-AFDC-0161D32E73B8}"/>
                  </a:ext>
                </a:extLst>
              </p:cNvPr>
              <p:cNvSpPr/>
              <p:nvPr/>
            </p:nvSpPr>
            <p:spPr>
              <a:xfrm>
                <a:off x="6883120" y="2346208"/>
                <a:ext cx="39404" cy="43258"/>
              </a:xfrm>
              <a:custGeom>
                <a:avLst/>
                <a:gdLst>
                  <a:gd name="connsiteX0" fmla="*/ 16339 w 39404"/>
                  <a:gd name="connsiteY0" fmla="*/ 43259 h 43258"/>
                  <a:gd name="connsiteX1" fmla="*/ 16339 w 39404"/>
                  <a:gd name="connsiteY1" fmla="*/ 25395 h 43258"/>
                  <a:gd name="connsiteX2" fmla="*/ 0 w 39404"/>
                  <a:gd name="connsiteY2" fmla="*/ 25395 h 43258"/>
                  <a:gd name="connsiteX3" fmla="*/ 0 w 39404"/>
                  <a:gd name="connsiteY3" fmla="*/ 17864 h 43258"/>
                  <a:gd name="connsiteX4" fmla="*/ 16339 w 39404"/>
                  <a:gd name="connsiteY4" fmla="*/ 17864 h 43258"/>
                  <a:gd name="connsiteX5" fmla="*/ 16339 w 39404"/>
                  <a:gd name="connsiteY5" fmla="*/ 0 h 43258"/>
                  <a:gd name="connsiteX6" fmla="*/ 23226 w 39404"/>
                  <a:gd name="connsiteY6" fmla="*/ 0 h 43258"/>
                  <a:gd name="connsiteX7" fmla="*/ 23226 w 39404"/>
                  <a:gd name="connsiteY7" fmla="*/ 17864 h 43258"/>
                  <a:gd name="connsiteX8" fmla="*/ 39405 w 39404"/>
                  <a:gd name="connsiteY8" fmla="*/ 17864 h 43258"/>
                  <a:gd name="connsiteX9" fmla="*/ 39405 w 39404"/>
                  <a:gd name="connsiteY9" fmla="*/ 25395 h 43258"/>
                  <a:gd name="connsiteX10" fmla="*/ 23226 w 39404"/>
                  <a:gd name="connsiteY10" fmla="*/ 25395 h 43258"/>
                  <a:gd name="connsiteX11" fmla="*/ 23226 w 39404"/>
                  <a:gd name="connsiteY11" fmla="*/ 43259 h 43258"/>
                  <a:gd name="connsiteX12" fmla="*/ 16339 w 39404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258">
                    <a:moveTo>
                      <a:pt x="16339" y="43259"/>
                    </a:moveTo>
                    <a:lnTo>
                      <a:pt x="16339" y="25395"/>
                    </a:lnTo>
                    <a:lnTo>
                      <a:pt x="0" y="25395"/>
                    </a:lnTo>
                    <a:lnTo>
                      <a:pt x="0" y="17864"/>
                    </a:lnTo>
                    <a:lnTo>
                      <a:pt x="16339" y="17864"/>
                    </a:lnTo>
                    <a:lnTo>
                      <a:pt x="16339" y="0"/>
                    </a:lnTo>
                    <a:lnTo>
                      <a:pt x="23226" y="0"/>
                    </a:lnTo>
                    <a:lnTo>
                      <a:pt x="23226" y="17864"/>
                    </a:lnTo>
                    <a:lnTo>
                      <a:pt x="39405" y="17864"/>
                    </a:lnTo>
                    <a:lnTo>
                      <a:pt x="39405" y="25395"/>
                    </a:lnTo>
                    <a:lnTo>
                      <a:pt x="23226" y="25395"/>
                    </a:lnTo>
                    <a:lnTo>
                      <a:pt x="23226" y="43259"/>
                    </a:lnTo>
                    <a:lnTo>
                      <a:pt x="16339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3" name="Freihandform: Form 232">
                <a:extLst>
                  <a:ext uri="{FF2B5EF4-FFF2-40B4-BE49-F238E27FC236}">
                    <a16:creationId xmlns:a16="http://schemas.microsoft.com/office/drawing/2014/main" id="{1AB28965-42AB-157D-8EEE-7663B227F60E}"/>
                  </a:ext>
                </a:extLst>
              </p:cNvPr>
              <p:cNvSpPr/>
              <p:nvPr/>
            </p:nvSpPr>
            <p:spPr>
              <a:xfrm>
                <a:off x="6889046" y="2346208"/>
                <a:ext cx="39565" cy="43258"/>
              </a:xfrm>
              <a:custGeom>
                <a:avLst/>
                <a:gdLst>
                  <a:gd name="connsiteX0" fmla="*/ 16339 w 39565"/>
                  <a:gd name="connsiteY0" fmla="*/ 43259 h 43258"/>
                  <a:gd name="connsiteX1" fmla="*/ 16339 w 39565"/>
                  <a:gd name="connsiteY1" fmla="*/ 25395 h 43258"/>
                  <a:gd name="connsiteX2" fmla="*/ 0 w 39565"/>
                  <a:gd name="connsiteY2" fmla="*/ 25395 h 43258"/>
                  <a:gd name="connsiteX3" fmla="*/ 0 w 39565"/>
                  <a:gd name="connsiteY3" fmla="*/ 17864 h 43258"/>
                  <a:gd name="connsiteX4" fmla="*/ 16339 w 39565"/>
                  <a:gd name="connsiteY4" fmla="*/ 17864 h 43258"/>
                  <a:gd name="connsiteX5" fmla="*/ 16339 w 39565"/>
                  <a:gd name="connsiteY5" fmla="*/ 0 h 43258"/>
                  <a:gd name="connsiteX6" fmla="*/ 23226 w 39565"/>
                  <a:gd name="connsiteY6" fmla="*/ 0 h 43258"/>
                  <a:gd name="connsiteX7" fmla="*/ 23226 w 39565"/>
                  <a:gd name="connsiteY7" fmla="*/ 17864 h 43258"/>
                  <a:gd name="connsiteX8" fmla="*/ 39565 w 39565"/>
                  <a:gd name="connsiteY8" fmla="*/ 17864 h 43258"/>
                  <a:gd name="connsiteX9" fmla="*/ 39565 w 39565"/>
                  <a:gd name="connsiteY9" fmla="*/ 25395 h 43258"/>
                  <a:gd name="connsiteX10" fmla="*/ 23226 w 39565"/>
                  <a:gd name="connsiteY10" fmla="*/ 25395 h 43258"/>
                  <a:gd name="connsiteX11" fmla="*/ 23226 w 39565"/>
                  <a:gd name="connsiteY11" fmla="*/ 43259 h 43258"/>
                  <a:gd name="connsiteX12" fmla="*/ 16339 w 39565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565" h="43258">
                    <a:moveTo>
                      <a:pt x="16339" y="43259"/>
                    </a:moveTo>
                    <a:lnTo>
                      <a:pt x="16339" y="25395"/>
                    </a:lnTo>
                    <a:lnTo>
                      <a:pt x="0" y="25395"/>
                    </a:lnTo>
                    <a:lnTo>
                      <a:pt x="0" y="17864"/>
                    </a:lnTo>
                    <a:lnTo>
                      <a:pt x="16339" y="17864"/>
                    </a:lnTo>
                    <a:lnTo>
                      <a:pt x="16339" y="0"/>
                    </a:lnTo>
                    <a:lnTo>
                      <a:pt x="23226" y="0"/>
                    </a:lnTo>
                    <a:lnTo>
                      <a:pt x="23226" y="17864"/>
                    </a:lnTo>
                    <a:lnTo>
                      <a:pt x="39565" y="17864"/>
                    </a:lnTo>
                    <a:lnTo>
                      <a:pt x="39565" y="25395"/>
                    </a:lnTo>
                    <a:lnTo>
                      <a:pt x="23226" y="25395"/>
                    </a:lnTo>
                    <a:lnTo>
                      <a:pt x="23226" y="43259"/>
                    </a:lnTo>
                    <a:lnTo>
                      <a:pt x="16339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4" name="Freihandform: Form 233">
                <a:extLst>
                  <a:ext uri="{FF2B5EF4-FFF2-40B4-BE49-F238E27FC236}">
                    <a16:creationId xmlns:a16="http://schemas.microsoft.com/office/drawing/2014/main" id="{0E0EDE9F-C0EE-19F8-F20E-655C4B131093}"/>
                  </a:ext>
                </a:extLst>
              </p:cNvPr>
              <p:cNvSpPr/>
              <p:nvPr/>
            </p:nvSpPr>
            <p:spPr>
              <a:xfrm>
                <a:off x="6892090" y="2346208"/>
                <a:ext cx="39404" cy="43258"/>
              </a:xfrm>
              <a:custGeom>
                <a:avLst/>
                <a:gdLst>
                  <a:gd name="connsiteX0" fmla="*/ 16339 w 39404"/>
                  <a:gd name="connsiteY0" fmla="*/ 43259 h 43258"/>
                  <a:gd name="connsiteX1" fmla="*/ 16339 w 39404"/>
                  <a:gd name="connsiteY1" fmla="*/ 25395 h 43258"/>
                  <a:gd name="connsiteX2" fmla="*/ 0 w 39404"/>
                  <a:gd name="connsiteY2" fmla="*/ 25395 h 43258"/>
                  <a:gd name="connsiteX3" fmla="*/ 0 w 39404"/>
                  <a:gd name="connsiteY3" fmla="*/ 17864 h 43258"/>
                  <a:gd name="connsiteX4" fmla="*/ 16339 w 39404"/>
                  <a:gd name="connsiteY4" fmla="*/ 17864 h 43258"/>
                  <a:gd name="connsiteX5" fmla="*/ 16339 w 39404"/>
                  <a:gd name="connsiteY5" fmla="*/ 0 h 43258"/>
                  <a:gd name="connsiteX6" fmla="*/ 23226 w 39404"/>
                  <a:gd name="connsiteY6" fmla="*/ 0 h 43258"/>
                  <a:gd name="connsiteX7" fmla="*/ 23226 w 39404"/>
                  <a:gd name="connsiteY7" fmla="*/ 17864 h 43258"/>
                  <a:gd name="connsiteX8" fmla="*/ 39405 w 39404"/>
                  <a:gd name="connsiteY8" fmla="*/ 17864 h 43258"/>
                  <a:gd name="connsiteX9" fmla="*/ 39405 w 39404"/>
                  <a:gd name="connsiteY9" fmla="*/ 25395 h 43258"/>
                  <a:gd name="connsiteX10" fmla="*/ 23226 w 39404"/>
                  <a:gd name="connsiteY10" fmla="*/ 25395 h 43258"/>
                  <a:gd name="connsiteX11" fmla="*/ 23226 w 39404"/>
                  <a:gd name="connsiteY11" fmla="*/ 43259 h 43258"/>
                  <a:gd name="connsiteX12" fmla="*/ 16339 w 39404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258">
                    <a:moveTo>
                      <a:pt x="16339" y="43259"/>
                    </a:moveTo>
                    <a:lnTo>
                      <a:pt x="16339" y="25395"/>
                    </a:lnTo>
                    <a:lnTo>
                      <a:pt x="0" y="25395"/>
                    </a:lnTo>
                    <a:lnTo>
                      <a:pt x="0" y="17864"/>
                    </a:lnTo>
                    <a:lnTo>
                      <a:pt x="16339" y="17864"/>
                    </a:lnTo>
                    <a:lnTo>
                      <a:pt x="16339" y="0"/>
                    </a:lnTo>
                    <a:lnTo>
                      <a:pt x="23226" y="0"/>
                    </a:lnTo>
                    <a:lnTo>
                      <a:pt x="23226" y="17864"/>
                    </a:lnTo>
                    <a:lnTo>
                      <a:pt x="39405" y="17864"/>
                    </a:lnTo>
                    <a:lnTo>
                      <a:pt x="39405" y="25395"/>
                    </a:lnTo>
                    <a:lnTo>
                      <a:pt x="23226" y="25395"/>
                    </a:lnTo>
                    <a:lnTo>
                      <a:pt x="23226" y="43259"/>
                    </a:lnTo>
                    <a:lnTo>
                      <a:pt x="16339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5" name="Freihandform: Form 234">
                <a:extLst>
                  <a:ext uri="{FF2B5EF4-FFF2-40B4-BE49-F238E27FC236}">
                    <a16:creationId xmlns:a16="http://schemas.microsoft.com/office/drawing/2014/main" id="{08B472D3-5070-DB59-BD69-677A22BF2A74}"/>
                  </a:ext>
                </a:extLst>
              </p:cNvPr>
              <p:cNvSpPr/>
              <p:nvPr/>
            </p:nvSpPr>
            <p:spPr>
              <a:xfrm>
                <a:off x="6898017" y="2346208"/>
                <a:ext cx="39404" cy="43258"/>
              </a:xfrm>
              <a:custGeom>
                <a:avLst/>
                <a:gdLst>
                  <a:gd name="connsiteX0" fmla="*/ 16339 w 39404"/>
                  <a:gd name="connsiteY0" fmla="*/ 43259 h 43258"/>
                  <a:gd name="connsiteX1" fmla="*/ 16339 w 39404"/>
                  <a:gd name="connsiteY1" fmla="*/ 25395 h 43258"/>
                  <a:gd name="connsiteX2" fmla="*/ 0 w 39404"/>
                  <a:gd name="connsiteY2" fmla="*/ 25395 h 43258"/>
                  <a:gd name="connsiteX3" fmla="*/ 0 w 39404"/>
                  <a:gd name="connsiteY3" fmla="*/ 17864 h 43258"/>
                  <a:gd name="connsiteX4" fmla="*/ 16339 w 39404"/>
                  <a:gd name="connsiteY4" fmla="*/ 17864 h 43258"/>
                  <a:gd name="connsiteX5" fmla="*/ 16339 w 39404"/>
                  <a:gd name="connsiteY5" fmla="*/ 0 h 43258"/>
                  <a:gd name="connsiteX6" fmla="*/ 23227 w 39404"/>
                  <a:gd name="connsiteY6" fmla="*/ 0 h 43258"/>
                  <a:gd name="connsiteX7" fmla="*/ 23227 w 39404"/>
                  <a:gd name="connsiteY7" fmla="*/ 17864 h 43258"/>
                  <a:gd name="connsiteX8" fmla="*/ 39405 w 39404"/>
                  <a:gd name="connsiteY8" fmla="*/ 17864 h 43258"/>
                  <a:gd name="connsiteX9" fmla="*/ 39405 w 39404"/>
                  <a:gd name="connsiteY9" fmla="*/ 25395 h 43258"/>
                  <a:gd name="connsiteX10" fmla="*/ 23227 w 39404"/>
                  <a:gd name="connsiteY10" fmla="*/ 25395 h 43258"/>
                  <a:gd name="connsiteX11" fmla="*/ 23227 w 39404"/>
                  <a:gd name="connsiteY11" fmla="*/ 43259 h 43258"/>
                  <a:gd name="connsiteX12" fmla="*/ 16339 w 39404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258">
                    <a:moveTo>
                      <a:pt x="16339" y="43259"/>
                    </a:moveTo>
                    <a:lnTo>
                      <a:pt x="16339" y="25395"/>
                    </a:lnTo>
                    <a:lnTo>
                      <a:pt x="0" y="25395"/>
                    </a:lnTo>
                    <a:lnTo>
                      <a:pt x="0" y="17864"/>
                    </a:lnTo>
                    <a:lnTo>
                      <a:pt x="16339" y="17864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864"/>
                    </a:lnTo>
                    <a:lnTo>
                      <a:pt x="39405" y="17864"/>
                    </a:lnTo>
                    <a:lnTo>
                      <a:pt x="39405" y="25395"/>
                    </a:lnTo>
                    <a:lnTo>
                      <a:pt x="23227" y="25395"/>
                    </a:lnTo>
                    <a:lnTo>
                      <a:pt x="23227" y="43259"/>
                    </a:lnTo>
                    <a:lnTo>
                      <a:pt x="16339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6" name="Freihandform: Form 235">
                <a:extLst>
                  <a:ext uri="{FF2B5EF4-FFF2-40B4-BE49-F238E27FC236}">
                    <a16:creationId xmlns:a16="http://schemas.microsoft.com/office/drawing/2014/main" id="{DBB8F68E-5516-C3DF-1011-B82F4B46D51B}"/>
                  </a:ext>
                </a:extLst>
              </p:cNvPr>
              <p:cNvSpPr/>
              <p:nvPr/>
            </p:nvSpPr>
            <p:spPr>
              <a:xfrm>
                <a:off x="6903943" y="2346208"/>
                <a:ext cx="39404" cy="43258"/>
              </a:xfrm>
              <a:custGeom>
                <a:avLst/>
                <a:gdLst>
                  <a:gd name="connsiteX0" fmla="*/ 16179 w 39404"/>
                  <a:gd name="connsiteY0" fmla="*/ 43259 h 43258"/>
                  <a:gd name="connsiteX1" fmla="*/ 16179 w 39404"/>
                  <a:gd name="connsiteY1" fmla="*/ 25395 h 43258"/>
                  <a:gd name="connsiteX2" fmla="*/ 0 w 39404"/>
                  <a:gd name="connsiteY2" fmla="*/ 25395 h 43258"/>
                  <a:gd name="connsiteX3" fmla="*/ 0 w 39404"/>
                  <a:gd name="connsiteY3" fmla="*/ 17864 h 43258"/>
                  <a:gd name="connsiteX4" fmla="*/ 16179 w 39404"/>
                  <a:gd name="connsiteY4" fmla="*/ 17864 h 43258"/>
                  <a:gd name="connsiteX5" fmla="*/ 16179 w 39404"/>
                  <a:gd name="connsiteY5" fmla="*/ 0 h 43258"/>
                  <a:gd name="connsiteX6" fmla="*/ 23227 w 39404"/>
                  <a:gd name="connsiteY6" fmla="*/ 0 h 43258"/>
                  <a:gd name="connsiteX7" fmla="*/ 23227 w 39404"/>
                  <a:gd name="connsiteY7" fmla="*/ 17864 h 43258"/>
                  <a:gd name="connsiteX8" fmla="*/ 39405 w 39404"/>
                  <a:gd name="connsiteY8" fmla="*/ 17864 h 43258"/>
                  <a:gd name="connsiteX9" fmla="*/ 39405 w 39404"/>
                  <a:gd name="connsiteY9" fmla="*/ 25395 h 43258"/>
                  <a:gd name="connsiteX10" fmla="*/ 23227 w 39404"/>
                  <a:gd name="connsiteY10" fmla="*/ 25395 h 43258"/>
                  <a:gd name="connsiteX11" fmla="*/ 23227 w 39404"/>
                  <a:gd name="connsiteY11" fmla="*/ 43259 h 43258"/>
                  <a:gd name="connsiteX12" fmla="*/ 16179 w 39404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258">
                    <a:moveTo>
                      <a:pt x="16179" y="43259"/>
                    </a:moveTo>
                    <a:lnTo>
                      <a:pt x="16179" y="25395"/>
                    </a:lnTo>
                    <a:lnTo>
                      <a:pt x="0" y="25395"/>
                    </a:lnTo>
                    <a:lnTo>
                      <a:pt x="0" y="17864"/>
                    </a:lnTo>
                    <a:lnTo>
                      <a:pt x="16179" y="17864"/>
                    </a:lnTo>
                    <a:lnTo>
                      <a:pt x="16179" y="0"/>
                    </a:lnTo>
                    <a:lnTo>
                      <a:pt x="23227" y="0"/>
                    </a:lnTo>
                    <a:lnTo>
                      <a:pt x="23227" y="17864"/>
                    </a:lnTo>
                    <a:lnTo>
                      <a:pt x="39405" y="17864"/>
                    </a:lnTo>
                    <a:lnTo>
                      <a:pt x="39405" y="25395"/>
                    </a:lnTo>
                    <a:lnTo>
                      <a:pt x="23227" y="25395"/>
                    </a:lnTo>
                    <a:lnTo>
                      <a:pt x="23227" y="43259"/>
                    </a:lnTo>
                    <a:lnTo>
                      <a:pt x="16179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7" name="Freihandform: Form 236">
                <a:extLst>
                  <a:ext uri="{FF2B5EF4-FFF2-40B4-BE49-F238E27FC236}">
                    <a16:creationId xmlns:a16="http://schemas.microsoft.com/office/drawing/2014/main" id="{46077510-69FB-3ADC-0BC3-09615C181A7D}"/>
                  </a:ext>
                </a:extLst>
              </p:cNvPr>
              <p:cNvSpPr/>
              <p:nvPr/>
            </p:nvSpPr>
            <p:spPr>
              <a:xfrm>
                <a:off x="6909870" y="2346208"/>
                <a:ext cx="39565" cy="43258"/>
              </a:xfrm>
              <a:custGeom>
                <a:avLst/>
                <a:gdLst>
                  <a:gd name="connsiteX0" fmla="*/ 16339 w 39565"/>
                  <a:gd name="connsiteY0" fmla="*/ 43259 h 43258"/>
                  <a:gd name="connsiteX1" fmla="*/ 16339 w 39565"/>
                  <a:gd name="connsiteY1" fmla="*/ 25395 h 43258"/>
                  <a:gd name="connsiteX2" fmla="*/ 0 w 39565"/>
                  <a:gd name="connsiteY2" fmla="*/ 25395 h 43258"/>
                  <a:gd name="connsiteX3" fmla="*/ 0 w 39565"/>
                  <a:gd name="connsiteY3" fmla="*/ 17864 h 43258"/>
                  <a:gd name="connsiteX4" fmla="*/ 16339 w 39565"/>
                  <a:gd name="connsiteY4" fmla="*/ 17864 h 43258"/>
                  <a:gd name="connsiteX5" fmla="*/ 16339 w 39565"/>
                  <a:gd name="connsiteY5" fmla="*/ 0 h 43258"/>
                  <a:gd name="connsiteX6" fmla="*/ 23227 w 39565"/>
                  <a:gd name="connsiteY6" fmla="*/ 0 h 43258"/>
                  <a:gd name="connsiteX7" fmla="*/ 23227 w 39565"/>
                  <a:gd name="connsiteY7" fmla="*/ 17864 h 43258"/>
                  <a:gd name="connsiteX8" fmla="*/ 39565 w 39565"/>
                  <a:gd name="connsiteY8" fmla="*/ 17864 h 43258"/>
                  <a:gd name="connsiteX9" fmla="*/ 39565 w 39565"/>
                  <a:gd name="connsiteY9" fmla="*/ 25395 h 43258"/>
                  <a:gd name="connsiteX10" fmla="*/ 23227 w 39565"/>
                  <a:gd name="connsiteY10" fmla="*/ 25395 h 43258"/>
                  <a:gd name="connsiteX11" fmla="*/ 23227 w 39565"/>
                  <a:gd name="connsiteY11" fmla="*/ 43259 h 43258"/>
                  <a:gd name="connsiteX12" fmla="*/ 16339 w 39565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565" h="43258">
                    <a:moveTo>
                      <a:pt x="16339" y="43259"/>
                    </a:moveTo>
                    <a:lnTo>
                      <a:pt x="16339" y="25395"/>
                    </a:lnTo>
                    <a:lnTo>
                      <a:pt x="0" y="25395"/>
                    </a:lnTo>
                    <a:lnTo>
                      <a:pt x="0" y="17864"/>
                    </a:lnTo>
                    <a:lnTo>
                      <a:pt x="16339" y="17864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864"/>
                    </a:lnTo>
                    <a:lnTo>
                      <a:pt x="39565" y="17864"/>
                    </a:lnTo>
                    <a:lnTo>
                      <a:pt x="39565" y="25395"/>
                    </a:lnTo>
                    <a:lnTo>
                      <a:pt x="23227" y="25395"/>
                    </a:lnTo>
                    <a:lnTo>
                      <a:pt x="23227" y="43259"/>
                    </a:lnTo>
                    <a:lnTo>
                      <a:pt x="16339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8" name="Freihandform: Form 237">
                <a:extLst>
                  <a:ext uri="{FF2B5EF4-FFF2-40B4-BE49-F238E27FC236}">
                    <a16:creationId xmlns:a16="http://schemas.microsoft.com/office/drawing/2014/main" id="{8EC69F22-491E-E28D-189A-8C25FD0FE650}"/>
                  </a:ext>
                </a:extLst>
              </p:cNvPr>
              <p:cNvSpPr/>
              <p:nvPr/>
            </p:nvSpPr>
            <p:spPr>
              <a:xfrm>
                <a:off x="6915797" y="2346208"/>
                <a:ext cx="39565" cy="43258"/>
              </a:xfrm>
              <a:custGeom>
                <a:avLst/>
                <a:gdLst>
                  <a:gd name="connsiteX0" fmla="*/ 16339 w 39565"/>
                  <a:gd name="connsiteY0" fmla="*/ 43259 h 43258"/>
                  <a:gd name="connsiteX1" fmla="*/ 16339 w 39565"/>
                  <a:gd name="connsiteY1" fmla="*/ 25395 h 43258"/>
                  <a:gd name="connsiteX2" fmla="*/ 0 w 39565"/>
                  <a:gd name="connsiteY2" fmla="*/ 25395 h 43258"/>
                  <a:gd name="connsiteX3" fmla="*/ 0 w 39565"/>
                  <a:gd name="connsiteY3" fmla="*/ 17864 h 43258"/>
                  <a:gd name="connsiteX4" fmla="*/ 16339 w 39565"/>
                  <a:gd name="connsiteY4" fmla="*/ 17864 h 43258"/>
                  <a:gd name="connsiteX5" fmla="*/ 16339 w 39565"/>
                  <a:gd name="connsiteY5" fmla="*/ 0 h 43258"/>
                  <a:gd name="connsiteX6" fmla="*/ 23227 w 39565"/>
                  <a:gd name="connsiteY6" fmla="*/ 0 h 43258"/>
                  <a:gd name="connsiteX7" fmla="*/ 23227 w 39565"/>
                  <a:gd name="connsiteY7" fmla="*/ 17864 h 43258"/>
                  <a:gd name="connsiteX8" fmla="*/ 39565 w 39565"/>
                  <a:gd name="connsiteY8" fmla="*/ 17864 h 43258"/>
                  <a:gd name="connsiteX9" fmla="*/ 39565 w 39565"/>
                  <a:gd name="connsiteY9" fmla="*/ 25395 h 43258"/>
                  <a:gd name="connsiteX10" fmla="*/ 23227 w 39565"/>
                  <a:gd name="connsiteY10" fmla="*/ 25395 h 43258"/>
                  <a:gd name="connsiteX11" fmla="*/ 23227 w 39565"/>
                  <a:gd name="connsiteY11" fmla="*/ 43259 h 43258"/>
                  <a:gd name="connsiteX12" fmla="*/ 16339 w 39565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565" h="43258">
                    <a:moveTo>
                      <a:pt x="16339" y="43259"/>
                    </a:moveTo>
                    <a:lnTo>
                      <a:pt x="16339" y="25395"/>
                    </a:lnTo>
                    <a:lnTo>
                      <a:pt x="0" y="25395"/>
                    </a:lnTo>
                    <a:lnTo>
                      <a:pt x="0" y="17864"/>
                    </a:lnTo>
                    <a:lnTo>
                      <a:pt x="16339" y="17864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864"/>
                    </a:lnTo>
                    <a:lnTo>
                      <a:pt x="39565" y="17864"/>
                    </a:lnTo>
                    <a:lnTo>
                      <a:pt x="39565" y="25395"/>
                    </a:lnTo>
                    <a:lnTo>
                      <a:pt x="23227" y="25395"/>
                    </a:lnTo>
                    <a:lnTo>
                      <a:pt x="23227" y="43259"/>
                    </a:lnTo>
                    <a:lnTo>
                      <a:pt x="16339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9" name="Freihandform: Form 238">
                <a:extLst>
                  <a:ext uri="{FF2B5EF4-FFF2-40B4-BE49-F238E27FC236}">
                    <a16:creationId xmlns:a16="http://schemas.microsoft.com/office/drawing/2014/main" id="{7684659E-F629-CA09-7899-C2E0397E3FCC}"/>
                  </a:ext>
                </a:extLst>
              </p:cNvPr>
              <p:cNvSpPr/>
              <p:nvPr/>
            </p:nvSpPr>
            <p:spPr>
              <a:xfrm>
                <a:off x="6918840" y="2346208"/>
                <a:ext cx="39405" cy="43258"/>
              </a:xfrm>
              <a:custGeom>
                <a:avLst/>
                <a:gdLst>
                  <a:gd name="connsiteX0" fmla="*/ 16339 w 39405"/>
                  <a:gd name="connsiteY0" fmla="*/ 43259 h 43258"/>
                  <a:gd name="connsiteX1" fmla="*/ 16339 w 39405"/>
                  <a:gd name="connsiteY1" fmla="*/ 25395 h 43258"/>
                  <a:gd name="connsiteX2" fmla="*/ 0 w 39405"/>
                  <a:gd name="connsiteY2" fmla="*/ 25395 h 43258"/>
                  <a:gd name="connsiteX3" fmla="*/ 0 w 39405"/>
                  <a:gd name="connsiteY3" fmla="*/ 17864 h 43258"/>
                  <a:gd name="connsiteX4" fmla="*/ 16339 w 39405"/>
                  <a:gd name="connsiteY4" fmla="*/ 17864 h 43258"/>
                  <a:gd name="connsiteX5" fmla="*/ 16339 w 39405"/>
                  <a:gd name="connsiteY5" fmla="*/ 0 h 43258"/>
                  <a:gd name="connsiteX6" fmla="*/ 23227 w 39405"/>
                  <a:gd name="connsiteY6" fmla="*/ 0 h 43258"/>
                  <a:gd name="connsiteX7" fmla="*/ 23227 w 39405"/>
                  <a:gd name="connsiteY7" fmla="*/ 17864 h 43258"/>
                  <a:gd name="connsiteX8" fmla="*/ 39405 w 39405"/>
                  <a:gd name="connsiteY8" fmla="*/ 17864 h 43258"/>
                  <a:gd name="connsiteX9" fmla="*/ 39405 w 39405"/>
                  <a:gd name="connsiteY9" fmla="*/ 25395 h 43258"/>
                  <a:gd name="connsiteX10" fmla="*/ 23227 w 39405"/>
                  <a:gd name="connsiteY10" fmla="*/ 25395 h 43258"/>
                  <a:gd name="connsiteX11" fmla="*/ 23227 w 39405"/>
                  <a:gd name="connsiteY11" fmla="*/ 43259 h 43258"/>
                  <a:gd name="connsiteX12" fmla="*/ 16339 w 39405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5" h="43258">
                    <a:moveTo>
                      <a:pt x="16339" y="43259"/>
                    </a:moveTo>
                    <a:lnTo>
                      <a:pt x="16339" y="25395"/>
                    </a:lnTo>
                    <a:lnTo>
                      <a:pt x="0" y="25395"/>
                    </a:lnTo>
                    <a:lnTo>
                      <a:pt x="0" y="17864"/>
                    </a:lnTo>
                    <a:lnTo>
                      <a:pt x="16339" y="17864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864"/>
                    </a:lnTo>
                    <a:lnTo>
                      <a:pt x="39405" y="17864"/>
                    </a:lnTo>
                    <a:lnTo>
                      <a:pt x="39405" y="25395"/>
                    </a:lnTo>
                    <a:lnTo>
                      <a:pt x="23227" y="25395"/>
                    </a:lnTo>
                    <a:lnTo>
                      <a:pt x="23227" y="43259"/>
                    </a:lnTo>
                    <a:lnTo>
                      <a:pt x="16339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40" name="Freihandform: Form 239">
                <a:extLst>
                  <a:ext uri="{FF2B5EF4-FFF2-40B4-BE49-F238E27FC236}">
                    <a16:creationId xmlns:a16="http://schemas.microsoft.com/office/drawing/2014/main" id="{38685C79-6059-6776-86B6-73CD747C90C4}"/>
                  </a:ext>
                </a:extLst>
              </p:cNvPr>
              <p:cNvSpPr/>
              <p:nvPr/>
            </p:nvSpPr>
            <p:spPr>
              <a:xfrm>
                <a:off x="6924767" y="2346208"/>
                <a:ext cx="39404" cy="43258"/>
              </a:xfrm>
              <a:custGeom>
                <a:avLst/>
                <a:gdLst>
                  <a:gd name="connsiteX0" fmla="*/ 16339 w 39404"/>
                  <a:gd name="connsiteY0" fmla="*/ 43259 h 43258"/>
                  <a:gd name="connsiteX1" fmla="*/ 16339 w 39404"/>
                  <a:gd name="connsiteY1" fmla="*/ 25395 h 43258"/>
                  <a:gd name="connsiteX2" fmla="*/ 0 w 39404"/>
                  <a:gd name="connsiteY2" fmla="*/ 25395 h 43258"/>
                  <a:gd name="connsiteX3" fmla="*/ 0 w 39404"/>
                  <a:gd name="connsiteY3" fmla="*/ 17864 h 43258"/>
                  <a:gd name="connsiteX4" fmla="*/ 16339 w 39404"/>
                  <a:gd name="connsiteY4" fmla="*/ 17864 h 43258"/>
                  <a:gd name="connsiteX5" fmla="*/ 16339 w 39404"/>
                  <a:gd name="connsiteY5" fmla="*/ 0 h 43258"/>
                  <a:gd name="connsiteX6" fmla="*/ 23226 w 39404"/>
                  <a:gd name="connsiteY6" fmla="*/ 0 h 43258"/>
                  <a:gd name="connsiteX7" fmla="*/ 23226 w 39404"/>
                  <a:gd name="connsiteY7" fmla="*/ 17864 h 43258"/>
                  <a:gd name="connsiteX8" fmla="*/ 39405 w 39404"/>
                  <a:gd name="connsiteY8" fmla="*/ 17864 h 43258"/>
                  <a:gd name="connsiteX9" fmla="*/ 39405 w 39404"/>
                  <a:gd name="connsiteY9" fmla="*/ 25395 h 43258"/>
                  <a:gd name="connsiteX10" fmla="*/ 23226 w 39404"/>
                  <a:gd name="connsiteY10" fmla="*/ 25395 h 43258"/>
                  <a:gd name="connsiteX11" fmla="*/ 23226 w 39404"/>
                  <a:gd name="connsiteY11" fmla="*/ 43259 h 43258"/>
                  <a:gd name="connsiteX12" fmla="*/ 16339 w 39404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258">
                    <a:moveTo>
                      <a:pt x="16339" y="43259"/>
                    </a:moveTo>
                    <a:lnTo>
                      <a:pt x="16339" y="25395"/>
                    </a:lnTo>
                    <a:lnTo>
                      <a:pt x="0" y="25395"/>
                    </a:lnTo>
                    <a:lnTo>
                      <a:pt x="0" y="17864"/>
                    </a:lnTo>
                    <a:lnTo>
                      <a:pt x="16339" y="17864"/>
                    </a:lnTo>
                    <a:lnTo>
                      <a:pt x="16339" y="0"/>
                    </a:lnTo>
                    <a:lnTo>
                      <a:pt x="23226" y="0"/>
                    </a:lnTo>
                    <a:lnTo>
                      <a:pt x="23226" y="17864"/>
                    </a:lnTo>
                    <a:lnTo>
                      <a:pt x="39405" y="17864"/>
                    </a:lnTo>
                    <a:lnTo>
                      <a:pt x="39405" y="25395"/>
                    </a:lnTo>
                    <a:lnTo>
                      <a:pt x="23226" y="25395"/>
                    </a:lnTo>
                    <a:lnTo>
                      <a:pt x="23226" y="43259"/>
                    </a:lnTo>
                    <a:lnTo>
                      <a:pt x="16339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41" name="Freihandform: Form 240">
                <a:extLst>
                  <a:ext uri="{FF2B5EF4-FFF2-40B4-BE49-F238E27FC236}">
                    <a16:creationId xmlns:a16="http://schemas.microsoft.com/office/drawing/2014/main" id="{990204A3-E144-8692-8DFA-F3B16E42C9A1}"/>
                  </a:ext>
                </a:extLst>
              </p:cNvPr>
              <p:cNvSpPr/>
              <p:nvPr/>
            </p:nvSpPr>
            <p:spPr>
              <a:xfrm>
                <a:off x="6927810" y="2346208"/>
                <a:ext cx="39405" cy="43258"/>
              </a:xfrm>
              <a:custGeom>
                <a:avLst/>
                <a:gdLst>
                  <a:gd name="connsiteX0" fmla="*/ 16179 w 39405"/>
                  <a:gd name="connsiteY0" fmla="*/ 43259 h 43258"/>
                  <a:gd name="connsiteX1" fmla="*/ 16179 w 39405"/>
                  <a:gd name="connsiteY1" fmla="*/ 25395 h 43258"/>
                  <a:gd name="connsiteX2" fmla="*/ 0 w 39405"/>
                  <a:gd name="connsiteY2" fmla="*/ 25395 h 43258"/>
                  <a:gd name="connsiteX3" fmla="*/ 0 w 39405"/>
                  <a:gd name="connsiteY3" fmla="*/ 17864 h 43258"/>
                  <a:gd name="connsiteX4" fmla="*/ 16179 w 39405"/>
                  <a:gd name="connsiteY4" fmla="*/ 17864 h 43258"/>
                  <a:gd name="connsiteX5" fmla="*/ 16179 w 39405"/>
                  <a:gd name="connsiteY5" fmla="*/ 0 h 43258"/>
                  <a:gd name="connsiteX6" fmla="*/ 23227 w 39405"/>
                  <a:gd name="connsiteY6" fmla="*/ 0 h 43258"/>
                  <a:gd name="connsiteX7" fmla="*/ 23227 w 39405"/>
                  <a:gd name="connsiteY7" fmla="*/ 17864 h 43258"/>
                  <a:gd name="connsiteX8" fmla="*/ 39405 w 39405"/>
                  <a:gd name="connsiteY8" fmla="*/ 17864 h 43258"/>
                  <a:gd name="connsiteX9" fmla="*/ 39405 w 39405"/>
                  <a:gd name="connsiteY9" fmla="*/ 25395 h 43258"/>
                  <a:gd name="connsiteX10" fmla="*/ 23227 w 39405"/>
                  <a:gd name="connsiteY10" fmla="*/ 25395 h 43258"/>
                  <a:gd name="connsiteX11" fmla="*/ 23227 w 39405"/>
                  <a:gd name="connsiteY11" fmla="*/ 43259 h 43258"/>
                  <a:gd name="connsiteX12" fmla="*/ 16179 w 39405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5" h="43258">
                    <a:moveTo>
                      <a:pt x="16179" y="43259"/>
                    </a:moveTo>
                    <a:lnTo>
                      <a:pt x="16179" y="25395"/>
                    </a:lnTo>
                    <a:lnTo>
                      <a:pt x="0" y="25395"/>
                    </a:lnTo>
                    <a:lnTo>
                      <a:pt x="0" y="17864"/>
                    </a:lnTo>
                    <a:lnTo>
                      <a:pt x="16179" y="17864"/>
                    </a:lnTo>
                    <a:lnTo>
                      <a:pt x="16179" y="0"/>
                    </a:lnTo>
                    <a:lnTo>
                      <a:pt x="23227" y="0"/>
                    </a:lnTo>
                    <a:lnTo>
                      <a:pt x="23227" y="17864"/>
                    </a:lnTo>
                    <a:lnTo>
                      <a:pt x="39405" y="17864"/>
                    </a:lnTo>
                    <a:lnTo>
                      <a:pt x="39405" y="25395"/>
                    </a:lnTo>
                    <a:lnTo>
                      <a:pt x="23227" y="25395"/>
                    </a:lnTo>
                    <a:lnTo>
                      <a:pt x="23227" y="43259"/>
                    </a:lnTo>
                    <a:lnTo>
                      <a:pt x="16179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42" name="Freihandform: Form 241">
                <a:extLst>
                  <a:ext uri="{FF2B5EF4-FFF2-40B4-BE49-F238E27FC236}">
                    <a16:creationId xmlns:a16="http://schemas.microsoft.com/office/drawing/2014/main" id="{894F2887-56A1-964C-50A1-B9A4F4A49CCA}"/>
                  </a:ext>
                </a:extLst>
              </p:cNvPr>
              <p:cNvSpPr/>
              <p:nvPr/>
            </p:nvSpPr>
            <p:spPr>
              <a:xfrm>
                <a:off x="6930694" y="2346208"/>
                <a:ext cx="39565" cy="43258"/>
              </a:xfrm>
              <a:custGeom>
                <a:avLst/>
                <a:gdLst>
                  <a:gd name="connsiteX0" fmla="*/ 16339 w 39565"/>
                  <a:gd name="connsiteY0" fmla="*/ 43259 h 43258"/>
                  <a:gd name="connsiteX1" fmla="*/ 16339 w 39565"/>
                  <a:gd name="connsiteY1" fmla="*/ 25395 h 43258"/>
                  <a:gd name="connsiteX2" fmla="*/ 0 w 39565"/>
                  <a:gd name="connsiteY2" fmla="*/ 25395 h 43258"/>
                  <a:gd name="connsiteX3" fmla="*/ 0 w 39565"/>
                  <a:gd name="connsiteY3" fmla="*/ 17864 h 43258"/>
                  <a:gd name="connsiteX4" fmla="*/ 16339 w 39565"/>
                  <a:gd name="connsiteY4" fmla="*/ 17864 h 43258"/>
                  <a:gd name="connsiteX5" fmla="*/ 16339 w 39565"/>
                  <a:gd name="connsiteY5" fmla="*/ 0 h 43258"/>
                  <a:gd name="connsiteX6" fmla="*/ 23226 w 39565"/>
                  <a:gd name="connsiteY6" fmla="*/ 0 h 43258"/>
                  <a:gd name="connsiteX7" fmla="*/ 23226 w 39565"/>
                  <a:gd name="connsiteY7" fmla="*/ 17864 h 43258"/>
                  <a:gd name="connsiteX8" fmla="*/ 39565 w 39565"/>
                  <a:gd name="connsiteY8" fmla="*/ 17864 h 43258"/>
                  <a:gd name="connsiteX9" fmla="*/ 39565 w 39565"/>
                  <a:gd name="connsiteY9" fmla="*/ 25395 h 43258"/>
                  <a:gd name="connsiteX10" fmla="*/ 23226 w 39565"/>
                  <a:gd name="connsiteY10" fmla="*/ 25395 h 43258"/>
                  <a:gd name="connsiteX11" fmla="*/ 23226 w 39565"/>
                  <a:gd name="connsiteY11" fmla="*/ 43259 h 43258"/>
                  <a:gd name="connsiteX12" fmla="*/ 16339 w 39565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565" h="43258">
                    <a:moveTo>
                      <a:pt x="16339" y="43259"/>
                    </a:moveTo>
                    <a:lnTo>
                      <a:pt x="16339" y="25395"/>
                    </a:lnTo>
                    <a:lnTo>
                      <a:pt x="0" y="25395"/>
                    </a:lnTo>
                    <a:lnTo>
                      <a:pt x="0" y="17864"/>
                    </a:lnTo>
                    <a:lnTo>
                      <a:pt x="16339" y="17864"/>
                    </a:lnTo>
                    <a:lnTo>
                      <a:pt x="16339" y="0"/>
                    </a:lnTo>
                    <a:lnTo>
                      <a:pt x="23226" y="0"/>
                    </a:lnTo>
                    <a:lnTo>
                      <a:pt x="23226" y="17864"/>
                    </a:lnTo>
                    <a:lnTo>
                      <a:pt x="39565" y="17864"/>
                    </a:lnTo>
                    <a:lnTo>
                      <a:pt x="39565" y="25395"/>
                    </a:lnTo>
                    <a:lnTo>
                      <a:pt x="23226" y="25395"/>
                    </a:lnTo>
                    <a:lnTo>
                      <a:pt x="23226" y="43259"/>
                    </a:lnTo>
                    <a:lnTo>
                      <a:pt x="16339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43" name="Freihandform: Form 242">
                <a:extLst>
                  <a:ext uri="{FF2B5EF4-FFF2-40B4-BE49-F238E27FC236}">
                    <a16:creationId xmlns:a16="http://schemas.microsoft.com/office/drawing/2014/main" id="{FAF493F4-F272-3E9C-0DAC-D6C246AF65D6}"/>
                  </a:ext>
                </a:extLst>
              </p:cNvPr>
              <p:cNvSpPr/>
              <p:nvPr/>
            </p:nvSpPr>
            <p:spPr>
              <a:xfrm>
                <a:off x="6936781" y="2346208"/>
                <a:ext cx="39404" cy="43258"/>
              </a:xfrm>
              <a:custGeom>
                <a:avLst/>
                <a:gdLst>
                  <a:gd name="connsiteX0" fmla="*/ 16178 w 39404"/>
                  <a:gd name="connsiteY0" fmla="*/ 43259 h 43258"/>
                  <a:gd name="connsiteX1" fmla="*/ 16178 w 39404"/>
                  <a:gd name="connsiteY1" fmla="*/ 25395 h 43258"/>
                  <a:gd name="connsiteX2" fmla="*/ 0 w 39404"/>
                  <a:gd name="connsiteY2" fmla="*/ 25395 h 43258"/>
                  <a:gd name="connsiteX3" fmla="*/ 0 w 39404"/>
                  <a:gd name="connsiteY3" fmla="*/ 17864 h 43258"/>
                  <a:gd name="connsiteX4" fmla="*/ 16178 w 39404"/>
                  <a:gd name="connsiteY4" fmla="*/ 17864 h 43258"/>
                  <a:gd name="connsiteX5" fmla="*/ 16178 w 39404"/>
                  <a:gd name="connsiteY5" fmla="*/ 0 h 43258"/>
                  <a:gd name="connsiteX6" fmla="*/ 23066 w 39404"/>
                  <a:gd name="connsiteY6" fmla="*/ 0 h 43258"/>
                  <a:gd name="connsiteX7" fmla="*/ 23066 w 39404"/>
                  <a:gd name="connsiteY7" fmla="*/ 17864 h 43258"/>
                  <a:gd name="connsiteX8" fmla="*/ 39405 w 39404"/>
                  <a:gd name="connsiteY8" fmla="*/ 17864 h 43258"/>
                  <a:gd name="connsiteX9" fmla="*/ 39405 w 39404"/>
                  <a:gd name="connsiteY9" fmla="*/ 25395 h 43258"/>
                  <a:gd name="connsiteX10" fmla="*/ 23066 w 39404"/>
                  <a:gd name="connsiteY10" fmla="*/ 25395 h 43258"/>
                  <a:gd name="connsiteX11" fmla="*/ 23066 w 39404"/>
                  <a:gd name="connsiteY11" fmla="*/ 43259 h 43258"/>
                  <a:gd name="connsiteX12" fmla="*/ 16178 w 39404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258">
                    <a:moveTo>
                      <a:pt x="16178" y="43259"/>
                    </a:moveTo>
                    <a:lnTo>
                      <a:pt x="16178" y="25395"/>
                    </a:lnTo>
                    <a:lnTo>
                      <a:pt x="0" y="25395"/>
                    </a:lnTo>
                    <a:lnTo>
                      <a:pt x="0" y="17864"/>
                    </a:lnTo>
                    <a:lnTo>
                      <a:pt x="16178" y="17864"/>
                    </a:lnTo>
                    <a:lnTo>
                      <a:pt x="16178" y="0"/>
                    </a:lnTo>
                    <a:lnTo>
                      <a:pt x="23066" y="0"/>
                    </a:lnTo>
                    <a:lnTo>
                      <a:pt x="23066" y="17864"/>
                    </a:lnTo>
                    <a:lnTo>
                      <a:pt x="39405" y="17864"/>
                    </a:lnTo>
                    <a:lnTo>
                      <a:pt x="39405" y="25395"/>
                    </a:lnTo>
                    <a:lnTo>
                      <a:pt x="23066" y="25395"/>
                    </a:lnTo>
                    <a:lnTo>
                      <a:pt x="23066" y="43259"/>
                    </a:lnTo>
                    <a:lnTo>
                      <a:pt x="16178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44" name="Freihandform: Form 243">
                <a:extLst>
                  <a:ext uri="{FF2B5EF4-FFF2-40B4-BE49-F238E27FC236}">
                    <a16:creationId xmlns:a16="http://schemas.microsoft.com/office/drawing/2014/main" id="{8D1C0862-DBD4-3BB9-7D27-8D817169F0DB}"/>
                  </a:ext>
                </a:extLst>
              </p:cNvPr>
              <p:cNvSpPr/>
              <p:nvPr/>
            </p:nvSpPr>
            <p:spPr>
              <a:xfrm>
                <a:off x="6942708" y="2358292"/>
                <a:ext cx="39404" cy="43258"/>
              </a:xfrm>
              <a:custGeom>
                <a:avLst/>
                <a:gdLst>
                  <a:gd name="connsiteX0" fmla="*/ 16178 w 39404"/>
                  <a:gd name="connsiteY0" fmla="*/ 43259 h 43258"/>
                  <a:gd name="connsiteX1" fmla="*/ 16178 w 39404"/>
                  <a:gd name="connsiteY1" fmla="*/ 25395 h 43258"/>
                  <a:gd name="connsiteX2" fmla="*/ 0 w 39404"/>
                  <a:gd name="connsiteY2" fmla="*/ 25395 h 43258"/>
                  <a:gd name="connsiteX3" fmla="*/ 0 w 39404"/>
                  <a:gd name="connsiteY3" fmla="*/ 17864 h 43258"/>
                  <a:gd name="connsiteX4" fmla="*/ 16178 w 39404"/>
                  <a:gd name="connsiteY4" fmla="*/ 17864 h 43258"/>
                  <a:gd name="connsiteX5" fmla="*/ 16178 w 39404"/>
                  <a:gd name="connsiteY5" fmla="*/ 0 h 43258"/>
                  <a:gd name="connsiteX6" fmla="*/ 23226 w 39404"/>
                  <a:gd name="connsiteY6" fmla="*/ 0 h 43258"/>
                  <a:gd name="connsiteX7" fmla="*/ 23226 w 39404"/>
                  <a:gd name="connsiteY7" fmla="*/ 17864 h 43258"/>
                  <a:gd name="connsiteX8" fmla="*/ 39405 w 39404"/>
                  <a:gd name="connsiteY8" fmla="*/ 17864 h 43258"/>
                  <a:gd name="connsiteX9" fmla="*/ 39405 w 39404"/>
                  <a:gd name="connsiteY9" fmla="*/ 25395 h 43258"/>
                  <a:gd name="connsiteX10" fmla="*/ 23226 w 39404"/>
                  <a:gd name="connsiteY10" fmla="*/ 25395 h 43258"/>
                  <a:gd name="connsiteX11" fmla="*/ 23226 w 39404"/>
                  <a:gd name="connsiteY11" fmla="*/ 43259 h 43258"/>
                  <a:gd name="connsiteX12" fmla="*/ 16178 w 39404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258">
                    <a:moveTo>
                      <a:pt x="16178" y="43259"/>
                    </a:moveTo>
                    <a:lnTo>
                      <a:pt x="16178" y="25395"/>
                    </a:lnTo>
                    <a:lnTo>
                      <a:pt x="0" y="25395"/>
                    </a:lnTo>
                    <a:lnTo>
                      <a:pt x="0" y="17864"/>
                    </a:lnTo>
                    <a:lnTo>
                      <a:pt x="16178" y="17864"/>
                    </a:lnTo>
                    <a:lnTo>
                      <a:pt x="16178" y="0"/>
                    </a:lnTo>
                    <a:lnTo>
                      <a:pt x="23226" y="0"/>
                    </a:lnTo>
                    <a:lnTo>
                      <a:pt x="23226" y="17864"/>
                    </a:lnTo>
                    <a:lnTo>
                      <a:pt x="39405" y="17864"/>
                    </a:lnTo>
                    <a:lnTo>
                      <a:pt x="39405" y="25395"/>
                    </a:lnTo>
                    <a:lnTo>
                      <a:pt x="23226" y="25395"/>
                    </a:lnTo>
                    <a:lnTo>
                      <a:pt x="23226" y="43259"/>
                    </a:lnTo>
                    <a:lnTo>
                      <a:pt x="16178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45" name="Freihandform: Form 244">
                <a:extLst>
                  <a:ext uri="{FF2B5EF4-FFF2-40B4-BE49-F238E27FC236}">
                    <a16:creationId xmlns:a16="http://schemas.microsoft.com/office/drawing/2014/main" id="{388DCFC5-968D-D80C-3E91-A252F60E75F4}"/>
                  </a:ext>
                </a:extLst>
              </p:cNvPr>
              <p:cNvSpPr/>
              <p:nvPr/>
            </p:nvSpPr>
            <p:spPr>
              <a:xfrm>
                <a:off x="6954561" y="2358292"/>
                <a:ext cx="39565" cy="43258"/>
              </a:xfrm>
              <a:custGeom>
                <a:avLst/>
                <a:gdLst>
                  <a:gd name="connsiteX0" fmla="*/ 16339 w 39565"/>
                  <a:gd name="connsiteY0" fmla="*/ 43259 h 43258"/>
                  <a:gd name="connsiteX1" fmla="*/ 16339 w 39565"/>
                  <a:gd name="connsiteY1" fmla="*/ 25395 h 43258"/>
                  <a:gd name="connsiteX2" fmla="*/ 0 w 39565"/>
                  <a:gd name="connsiteY2" fmla="*/ 25395 h 43258"/>
                  <a:gd name="connsiteX3" fmla="*/ 0 w 39565"/>
                  <a:gd name="connsiteY3" fmla="*/ 17864 h 43258"/>
                  <a:gd name="connsiteX4" fmla="*/ 16339 w 39565"/>
                  <a:gd name="connsiteY4" fmla="*/ 17864 h 43258"/>
                  <a:gd name="connsiteX5" fmla="*/ 16339 w 39565"/>
                  <a:gd name="connsiteY5" fmla="*/ 0 h 43258"/>
                  <a:gd name="connsiteX6" fmla="*/ 23227 w 39565"/>
                  <a:gd name="connsiteY6" fmla="*/ 0 h 43258"/>
                  <a:gd name="connsiteX7" fmla="*/ 23227 w 39565"/>
                  <a:gd name="connsiteY7" fmla="*/ 17864 h 43258"/>
                  <a:gd name="connsiteX8" fmla="*/ 39565 w 39565"/>
                  <a:gd name="connsiteY8" fmla="*/ 17864 h 43258"/>
                  <a:gd name="connsiteX9" fmla="*/ 39565 w 39565"/>
                  <a:gd name="connsiteY9" fmla="*/ 25395 h 43258"/>
                  <a:gd name="connsiteX10" fmla="*/ 23227 w 39565"/>
                  <a:gd name="connsiteY10" fmla="*/ 25395 h 43258"/>
                  <a:gd name="connsiteX11" fmla="*/ 23227 w 39565"/>
                  <a:gd name="connsiteY11" fmla="*/ 43259 h 43258"/>
                  <a:gd name="connsiteX12" fmla="*/ 16339 w 39565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565" h="43258">
                    <a:moveTo>
                      <a:pt x="16339" y="43259"/>
                    </a:moveTo>
                    <a:lnTo>
                      <a:pt x="16339" y="25395"/>
                    </a:lnTo>
                    <a:lnTo>
                      <a:pt x="0" y="25395"/>
                    </a:lnTo>
                    <a:lnTo>
                      <a:pt x="0" y="17864"/>
                    </a:lnTo>
                    <a:lnTo>
                      <a:pt x="16339" y="17864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864"/>
                    </a:lnTo>
                    <a:lnTo>
                      <a:pt x="39565" y="17864"/>
                    </a:lnTo>
                    <a:lnTo>
                      <a:pt x="39565" y="25395"/>
                    </a:lnTo>
                    <a:lnTo>
                      <a:pt x="23227" y="25395"/>
                    </a:lnTo>
                    <a:lnTo>
                      <a:pt x="23227" y="43259"/>
                    </a:lnTo>
                    <a:lnTo>
                      <a:pt x="16339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46" name="Freihandform: Form 245">
                <a:extLst>
                  <a:ext uri="{FF2B5EF4-FFF2-40B4-BE49-F238E27FC236}">
                    <a16:creationId xmlns:a16="http://schemas.microsoft.com/office/drawing/2014/main" id="{A5100095-0E00-33A7-1CB2-F8CF7F7CD020}"/>
                  </a:ext>
                </a:extLst>
              </p:cNvPr>
              <p:cNvSpPr/>
              <p:nvPr/>
            </p:nvSpPr>
            <p:spPr>
              <a:xfrm>
                <a:off x="6957605" y="2358292"/>
                <a:ext cx="39404" cy="43258"/>
              </a:xfrm>
              <a:custGeom>
                <a:avLst/>
                <a:gdLst>
                  <a:gd name="connsiteX0" fmla="*/ 16339 w 39404"/>
                  <a:gd name="connsiteY0" fmla="*/ 43259 h 43258"/>
                  <a:gd name="connsiteX1" fmla="*/ 16339 w 39404"/>
                  <a:gd name="connsiteY1" fmla="*/ 25395 h 43258"/>
                  <a:gd name="connsiteX2" fmla="*/ 0 w 39404"/>
                  <a:gd name="connsiteY2" fmla="*/ 25395 h 43258"/>
                  <a:gd name="connsiteX3" fmla="*/ 0 w 39404"/>
                  <a:gd name="connsiteY3" fmla="*/ 17864 h 43258"/>
                  <a:gd name="connsiteX4" fmla="*/ 16339 w 39404"/>
                  <a:gd name="connsiteY4" fmla="*/ 17864 h 43258"/>
                  <a:gd name="connsiteX5" fmla="*/ 16339 w 39404"/>
                  <a:gd name="connsiteY5" fmla="*/ 0 h 43258"/>
                  <a:gd name="connsiteX6" fmla="*/ 23227 w 39404"/>
                  <a:gd name="connsiteY6" fmla="*/ 0 h 43258"/>
                  <a:gd name="connsiteX7" fmla="*/ 23227 w 39404"/>
                  <a:gd name="connsiteY7" fmla="*/ 17864 h 43258"/>
                  <a:gd name="connsiteX8" fmla="*/ 39405 w 39404"/>
                  <a:gd name="connsiteY8" fmla="*/ 17864 h 43258"/>
                  <a:gd name="connsiteX9" fmla="*/ 39405 w 39404"/>
                  <a:gd name="connsiteY9" fmla="*/ 25395 h 43258"/>
                  <a:gd name="connsiteX10" fmla="*/ 23227 w 39404"/>
                  <a:gd name="connsiteY10" fmla="*/ 25395 h 43258"/>
                  <a:gd name="connsiteX11" fmla="*/ 23227 w 39404"/>
                  <a:gd name="connsiteY11" fmla="*/ 43259 h 43258"/>
                  <a:gd name="connsiteX12" fmla="*/ 16339 w 39404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258">
                    <a:moveTo>
                      <a:pt x="16339" y="43259"/>
                    </a:moveTo>
                    <a:lnTo>
                      <a:pt x="16339" y="25395"/>
                    </a:lnTo>
                    <a:lnTo>
                      <a:pt x="0" y="25395"/>
                    </a:lnTo>
                    <a:lnTo>
                      <a:pt x="0" y="17864"/>
                    </a:lnTo>
                    <a:lnTo>
                      <a:pt x="16339" y="17864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864"/>
                    </a:lnTo>
                    <a:lnTo>
                      <a:pt x="39405" y="17864"/>
                    </a:lnTo>
                    <a:lnTo>
                      <a:pt x="39405" y="25395"/>
                    </a:lnTo>
                    <a:lnTo>
                      <a:pt x="23227" y="25395"/>
                    </a:lnTo>
                    <a:lnTo>
                      <a:pt x="23227" y="43259"/>
                    </a:lnTo>
                    <a:lnTo>
                      <a:pt x="16339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47" name="Freihandform: Form 246">
                <a:extLst>
                  <a:ext uri="{FF2B5EF4-FFF2-40B4-BE49-F238E27FC236}">
                    <a16:creationId xmlns:a16="http://schemas.microsoft.com/office/drawing/2014/main" id="{1704011E-6595-5526-D692-CC51170F4DFB}"/>
                  </a:ext>
                </a:extLst>
              </p:cNvPr>
              <p:cNvSpPr/>
              <p:nvPr/>
            </p:nvSpPr>
            <p:spPr>
              <a:xfrm>
                <a:off x="6966575" y="2371252"/>
                <a:ext cx="39404" cy="43258"/>
              </a:xfrm>
              <a:custGeom>
                <a:avLst/>
                <a:gdLst>
                  <a:gd name="connsiteX0" fmla="*/ 16179 w 39404"/>
                  <a:gd name="connsiteY0" fmla="*/ 43259 h 43258"/>
                  <a:gd name="connsiteX1" fmla="*/ 16179 w 39404"/>
                  <a:gd name="connsiteY1" fmla="*/ 25220 h 43258"/>
                  <a:gd name="connsiteX2" fmla="*/ 0 w 39404"/>
                  <a:gd name="connsiteY2" fmla="*/ 25220 h 43258"/>
                  <a:gd name="connsiteX3" fmla="*/ 0 w 39404"/>
                  <a:gd name="connsiteY3" fmla="*/ 17864 h 43258"/>
                  <a:gd name="connsiteX4" fmla="*/ 16179 w 39404"/>
                  <a:gd name="connsiteY4" fmla="*/ 17864 h 43258"/>
                  <a:gd name="connsiteX5" fmla="*/ 16179 w 39404"/>
                  <a:gd name="connsiteY5" fmla="*/ 0 h 43258"/>
                  <a:gd name="connsiteX6" fmla="*/ 23066 w 39404"/>
                  <a:gd name="connsiteY6" fmla="*/ 0 h 43258"/>
                  <a:gd name="connsiteX7" fmla="*/ 23066 w 39404"/>
                  <a:gd name="connsiteY7" fmla="*/ 17864 h 43258"/>
                  <a:gd name="connsiteX8" fmla="*/ 39405 w 39404"/>
                  <a:gd name="connsiteY8" fmla="*/ 17864 h 43258"/>
                  <a:gd name="connsiteX9" fmla="*/ 39405 w 39404"/>
                  <a:gd name="connsiteY9" fmla="*/ 25220 h 43258"/>
                  <a:gd name="connsiteX10" fmla="*/ 23066 w 39404"/>
                  <a:gd name="connsiteY10" fmla="*/ 25220 h 43258"/>
                  <a:gd name="connsiteX11" fmla="*/ 23066 w 39404"/>
                  <a:gd name="connsiteY11" fmla="*/ 43259 h 43258"/>
                  <a:gd name="connsiteX12" fmla="*/ 16179 w 39404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258">
                    <a:moveTo>
                      <a:pt x="16179" y="43259"/>
                    </a:moveTo>
                    <a:lnTo>
                      <a:pt x="16179" y="25220"/>
                    </a:lnTo>
                    <a:lnTo>
                      <a:pt x="0" y="25220"/>
                    </a:lnTo>
                    <a:lnTo>
                      <a:pt x="0" y="17864"/>
                    </a:lnTo>
                    <a:lnTo>
                      <a:pt x="16179" y="17864"/>
                    </a:lnTo>
                    <a:lnTo>
                      <a:pt x="16179" y="0"/>
                    </a:lnTo>
                    <a:lnTo>
                      <a:pt x="23066" y="0"/>
                    </a:lnTo>
                    <a:lnTo>
                      <a:pt x="23066" y="17864"/>
                    </a:lnTo>
                    <a:lnTo>
                      <a:pt x="39405" y="17864"/>
                    </a:lnTo>
                    <a:lnTo>
                      <a:pt x="39405" y="25220"/>
                    </a:lnTo>
                    <a:lnTo>
                      <a:pt x="23066" y="25220"/>
                    </a:lnTo>
                    <a:lnTo>
                      <a:pt x="23066" y="43259"/>
                    </a:lnTo>
                    <a:lnTo>
                      <a:pt x="16179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48" name="Freihandform: Form 247">
                <a:extLst>
                  <a:ext uri="{FF2B5EF4-FFF2-40B4-BE49-F238E27FC236}">
                    <a16:creationId xmlns:a16="http://schemas.microsoft.com/office/drawing/2014/main" id="{9105CF5A-B930-0324-2E8F-EF9E49BF5E1B}"/>
                  </a:ext>
                </a:extLst>
              </p:cNvPr>
              <p:cNvSpPr/>
              <p:nvPr/>
            </p:nvSpPr>
            <p:spPr>
              <a:xfrm>
                <a:off x="6969458" y="2371252"/>
                <a:ext cx="39565" cy="43258"/>
              </a:xfrm>
              <a:custGeom>
                <a:avLst/>
                <a:gdLst>
                  <a:gd name="connsiteX0" fmla="*/ 16339 w 39565"/>
                  <a:gd name="connsiteY0" fmla="*/ 43259 h 43258"/>
                  <a:gd name="connsiteX1" fmla="*/ 16339 w 39565"/>
                  <a:gd name="connsiteY1" fmla="*/ 25220 h 43258"/>
                  <a:gd name="connsiteX2" fmla="*/ 0 w 39565"/>
                  <a:gd name="connsiteY2" fmla="*/ 25220 h 43258"/>
                  <a:gd name="connsiteX3" fmla="*/ 0 w 39565"/>
                  <a:gd name="connsiteY3" fmla="*/ 17864 h 43258"/>
                  <a:gd name="connsiteX4" fmla="*/ 16339 w 39565"/>
                  <a:gd name="connsiteY4" fmla="*/ 17864 h 43258"/>
                  <a:gd name="connsiteX5" fmla="*/ 16339 w 39565"/>
                  <a:gd name="connsiteY5" fmla="*/ 0 h 43258"/>
                  <a:gd name="connsiteX6" fmla="*/ 23227 w 39565"/>
                  <a:gd name="connsiteY6" fmla="*/ 0 h 43258"/>
                  <a:gd name="connsiteX7" fmla="*/ 23227 w 39565"/>
                  <a:gd name="connsiteY7" fmla="*/ 17864 h 43258"/>
                  <a:gd name="connsiteX8" fmla="*/ 39565 w 39565"/>
                  <a:gd name="connsiteY8" fmla="*/ 17864 h 43258"/>
                  <a:gd name="connsiteX9" fmla="*/ 39565 w 39565"/>
                  <a:gd name="connsiteY9" fmla="*/ 25220 h 43258"/>
                  <a:gd name="connsiteX10" fmla="*/ 23227 w 39565"/>
                  <a:gd name="connsiteY10" fmla="*/ 25220 h 43258"/>
                  <a:gd name="connsiteX11" fmla="*/ 23227 w 39565"/>
                  <a:gd name="connsiteY11" fmla="*/ 43259 h 43258"/>
                  <a:gd name="connsiteX12" fmla="*/ 16339 w 39565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565" h="43258">
                    <a:moveTo>
                      <a:pt x="16339" y="43259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864"/>
                    </a:lnTo>
                    <a:lnTo>
                      <a:pt x="16339" y="17864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864"/>
                    </a:lnTo>
                    <a:lnTo>
                      <a:pt x="39565" y="17864"/>
                    </a:lnTo>
                    <a:lnTo>
                      <a:pt x="39565" y="25220"/>
                    </a:lnTo>
                    <a:lnTo>
                      <a:pt x="23227" y="25220"/>
                    </a:lnTo>
                    <a:lnTo>
                      <a:pt x="23227" y="43259"/>
                    </a:lnTo>
                    <a:lnTo>
                      <a:pt x="16339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49" name="Freihandform: Form 248">
                <a:extLst>
                  <a:ext uri="{FF2B5EF4-FFF2-40B4-BE49-F238E27FC236}">
                    <a16:creationId xmlns:a16="http://schemas.microsoft.com/office/drawing/2014/main" id="{B5B06F3D-BB09-8DD6-4F93-51967B6EC981}"/>
                  </a:ext>
                </a:extLst>
              </p:cNvPr>
              <p:cNvSpPr/>
              <p:nvPr/>
            </p:nvSpPr>
            <p:spPr>
              <a:xfrm>
                <a:off x="6981312" y="2371252"/>
                <a:ext cx="39565" cy="43258"/>
              </a:xfrm>
              <a:custGeom>
                <a:avLst/>
                <a:gdLst>
                  <a:gd name="connsiteX0" fmla="*/ 16339 w 39565"/>
                  <a:gd name="connsiteY0" fmla="*/ 43259 h 43258"/>
                  <a:gd name="connsiteX1" fmla="*/ 16339 w 39565"/>
                  <a:gd name="connsiteY1" fmla="*/ 25220 h 43258"/>
                  <a:gd name="connsiteX2" fmla="*/ 0 w 39565"/>
                  <a:gd name="connsiteY2" fmla="*/ 25220 h 43258"/>
                  <a:gd name="connsiteX3" fmla="*/ 0 w 39565"/>
                  <a:gd name="connsiteY3" fmla="*/ 17864 h 43258"/>
                  <a:gd name="connsiteX4" fmla="*/ 16339 w 39565"/>
                  <a:gd name="connsiteY4" fmla="*/ 17864 h 43258"/>
                  <a:gd name="connsiteX5" fmla="*/ 16339 w 39565"/>
                  <a:gd name="connsiteY5" fmla="*/ 0 h 43258"/>
                  <a:gd name="connsiteX6" fmla="*/ 23226 w 39565"/>
                  <a:gd name="connsiteY6" fmla="*/ 0 h 43258"/>
                  <a:gd name="connsiteX7" fmla="*/ 23226 w 39565"/>
                  <a:gd name="connsiteY7" fmla="*/ 17864 h 43258"/>
                  <a:gd name="connsiteX8" fmla="*/ 39565 w 39565"/>
                  <a:gd name="connsiteY8" fmla="*/ 17864 h 43258"/>
                  <a:gd name="connsiteX9" fmla="*/ 39565 w 39565"/>
                  <a:gd name="connsiteY9" fmla="*/ 25220 h 43258"/>
                  <a:gd name="connsiteX10" fmla="*/ 23226 w 39565"/>
                  <a:gd name="connsiteY10" fmla="*/ 25220 h 43258"/>
                  <a:gd name="connsiteX11" fmla="*/ 23226 w 39565"/>
                  <a:gd name="connsiteY11" fmla="*/ 43259 h 43258"/>
                  <a:gd name="connsiteX12" fmla="*/ 16339 w 39565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565" h="43258">
                    <a:moveTo>
                      <a:pt x="16339" y="43259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864"/>
                    </a:lnTo>
                    <a:lnTo>
                      <a:pt x="16339" y="17864"/>
                    </a:lnTo>
                    <a:lnTo>
                      <a:pt x="16339" y="0"/>
                    </a:lnTo>
                    <a:lnTo>
                      <a:pt x="23226" y="0"/>
                    </a:lnTo>
                    <a:lnTo>
                      <a:pt x="23226" y="17864"/>
                    </a:lnTo>
                    <a:lnTo>
                      <a:pt x="39565" y="17864"/>
                    </a:lnTo>
                    <a:lnTo>
                      <a:pt x="39565" y="25220"/>
                    </a:lnTo>
                    <a:lnTo>
                      <a:pt x="23226" y="25220"/>
                    </a:lnTo>
                    <a:lnTo>
                      <a:pt x="23226" y="43259"/>
                    </a:lnTo>
                    <a:lnTo>
                      <a:pt x="16339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50" name="Freihandform: Form 249">
                <a:extLst>
                  <a:ext uri="{FF2B5EF4-FFF2-40B4-BE49-F238E27FC236}">
                    <a16:creationId xmlns:a16="http://schemas.microsoft.com/office/drawing/2014/main" id="{E30014F8-2C44-738C-E15E-550FA14243C3}"/>
                  </a:ext>
                </a:extLst>
              </p:cNvPr>
              <p:cNvSpPr/>
              <p:nvPr/>
            </p:nvSpPr>
            <p:spPr>
              <a:xfrm>
                <a:off x="6987399" y="2371252"/>
                <a:ext cx="39405" cy="43258"/>
              </a:xfrm>
              <a:custGeom>
                <a:avLst/>
                <a:gdLst>
                  <a:gd name="connsiteX0" fmla="*/ 16179 w 39405"/>
                  <a:gd name="connsiteY0" fmla="*/ 43259 h 43258"/>
                  <a:gd name="connsiteX1" fmla="*/ 16179 w 39405"/>
                  <a:gd name="connsiteY1" fmla="*/ 25220 h 43258"/>
                  <a:gd name="connsiteX2" fmla="*/ 0 w 39405"/>
                  <a:gd name="connsiteY2" fmla="*/ 25220 h 43258"/>
                  <a:gd name="connsiteX3" fmla="*/ 0 w 39405"/>
                  <a:gd name="connsiteY3" fmla="*/ 17864 h 43258"/>
                  <a:gd name="connsiteX4" fmla="*/ 16179 w 39405"/>
                  <a:gd name="connsiteY4" fmla="*/ 17864 h 43258"/>
                  <a:gd name="connsiteX5" fmla="*/ 16179 w 39405"/>
                  <a:gd name="connsiteY5" fmla="*/ 0 h 43258"/>
                  <a:gd name="connsiteX6" fmla="*/ 23066 w 39405"/>
                  <a:gd name="connsiteY6" fmla="*/ 0 h 43258"/>
                  <a:gd name="connsiteX7" fmla="*/ 23066 w 39405"/>
                  <a:gd name="connsiteY7" fmla="*/ 17864 h 43258"/>
                  <a:gd name="connsiteX8" fmla="*/ 39405 w 39405"/>
                  <a:gd name="connsiteY8" fmla="*/ 17864 h 43258"/>
                  <a:gd name="connsiteX9" fmla="*/ 39405 w 39405"/>
                  <a:gd name="connsiteY9" fmla="*/ 25220 h 43258"/>
                  <a:gd name="connsiteX10" fmla="*/ 23066 w 39405"/>
                  <a:gd name="connsiteY10" fmla="*/ 25220 h 43258"/>
                  <a:gd name="connsiteX11" fmla="*/ 23066 w 39405"/>
                  <a:gd name="connsiteY11" fmla="*/ 43259 h 43258"/>
                  <a:gd name="connsiteX12" fmla="*/ 16179 w 39405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5" h="43258">
                    <a:moveTo>
                      <a:pt x="16179" y="43259"/>
                    </a:moveTo>
                    <a:lnTo>
                      <a:pt x="16179" y="25220"/>
                    </a:lnTo>
                    <a:lnTo>
                      <a:pt x="0" y="25220"/>
                    </a:lnTo>
                    <a:lnTo>
                      <a:pt x="0" y="17864"/>
                    </a:lnTo>
                    <a:lnTo>
                      <a:pt x="16179" y="17864"/>
                    </a:lnTo>
                    <a:lnTo>
                      <a:pt x="16179" y="0"/>
                    </a:lnTo>
                    <a:lnTo>
                      <a:pt x="23066" y="0"/>
                    </a:lnTo>
                    <a:lnTo>
                      <a:pt x="23066" y="17864"/>
                    </a:lnTo>
                    <a:lnTo>
                      <a:pt x="39405" y="17864"/>
                    </a:lnTo>
                    <a:lnTo>
                      <a:pt x="39405" y="25220"/>
                    </a:lnTo>
                    <a:lnTo>
                      <a:pt x="23066" y="25220"/>
                    </a:lnTo>
                    <a:lnTo>
                      <a:pt x="23066" y="43259"/>
                    </a:lnTo>
                    <a:lnTo>
                      <a:pt x="16179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51" name="Freihandform: Form 250">
                <a:extLst>
                  <a:ext uri="{FF2B5EF4-FFF2-40B4-BE49-F238E27FC236}">
                    <a16:creationId xmlns:a16="http://schemas.microsoft.com/office/drawing/2014/main" id="{60DDF583-E579-A67C-BDD2-208FFC924A08}"/>
                  </a:ext>
                </a:extLst>
              </p:cNvPr>
              <p:cNvSpPr/>
              <p:nvPr/>
            </p:nvSpPr>
            <p:spPr>
              <a:xfrm>
                <a:off x="7008223" y="2371252"/>
                <a:ext cx="39404" cy="43258"/>
              </a:xfrm>
              <a:custGeom>
                <a:avLst/>
                <a:gdLst>
                  <a:gd name="connsiteX0" fmla="*/ 16339 w 39404"/>
                  <a:gd name="connsiteY0" fmla="*/ 43259 h 43258"/>
                  <a:gd name="connsiteX1" fmla="*/ 16339 w 39404"/>
                  <a:gd name="connsiteY1" fmla="*/ 25220 h 43258"/>
                  <a:gd name="connsiteX2" fmla="*/ 0 w 39404"/>
                  <a:gd name="connsiteY2" fmla="*/ 25220 h 43258"/>
                  <a:gd name="connsiteX3" fmla="*/ 0 w 39404"/>
                  <a:gd name="connsiteY3" fmla="*/ 17864 h 43258"/>
                  <a:gd name="connsiteX4" fmla="*/ 16339 w 39404"/>
                  <a:gd name="connsiteY4" fmla="*/ 17864 h 43258"/>
                  <a:gd name="connsiteX5" fmla="*/ 16339 w 39404"/>
                  <a:gd name="connsiteY5" fmla="*/ 0 h 43258"/>
                  <a:gd name="connsiteX6" fmla="*/ 23226 w 39404"/>
                  <a:gd name="connsiteY6" fmla="*/ 0 h 43258"/>
                  <a:gd name="connsiteX7" fmla="*/ 23226 w 39404"/>
                  <a:gd name="connsiteY7" fmla="*/ 17864 h 43258"/>
                  <a:gd name="connsiteX8" fmla="*/ 39405 w 39404"/>
                  <a:gd name="connsiteY8" fmla="*/ 17864 h 43258"/>
                  <a:gd name="connsiteX9" fmla="*/ 39405 w 39404"/>
                  <a:gd name="connsiteY9" fmla="*/ 25220 h 43258"/>
                  <a:gd name="connsiteX10" fmla="*/ 23226 w 39404"/>
                  <a:gd name="connsiteY10" fmla="*/ 25220 h 43258"/>
                  <a:gd name="connsiteX11" fmla="*/ 23226 w 39404"/>
                  <a:gd name="connsiteY11" fmla="*/ 43259 h 43258"/>
                  <a:gd name="connsiteX12" fmla="*/ 16339 w 39404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258">
                    <a:moveTo>
                      <a:pt x="16339" y="43259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864"/>
                    </a:lnTo>
                    <a:lnTo>
                      <a:pt x="16339" y="17864"/>
                    </a:lnTo>
                    <a:lnTo>
                      <a:pt x="16339" y="0"/>
                    </a:lnTo>
                    <a:lnTo>
                      <a:pt x="23226" y="0"/>
                    </a:lnTo>
                    <a:lnTo>
                      <a:pt x="23226" y="17864"/>
                    </a:lnTo>
                    <a:lnTo>
                      <a:pt x="39405" y="17864"/>
                    </a:lnTo>
                    <a:lnTo>
                      <a:pt x="39405" y="25220"/>
                    </a:lnTo>
                    <a:lnTo>
                      <a:pt x="23226" y="25220"/>
                    </a:lnTo>
                    <a:lnTo>
                      <a:pt x="23226" y="43259"/>
                    </a:lnTo>
                    <a:lnTo>
                      <a:pt x="16339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52" name="Freihandform: Form 251">
                <a:extLst>
                  <a:ext uri="{FF2B5EF4-FFF2-40B4-BE49-F238E27FC236}">
                    <a16:creationId xmlns:a16="http://schemas.microsoft.com/office/drawing/2014/main" id="{EDF2BDC0-C6B3-13AE-65C8-BF62F1BB4031}"/>
                  </a:ext>
                </a:extLst>
              </p:cNvPr>
              <p:cNvSpPr/>
              <p:nvPr/>
            </p:nvSpPr>
            <p:spPr>
              <a:xfrm>
                <a:off x="7011266" y="2371252"/>
                <a:ext cx="39404" cy="43258"/>
              </a:xfrm>
              <a:custGeom>
                <a:avLst/>
                <a:gdLst>
                  <a:gd name="connsiteX0" fmla="*/ 16178 w 39404"/>
                  <a:gd name="connsiteY0" fmla="*/ 43259 h 43258"/>
                  <a:gd name="connsiteX1" fmla="*/ 16178 w 39404"/>
                  <a:gd name="connsiteY1" fmla="*/ 25220 h 43258"/>
                  <a:gd name="connsiteX2" fmla="*/ 0 w 39404"/>
                  <a:gd name="connsiteY2" fmla="*/ 25220 h 43258"/>
                  <a:gd name="connsiteX3" fmla="*/ 0 w 39404"/>
                  <a:gd name="connsiteY3" fmla="*/ 17864 h 43258"/>
                  <a:gd name="connsiteX4" fmla="*/ 16178 w 39404"/>
                  <a:gd name="connsiteY4" fmla="*/ 17864 h 43258"/>
                  <a:gd name="connsiteX5" fmla="*/ 16178 w 39404"/>
                  <a:gd name="connsiteY5" fmla="*/ 0 h 43258"/>
                  <a:gd name="connsiteX6" fmla="*/ 23066 w 39404"/>
                  <a:gd name="connsiteY6" fmla="*/ 0 h 43258"/>
                  <a:gd name="connsiteX7" fmla="*/ 23066 w 39404"/>
                  <a:gd name="connsiteY7" fmla="*/ 17864 h 43258"/>
                  <a:gd name="connsiteX8" fmla="*/ 39405 w 39404"/>
                  <a:gd name="connsiteY8" fmla="*/ 17864 h 43258"/>
                  <a:gd name="connsiteX9" fmla="*/ 39405 w 39404"/>
                  <a:gd name="connsiteY9" fmla="*/ 25220 h 43258"/>
                  <a:gd name="connsiteX10" fmla="*/ 23066 w 39404"/>
                  <a:gd name="connsiteY10" fmla="*/ 25220 h 43258"/>
                  <a:gd name="connsiteX11" fmla="*/ 23066 w 39404"/>
                  <a:gd name="connsiteY11" fmla="*/ 43259 h 43258"/>
                  <a:gd name="connsiteX12" fmla="*/ 16178 w 39404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258">
                    <a:moveTo>
                      <a:pt x="16178" y="43259"/>
                    </a:moveTo>
                    <a:lnTo>
                      <a:pt x="16178" y="25220"/>
                    </a:lnTo>
                    <a:lnTo>
                      <a:pt x="0" y="25220"/>
                    </a:lnTo>
                    <a:lnTo>
                      <a:pt x="0" y="17864"/>
                    </a:lnTo>
                    <a:lnTo>
                      <a:pt x="16178" y="17864"/>
                    </a:lnTo>
                    <a:lnTo>
                      <a:pt x="16178" y="0"/>
                    </a:lnTo>
                    <a:lnTo>
                      <a:pt x="23066" y="0"/>
                    </a:lnTo>
                    <a:lnTo>
                      <a:pt x="23066" y="17864"/>
                    </a:lnTo>
                    <a:lnTo>
                      <a:pt x="39405" y="17864"/>
                    </a:lnTo>
                    <a:lnTo>
                      <a:pt x="39405" y="25220"/>
                    </a:lnTo>
                    <a:lnTo>
                      <a:pt x="23066" y="25220"/>
                    </a:lnTo>
                    <a:lnTo>
                      <a:pt x="23066" y="43259"/>
                    </a:lnTo>
                    <a:lnTo>
                      <a:pt x="16178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53" name="Freihandform: Form 252">
                <a:extLst>
                  <a:ext uri="{FF2B5EF4-FFF2-40B4-BE49-F238E27FC236}">
                    <a16:creationId xmlns:a16="http://schemas.microsoft.com/office/drawing/2014/main" id="{AC7DBC34-36A0-62FB-3A8D-C864165AB298}"/>
                  </a:ext>
                </a:extLst>
              </p:cNvPr>
              <p:cNvSpPr/>
              <p:nvPr/>
            </p:nvSpPr>
            <p:spPr>
              <a:xfrm>
                <a:off x="7014149" y="2371252"/>
                <a:ext cx="39404" cy="43258"/>
              </a:xfrm>
              <a:custGeom>
                <a:avLst/>
                <a:gdLst>
                  <a:gd name="connsiteX0" fmla="*/ 16339 w 39404"/>
                  <a:gd name="connsiteY0" fmla="*/ 43259 h 43258"/>
                  <a:gd name="connsiteX1" fmla="*/ 16339 w 39404"/>
                  <a:gd name="connsiteY1" fmla="*/ 25220 h 43258"/>
                  <a:gd name="connsiteX2" fmla="*/ 0 w 39404"/>
                  <a:gd name="connsiteY2" fmla="*/ 25220 h 43258"/>
                  <a:gd name="connsiteX3" fmla="*/ 0 w 39404"/>
                  <a:gd name="connsiteY3" fmla="*/ 17864 h 43258"/>
                  <a:gd name="connsiteX4" fmla="*/ 16339 w 39404"/>
                  <a:gd name="connsiteY4" fmla="*/ 17864 h 43258"/>
                  <a:gd name="connsiteX5" fmla="*/ 16339 w 39404"/>
                  <a:gd name="connsiteY5" fmla="*/ 0 h 43258"/>
                  <a:gd name="connsiteX6" fmla="*/ 23227 w 39404"/>
                  <a:gd name="connsiteY6" fmla="*/ 0 h 43258"/>
                  <a:gd name="connsiteX7" fmla="*/ 23227 w 39404"/>
                  <a:gd name="connsiteY7" fmla="*/ 17864 h 43258"/>
                  <a:gd name="connsiteX8" fmla="*/ 39405 w 39404"/>
                  <a:gd name="connsiteY8" fmla="*/ 17864 h 43258"/>
                  <a:gd name="connsiteX9" fmla="*/ 39405 w 39404"/>
                  <a:gd name="connsiteY9" fmla="*/ 25220 h 43258"/>
                  <a:gd name="connsiteX10" fmla="*/ 23227 w 39404"/>
                  <a:gd name="connsiteY10" fmla="*/ 25220 h 43258"/>
                  <a:gd name="connsiteX11" fmla="*/ 23227 w 39404"/>
                  <a:gd name="connsiteY11" fmla="*/ 43259 h 43258"/>
                  <a:gd name="connsiteX12" fmla="*/ 16339 w 39404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258">
                    <a:moveTo>
                      <a:pt x="16339" y="43259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864"/>
                    </a:lnTo>
                    <a:lnTo>
                      <a:pt x="16339" y="17864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864"/>
                    </a:lnTo>
                    <a:lnTo>
                      <a:pt x="39405" y="17864"/>
                    </a:lnTo>
                    <a:lnTo>
                      <a:pt x="39405" y="25220"/>
                    </a:lnTo>
                    <a:lnTo>
                      <a:pt x="23227" y="25220"/>
                    </a:lnTo>
                    <a:lnTo>
                      <a:pt x="23227" y="43259"/>
                    </a:lnTo>
                    <a:lnTo>
                      <a:pt x="16339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54" name="Freihandform: Form 253">
                <a:extLst>
                  <a:ext uri="{FF2B5EF4-FFF2-40B4-BE49-F238E27FC236}">
                    <a16:creationId xmlns:a16="http://schemas.microsoft.com/office/drawing/2014/main" id="{BA10E27F-6ED5-A37F-BE73-624673CFDA9A}"/>
                  </a:ext>
                </a:extLst>
              </p:cNvPr>
              <p:cNvSpPr/>
              <p:nvPr/>
            </p:nvSpPr>
            <p:spPr>
              <a:xfrm>
                <a:off x="7023120" y="2371252"/>
                <a:ext cx="39404" cy="43258"/>
              </a:xfrm>
              <a:custGeom>
                <a:avLst/>
                <a:gdLst>
                  <a:gd name="connsiteX0" fmla="*/ 16179 w 39404"/>
                  <a:gd name="connsiteY0" fmla="*/ 43259 h 43258"/>
                  <a:gd name="connsiteX1" fmla="*/ 16179 w 39404"/>
                  <a:gd name="connsiteY1" fmla="*/ 25220 h 43258"/>
                  <a:gd name="connsiteX2" fmla="*/ 0 w 39404"/>
                  <a:gd name="connsiteY2" fmla="*/ 25220 h 43258"/>
                  <a:gd name="connsiteX3" fmla="*/ 0 w 39404"/>
                  <a:gd name="connsiteY3" fmla="*/ 17864 h 43258"/>
                  <a:gd name="connsiteX4" fmla="*/ 16179 w 39404"/>
                  <a:gd name="connsiteY4" fmla="*/ 17864 h 43258"/>
                  <a:gd name="connsiteX5" fmla="*/ 16179 w 39404"/>
                  <a:gd name="connsiteY5" fmla="*/ 0 h 43258"/>
                  <a:gd name="connsiteX6" fmla="*/ 23227 w 39404"/>
                  <a:gd name="connsiteY6" fmla="*/ 0 h 43258"/>
                  <a:gd name="connsiteX7" fmla="*/ 23227 w 39404"/>
                  <a:gd name="connsiteY7" fmla="*/ 17864 h 43258"/>
                  <a:gd name="connsiteX8" fmla="*/ 39405 w 39404"/>
                  <a:gd name="connsiteY8" fmla="*/ 17864 h 43258"/>
                  <a:gd name="connsiteX9" fmla="*/ 39405 w 39404"/>
                  <a:gd name="connsiteY9" fmla="*/ 25220 h 43258"/>
                  <a:gd name="connsiteX10" fmla="*/ 23227 w 39404"/>
                  <a:gd name="connsiteY10" fmla="*/ 25220 h 43258"/>
                  <a:gd name="connsiteX11" fmla="*/ 23227 w 39404"/>
                  <a:gd name="connsiteY11" fmla="*/ 43259 h 43258"/>
                  <a:gd name="connsiteX12" fmla="*/ 16179 w 39404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258">
                    <a:moveTo>
                      <a:pt x="16179" y="43259"/>
                    </a:moveTo>
                    <a:lnTo>
                      <a:pt x="16179" y="25220"/>
                    </a:lnTo>
                    <a:lnTo>
                      <a:pt x="0" y="25220"/>
                    </a:lnTo>
                    <a:lnTo>
                      <a:pt x="0" y="17864"/>
                    </a:lnTo>
                    <a:lnTo>
                      <a:pt x="16179" y="17864"/>
                    </a:lnTo>
                    <a:lnTo>
                      <a:pt x="16179" y="0"/>
                    </a:lnTo>
                    <a:lnTo>
                      <a:pt x="23227" y="0"/>
                    </a:lnTo>
                    <a:lnTo>
                      <a:pt x="23227" y="17864"/>
                    </a:lnTo>
                    <a:lnTo>
                      <a:pt x="39405" y="17864"/>
                    </a:lnTo>
                    <a:lnTo>
                      <a:pt x="39405" y="25220"/>
                    </a:lnTo>
                    <a:lnTo>
                      <a:pt x="23227" y="25220"/>
                    </a:lnTo>
                    <a:lnTo>
                      <a:pt x="23227" y="43259"/>
                    </a:lnTo>
                    <a:lnTo>
                      <a:pt x="16179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55" name="Freihandform: Form 254">
                <a:extLst>
                  <a:ext uri="{FF2B5EF4-FFF2-40B4-BE49-F238E27FC236}">
                    <a16:creationId xmlns:a16="http://schemas.microsoft.com/office/drawing/2014/main" id="{2B104FC3-D407-55D1-E4BD-DD6662770BAC}"/>
                  </a:ext>
                </a:extLst>
              </p:cNvPr>
              <p:cNvSpPr/>
              <p:nvPr/>
            </p:nvSpPr>
            <p:spPr>
              <a:xfrm>
                <a:off x="7026163" y="2371252"/>
                <a:ext cx="39404" cy="43258"/>
              </a:xfrm>
              <a:custGeom>
                <a:avLst/>
                <a:gdLst>
                  <a:gd name="connsiteX0" fmla="*/ 16179 w 39404"/>
                  <a:gd name="connsiteY0" fmla="*/ 43259 h 43258"/>
                  <a:gd name="connsiteX1" fmla="*/ 16179 w 39404"/>
                  <a:gd name="connsiteY1" fmla="*/ 25220 h 43258"/>
                  <a:gd name="connsiteX2" fmla="*/ 0 w 39404"/>
                  <a:gd name="connsiteY2" fmla="*/ 25220 h 43258"/>
                  <a:gd name="connsiteX3" fmla="*/ 0 w 39404"/>
                  <a:gd name="connsiteY3" fmla="*/ 17864 h 43258"/>
                  <a:gd name="connsiteX4" fmla="*/ 16179 w 39404"/>
                  <a:gd name="connsiteY4" fmla="*/ 17864 h 43258"/>
                  <a:gd name="connsiteX5" fmla="*/ 16179 w 39404"/>
                  <a:gd name="connsiteY5" fmla="*/ 0 h 43258"/>
                  <a:gd name="connsiteX6" fmla="*/ 23066 w 39404"/>
                  <a:gd name="connsiteY6" fmla="*/ 0 h 43258"/>
                  <a:gd name="connsiteX7" fmla="*/ 23066 w 39404"/>
                  <a:gd name="connsiteY7" fmla="*/ 17864 h 43258"/>
                  <a:gd name="connsiteX8" fmla="*/ 39405 w 39404"/>
                  <a:gd name="connsiteY8" fmla="*/ 17864 h 43258"/>
                  <a:gd name="connsiteX9" fmla="*/ 39405 w 39404"/>
                  <a:gd name="connsiteY9" fmla="*/ 25220 h 43258"/>
                  <a:gd name="connsiteX10" fmla="*/ 23066 w 39404"/>
                  <a:gd name="connsiteY10" fmla="*/ 25220 h 43258"/>
                  <a:gd name="connsiteX11" fmla="*/ 23066 w 39404"/>
                  <a:gd name="connsiteY11" fmla="*/ 43259 h 43258"/>
                  <a:gd name="connsiteX12" fmla="*/ 16179 w 39404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258">
                    <a:moveTo>
                      <a:pt x="16179" y="43259"/>
                    </a:moveTo>
                    <a:lnTo>
                      <a:pt x="16179" y="25220"/>
                    </a:lnTo>
                    <a:lnTo>
                      <a:pt x="0" y="25220"/>
                    </a:lnTo>
                    <a:lnTo>
                      <a:pt x="0" y="17864"/>
                    </a:lnTo>
                    <a:lnTo>
                      <a:pt x="16179" y="17864"/>
                    </a:lnTo>
                    <a:lnTo>
                      <a:pt x="16179" y="0"/>
                    </a:lnTo>
                    <a:lnTo>
                      <a:pt x="23066" y="0"/>
                    </a:lnTo>
                    <a:lnTo>
                      <a:pt x="23066" y="17864"/>
                    </a:lnTo>
                    <a:lnTo>
                      <a:pt x="39405" y="17864"/>
                    </a:lnTo>
                    <a:lnTo>
                      <a:pt x="39405" y="25220"/>
                    </a:lnTo>
                    <a:lnTo>
                      <a:pt x="23066" y="25220"/>
                    </a:lnTo>
                    <a:lnTo>
                      <a:pt x="23066" y="43259"/>
                    </a:lnTo>
                    <a:lnTo>
                      <a:pt x="16179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56" name="Freihandform: Form 255">
                <a:extLst>
                  <a:ext uri="{FF2B5EF4-FFF2-40B4-BE49-F238E27FC236}">
                    <a16:creationId xmlns:a16="http://schemas.microsoft.com/office/drawing/2014/main" id="{275DE341-B12A-6E5B-2AAC-FBAF9E1778C9}"/>
                  </a:ext>
                </a:extLst>
              </p:cNvPr>
              <p:cNvSpPr/>
              <p:nvPr/>
            </p:nvSpPr>
            <p:spPr>
              <a:xfrm>
                <a:off x="7029046" y="2371252"/>
                <a:ext cx="39565" cy="43258"/>
              </a:xfrm>
              <a:custGeom>
                <a:avLst/>
                <a:gdLst>
                  <a:gd name="connsiteX0" fmla="*/ 16339 w 39565"/>
                  <a:gd name="connsiteY0" fmla="*/ 43259 h 43258"/>
                  <a:gd name="connsiteX1" fmla="*/ 16339 w 39565"/>
                  <a:gd name="connsiteY1" fmla="*/ 25220 h 43258"/>
                  <a:gd name="connsiteX2" fmla="*/ 0 w 39565"/>
                  <a:gd name="connsiteY2" fmla="*/ 25220 h 43258"/>
                  <a:gd name="connsiteX3" fmla="*/ 0 w 39565"/>
                  <a:gd name="connsiteY3" fmla="*/ 17864 h 43258"/>
                  <a:gd name="connsiteX4" fmla="*/ 16339 w 39565"/>
                  <a:gd name="connsiteY4" fmla="*/ 17864 h 43258"/>
                  <a:gd name="connsiteX5" fmla="*/ 16339 w 39565"/>
                  <a:gd name="connsiteY5" fmla="*/ 0 h 43258"/>
                  <a:gd name="connsiteX6" fmla="*/ 23227 w 39565"/>
                  <a:gd name="connsiteY6" fmla="*/ 0 h 43258"/>
                  <a:gd name="connsiteX7" fmla="*/ 23227 w 39565"/>
                  <a:gd name="connsiteY7" fmla="*/ 17864 h 43258"/>
                  <a:gd name="connsiteX8" fmla="*/ 39565 w 39565"/>
                  <a:gd name="connsiteY8" fmla="*/ 17864 h 43258"/>
                  <a:gd name="connsiteX9" fmla="*/ 39565 w 39565"/>
                  <a:gd name="connsiteY9" fmla="*/ 25220 h 43258"/>
                  <a:gd name="connsiteX10" fmla="*/ 23227 w 39565"/>
                  <a:gd name="connsiteY10" fmla="*/ 25220 h 43258"/>
                  <a:gd name="connsiteX11" fmla="*/ 23227 w 39565"/>
                  <a:gd name="connsiteY11" fmla="*/ 43259 h 43258"/>
                  <a:gd name="connsiteX12" fmla="*/ 16339 w 39565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565" h="43258">
                    <a:moveTo>
                      <a:pt x="16339" y="43259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864"/>
                    </a:lnTo>
                    <a:lnTo>
                      <a:pt x="16339" y="17864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864"/>
                    </a:lnTo>
                    <a:lnTo>
                      <a:pt x="39565" y="17864"/>
                    </a:lnTo>
                    <a:lnTo>
                      <a:pt x="39565" y="25220"/>
                    </a:lnTo>
                    <a:lnTo>
                      <a:pt x="23227" y="25220"/>
                    </a:lnTo>
                    <a:lnTo>
                      <a:pt x="23227" y="43259"/>
                    </a:lnTo>
                    <a:lnTo>
                      <a:pt x="16339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57" name="Freihandform: Form 256">
                <a:extLst>
                  <a:ext uri="{FF2B5EF4-FFF2-40B4-BE49-F238E27FC236}">
                    <a16:creationId xmlns:a16="http://schemas.microsoft.com/office/drawing/2014/main" id="{77B1BA8D-76BF-AD53-3E3C-D45C9DC4A5F5}"/>
                  </a:ext>
                </a:extLst>
              </p:cNvPr>
              <p:cNvSpPr/>
              <p:nvPr/>
            </p:nvSpPr>
            <p:spPr>
              <a:xfrm>
                <a:off x="7034973" y="2371252"/>
                <a:ext cx="39565" cy="43258"/>
              </a:xfrm>
              <a:custGeom>
                <a:avLst/>
                <a:gdLst>
                  <a:gd name="connsiteX0" fmla="*/ 16339 w 39565"/>
                  <a:gd name="connsiteY0" fmla="*/ 43259 h 43258"/>
                  <a:gd name="connsiteX1" fmla="*/ 16339 w 39565"/>
                  <a:gd name="connsiteY1" fmla="*/ 25220 h 43258"/>
                  <a:gd name="connsiteX2" fmla="*/ 0 w 39565"/>
                  <a:gd name="connsiteY2" fmla="*/ 25220 h 43258"/>
                  <a:gd name="connsiteX3" fmla="*/ 0 w 39565"/>
                  <a:gd name="connsiteY3" fmla="*/ 17864 h 43258"/>
                  <a:gd name="connsiteX4" fmla="*/ 16339 w 39565"/>
                  <a:gd name="connsiteY4" fmla="*/ 17864 h 43258"/>
                  <a:gd name="connsiteX5" fmla="*/ 16339 w 39565"/>
                  <a:gd name="connsiteY5" fmla="*/ 0 h 43258"/>
                  <a:gd name="connsiteX6" fmla="*/ 23227 w 39565"/>
                  <a:gd name="connsiteY6" fmla="*/ 0 h 43258"/>
                  <a:gd name="connsiteX7" fmla="*/ 23227 w 39565"/>
                  <a:gd name="connsiteY7" fmla="*/ 17864 h 43258"/>
                  <a:gd name="connsiteX8" fmla="*/ 39565 w 39565"/>
                  <a:gd name="connsiteY8" fmla="*/ 17864 h 43258"/>
                  <a:gd name="connsiteX9" fmla="*/ 39565 w 39565"/>
                  <a:gd name="connsiteY9" fmla="*/ 25220 h 43258"/>
                  <a:gd name="connsiteX10" fmla="*/ 23227 w 39565"/>
                  <a:gd name="connsiteY10" fmla="*/ 25220 h 43258"/>
                  <a:gd name="connsiteX11" fmla="*/ 23227 w 39565"/>
                  <a:gd name="connsiteY11" fmla="*/ 43259 h 43258"/>
                  <a:gd name="connsiteX12" fmla="*/ 16339 w 39565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565" h="43258">
                    <a:moveTo>
                      <a:pt x="16339" y="43259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864"/>
                    </a:lnTo>
                    <a:lnTo>
                      <a:pt x="16339" y="17864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864"/>
                    </a:lnTo>
                    <a:lnTo>
                      <a:pt x="39565" y="17864"/>
                    </a:lnTo>
                    <a:lnTo>
                      <a:pt x="39565" y="25220"/>
                    </a:lnTo>
                    <a:lnTo>
                      <a:pt x="23227" y="25220"/>
                    </a:lnTo>
                    <a:lnTo>
                      <a:pt x="23227" y="43259"/>
                    </a:lnTo>
                    <a:lnTo>
                      <a:pt x="16339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58" name="Freihandform: Form 257">
                <a:extLst>
                  <a:ext uri="{FF2B5EF4-FFF2-40B4-BE49-F238E27FC236}">
                    <a16:creationId xmlns:a16="http://schemas.microsoft.com/office/drawing/2014/main" id="{6CA5A985-0165-56C3-9CBB-4D9CA3D9F47D}"/>
                  </a:ext>
                </a:extLst>
              </p:cNvPr>
              <p:cNvSpPr/>
              <p:nvPr/>
            </p:nvSpPr>
            <p:spPr>
              <a:xfrm>
                <a:off x="7038017" y="2371252"/>
                <a:ext cx="39405" cy="43258"/>
              </a:xfrm>
              <a:custGeom>
                <a:avLst/>
                <a:gdLst>
                  <a:gd name="connsiteX0" fmla="*/ 16179 w 39405"/>
                  <a:gd name="connsiteY0" fmla="*/ 43259 h 43258"/>
                  <a:gd name="connsiteX1" fmla="*/ 16179 w 39405"/>
                  <a:gd name="connsiteY1" fmla="*/ 25220 h 43258"/>
                  <a:gd name="connsiteX2" fmla="*/ 0 w 39405"/>
                  <a:gd name="connsiteY2" fmla="*/ 25220 h 43258"/>
                  <a:gd name="connsiteX3" fmla="*/ 0 w 39405"/>
                  <a:gd name="connsiteY3" fmla="*/ 17864 h 43258"/>
                  <a:gd name="connsiteX4" fmla="*/ 16179 w 39405"/>
                  <a:gd name="connsiteY4" fmla="*/ 17864 h 43258"/>
                  <a:gd name="connsiteX5" fmla="*/ 16179 w 39405"/>
                  <a:gd name="connsiteY5" fmla="*/ 0 h 43258"/>
                  <a:gd name="connsiteX6" fmla="*/ 23227 w 39405"/>
                  <a:gd name="connsiteY6" fmla="*/ 0 h 43258"/>
                  <a:gd name="connsiteX7" fmla="*/ 23227 w 39405"/>
                  <a:gd name="connsiteY7" fmla="*/ 17864 h 43258"/>
                  <a:gd name="connsiteX8" fmla="*/ 39405 w 39405"/>
                  <a:gd name="connsiteY8" fmla="*/ 17864 h 43258"/>
                  <a:gd name="connsiteX9" fmla="*/ 39405 w 39405"/>
                  <a:gd name="connsiteY9" fmla="*/ 25220 h 43258"/>
                  <a:gd name="connsiteX10" fmla="*/ 23227 w 39405"/>
                  <a:gd name="connsiteY10" fmla="*/ 25220 h 43258"/>
                  <a:gd name="connsiteX11" fmla="*/ 23227 w 39405"/>
                  <a:gd name="connsiteY11" fmla="*/ 43259 h 43258"/>
                  <a:gd name="connsiteX12" fmla="*/ 16179 w 39405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5" h="43258">
                    <a:moveTo>
                      <a:pt x="16179" y="43259"/>
                    </a:moveTo>
                    <a:lnTo>
                      <a:pt x="16179" y="25220"/>
                    </a:lnTo>
                    <a:lnTo>
                      <a:pt x="0" y="25220"/>
                    </a:lnTo>
                    <a:lnTo>
                      <a:pt x="0" y="17864"/>
                    </a:lnTo>
                    <a:lnTo>
                      <a:pt x="16179" y="17864"/>
                    </a:lnTo>
                    <a:lnTo>
                      <a:pt x="16179" y="0"/>
                    </a:lnTo>
                    <a:lnTo>
                      <a:pt x="23227" y="0"/>
                    </a:lnTo>
                    <a:lnTo>
                      <a:pt x="23227" y="17864"/>
                    </a:lnTo>
                    <a:lnTo>
                      <a:pt x="39405" y="17864"/>
                    </a:lnTo>
                    <a:lnTo>
                      <a:pt x="39405" y="25220"/>
                    </a:lnTo>
                    <a:lnTo>
                      <a:pt x="23227" y="25220"/>
                    </a:lnTo>
                    <a:lnTo>
                      <a:pt x="23227" y="43259"/>
                    </a:lnTo>
                    <a:lnTo>
                      <a:pt x="16179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59" name="Freihandform: Form 258">
                <a:extLst>
                  <a:ext uri="{FF2B5EF4-FFF2-40B4-BE49-F238E27FC236}">
                    <a16:creationId xmlns:a16="http://schemas.microsoft.com/office/drawing/2014/main" id="{2C12920C-F2F7-01B2-B13C-3A6FD46C3B0D}"/>
                  </a:ext>
                </a:extLst>
              </p:cNvPr>
              <p:cNvSpPr/>
              <p:nvPr/>
            </p:nvSpPr>
            <p:spPr>
              <a:xfrm>
                <a:off x="7049870" y="2371252"/>
                <a:ext cx="39404" cy="43258"/>
              </a:xfrm>
              <a:custGeom>
                <a:avLst/>
                <a:gdLst>
                  <a:gd name="connsiteX0" fmla="*/ 16339 w 39404"/>
                  <a:gd name="connsiteY0" fmla="*/ 43259 h 43258"/>
                  <a:gd name="connsiteX1" fmla="*/ 16339 w 39404"/>
                  <a:gd name="connsiteY1" fmla="*/ 25220 h 43258"/>
                  <a:gd name="connsiteX2" fmla="*/ 0 w 39404"/>
                  <a:gd name="connsiteY2" fmla="*/ 25220 h 43258"/>
                  <a:gd name="connsiteX3" fmla="*/ 0 w 39404"/>
                  <a:gd name="connsiteY3" fmla="*/ 17864 h 43258"/>
                  <a:gd name="connsiteX4" fmla="*/ 16339 w 39404"/>
                  <a:gd name="connsiteY4" fmla="*/ 17864 h 43258"/>
                  <a:gd name="connsiteX5" fmla="*/ 16339 w 39404"/>
                  <a:gd name="connsiteY5" fmla="*/ 0 h 43258"/>
                  <a:gd name="connsiteX6" fmla="*/ 23226 w 39404"/>
                  <a:gd name="connsiteY6" fmla="*/ 0 h 43258"/>
                  <a:gd name="connsiteX7" fmla="*/ 23226 w 39404"/>
                  <a:gd name="connsiteY7" fmla="*/ 17864 h 43258"/>
                  <a:gd name="connsiteX8" fmla="*/ 39405 w 39404"/>
                  <a:gd name="connsiteY8" fmla="*/ 17864 h 43258"/>
                  <a:gd name="connsiteX9" fmla="*/ 39405 w 39404"/>
                  <a:gd name="connsiteY9" fmla="*/ 25220 h 43258"/>
                  <a:gd name="connsiteX10" fmla="*/ 23226 w 39404"/>
                  <a:gd name="connsiteY10" fmla="*/ 25220 h 43258"/>
                  <a:gd name="connsiteX11" fmla="*/ 23226 w 39404"/>
                  <a:gd name="connsiteY11" fmla="*/ 43259 h 43258"/>
                  <a:gd name="connsiteX12" fmla="*/ 16339 w 39404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258">
                    <a:moveTo>
                      <a:pt x="16339" y="43259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864"/>
                    </a:lnTo>
                    <a:lnTo>
                      <a:pt x="16339" y="17864"/>
                    </a:lnTo>
                    <a:lnTo>
                      <a:pt x="16339" y="0"/>
                    </a:lnTo>
                    <a:lnTo>
                      <a:pt x="23226" y="0"/>
                    </a:lnTo>
                    <a:lnTo>
                      <a:pt x="23226" y="17864"/>
                    </a:lnTo>
                    <a:lnTo>
                      <a:pt x="39405" y="17864"/>
                    </a:lnTo>
                    <a:lnTo>
                      <a:pt x="39405" y="25220"/>
                    </a:lnTo>
                    <a:lnTo>
                      <a:pt x="23226" y="25220"/>
                    </a:lnTo>
                    <a:lnTo>
                      <a:pt x="23226" y="43259"/>
                    </a:lnTo>
                    <a:lnTo>
                      <a:pt x="16339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0" name="Freihandform: Form 259">
                <a:extLst>
                  <a:ext uri="{FF2B5EF4-FFF2-40B4-BE49-F238E27FC236}">
                    <a16:creationId xmlns:a16="http://schemas.microsoft.com/office/drawing/2014/main" id="{55381BBE-64A6-57D2-75C2-6857195B5870}"/>
                  </a:ext>
                </a:extLst>
              </p:cNvPr>
              <p:cNvSpPr/>
              <p:nvPr/>
            </p:nvSpPr>
            <p:spPr>
              <a:xfrm>
                <a:off x="7067811" y="2371252"/>
                <a:ext cx="39404" cy="43258"/>
              </a:xfrm>
              <a:custGeom>
                <a:avLst/>
                <a:gdLst>
                  <a:gd name="connsiteX0" fmla="*/ 16178 w 39404"/>
                  <a:gd name="connsiteY0" fmla="*/ 43259 h 43258"/>
                  <a:gd name="connsiteX1" fmla="*/ 16178 w 39404"/>
                  <a:gd name="connsiteY1" fmla="*/ 25220 h 43258"/>
                  <a:gd name="connsiteX2" fmla="*/ 0 w 39404"/>
                  <a:gd name="connsiteY2" fmla="*/ 25220 h 43258"/>
                  <a:gd name="connsiteX3" fmla="*/ 0 w 39404"/>
                  <a:gd name="connsiteY3" fmla="*/ 17864 h 43258"/>
                  <a:gd name="connsiteX4" fmla="*/ 16178 w 39404"/>
                  <a:gd name="connsiteY4" fmla="*/ 17864 h 43258"/>
                  <a:gd name="connsiteX5" fmla="*/ 16178 w 39404"/>
                  <a:gd name="connsiteY5" fmla="*/ 0 h 43258"/>
                  <a:gd name="connsiteX6" fmla="*/ 23066 w 39404"/>
                  <a:gd name="connsiteY6" fmla="*/ 0 h 43258"/>
                  <a:gd name="connsiteX7" fmla="*/ 23066 w 39404"/>
                  <a:gd name="connsiteY7" fmla="*/ 17864 h 43258"/>
                  <a:gd name="connsiteX8" fmla="*/ 39405 w 39404"/>
                  <a:gd name="connsiteY8" fmla="*/ 17864 h 43258"/>
                  <a:gd name="connsiteX9" fmla="*/ 39405 w 39404"/>
                  <a:gd name="connsiteY9" fmla="*/ 25220 h 43258"/>
                  <a:gd name="connsiteX10" fmla="*/ 23066 w 39404"/>
                  <a:gd name="connsiteY10" fmla="*/ 25220 h 43258"/>
                  <a:gd name="connsiteX11" fmla="*/ 23066 w 39404"/>
                  <a:gd name="connsiteY11" fmla="*/ 43259 h 43258"/>
                  <a:gd name="connsiteX12" fmla="*/ 16178 w 39404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258">
                    <a:moveTo>
                      <a:pt x="16178" y="43259"/>
                    </a:moveTo>
                    <a:lnTo>
                      <a:pt x="16178" y="25220"/>
                    </a:lnTo>
                    <a:lnTo>
                      <a:pt x="0" y="25220"/>
                    </a:lnTo>
                    <a:lnTo>
                      <a:pt x="0" y="17864"/>
                    </a:lnTo>
                    <a:lnTo>
                      <a:pt x="16178" y="17864"/>
                    </a:lnTo>
                    <a:lnTo>
                      <a:pt x="16178" y="0"/>
                    </a:lnTo>
                    <a:lnTo>
                      <a:pt x="23066" y="0"/>
                    </a:lnTo>
                    <a:lnTo>
                      <a:pt x="23066" y="17864"/>
                    </a:lnTo>
                    <a:lnTo>
                      <a:pt x="39405" y="17864"/>
                    </a:lnTo>
                    <a:lnTo>
                      <a:pt x="39405" y="25220"/>
                    </a:lnTo>
                    <a:lnTo>
                      <a:pt x="23066" y="25220"/>
                    </a:lnTo>
                    <a:lnTo>
                      <a:pt x="23066" y="43259"/>
                    </a:lnTo>
                    <a:lnTo>
                      <a:pt x="16178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1" name="Freihandform: Form 260">
                <a:extLst>
                  <a:ext uri="{FF2B5EF4-FFF2-40B4-BE49-F238E27FC236}">
                    <a16:creationId xmlns:a16="http://schemas.microsoft.com/office/drawing/2014/main" id="{31310DAF-AD65-E494-D3EF-4756D503E556}"/>
                  </a:ext>
                </a:extLst>
              </p:cNvPr>
              <p:cNvSpPr/>
              <p:nvPr/>
            </p:nvSpPr>
            <p:spPr>
              <a:xfrm>
                <a:off x="7070694" y="2371252"/>
                <a:ext cx="39565" cy="43258"/>
              </a:xfrm>
              <a:custGeom>
                <a:avLst/>
                <a:gdLst>
                  <a:gd name="connsiteX0" fmla="*/ 16339 w 39565"/>
                  <a:gd name="connsiteY0" fmla="*/ 43259 h 43258"/>
                  <a:gd name="connsiteX1" fmla="*/ 16339 w 39565"/>
                  <a:gd name="connsiteY1" fmla="*/ 25220 h 43258"/>
                  <a:gd name="connsiteX2" fmla="*/ 0 w 39565"/>
                  <a:gd name="connsiteY2" fmla="*/ 25220 h 43258"/>
                  <a:gd name="connsiteX3" fmla="*/ 0 w 39565"/>
                  <a:gd name="connsiteY3" fmla="*/ 17864 h 43258"/>
                  <a:gd name="connsiteX4" fmla="*/ 16339 w 39565"/>
                  <a:gd name="connsiteY4" fmla="*/ 17864 h 43258"/>
                  <a:gd name="connsiteX5" fmla="*/ 16339 w 39565"/>
                  <a:gd name="connsiteY5" fmla="*/ 0 h 43258"/>
                  <a:gd name="connsiteX6" fmla="*/ 23227 w 39565"/>
                  <a:gd name="connsiteY6" fmla="*/ 0 h 43258"/>
                  <a:gd name="connsiteX7" fmla="*/ 23227 w 39565"/>
                  <a:gd name="connsiteY7" fmla="*/ 17864 h 43258"/>
                  <a:gd name="connsiteX8" fmla="*/ 39565 w 39565"/>
                  <a:gd name="connsiteY8" fmla="*/ 17864 h 43258"/>
                  <a:gd name="connsiteX9" fmla="*/ 39565 w 39565"/>
                  <a:gd name="connsiteY9" fmla="*/ 25220 h 43258"/>
                  <a:gd name="connsiteX10" fmla="*/ 23227 w 39565"/>
                  <a:gd name="connsiteY10" fmla="*/ 25220 h 43258"/>
                  <a:gd name="connsiteX11" fmla="*/ 23227 w 39565"/>
                  <a:gd name="connsiteY11" fmla="*/ 43259 h 43258"/>
                  <a:gd name="connsiteX12" fmla="*/ 16339 w 39565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565" h="43258">
                    <a:moveTo>
                      <a:pt x="16339" y="43259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864"/>
                    </a:lnTo>
                    <a:lnTo>
                      <a:pt x="16339" y="17864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864"/>
                    </a:lnTo>
                    <a:lnTo>
                      <a:pt x="39565" y="17864"/>
                    </a:lnTo>
                    <a:lnTo>
                      <a:pt x="39565" y="25220"/>
                    </a:lnTo>
                    <a:lnTo>
                      <a:pt x="23227" y="25220"/>
                    </a:lnTo>
                    <a:lnTo>
                      <a:pt x="23227" y="43259"/>
                    </a:lnTo>
                    <a:lnTo>
                      <a:pt x="16339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2" name="Freihandform: Form 261">
                <a:extLst>
                  <a:ext uri="{FF2B5EF4-FFF2-40B4-BE49-F238E27FC236}">
                    <a16:creationId xmlns:a16="http://schemas.microsoft.com/office/drawing/2014/main" id="{F47737FB-597A-6556-60EB-F69B34A8BA4E}"/>
                  </a:ext>
                </a:extLst>
              </p:cNvPr>
              <p:cNvSpPr/>
              <p:nvPr/>
            </p:nvSpPr>
            <p:spPr>
              <a:xfrm>
                <a:off x="7073738" y="2371252"/>
                <a:ext cx="39404" cy="43258"/>
              </a:xfrm>
              <a:custGeom>
                <a:avLst/>
                <a:gdLst>
                  <a:gd name="connsiteX0" fmla="*/ 16339 w 39404"/>
                  <a:gd name="connsiteY0" fmla="*/ 43259 h 43258"/>
                  <a:gd name="connsiteX1" fmla="*/ 16339 w 39404"/>
                  <a:gd name="connsiteY1" fmla="*/ 25220 h 43258"/>
                  <a:gd name="connsiteX2" fmla="*/ 0 w 39404"/>
                  <a:gd name="connsiteY2" fmla="*/ 25220 h 43258"/>
                  <a:gd name="connsiteX3" fmla="*/ 0 w 39404"/>
                  <a:gd name="connsiteY3" fmla="*/ 17864 h 43258"/>
                  <a:gd name="connsiteX4" fmla="*/ 16339 w 39404"/>
                  <a:gd name="connsiteY4" fmla="*/ 17864 h 43258"/>
                  <a:gd name="connsiteX5" fmla="*/ 16339 w 39404"/>
                  <a:gd name="connsiteY5" fmla="*/ 0 h 43258"/>
                  <a:gd name="connsiteX6" fmla="*/ 23227 w 39404"/>
                  <a:gd name="connsiteY6" fmla="*/ 0 h 43258"/>
                  <a:gd name="connsiteX7" fmla="*/ 23227 w 39404"/>
                  <a:gd name="connsiteY7" fmla="*/ 17864 h 43258"/>
                  <a:gd name="connsiteX8" fmla="*/ 39405 w 39404"/>
                  <a:gd name="connsiteY8" fmla="*/ 17864 h 43258"/>
                  <a:gd name="connsiteX9" fmla="*/ 39405 w 39404"/>
                  <a:gd name="connsiteY9" fmla="*/ 25220 h 43258"/>
                  <a:gd name="connsiteX10" fmla="*/ 23227 w 39404"/>
                  <a:gd name="connsiteY10" fmla="*/ 25220 h 43258"/>
                  <a:gd name="connsiteX11" fmla="*/ 23227 w 39404"/>
                  <a:gd name="connsiteY11" fmla="*/ 43259 h 43258"/>
                  <a:gd name="connsiteX12" fmla="*/ 16339 w 39404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258">
                    <a:moveTo>
                      <a:pt x="16339" y="43259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864"/>
                    </a:lnTo>
                    <a:lnTo>
                      <a:pt x="16339" y="17864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864"/>
                    </a:lnTo>
                    <a:lnTo>
                      <a:pt x="39405" y="17864"/>
                    </a:lnTo>
                    <a:lnTo>
                      <a:pt x="39405" y="25220"/>
                    </a:lnTo>
                    <a:lnTo>
                      <a:pt x="23227" y="25220"/>
                    </a:lnTo>
                    <a:lnTo>
                      <a:pt x="23227" y="43259"/>
                    </a:lnTo>
                    <a:lnTo>
                      <a:pt x="16339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3" name="Freihandform: Form 262">
                <a:extLst>
                  <a:ext uri="{FF2B5EF4-FFF2-40B4-BE49-F238E27FC236}">
                    <a16:creationId xmlns:a16="http://schemas.microsoft.com/office/drawing/2014/main" id="{CBD6A6E8-5563-9E2B-4DAD-62DFB2D7ED5F}"/>
                  </a:ext>
                </a:extLst>
              </p:cNvPr>
              <p:cNvSpPr/>
              <p:nvPr/>
            </p:nvSpPr>
            <p:spPr>
              <a:xfrm>
                <a:off x="7088635" y="2371252"/>
                <a:ext cx="39404" cy="43258"/>
              </a:xfrm>
              <a:custGeom>
                <a:avLst/>
                <a:gdLst>
                  <a:gd name="connsiteX0" fmla="*/ 16179 w 39404"/>
                  <a:gd name="connsiteY0" fmla="*/ 43259 h 43258"/>
                  <a:gd name="connsiteX1" fmla="*/ 16179 w 39404"/>
                  <a:gd name="connsiteY1" fmla="*/ 25220 h 43258"/>
                  <a:gd name="connsiteX2" fmla="*/ 0 w 39404"/>
                  <a:gd name="connsiteY2" fmla="*/ 25220 h 43258"/>
                  <a:gd name="connsiteX3" fmla="*/ 0 w 39404"/>
                  <a:gd name="connsiteY3" fmla="*/ 17864 h 43258"/>
                  <a:gd name="connsiteX4" fmla="*/ 16179 w 39404"/>
                  <a:gd name="connsiteY4" fmla="*/ 17864 h 43258"/>
                  <a:gd name="connsiteX5" fmla="*/ 16179 w 39404"/>
                  <a:gd name="connsiteY5" fmla="*/ 0 h 43258"/>
                  <a:gd name="connsiteX6" fmla="*/ 23227 w 39404"/>
                  <a:gd name="connsiteY6" fmla="*/ 0 h 43258"/>
                  <a:gd name="connsiteX7" fmla="*/ 23227 w 39404"/>
                  <a:gd name="connsiteY7" fmla="*/ 17864 h 43258"/>
                  <a:gd name="connsiteX8" fmla="*/ 39405 w 39404"/>
                  <a:gd name="connsiteY8" fmla="*/ 17864 h 43258"/>
                  <a:gd name="connsiteX9" fmla="*/ 39405 w 39404"/>
                  <a:gd name="connsiteY9" fmla="*/ 25220 h 43258"/>
                  <a:gd name="connsiteX10" fmla="*/ 23227 w 39404"/>
                  <a:gd name="connsiteY10" fmla="*/ 25220 h 43258"/>
                  <a:gd name="connsiteX11" fmla="*/ 23227 w 39404"/>
                  <a:gd name="connsiteY11" fmla="*/ 43259 h 43258"/>
                  <a:gd name="connsiteX12" fmla="*/ 16179 w 39404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258">
                    <a:moveTo>
                      <a:pt x="16179" y="43259"/>
                    </a:moveTo>
                    <a:lnTo>
                      <a:pt x="16179" y="25220"/>
                    </a:lnTo>
                    <a:lnTo>
                      <a:pt x="0" y="25220"/>
                    </a:lnTo>
                    <a:lnTo>
                      <a:pt x="0" y="17864"/>
                    </a:lnTo>
                    <a:lnTo>
                      <a:pt x="16179" y="17864"/>
                    </a:lnTo>
                    <a:lnTo>
                      <a:pt x="16179" y="0"/>
                    </a:lnTo>
                    <a:lnTo>
                      <a:pt x="23227" y="0"/>
                    </a:lnTo>
                    <a:lnTo>
                      <a:pt x="23227" y="17864"/>
                    </a:lnTo>
                    <a:lnTo>
                      <a:pt x="39405" y="17864"/>
                    </a:lnTo>
                    <a:lnTo>
                      <a:pt x="39405" y="25220"/>
                    </a:lnTo>
                    <a:lnTo>
                      <a:pt x="23227" y="25220"/>
                    </a:lnTo>
                    <a:lnTo>
                      <a:pt x="23227" y="43259"/>
                    </a:lnTo>
                    <a:lnTo>
                      <a:pt x="16179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4" name="Freihandform: Form 263">
                <a:extLst>
                  <a:ext uri="{FF2B5EF4-FFF2-40B4-BE49-F238E27FC236}">
                    <a16:creationId xmlns:a16="http://schemas.microsoft.com/office/drawing/2014/main" id="{31FEA6B3-4D83-DB62-84B7-4B4E42395F11}"/>
                  </a:ext>
                </a:extLst>
              </p:cNvPr>
              <p:cNvSpPr/>
              <p:nvPr/>
            </p:nvSpPr>
            <p:spPr>
              <a:xfrm>
                <a:off x="7091678" y="2371252"/>
                <a:ext cx="39404" cy="43258"/>
              </a:xfrm>
              <a:custGeom>
                <a:avLst/>
                <a:gdLst>
                  <a:gd name="connsiteX0" fmla="*/ 16179 w 39404"/>
                  <a:gd name="connsiteY0" fmla="*/ 43259 h 43258"/>
                  <a:gd name="connsiteX1" fmla="*/ 16179 w 39404"/>
                  <a:gd name="connsiteY1" fmla="*/ 25220 h 43258"/>
                  <a:gd name="connsiteX2" fmla="*/ 0 w 39404"/>
                  <a:gd name="connsiteY2" fmla="*/ 25220 h 43258"/>
                  <a:gd name="connsiteX3" fmla="*/ 0 w 39404"/>
                  <a:gd name="connsiteY3" fmla="*/ 17864 h 43258"/>
                  <a:gd name="connsiteX4" fmla="*/ 16179 w 39404"/>
                  <a:gd name="connsiteY4" fmla="*/ 17864 h 43258"/>
                  <a:gd name="connsiteX5" fmla="*/ 16179 w 39404"/>
                  <a:gd name="connsiteY5" fmla="*/ 0 h 43258"/>
                  <a:gd name="connsiteX6" fmla="*/ 23066 w 39404"/>
                  <a:gd name="connsiteY6" fmla="*/ 0 h 43258"/>
                  <a:gd name="connsiteX7" fmla="*/ 23066 w 39404"/>
                  <a:gd name="connsiteY7" fmla="*/ 17864 h 43258"/>
                  <a:gd name="connsiteX8" fmla="*/ 39405 w 39404"/>
                  <a:gd name="connsiteY8" fmla="*/ 17864 h 43258"/>
                  <a:gd name="connsiteX9" fmla="*/ 39405 w 39404"/>
                  <a:gd name="connsiteY9" fmla="*/ 25220 h 43258"/>
                  <a:gd name="connsiteX10" fmla="*/ 23066 w 39404"/>
                  <a:gd name="connsiteY10" fmla="*/ 25220 h 43258"/>
                  <a:gd name="connsiteX11" fmla="*/ 23066 w 39404"/>
                  <a:gd name="connsiteY11" fmla="*/ 43259 h 43258"/>
                  <a:gd name="connsiteX12" fmla="*/ 16179 w 39404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258">
                    <a:moveTo>
                      <a:pt x="16179" y="43259"/>
                    </a:moveTo>
                    <a:lnTo>
                      <a:pt x="16179" y="25220"/>
                    </a:lnTo>
                    <a:lnTo>
                      <a:pt x="0" y="25220"/>
                    </a:lnTo>
                    <a:lnTo>
                      <a:pt x="0" y="17864"/>
                    </a:lnTo>
                    <a:lnTo>
                      <a:pt x="16179" y="17864"/>
                    </a:lnTo>
                    <a:lnTo>
                      <a:pt x="16179" y="0"/>
                    </a:lnTo>
                    <a:lnTo>
                      <a:pt x="23066" y="0"/>
                    </a:lnTo>
                    <a:lnTo>
                      <a:pt x="23066" y="17864"/>
                    </a:lnTo>
                    <a:lnTo>
                      <a:pt x="39405" y="17864"/>
                    </a:lnTo>
                    <a:lnTo>
                      <a:pt x="39405" y="25220"/>
                    </a:lnTo>
                    <a:lnTo>
                      <a:pt x="23066" y="25220"/>
                    </a:lnTo>
                    <a:lnTo>
                      <a:pt x="23066" y="43259"/>
                    </a:lnTo>
                    <a:lnTo>
                      <a:pt x="16179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5" name="Freihandform: Form 264">
                <a:extLst>
                  <a:ext uri="{FF2B5EF4-FFF2-40B4-BE49-F238E27FC236}">
                    <a16:creationId xmlns:a16="http://schemas.microsoft.com/office/drawing/2014/main" id="{EC272330-8C9E-C3A2-13F9-0A708C066EAE}"/>
                  </a:ext>
                </a:extLst>
              </p:cNvPr>
              <p:cNvSpPr/>
              <p:nvPr/>
            </p:nvSpPr>
            <p:spPr>
              <a:xfrm>
                <a:off x="7094561" y="2371252"/>
                <a:ext cx="39565" cy="43258"/>
              </a:xfrm>
              <a:custGeom>
                <a:avLst/>
                <a:gdLst>
                  <a:gd name="connsiteX0" fmla="*/ 16339 w 39565"/>
                  <a:gd name="connsiteY0" fmla="*/ 43259 h 43258"/>
                  <a:gd name="connsiteX1" fmla="*/ 16339 w 39565"/>
                  <a:gd name="connsiteY1" fmla="*/ 25220 h 43258"/>
                  <a:gd name="connsiteX2" fmla="*/ 0 w 39565"/>
                  <a:gd name="connsiteY2" fmla="*/ 25220 h 43258"/>
                  <a:gd name="connsiteX3" fmla="*/ 0 w 39565"/>
                  <a:gd name="connsiteY3" fmla="*/ 17864 h 43258"/>
                  <a:gd name="connsiteX4" fmla="*/ 16339 w 39565"/>
                  <a:gd name="connsiteY4" fmla="*/ 17864 h 43258"/>
                  <a:gd name="connsiteX5" fmla="*/ 16339 w 39565"/>
                  <a:gd name="connsiteY5" fmla="*/ 0 h 43258"/>
                  <a:gd name="connsiteX6" fmla="*/ 23227 w 39565"/>
                  <a:gd name="connsiteY6" fmla="*/ 0 h 43258"/>
                  <a:gd name="connsiteX7" fmla="*/ 23227 w 39565"/>
                  <a:gd name="connsiteY7" fmla="*/ 17864 h 43258"/>
                  <a:gd name="connsiteX8" fmla="*/ 39565 w 39565"/>
                  <a:gd name="connsiteY8" fmla="*/ 17864 h 43258"/>
                  <a:gd name="connsiteX9" fmla="*/ 39565 w 39565"/>
                  <a:gd name="connsiteY9" fmla="*/ 25220 h 43258"/>
                  <a:gd name="connsiteX10" fmla="*/ 23227 w 39565"/>
                  <a:gd name="connsiteY10" fmla="*/ 25220 h 43258"/>
                  <a:gd name="connsiteX11" fmla="*/ 23227 w 39565"/>
                  <a:gd name="connsiteY11" fmla="*/ 43259 h 43258"/>
                  <a:gd name="connsiteX12" fmla="*/ 16339 w 39565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565" h="43258">
                    <a:moveTo>
                      <a:pt x="16339" y="43259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864"/>
                    </a:lnTo>
                    <a:lnTo>
                      <a:pt x="16339" y="17864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864"/>
                    </a:lnTo>
                    <a:lnTo>
                      <a:pt x="39565" y="17864"/>
                    </a:lnTo>
                    <a:lnTo>
                      <a:pt x="39565" y="25220"/>
                    </a:lnTo>
                    <a:lnTo>
                      <a:pt x="23227" y="25220"/>
                    </a:lnTo>
                    <a:lnTo>
                      <a:pt x="23227" y="43259"/>
                    </a:lnTo>
                    <a:lnTo>
                      <a:pt x="16339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6" name="Freihandform: Form 265">
                <a:extLst>
                  <a:ext uri="{FF2B5EF4-FFF2-40B4-BE49-F238E27FC236}">
                    <a16:creationId xmlns:a16="http://schemas.microsoft.com/office/drawing/2014/main" id="{21D473C5-4082-92E2-7B56-A25441556C5A}"/>
                  </a:ext>
                </a:extLst>
              </p:cNvPr>
              <p:cNvSpPr/>
              <p:nvPr/>
            </p:nvSpPr>
            <p:spPr>
              <a:xfrm>
                <a:off x="7103531" y="2371252"/>
                <a:ext cx="39405" cy="43258"/>
              </a:xfrm>
              <a:custGeom>
                <a:avLst/>
                <a:gdLst>
                  <a:gd name="connsiteX0" fmla="*/ 16339 w 39405"/>
                  <a:gd name="connsiteY0" fmla="*/ 43259 h 43258"/>
                  <a:gd name="connsiteX1" fmla="*/ 16339 w 39405"/>
                  <a:gd name="connsiteY1" fmla="*/ 25220 h 43258"/>
                  <a:gd name="connsiteX2" fmla="*/ 0 w 39405"/>
                  <a:gd name="connsiteY2" fmla="*/ 25220 h 43258"/>
                  <a:gd name="connsiteX3" fmla="*/ 0 w 39405"/>
                  <a:gd name="connsiteY3" fmla="*/ 17864 h 43258"/>
                  <a:gd name="connsiteX4" fmla="*/ 16339 w 39405"/>
                  <a:gd name="connsiteY4" fmla="*/ 17864 h 43258"/>
                  <a:gd name="connsiteX5" fmla="*/ 16339 w 39405"/>
                  <a:gd name="connsiteY5" fmla="*/ 0 h 43258"/>
                  <a:gd name="connsiteX6" fmla="*/ 23227 w 39405"/>
                  <a:gd name="connsiteY6" fmla="*/ 0 h 43258"/>
                  <a:gd name="connsiteX7" fmla="*/ 23227 w 39405"/>
                  <a:gd name="connsiteY7" fmla="*/ 17864 h 43258"/>
                  <a:gd name="connsiteX8" fmla="*/ 39405 w 39405"/>
                  <a:gd name="connsiteY8" fmla="*/ 17864 h 43258"/>
                  <a:gd name="connsiteX9" fmla="*/ 39405 w 39405"/>
                  <a:gd name="connsiteY9" fmla="*/ 25220 h 43258"/>
                  <a:gd name="connsiteX10" fmla="*/ 23227 w 39405"/>
                  <a:gd name="connsiteY10" fmla="*/ 25220 h 43258"/>
                  <a:gd name="connsiteX11" fmla="*/ 23227 w 39405"/>
                  <a:gd name="connsiteY11" fmla="*/ 43259 h 43258"/>
                  <a:gd name="connsiteX12" fmla="*/ 16339 w 39405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5" h="43258">
                    <a:moveTo>
                      <a:pt x="16339" y="43259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864"/>
                    </a:lnTo>
                    <a:lnTo>
                      <a:pt x="16339" y="17864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864"/>
                    </a:lnTo>
                    <a:lnTo>
                      <a:pt x="39405" y="17864"/>
                    </a:lnTo>
                    <a:lnTo>
                      <a:pt x="39405" y="25220"/>
                    </a:lnTo>
                    <a:lnTo>
                      <a:pt x="23227" y="25220"/>
                    </a:lnTo>
                    <a:lnTo>
                      <a:pt x="23227" y="43259"/>
                    </a:lnTo>
                    <a:lnTo>
                      <a:pt x="16339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7" name="Freihandform: Form 266">
                <a:extLst>
                  <a:ext uri="{FF2B5EF4-FFF2-40B4-BE49-F238E27FC236}">
                    <a16:creationId xmlns:a16="http://schemas.microsoft.com/office/drawing/2014/main" id="{EE4DD8F6-00A7-86E6-1350-8D45B4095956}"/>
                  </a:ext>
                </a:extLst>
              </p:cNvPr>
              <p:cNvSpPr/>
              <p:nvPr/>
            </p:nvSpPr>
            <p:spPr>
              <a:xfrm>
                <a:off x="7106575" y="2371252"/>
                <a:ext cx="39405" cy="43258"/>
              </a:xfrm>
              <a:custGeom>
                <a:avLst/>
                <a:gdLst>
                  <a:gd name="connsiteX0" fmla="*/ 16179 w 39405"/>
                  <a:gd name="connsiteY0" fmla="*/ 43259 h 43258"/>
                  <a:gd name="connsiteX1" fmla="*/ 16179 w 39405"/>
                  <a:gd name="connsiteY1" fmla="*/ 25220 h 43258"/>
                  <a:gd name="connsiteX2" fmla="*/ 0 w 39405"/>
                  <a:gd name="connsiteY2" fmla="*/ 25220 h 43258"/>
                  <a:gd name="connsiteX3" fmla="*/ 0 w 39405"/>
                  <a:gd name="connsiteY3" fmla="*/ 17864 h 43258"/>
                  <a:gd name="connsiteX4" fmla="*/ 16179 w 39405"/>
                  <a:gd name="connsiteY4" fmla="*/ 17864 h 43258"/>
                  <a:gd name="connsiteX5" fmla="*/ 16179 w 39405"/>
                  <a:gd name="connsiteY5" fmla="*/ 0 h 43258"/>
                  <a:gd name="connsiteX6" fmla="*/ 23227 w 39405"/>
                  <a:gd name="connsiteY6" fmla="*/ 0 h 43258"/>
                  <a:gd name="connsiteX7" fmla="*/ 23227 w 39405"/>
                  <a:gd name="connsiteY7" fmla="*/ 17864 h 43258"/>
                  <a:gd name="connsiteX8" fmla="*/ 39405 w 39405"/>
                  <a:gd name="connsiteY8" fmla="*/ 17864 h 43258"/>
                  <a:gd name="connsiteX9" fmla="*/ 39405 w 39405"/>
                  <a:gd name="connsiteY9" fmla="*/ 25220 h 43258"/>
                  <a:gd name="connsiteX10" fmla="*/ 23227 w 39405"/>
                  <a:gd name="connsiteY10" fmla="*/ 25220 h 43258"/>
                  <a:gd name="connsiteX11" fmla="*/ 23227 w 39405"/>
                  <a:gd name="connsiteY11" fmla="*/ 43259 h 43258"/>
                  <a:gd name="connsiteX12" fmla="*/ 16179 w 39405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5" h="43258">
                    <a:moveTo>
                      <a:pt x="16179" y="43259"/>
                    </a:moveTo>
                    <a:lnTo>
                      <a:pt x="16179" y="25220"/>
                    </a:lnTo>
                    <a:lnTo>
                      <a:pt x="0" y="25220"/>
                    </a:lnTo>
                    <a:lnTo>
                      <a:pt x="0" y="17864"/>
                    </a:lnTo>
                    <a:lnTo>
                      <a:pt x="16179" y="17864"/>
                    </a:lnTo>
                    <a:lnTo>
                      <a:pt x="16179" y="0"/>
                    </a:lnTo>
                    <a:lnTo>
                      <a:pt x="23227" y="0"/>
                    </a:lnTo>
                    <a:lnTo>
                      <a:pt x="23227" y="17864"/>
                    </a:lnTo>
                    <a:lnTo>
                      <a:pt x="39405" y="17864"/>
                    </a:lnTo>
                    <a:lnTo>
                      <a:pt x="39405" y="25220"/>
                    </a:lnTo>
                    <a:lnTo>
                      <a:pt x="23227" y="25220"/>
                    </a:lnTo>
                    <a:lnTo>
                      <a:pt x="23227" y="43259"/>
                    </a:lnTo>
                    <a:lnTo>
                      <a:pt x="16179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8" name="Freihandform: Form 267">
                <a:extLst>
                  <a:ext uri="{FF2B5EF4-FFF2-40B4-BE49-F238E27FC236}">
                    <a16:creationId xmlns:a16="http://schemas.microsoft.com/office/drawing/2014/main" id="{8504FD12-0C9D-51B2-3460-56C13BEF1D19}"/>
                  </a:ext>
                </a:extLst>
              </p:cNvPr>
              <p:cNvSpPr/>
              <p:nvPr/>
            </p:nvSpPr>
            <p:spPr>
              <a:xfrm>
                <a:off x="7115385" y="2371252"/>
                <a:ext cx="39565" cy="43258"/>
              </a:xfrm>
              <a:custGeom>
                <a:avLst/>
                <a:gdLst>
                  <a:gd name="connsiteX0" fmla="*/ 16339 w 39565"/>
                  <a:gd name="connsiteY0" fmla="*/ 43259 h 43258"/>
                  <a:gd name="connsiteX1" fmla="*/ 16339 w 39565"/>
                  <a:gd name="connsiteY1" fmla="*/ 25220 h 43258"/>
                  <a:gd name="connsiteX2" fmla="*/ 0 w 39565"/>
                  <a:gd name="connsiteY2" fmla="*/ 25220 h 43258"/>
                  <a:gd name="connsiteX3" fmla="*/ 0 w 39565"/>
                  <a:gd name="connsiteY3" fmla="*/ 17864 h 43258"/>
                  <a:gd name="connsiteX4" fmla="*/ 16339 w 39565"/>
                  <a:gd name="connsiteY4" fmla="*/ 17864 h 43258"/>
                  <a:gd name="connsiteX5" fmla="*/ 16339 w 39565"/>
                  <a:gd name="connsiteY5" fmla="*/ 0 h 43258"/>
                  <a:gd name="connsiteX6" fmla="*/ 23226 w 39565"/>
                  <a:gd name="connsiteY6" fmla="*/ 0 h 43258"/>
                  <a:gd name="connsiteX7" fmla="*/ 23226 w 39565"/>
                  <a:gd name="connsiteY7" fmla="*/ 17864 h 43258"/>
                  <a:gd name="connsiteX8" fmla="*/ 39565 w 39565"/>
                  <a:gd name="connsiteY8" fmla="*/ 17864 h 43258"/>
                  <a:gd name="connsiteX9" fmla="*/ 39565 w 39565"/>
                  <a:gd name="connsiteY9" fmla="*/ 25220 h 43258"/>
                  <a:gd name="connsiteX10" fmla="*/ 23226 w 39565"/>
                  <a:gd name="connsiteY10" fmla="*/ 25220 h 43258"/>
                  <a:gd name="connsiteX11" fmla="*/ 23226 w 39565"/>
                  <a:gd name="connsiteY11" fmla="*/ 43259 h 43258"/>
                  <a:gd name="connsiteX12" fmla="*/ 16339 w 39565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565" h="43258">
                    <a:moveTo>
                      <a:pt x="16339" y="43259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864"/>
                    </a:lnTo>
                    <a:lnTo>
                      <a:pt x="16339" y="17864"/>
                    </a:lnTo>
                    <a:lnTo>
                      <a:pt x="16339" y="0"/>
                    </a:lnTo>
                    <a:lnTo>
                      <a:pt x="23226" y="0"/>
                    </a:lnTo>
                    <a:lnTo>
                      <a:pt x="23226" y="17864"/>
                    </a:lnTo>
                    <a:lnTo>
                      <a:pt x="39565" y="17864"/>
                    </a:lnTo>
                    <a:lnTo>
                      <a:pt x="39565" y="25220"/>
                    </a:lnTo>
                    <a:lnTo>
                      <a:pt x="23226" y="25220"/>
                    </a:lnTo>
                    <a:lnTo>
                      <a:pt x="23226" y="43259"/>
                    </a:lnTo>
                    <a:lnTo>
                      <a:pt x="16339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9" name="Freihandform: Form 268">
                <a:extLst>
                  <a:ext uri="{FF2B5EF4-FFF2-40B4-BE49-F238E27FC236}">
                    <a16:creationId xmlns:a16="http://schemas.microsoft.com/office/drawing/2014/main" id="{CC7361F1-20CA-DEE1-0717-8E205900B7B5}"/>
                  </a:ext>
                </a:extLst>
              </p:cNvPr>
              <p:cNvSpPr/>
              <p:nvPr/>
            </p:nvSpPr>
            <p:spPr>
              <a:xfrm>
                <a:off x="7121472" y="2390868"/>
                <a:ext cx="39404" cy="43258"/>
              </a:xfrm>
              <a:custGeom>
                <a:avLst/>
                <a:gdLst>
                  <a:gd name="connsiteX0" fmla="*/ 16178 w 39404"/>
                  <a:gd name="connsiteY0" fmla="*/ 43259 h 43258"/>
                  <a:gd name="connsiteX1" fmla="*/ 16178 w 39404"/>
                  <a:gd name="connsiteY1" fmla="*/ 25395 h 43258"/>
                  <a:gd name="connsiteX2" fmla="*/ 0 w 39404"/>
                  <a:gd name="connsiteY2" fmla="*/ 25395 h 43258"/>
                  <a:gd name="connsiteX3" fmla="*/ 0 w 39404"/>
                  <a:gd name="connsiteY3" fmla="*/ 17864 h 43258"/>
                  <a:gd name="connsiteX4" fmla="*/ 16178 w 39404"/>
                  <a:gd name="connsiteY4" fmla="*/ 17864 h 43258"/>
                  <a:gd name="connsiteX5" fmla="*/ 16178 w 39404"/>
                  <a:gd name="connsiteY5" fmla="*/ 0 h 43258"/>
                  <a:gd name="connsiteX6" fmla="*/ 23226 w 39404"/>
                  <a:gd name="connsiteY6" fmla="*/ 0 h 43258"/>
                  <a:gd name="connsiteX7" fmla="*/ 23226 w 39404"/>
                  <a:gd name="connsiteY7" fmla="*/ 17864 h 43258"/>
                  <a:gd name="connsiteX8" fmla="*/ 39405 w 39404"/>
                  <a:gd name="connsiteY8" fmla="*/ 17864 h 43258"/>
                  <a:gd name="connsiteX9" fmla="*/ 39405 w 39404"/>
                  <a:gd name="connsiteY9" fmla="*/ 25395 h 43258"/>
                  <a:gd name="connsiteX10" fmla="*/ 23226 w 39404"/>
                  <a:gd name="connsiteY10" fmla="*/ 25395 h 43258"/>
                  <a:gd name="connsiteX11" fmla="*/ 23226 w 39404"/>
                  <a:gd name="connsiteY11" fmla="*/ 43259 h 43258"/>
                  <a:gd name="connsiteX12" fmla="*/ 16178 w 39404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258">
                    <a:moveTo>
                      <a:pt x="16178" y="43259"/>
                    </a:moveTo>
                    <a:lnTo>
                      <a:pt x="16178" y="25395"/>
                    </a:lnTo>
                    <a:lnTo>
                      <a:pt x="0" y="25395"/>
                    </a:lnTo>
                    <a:lnTo>
                      <a:pt x="0" y="17864"/>
                    </a:lnTo>
                    <a:lnTo>
                      <a:pt x="16178" y="17864"/>
                    </a:lnTo>
                    <a:lnTo>
                      <a:pt x="16178" y="0"/>
                    </a:lnTo>
                    <a:lnTo>
                      <a:pt x="23226" y="0"/>
                    </a:lnTo>
                    <a:lnTo>
                      <a:pt x="23226" y="17864"/>
                    </a:lnTo>
                    <a:lnTo>
                      <a:pt x="39405" y="17864"/>
                    </a:lnTo>
                    <a:lnTo>
                      <a:pt x="39405" y="25395"/>
                    </a:lnTo>
                    <a:lnTo>
                      <a:pt x="23226" y="25395"/>
                    </a:lnTo>
                    <a:lnTo>
                      <a:pt x="23226" y="43259"/>
                    </a:lnTo>
                    <a:lnTo>
                      <a:pt x="16178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70" name="Freihandform: Form 269">
                <a:extLst>
                  <a:ext uri="{FF2B5EF4-FFF2-40B4-BE49-F238E27FC236}">
                    <a16:creationId xmlns:a16="http://schemas.microsoft.com/office/drawing/2014/main" id="{C92FF18E-31A6-DC6E-F91C-2EA738D0DA1B}"/>
                  </a:ext>
                </a:extLst>
              </p:cNvPr>
              <p:cNvSpPr/>
              <p:nvPr/>
            </p:nvSpPr>
            <p:spPr>
              <a:xfrm>
                <a:off x="7124356" y="2390868"/>
                <a:ext cx="39404" cy="43258"/>
              </a:xfrm>
              <a:custGeom>
                <a:avLst/>
                <a:gdLst>
                  <a:gd name="connsiteX0" fmla="*/ 16339 w 39404"/>
                  <a:gd name="connsiteY0" fmla="*/ 43259 h 43258"/>
                  <a:gd name="connsiteX1" fmla="*/ 16339 w 39404"/>
                  <a:gd name="connsiteY1" fmla="*/ 25395 h 43258"/>
                  <a:gd name="connsiteX2" fmla="*/ 0 w 39404"/>
                  <a:gd name="connsiteY2" fmla="*/ 25395 h 43258"/>
                  <a:gd name="connsiteX3" fmla="*/ 0 w 39404"/>
                  <a:gd name="connsiteY3" fmla="*/ 17864 h 43258"/>
                  <a:gd name="connsiteX4" fmla="*/ 16339 w 39404"/>
                  <a:gd name="connsiteY4" fmla="*/ 17864 h 43258"/>
                  <a:gd name="connsiteX5" fmla="*/ 16339 w 39404"/>
                  <a:gd name="connsiteY5" fmla="*/ 0 h 43258"/>
                  <a:gd name="connsiteX6" fmla="*/ 23226 w 39404"/>
                  <a:gd name="connsiteY6" fmla="*/ 0 h 43258"/>
                  <a:gd name="connsiteX7" fmla="*/ 23226 w 39404"/>
                  <a:gd name="connsiteY7" fmla="*/ 17864 h 43258"/>
                  <a:gd name="connsiteX8" fmla="*/ 39405 w 39404"/>
                  <a:gd name="connsiteY8" fmla="*/ 17864 h 43258"/>
                  <a:gd name="connsiteX9" fmla="*/ 39405 w 39404"/>
                  <a:gd name="connsiteY9" fmla="*/ 25395 h 43258"/>
                  <a:gd name="connsiteX10" fmla="*/ 23226 w 39404"/>
                  <a:gd name="connsiteY10" fmla="*/ 25395 h 43258"/>
                  <a:gd name="connsiteX11" fmla="*/ 23226 w 39404"/>
                  <a:gd name="connsiteY11" fmla="*/ 43259 h 43258"/>
                  <a:gd name="connsiteX12" fmla="*/ 16339 w 39404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258">
                    <a:moveTo>
                      <a:pt x="16339" y="43259"/>
                    </a:moveTo>
                    <a:lnTo>
                      <a:pt x="16339" y="25395"/>
                    </a:lnTo>
                    <a:lnTo>
                      <a:pt x="0" y="25395"/>
                    </a:lnTo>
                    <a:lnTo>
                      <a:pt x="0" y="17864"/>
                    </a:lnTo>
                    <a:lnTo>
                      <a:pt x="16339" y="17864"/>
                    </a:lnTo>
                    <a:lnTo>
                      <a:pt x="16339" y="0"/>
                    </a:lnTo>
                    <a:lnTo>
                      <a:pt x="23226" y="0"/>
                    </a:lnTo>
                    <a:lnTo>
                      <a:pt x="23226" y="17864"/>
                    </a:lnTo>
                    <a:lnTo>
                      <a:pt x="39405" y="17864"/>
                    </a:lnTo>
                    <a:lnTo>
                      <a:pt x="39405" y="25395"/>
                    </a:lnTo>
                    <a:lnTo>
                      <a:pt x="23226" y="25395"/>
                    </a:lnTo>
                    <a:lnTo>
                      <a:pt x="23226" y="43259"/>
                    </a:lnTo>
                    <a:lnTo>
                      <a:pt x="16339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71" name="Freihandform: Form 270">
                <a:extLst>
                  <a:ext uri="{FF2B5EF4-FFF2-40B4-BE49-F238E27FC236}">
                    <a16:creationId xmlns:a16="http://schemas.microsoft.com/office/drawing/2014/main" id="{D2F82A4C-1677-8CC9-5CB4-8099A1E70719}"/>
                  </a:ext>
                </a:extLst>
              </p:cNvPr>
              <p:cNvSpPr/>
              <p:nvPr/>
            </p:nvSpPr>
            <p:spPr>
              <a:xfrm>
                <a:off x="7127399" y="2390868"/>
                <a:ext cx="39404" cy="43258"/>
              </a:xfrm>
              <a:custGeom>
                <a:avLst/>
                <a:gdLst>
                  <a:gd name="connsiteX0" fmla="*/ 16178 w 39404"/>
                  <a:gd name="connsiteY0" fmla="*/ 43259 h 43258"/>
                  <a:gd name="connsiteX1" fmla="*/ 16178 w 39404"/>
                  <a:gd name="connsiteY1" fmla="*/ 25395 h 43258"/>
                  <a:gd name="connsiteX2" fmla="*/ 0 w 39404"/>
                  <a:gd name="connsiteY2" fmla="*/ 25395 h 43258"/>
                  <a:gd name="connsiteX3" fmla="*/ 0 w 39404"/>
                  <a:gd name="connsiteY3" fmla="*/ 17864 h 43258"/>
                  <a:gd name="connsiteX4" fmla="*/ 16178 w 39404"/>
                  <a:gd name="connsiteY4" fmla="*/ 17864 h 43258"/>
                  <a:gd name="connsiteX5" fmla="*/ 16178 w 39404"/>
                  <a:gd name="connsiteY5" fmla="*/ 0 h 43258"/>
                  <a:gd name="connsiteX6" fmla="*/ 23066 w 39404"/>
                  <a:gd name="connsiteY6" fmla="*/ 0 h 43258"/>
                  <a:gd name="connsiteX7" fmla="*/ 23066 w 39404"/>
                  <a:gd name="connsiteY7" fmla="*/ 17864 h 43258"/>
                  <a:gd name="connsiteX8" fmla="*/ 39405 w 39404"/>
                  <a:gd name="connsiteY8" fmla="*/ 17864 h 43258"/>
                  <a:gd name="connsiteX9" fmla="*/ 39405 w 39404"/>
                  <a:gd name="connsiteY9" fmla="*/ 25395 h 43258"/>
                  <a:gd name="connsiteX10" fmla="*/ 23066 w 39404"/>
                  <a:gd name="connsiteY10" fmla="*/ 25395 h 43258"/>
                  <a:gd name="connsiteX11" fmla="*/ 23066 w 39404"/>
                  <a:gd name="connsiteY11" fmla="*/ 43259 h 43258"/>
                  <a:gd name="connsiteX12" fmla="*/ 16178 w 39404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258">
                    <a:moveTo>
                      <a:pt x="16178" y="43259"/>
                    </a:moveTo>
                    <a:lnTo>
                      <a:pt x="16178" y="25395"/>
                    </a:lnTo>
                    <a:lnTo>
                      <a:pt x="0" y="25395"/>
                    </a:lnTo>
                    <a:lnTo>
                      <a:pt x="0" y="17864"/>
                    </a:lnTo>
                    <a:lnTo>
                      <a:pt x="16178" y="17864"/>
                    </a:lnTo>
                    <a:lnTo>
                      <a:pt x="16178" y="0"/>
                    </a:lnTo>
                    <a:lnTo>
                      <a:pt x="23066" y="0"/>
                    </a:lnTo>
                    <a:lnTo>
                      <a:pt x="23066" y="17864"/>
                    </a:lnTo>
                    <a:lnTo>
                      <a:pt x="39405" y="17864"/>
                    </a:lnTo>
                    <a:lnTo>
                      <a:pt x="39405" y="25395"/>
                    </a:lnTo>
                    <a:lnTo>
                      <a:pt x="23066" y="25395"/>
                    </a:lnTo>
                    <a:lnTo>
                      <a:pt x="23066" y="43259"/>
                    </a:lnTo>
                    <a:lnTo>
                      <a:pt x="16178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72" name="Freihandform: Form 271">
                <a:extLst>
                  <a:ext uri="{FF2B5EF4-FFF2-40B4-BE49-F238E27FC236}">
                    <a16:creationId xmlns:a16="http://schemas.microsoft.com/office/drawing/2014/main" id="{1101AF7F-B802-440F-AE2B-85DDF35CB1F1}"/>
                  </a:ext>
                </a:extLst>
              </p:cNvPr>
              <p:cNvSpPr/>
              <p:nvPr/>
            </p:nvSpPr>
            <p:spPr>
              <a:xfrm>
                <a:off x="7133326" y="2390868"/>
                <a:ext cx="36841" cy="43258"/>
              </a:xfrm>
              <a:custGeom>
                <a:avLst/>
                <a:gdLst>
                  <a:gd name="connsiteX0" fmla="*/ 16179 w 36841"/>
                  <a:gd name="connsiteY0" fmla="*/ 43259 h 43258"/>
                  <a:gd name="connsiteX1" fmla="*/ 16179 w 36841"/>
                  <a:gd name="connsiteY1" fmla="*/ 25395 h 43258"/>
                  <a:gd name="connsiteX2" fmla="*/ 0 w 36841"/>
                  <a:gd name="connsiteY2" fmla="*/ 25395 h 43258"/>
                  <a:gd name="connsiteX3" fmla="*/ 0 w 36841"/>
                  <a:gd name="connsiteY3" fmla="*/ 17864 h 43258"/>
                  <a:gd name="connsiteX4" fmla="*/ 16179 w 36841"/>
                  <a:gd name="connsiteY4" fmla="*/ 17864 h 43258"/>
                  <a:gd name="connsiteX5" fmla="*/ 16179 w 36841"/>
                  <a:gd name="connsiteY5" fmla="*/ 0 h 43258"/>
                  <a:gd name="connsiteX6" fmla="*/ 23066 w 36841"/>
                  <a:gd name="connsiteY6" fmla="*/ 0 h 43258"/>
                  <a:gd name="connsiteX7" fmla="*/ 23066 w 36841"/>
                  <a:gd name="connsiteY7" fmla="*/ 17864 h 43258"/>
                  <a:gd name="connsiteX8" fmla="*/ 36842 w 36841"/>
                  <a:gd name="connsiteY8" fmla="*/ 17864 h 43258"/>
                  <a:gd name="connsiteX9" fmla="*/ 36842 w 36841"/>
                  <a:gd name="connsiteY9" fmla="*/ 25395 h 43258"/>
                  <a:gd name="connsiteX10" fmla="*/ 23066 w 36841"/>
                  <a:gd name="connsiteY10" fmla="*/ 25395 h 43258"/>
                  <a:gd name="connsiteX11" fmla="*/ 23066 w 36841"/>
                  <a:gd name="connsiteY11" fmla="*/ 43259 h 43258"/>
                  <a:gd name="connsiteX12" fmla="*/ 16179 w 36841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6841" h="43258">
                    <a:moveTo>
                      <a:pt x="16179" y="43259"/>
                    </a:moveTo>
                    <a:lnTo>
                      <a:pt x="16179" y="25395"/>
                    </a:lnTo>
                    <a:lnTo>
                      <a:pt x="0" y="25395"/>
                    </a:lnTo>
                    <a:lnTo>
                      <a:pt x="0" y="17864"/>
                    </a:lnTo>
                    <a:lnTo>
                      <a:pt x="16179" y="17864"/>
                    </a:lnTo>
                    <a:lnTo>
                      <a:pt x="16179" y="0"/>
                    </a:lnTo>
                    <a:lnTo>
                      <a:pt x="23066" y="0"/>
                    </a:lnTo>
                    <a:lnTo>
                      <a:pt x="23066" y="17864"/>
                    </a:lnTo>
                    <a:lnTo>
                      <a:pt x="36842" y="17864"/>
                    </a:lnTo>
                    <a:lnTo>
                      <a:pt x="36842" y="25395"/>
                    </a:lnTo>
                    <a:lnTo>
                      <a:pt x="23066" y="25395"/>
                    </a:lnTo>
                    <a:lnTo>
                      <a:pt x="23066" y="43259"/>
                    </a:lnTo>
                    <a:lnTo>
                      <a:pt x="16179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73" name="Freihandform: Form 272">
                <a:extLst>
                  <a:ext uri="{FF2B5EF4-FFF2-40B4-BE49-F238E27FC236}">
                    <a16:creationId xmlns:a16="http://schemas.microsoft.com/office/drawing/2014/main" id="{38A57F31-9565-1DA0-98CF-8F4F1BBD6BE2}"/>
                  </a:ext>
                </a:extLst>
              </p:cNvPr>
              <p:cNvSpPr/>
              <p:nvPr/>
            </p:nvSpPr>
            <p:spPr>
              <a:xfrm>
                <a:off x="7136209" y="2390868"/>
                <a:ext cx="33958" cy="43258"/>
              </a:xfrm>
              <a:custGeom>
                <a:avLst/>
                <a:gdLst>
                  <a:gd name="connsiteX0" fmla="*/ 16339 w 33958"/>
                  <a:gd name="connsiteY0" fmla="*/ 43259 h 43258"/>
                  <a:gd name="connsiteX1" fmla="*/ 16339 w 33958"/>
                  <a:gd name="connsiteY1" fmla="*/ 25395 h 43258"/>
                  <a:gd name="connsiteX2" fmla="*/ 0 w 33958"/>
                  <a:gd name="connsiteY2" fmla="*/ 25395 h 43258"/>
                  <a:gd name="connsiteX3" fmla="*/ 0 w 33958"/>
                  <a:gd name="connsiteY3" fmla="*/ 17864 h 43258"/>
                  <a:gd name="connsiteX4" fmla="*/ 16339 w 33958"/>
                  <a:gd name="connsiteY4" fmla="*/ 17864 h 43258"/>
                  <a:gd name="connsiteX5" fmla="*/ 16339 w 33958"/>
                  <a:gd name="connsiteY5" fmla="*/ 0 h 43258"/>
                  <a:gd name="connsiteX6" fmla="*/ 23227 w 33958"/>
                  <a:gd name="connsiteY6" fmla="*/ 0 h 43258"/>
                  <a:gd name="connsiteX7" fmla="*/ 23227 w 33958"/>
                  <a:gd name="connsiteY7" fmla="*/ 17864 h 43258"/>
                  <a:gd name="connsiteX8" fmla="*/ 33959 w 33958"/>
                  <a:gd name="connsiteY8" fmla="*/ 17864 h 43258"/>
                  <a:gd name="connsiteX9" fmla="*/ 33959 w 33958"/>
                  <a:gd name="connsiteY9" fmla="*/ 25395 h 43258"/>
                  <a:gd name="connsiteX10" fmla="*/ 23227 w 33958"/>
                  <a:gd name="connsiteY10" fmla="*/ 25395 h 43258"/>
                  <a:gd name="connsiteX11" fmla="*/ 23227 w 33958"/>
                  <a:gd name="connsiteY11" fmla="*/ 43259 h 43258"/>
                  <a:gd name="connsiteX12" fmla="*/ 16339 w 33958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3958" h="43258">
                    <a:moveTo>
                      <a:pt x="16339" y="43259"/>
                    </a:moveTo>
                    <a:lnTo>
                      <a:pt x="16339" y="25395"/>
                    </a:lnTo>
                    <a:lnTo>
                      <a:pt x="0" y="25395"/>
                    </a:lnTo>
                    <a:lnTo>
                      <a:pt x="0" y="17864"/>
                    </a:lnTo>
                    <a:lnTo>
                      <a:pt x="16339" y="17864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864"/>
                    </a:lnTo>
                    <a:lnTo>
                      <a:pt x="33959" y="17864"/>
                    </a:lnTo>
                    <a:lnTo>
                      <a:pt x="33959" y="25395"/>
                    </a:lnTo>
                    <a:lnTo>
                      <a:pt x="23227" y="25395"/>
                    </a:lnTo>
                    <a:lnTo>
                      <a:pt x="23227" y="43259"/>
                    </a:lnTo>
                    <a:lnTo>
                      <a:pt x="16339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74" name="Freihandform: Form 273">
                <a:extLst>
                  <a:ext uri="{FF2B5EF4-FFF2-40B4-BE49-F238E27FC236}">
                    <a16:creationId xmlns:a16="http://schemas.microsoft.com/office/drawing/2014/main" id="{9B2F9895-742B-8FBF-3FFE-A0DFD3C2141F}"/>
                  </a:ext>
                </a:extLst>
              </p:cNvPr>
              <p:cNvSpPr/>
              <p:nvPr/>
            </p:nvSpPr>
            <p:spPr>
              <a:xfrm>
                <a:off x="7139253" y="2390868"/>
                <a:ext cx="30915" cy="43258"/>
              </a:xfrm>
              <a:custGeom>
                <a:avLst/>
                <a:gdLst>
                  <a:gd name="connsiteX0" fmla="*/ 16179 w 30915"/>
                  <a:gd name="connsiteY0" fmla="*/ 43259 h 43258"/>
                  <a:gd name="connsiteX1" fmla="*/ 16179 w 30915"/>
                  <a:gd name="connsiteY1" fmla="*/ 25395 h 43258"/>
                  <a:gd name="connsiteX2" fmla="*/ 0 w 30915"/>
                  <a:gd name="connsiteY2" fmla="*/ 25395 h 43258"/>
                  <a:gd name="connsiteX3" fmla="*/ 0 w 30915"/>
                  <a:gd name="connsiteY3" fmla="*/ 17864 h 43258"/>
                  <a:gd name="connsiteX4" fmla="*/ 16179 w 30915"/>
                  <a:gd name="connsiteY4" fmla="*/ 17864 h 43258"/>
                  <a:gd name="connsiteX5" fmla="*/ 16179 w 30915"/>
                  <a:gd name="connsiteY5" fmla="*/ 0 h 43258"/>
                  <a:gd name="connsiteX6" fmla="*/ 23227 w 30915"/>
                  <a:gd name="connsiteY6" fmla="*/ 0 h 43258"/>
                  <a:gd name="connsiteX7" fmla="*/ 23227 w 30915"/>
                  <a:gd name="connsiteY7" fmla="*/ 17864 h 43258"/>
                  <a:gd name="connsiteX8" fmla="*/ 30915 w 30915"/>
                  <a:gd name="connsiteY8" fmla="*/ 17864 h 43258"/>
                  <a:gd name="connsiteX9" fmla="*/ 30915 w 30915"/>
                  <a:gd name="connsiteY9" fmla="*/ 25395 h 43258"/>
                  <a:gd name="connsiteX10" fmla="*/ 23227 w 30915"/>
                  <a:gd name="connsiteY10" fmla="*/ 25395 h 43258"/>
                  <a:gd name="connsiteX11" fmla="*/ 23227 w 30915"/>
                  <a:gd name="connsiteY11" fmla="*/ 43259 h 43258"/>
                  <a:gd name="connsiteX12" fmla="*/ 16179 w 30915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0915" h="43258">
                    <a:moveTo>
                      <a:pt x="16179" y="43259"/>
                    </a:moveTo>
                    <a:lnTo>
                      <a:pt x="16179" y="25395"/>
                    </a:lnTo>
                    <a:lnTo>
                      <a:pt x="0" y="25395"/>
                    </a:lnTo>
                    <a:lnTo>
                      <a:pt x="0" y="17864"/>
                    </a:lnTo>
                    <a:lnTo>
                      <a:pt x="16179" y="17864"/>
                    </a:lnTo>
                    <a:lnTo>
                      <a:pt x="16179" y="0"/>
                    </a:lnTo>
                    <a:lnTo>
                      <a:pt x="23227" y="0"/>
                    </a:lnTo>
                    <a:lnTo>
                      <a:pt x="23227" y="17864"/>
                    </a:lnTo>
                    <a:lnTo>
                      <a:pt x="30915" y="17864"/>
                    </a:lnTo>
                    <a:lnTo>
                      <a:pt x="30915" y="25395"/>
                    </a:lnTo>
                    <a:lnTo>
                      <a:pt x="23227" y="25395"/>
                    </a:lnTo>
                    <a:lnTo>
                      <a:pt x="23227" y="43259"/>
                    </a:lnTo>
                    <a:lnTo>
                      <a:pt x="16179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75" name="Freihandform: Form 274">
                <a:extLst>
                  <a:ext uri="{FF2B5EF4-FFF2-40B4-BE49-F238E27FC236}">
                    <a16:creationId xmlns:a16="http://schemas.microsoft.com/office/drawing/2014/main" id="{9123DCD5-3006-0511-CC11-B53AEA657535}"/>
                  </a:ext>
                </a:extLst>
              </p:cNvPr>
              <p:cNvSpPr/>
              <p:nvPr/>
            </p:nvSpPr>
            <p:spPr>
              <a:xfrm>
                <a:off x="7142296" y="2390868"/>
                <a:ext cx="27871" cy="43258"/>
              </a:xfrm>
              <a:custGeom>
                <a:avLst/>
                <a:gdLst>
                  <a:gd name="connsiteX0" fmla="*/ 16179 w 27871"/>
                  <a:gd name="connsiteY0" fmla="*/ 43259 h 43258"/>
                  <a:gd name="connsiteX1" fmla="*/ 16179 w 27871"/>
                  <a:gd name="connsiteY1" fmla="*/ 25395 h 43258"/>
                  <a:gd name="connsiteX2" fmla="*/ 0 w 27871"/>
                  <a:gd name="connsiteY2" fmla="*/ 25395 h 43258"/>
                  <a:gd name="connsiteX3" fmla="*/ 0 w 27871"/>
                  <a:gd name="connsiteY3" fmla="*/ 17864 h 43258"/>
                  <a:gd name="connsiteX4" fmla="*/ 16179 w 27871"/>
                  <a:gd name="connsiteY4" fmla="*/ 17864 h 43258"/>
                  <a:gd name="connsiteX5" fmla="*/ 16179 w 27871"/>
                  <a:gd name="connsiteY5" fmla="*/ 0 h 43258"/>
                  <a:gd name="connsiteX6" fmla="*/ 23066 w 27871"/>
                  <a:gd name="connsiteY6" fmla="*/ 0 h 43258"/>
                  <a:gd name="connsiteX7" fmla="*/ 23066 w 27871"/>
                  <a:gd name="connsiteY7" fmla="*/ 17864 h 43258"/>
                  <a:gd name="connsiteX8" fmla="*/ 27872 w 27871"/>
                  <a:gd name="connsiteY8" fmla="*/ 17864 h 43258"/>
                  <a:gd name="connsiteX9" fmla="*/ 27872 w 27871"/>
                  <a:gd name="connsiteY9" fmla="*/ 25395 h 43258"/>
                  <a:gd name="connsiteX10" fmla="*/ 23066 w 27871"/>
                  <a:gd name="connsiteY10" fmla="*/ 25395 h 43258"/>
                  <a:gd name="connsiteX11" fmla="*/ 23066 w 27871"/>
                  <a:gd name="connsiteY11" fmla="*/ 43259 h 43258"/>
                  <a:gd name="connsiteX12" fmla="*/ 16179 w 27871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7871" h="43258">
                    <a:moveTo>
                      <a:pt x="16179" y="43259"/>
                    </a:moveTo>
                    <a:lnTo>
                      <a:pt x="16179" y="25395"/>
                    </a:lnTo>
                    <a:lnTo>
                      <a:pt x="0" y="25395"/>
                    </a:lnTo>
                    <a:lnTo>
                      <a:pt x="0" y="17864"/>
                    </a:lnTo>
                    <a:lnTo>
                      <a:pt x="16179" y="17864"/>
                    </a:lnTo>
                    <a:lnTo>
                      <a:pt x="16179" y="0"/>
                    </a:lnTo>
                    <a:lnTo>
                      <a:pt x="23066" y="0"/>
                    </a:lnTo>
                    <a:lnTo>
                      <a:pt x="23066" y="17864"/>
                    </a:lnTo>
                    <a:lnTo>
                      <a:pt x="27872" y="17864"/>
                    </a:lnTo>
                    <a:lnTo>
                      <a:pt x="27872" y="25395"/>
                    </a:lnTo>
                    <a:lnTo>
                      <a:pt x="23066" y="25395"/>
                    </a:lnTo>
                    <a:lnTo>
                      <a:pt x="23066" y="43259"/>
                    </a:lnTo>
                    <a:lnTo>
                      <a:pt x="16179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76" name="Freihandform: Form 275">
                <a:extLst>
                  <a:ext uri="{FF2B5EF4-FFF2-40B4-BE49-F238E27FC236}">
                    <a16:creationId xmlns:a16="http://schemas.microsoft.com/office/drawing/2014/main" id="{0F09D7D1-982E-754A-A0C0-30BFBB1AA6A8}"/>
                  </a:ext>
                </a:extLst>
              </p:cNvPr>
              <p:cNvSpPr/>
              <p:nvPr/>
            </p:nvSpPr>
            <p:spPr>
              <a:xfrm>
                <a:off x="7151266" y="2390868"/>
                <a:ext cx="18901" cy="43258"/>
              </a:xfrm>
              <a:custGeom>
                <a:avLst/>
                <a:gdLst>
                  <a:gd name="connsiteX0" fmla="*/ 18902 w 18901"/>
                  <a:gd name="connsiteY0" fmla="*/ 25395 h 43258"/>
                  <a:gd name="connsiteX1" fmla="*/ 18902 w 18901"/>
                  <a:gd name="connsiteY1" fmla="*/ 43259 h 43258"/>
                  <a:gd name="connsiteX2" fmla="*/ 16179 w 18901"/>
                  <a:gd name="connsiteY2" fmla="*/ 43259 h 43258"/>
                  <a:gd name="connsiteX3" fmla="*/ 16179 w 18901"/>
                  <a:gd name="connsiteY3" fmla="*/ 25395 h 43258"/>
                  <a:gd name="connsiteX4" fmla="*/ 0 w 18901"/>
                  <a:gd name="connsiteY4" fmla="*/ 25395 h 43258"/>
                  <a:gd name="connsiteX5" fmla="*/ 0 w 18901"/>
                  <a:gd name="connsiteY5" fmla="*/ 17864 h 43258"/>
                  <a:gd name="connsiteX6" fmla="*/ 16179 w 18901"/>
                  <a:gd name="connsiteY6" fmla="*/ 17864 h 43258"/>
                  <a:gd name="connsiteX7" fmla="*/ 16179 w 18901"/>
                  <a:gd name="connsiteY7" fmla="*/ 0 h 43258"/>
                  <a:gd name="connsiteX8" fmla="*/ 18902 w 18901"/>
                  <a:gd name="connsiteY8" fmla="*/ 0 h 43258"/>
                  <a:gd name="connsiteX9" fmla="*/ 18902 w 18901"/>
                  <a:gd name="connsiteY9" fmla="*/ 17864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8901" h="43258">
                    <a:moveTo>
                      <a:pt x="18902" y="25395"/>
                    </a:moveTo>
                    <a:lnTo>
                      <a:pt x="18902" y="43259"/>
                    </a:lnTo>
                    <a:lnTo>
                      <a:pt x="16179" y="43259"/>
                    </a:lnTo>
                    <a:lnTo>
                      <a:pt x="16179" y="25395"/>
                    </a:lnTo>
                    <a:lnTo>
                      <a:pt x="0" y="25395"/>
                    </a:lnTo>
                    <a:lnTo>
                      <a:pt x="0" y="17864"/>
                    </a:lnTo>
                    <a:lnTo>
                      <a:pt x="16179" y="17864"/>
                    </a:lnTo>
                    <a:lnTo>
                      <a:pt x="16179" y="0"/>
                    </a:lnTo>
                    <a:lnTo>
                      <a:pt x="18902" y="0"/>
                    </a:lnTo>
                    <a:lnTo>
                      <a:pt x="18902" y="1786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77" name="Grafik 134">
              <a:extLst>
                <a:ext uri="{FF2B5EF4-FFF2-40B4-BE49-F238E27FC236}">
                  <a16:creationId xmlns:a16="http://schemas.microsoft.com/office/drawing/2014/main" id="{02E6CE3E-C71C-5794-B35F-AF23E3D483F1}"/>
                </a:ext>
              </a:extLst>
            </p:cNvPr>
            <p:cNvGrpSpPr/>
            <p:nvPr/>
          </p:nvGrpSpPr>
          <p:grpSpPr>
            <a:xfrm>
              <a:off x="2585082" y="1744795"/>
              <a:ext cx="4585085" cy="367063"/>
              <a:chOff x="2585082" y="1756696"/>
              <a:chExt cx="4585085" cy="357104"/>
            </a:xfrm>
            <a:solidFill>
              <a:schemeClr val="accent6"/>
            </a:solidFill>
          </p:grpSpPr>
          <p:sp>
            <p:nvSpPr>
              <p:cNvPr id="278" name="Freihandform: Form 277">
                <a:extLst>
                  <a:ext uri="{FF2B5EF4-FFF2-40B4-BE49-F238E27FC236}">
                    <a16:creationId xmlns:a16="http://schemas.microsoft.com/office/drawing/2014/main" id="{FE7C7888-7E02-EC02-A014-DEC4E3996872}"/>
                  </a:ext>
                </a:extLst>
              </p:cNvPr>
              <p:cNvSpPr/>
              <p:nvPr/>
            </p:nvSpPr>
            <p:spPr>
              <a:xfrm>
                <a:off x="2585082" y="1756696"/>
                <a:ext cx="39405" cy="43258"/>
              </a:xfrm>
              <a:custGeom>
                <a:avLst/>
                <a:gdLst>
                  <a:gd name="connsiteX0" fmla="*/ 16179 w 39405"/>
                  <a:gd name="connsiteY0" fmla="*/ 43259 h 43258"/>
                  <a:gd name="connsiteX1" fmla="*/ 16179 w 39405"/>
                  <a:gd name="connsiteY1" fmla="*/ 25220 h 43258"/>
                  <a:gd name="connsiteX2" fmla="*/ 0 w 39405"/>
                  <a:gd name="connsiteY2" fmla="*/ 25220 h 43258"/>
                  <a:gd name="connsiteX3" fmla="*/ 0 w 39405"/>
                  <a:gd name="connsiteY3" fmla="*/ 17864 h 43258"/>
                  <a:gd name="connsiteX4" fmla="*/ 16179 w 39405"/>
                  <a:gd name="connsiteY4" fmla="*/ 17864 h 43258"/>
                  <a:gd name="connsiteX5" fmla="*/ 16179 w 39405"/>
                  <a:gd name="connsiteY5" fmla="*/ 0 h 43258"/>
                  <a:gd name="connsiteX6" fmla="*/ 23227 w 39405"/>
                  <a:gd name="connsiteY6" fmla="*/ 0 h 43258"/>
                  <a:gd name="connsiteX7" fmla="*/ 23227 w 39405"/>
                  <a:gd name="connsiteY7" fmla="*/ 17864 h 43258"/>
                  <a:gd name="connsiteX8" fmla="*/ 39405 w 39405"/>
                  <a:gd name="connsiteY8" fmla="*/ 17864 h 43258"/>
                  <a:gd name="connsiteX9" fmla="*/ 39405 w 39405"/>
                  <a:gd name="connsiteY9" fmla="*/ 25220 h 43258"/>
                  <a:gd name="connsiteX10" fmla="*/ 23227 w 39405"/>
                  <a:gd name="connsiteY10" fmla="*/ 25220 h 43258"/>
                  <a:gd name="connsiteX11" fmla="*/ 23227 w 39405"/>
                  <a:gd name="connsiteY11" fmla="*/ 43259 h 43258"/>
                  <a:gd name="connsiteX12" fmla="*/ 16179 w 39405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5" h="43258">
                    <a:moveTo>
                      <a:pt x="16179" y="43259"/>
                    </a:moveTo>
                    <a:lnTo>
                      <a:pt x="16179" y="25220"/>
                    </a:lnTo>
                    <a:lnTo>
                      <a:pt x="0" y="25220"/>
                    </a:lnTo>
                    <a:lnTo>
                      <a:pt x="0" y="17864"/>
                    </a:lnTo>
                    <a:lnTo>
                      <a:pt x="16179" y="17864"/>
                    </a:lnTo>
                    <a:lnTo>
                      <a:pt x="16179" y="0"/>
                    </a:lnTo>
                    <a:lnTo>
                      <a:pt x="23227" y="0"/>
                    </a:lnTo>
                    <a:lnTo>
                      <a:pt x="23227" y="17864"/>
                    </a:lnTo>
                    <a:lnTo>
                      <a:pt x="39405" y="17864"/>
                    </a:lnTo>
                    <a:lnTo>
                      <a:pt x="39405" y="25220"/>
                    </a:lnTo>
                    <a:lnTo>
                      <a:pt x="23227" y="25220"/>
                    </a:lnTo>
                    <a:lnTo>
                      <a:pt x="23227" y="43259"/>
                    </a:lnTo>
                    <a:lnTo>
                      <a:pt x="16179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79" name="Freihandform: Form 278">
                <a:extLst>
                  <a:ext uri="{FF2B5EF4-FFF2-40B4-BE49-F238E27FC236}">
                    <a16:creationId xmlns:a16="http://schemas.microsoft.com/office/drawing/2014/main" id="{1457E907-2D75-AACD-2FE4-93677E6E48F6}"/>
                  </a:ext>
                </a:extLst>
              </p:cNvPr>
              <p:cNvSpPr/>
              <p:nvPr/>
            </p:nvSpPr>
            <p:spPr>
              <a:xfrm>
                <a:off x="3109362" y="1793649"/>
                <a:ext cx="39405" cy="43083"/>
              </a:xfrm>
              <a:custGeom>
                <a:avLst/>
                <a:gdLst>
                  <a:gd name="connsiteX0" fmla="*/ 16178 w 39405"/>
                  <a:gd name="connsiteY0" fmla="*/ 43084 h 43083"/>
                  <a:gd name="connsiteX1" fmla="*/ 16178 w 39405"/>
                  <a:gd name="connsiteY1" fmla="*/ 25220 h 43083"/>
                  <a:gd name="connsiteX2" fmla="*/ 0 w 39405"/>
                  <a:gd name="connsiteY2" fmla="*/ 25220 h 43083"/>
                  <a:gd name="connsiteX3" fmla="*/ 0 w 39405"/>
                  <a:gd name="connsiteY3" fmla="*/ 17689 h 43083"/>
                  <a:gd name="connsiteX4" fmla="*/ 16178 w 39405"/>
                  <a:gd name="connsiteY4" fmla="*/ 17689 h 43083"/>
                  <a:gd name="connsiteX5" fmla="*/ 16178 w 39405"/>
                  <a:gd name="connsiteY5" fmla="*/ 0 h 43083"/>
                  <a:gd name="connsiteX6" fmla="*/ 23066 w 39405"/>
                  <a:gd name="connsiteY6" fmla="*/ 0 h 43083"/>
                  <a:gd name="connsiteX7" fmla="*/ 23066 w 39405"/>
                  <a:gd name="connsiteY7" fmla="*/ 17689 h 43083"/>
                  <a:gd name="connsiteX8" fmla="*/ 39405 w 39405"/>
                  <a:gd name="connsiteY8" fmla="*/ 17689 h 43083"/>
                  <a:gd name="connsiteX9" fmla="*/ 39405 w 39405"/>
                  <a:gd name="connsiteY9" fmla="*/ 25220 h 43083"/>
                  <a:gd name="connsiteX10" fmla="*/ 23066 w 39405"/>
                  <a:gd name="connsiteY10" fmla="*/ 25220 h 43083"/>
                  <a:gd name="connsiteX11" fmla="*/ 23066 w 39405"/>
                  <a:gd name="connsiteY11" fmla="*/ 43084 h 43083"/>
                  <a:gd name="connsiteX12" fmla="*/ 16178 w 3940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5" h="43083">
                    <a:moveTo>
                      <a:pt x="16178" y="43084"/>
                    </a:moveTo>
                    <a:lnTo>
                      <a:pt x="16178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8" y="17689"/>
                    </a:lnTo>
                    <a:lnTo>
                      <a:pt x="16178" y="0"/>
                    </a:lnTo>
                    <a:lnTo>
                      <a:pt x="23066" y="0"/>
                    </a:lnTo>
                    <a:lnTo>
                      <a:pt x="23066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066" y="25220"/>
                    </a:lnTo>
                    <a:lnTo>
                      <a:pt x="23066" y="43084"/>
                    </a:lnTo>
                    <a:lnTo>
                      <a:pt x="16178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80" name="Freihandform: Form 279">
                <a:extLst>
                  <a:ext uri="{FF2B5EF4-FFF2-40B4-BE49-F238E27FC236}">
                    <a16:creationId xmlns:a16="http://schemas.microsoft.com/office/drawing/2014/main" id="{6F6628C1-6628-DD94-B24C-DAB994BE95EF}"/>
                  </a:ext>
                </a:extLst>
              </p:cNvPr>
              <p:cNvSpPr/>
              <p:nvPr/>
            </p:nvSpPr>
            <p:spPr>
              <a:xfrm>
                <a:off x="3153893" y="1793649"/>
                <a:ext cx="39565" cy="43083"/>
              </a:xfrm>
              <a:custGeom>
                <a:avLst/>
                <a:gdLst>
                  <a:gd name="connsiteX0" fmla="*/ 16339 w 39565"/>
                  <a:gd name="connsiteY0" fmla="*/ 43084 h 43083"/>
                  <a:gd name="connsiteX1" fmla="*/ 16339 w 39565"/>
                  <a:gd name="connsiteY1" fmla="*/ 25220 h 43083"/>
                  <a:gd name="connsiteX2" fmla="*/ 0 w 39565"/>
                  <a:gd name="connsiteY2" fmla="*/ 25220 h 43083"/>
                  <a:gd name="connsiteX3" fmla="*/ 0 w 39565"/>
                  <a:gd name="connsiteY3" fmla="*/ 17689 h 43083"/>
                  <a:gd name="connsiteX4" fmla="*/ 16339 w 39565"/>
                  <a:gd name="connsiteY4" fmla="*/ 17689 h 43083"/>
                  <a:gd name="connsiteX5" fmla="*/ 16339 w 39565"/>
                  <a:gd name="connsiteY5" fmla="*/ 0 h 43083"/>
                  <a:gd name="connsiteX6" fmla="*/ 23227 w 39565"/>
                  <a:gd name="connsiteY6" fmla="*/ 0 h 43083"/>
                  <a:gd name="connsiteX7" fmla="*/ 23227 w 39565"/>
                  <a:gd name="connsiteY7" fmla="*/ 17689 h 43083"/>
                  <a:gd name="connsiteX8" fmla="*/ 39565 w 39565"/>
                  <a:gd name="connsiteY8" fmla="*/ 17689 h 43083"/>
                  <a:gd name="connsiteX9" fmla="*/ 39565 w 39565"/>
                  <a:gd name="connsiteY9" fmla="*/ 25220 h 43083"/>
                  <a:gd name="connsiteX10" fmla="*/ 23227 w 39565"/>
                  <a:gd name="connsiteY10" fmla="*/ 25220 h 43083"/>
                  <a:gd name="connsiteX11" fmla="*/ 23227 w 39565"/>
                  <a:gd name="connsiteY11" fmla="*/ 43084 h 43083"/>
                  <a:gd name="connsiteX12" fmla="*/ 16339 w 3956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565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565" y="17689"/>
                    </a:lnTo>
                    <a:lnTo>
                      <a:pt x="3956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81" name="Freihandform: Form 280">
                <a:extLst>
                  <a:ext uri="{FF2B5EF4-FFF2-40B4-BE49-F238E27FC236}">
                    <a16:creationId xmlns:a16="http://schemas.microsoft.com/office/drawing/2014/main" id="{217179B1-DA2C-B2CF-2662-B08FFCC08D96}"/>
                  </a:ext>
                </a:extLst>
              </p:cNvPr>
              <p:cNvSpPr/>
              <p:nvPr/>
            </p:nvSpPr>
            <p:spPr>
              <a:xfrm>
                <a:off x="3213641" y="1793649"/>
                <a:ext cx="39405" cy="43083"/>
              </a:xfrm>
              <a:custGeom>
                <a:avLst/>
                <a:gdLst>
                  <a:gd name="connsiteX0" fmla="*/ 16179 w 39405"/>
                  <a:gd name="connsiteY0" fmla="*/ 43084 h 43083"/>
                  <a:gd name="connsiteX1" fmla="*/ 16179 w 39405"/>
                  <a:gd name="connsiteY1" fmla="*/ 25220 h 43083"/>
                  <a:gd name="connsiteX2" fmla="*/ 0 w 39405"/>
                  <a:gd name="connsiteY2" fmla="*/ 25220 h 43083"/>
                  <a:gd name="connsiteX3" fmla="*/ 0 w 39405"/>
                  <a:gd name="connsiteY3" fmla="*/ 17689 h 43083"/>
                  <a:gd name="connsiteX4" fmla="*/ 16179 w 39405"/>
                  <a:gd name="connsiteY4" fmla="*/ 17689 h 43083"/>
                  <a:gd name="connsiteX5" fmla="*/ 16179 w 39405"/>
                  <a:gd name="connsiteY5" fmla="*/ 0 h 43083"/>
                  <a:gd name="connsiteX6" fmla="*/ 23066 w 39405"/>
                  <a:gd name="connsiteY6" fmla="*/ 0 h 43083"/>
                  <a:gd name="connsiteX7" fmla="*/ 23066 w 39405"/>
                  <a:gd name="connsiteY7" fmla="*/ 17689 h 43083"/>
                  <a:gd name="connsiteX8" fmla="*/ 39405 w 39405"/>
                  <a:gd name="connsiteY8" fmla="*/ 17689 h 43083"/>
                  <a:gd name="connsiteX9" fmla="*/ 39405 w 39405"/>
                  <a:gd name="connsiteY9" fmla="*/ 25220 h 43083"/>
                  <a:gd name="connsiteX10" fmla="*/ 23066 w 39405"/>
                  <a:gd name="connsiteY10" fmla="*/ 25220 h 43083"/>
                  <a:gd name="connsiteX11" fmla="*/ 23066 w 39405"/>
                  <a:gd name="connsiteY11" fmla="*/ 43084 h 43083"/>
                  <a:gd name="connsiteX12" fmla="*/ 16179 w 3940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5" h="43083">
                    <a:moveTo>
                      <a:pt x="16179" y="43084"/>
                    </a:moveTo>
                    <a:lnTo>
                      <a:pt x="1617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9" y="17689"/>
                    </a:lnTo>
                    <a:lnTo>
                      <a:pt x="16179" y="0"/>
                    </a:lnTo>
                    <a:lnTo>
                      <a:pt x="23066" y="0"/>
                    </a:lnTo>
                    <a:lnTo>
                      <a:pt x="23066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066" y="25220"/>
                    </a:lnTo>
                    <a:lnTo>
                      <a:pt x="23066" y="43084"/>
                    </a:lnTo>
                    <a:lnTo>
                      <a:pt x="1617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82" name="Freihandform: Form 281">
                <a:extLst>
                  <a:ext uri="{FF2B5EF4-FFF2-40B4-BE49-F238E27FC236}">
                    <a16:creationId xmlns:a16="http://schemas.microsoft.com/office/drawing/2014/main" id="{7719F83C-4791-4006-C41B-8CC32F844753}"/>
                  </a:ext>
                </a:extLst>
              </p:cNvPr>
              <p:cNvSpPr/>
              <p:nvPr/>
            </p:nvSpPr>
            <p:spPr>
              <a:xfrm>
                <a:off x="3308790" y="1793649"/>
                <a:ext cx="39565" cy="43083"/>
              </a:xfrm>
              <a:custGeom>
                <a:avLst/>
                <a:gdLst>
                  <a:gd name="connsiteX0" fmla="*/ 16339 w 39565"/>
                  <a:gd name="connsiteY0" fmla="*/ 43084 h 43083"/>
                  <a:gd name="connsiteX1" fmla="*/ 16339 w 39565"/>
                  <a:gd name="connsiteY1" fmla="*/ 25220 h 43083"/>
                  <a:gd name="connsiteX2" fmla="*/ 0 w 39565"/>
                  <a:gd name="connsiteY2" fmla="*/ 25220 h 43083"/>
                  <a:gd name="connsiteX3" fmla="*/ 0 w 39565"/>
                  <a:gd name="connsiteY3" fmla="*/ 17689 h 43083"/>
                  <a:gd name="connsiteX4" fmla="*/ 16339 w 39565"/>
                  <a:gd name="connsiteY4" fmla="*/ 17689 h 43083"/>
                  <a:gd name="connsiteX5" fmla="*/ 16339 w 39565"/>
                  <a:gd name="connsiteY5" fmla="*/ 0 h 43083"/>
                  <a:gd name="connsiteX6" fmla="*/ 23227 w 39565"/>
                  <a:gd name="connsiteY6" fmla="*/ 0 h 43083"/>
                  <a:gd name="connsiteX7" fmla="*/ 23227 w 39565"/>
                  <a:gd name="connsiteY7" fmla="*/ 17689 h 43083"/>
                  <a:gd name="connsiteX8" fmla="*/ 39565 w 39565"/>
                  <a:gd name="connsiteY8" fmla="*/ 17689 h 43083"/>
                  <a:gd name="connsiteX9" fmla="*/ 39565 w 39565"/>
                  <a:gd name="connsiteY9" fmla="*/ 25220 h 43083"/>
                  <a:gd name="connsiteX10" fmla="*/ 23227 w 39565"/>
                  <a:gd name="connsiteY10" fmla="*/ 25220 h 43083"/>
                  <a:gd name="connsiteX11" fmla="*/ 23227 w 39565"/>
                  <a:gd name="connsiteY11" fmla="*/ 43084 h 43083"/>
                  <a:gd name="connsiteX12" fmla="*/ 16339 w 3956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565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565" y="17689"/>
                    </a:lnTo>
                    <a:lnTo>
                      <a:pt x="3956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83" name="Freihandform: Form 282">
                <a:extLst>
                  <a:ext uri="{FF2B5EF4-FFF2-40B4-BE49-F238E27FC236}">
                    <a16:creationId xmlns:a16="http://schemas.microsoft.com/office/drawing/2014/main" id="{DE4068AD-4B32-388C-C3A6-94888E618D85}"/>
                  </a:ext>
                </a:extLst>
              </p:cNvPr>
              <p:cNvSpPr/>
              <p:nvPr/>
            </p:nvSpPr>
            <p:spPr>
              <a:xfrm>
                <a:off x="3767555" y="1896980"/>
                <a:ext cx="39405" cy="43258"/>
              </a:xfrm>
              <a:custGeom>
                <a:avLst/>
                <a:gdLst>
                  <a:gd name="connsiteX0" fmla="*/ 16179 w 39405"/>
                  <a:gd name="connsiteY0" fmla="*/ 43259 h 43258"/>
                  <a:gd name="connsiteX1" fmla="*/ 16179 w 39405"/>
                  <a:gd name="connsiteY1" fmla="*/ 25220 h 43258"/>
                  <a:gd name="connsiteX2" fmla="*/ 0 w 39405"/>
                  <a:gd name="connsiteY2" fmla="*/ 25220 h 43258"/>
                  <a:gd name="connsiteX3" fmla="*/ 0 w 39405"/>
                  <a:gd name="connsiteY3" fmla="*/ 17864 h 43258"/>
                  <a:gd name="connsiteX4" fmla="*/ 16179 w 39405"/>
                  <a:gd name="connsiteY4" fmla="*/ 17864 h 43258"/>
                  <a:gd name="connsiteX5" fmla="*/ 16179 w 39405"/>
                  <a:gd name="connsiteY5" fmla="*/ 0 h 43258"/>
                  <a:gd name="connsiteX6" fmla="*/ 23227 w 39405"/>
                  <a:gd name="connsiteY6" fmla="*/ 0 h 43258"/>
                  <a:gd name="connsiteX7" fmla="*/ 23227 w 39405"/>
                  <a:gd name="connsiteY7" fmla="*/ 17864 h 43258"/>
                  <a:gd name="connsiteX8" fmla="*/ 39405 w 39405"/>
                  <a:gd name="connsiteY8" fmla="*/ 17864 h 43258"/>
                  <a:gd name="connsiteX9" fmla="*/ 39405 w 39405"/>
                  <a:gd name="connsiteY9" fmla="*/ 25220 h 43258"/>
                  <a:gd name="connsiteX10" fmla="*/ 23227 w 39405"/>
                  <a:gd name="connsiteY10" fmla="*/ 25220 h 43258"/>
                  <a:gd name="connsiteX11" fmla="*/ 23227 w 39405"/>
                  <a:gd name="connsiteY11" fmla="*/ 43259 h 43258"/>
                  <a:gd name="connsiteX12" fmla="*/ 16179 w 39405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5" h="43258">
                    <a:moveTo>
                      <a:pt x="16179" y="43259"/>
                    </a:moveTo>
                    <a:lnTo>
                      <a:pt x="16179" y="25220"/>
                    </a:lnTo>
                    <a:lnTo>
                      <a:pt x="0" y="25220"/>
                    </a:lnTo>
                    <a:lnTo>
                      <a:pt x="0" y="17864"/>
                    </a:lnTo>
                    <a:lnTo>
                      <a:pt x="16179" y="17864"/>
                    </a:lnTo>
                    <a:lnTo>
                      <a:pt x="16179" y="0"/>
                    </a:lnTo>
                    <a:lnTo>
                      <a:pt x="23227" y="0"/>
                    </a:lnTo>
                    <a:lnTo>
                      <a:pt x="23227" y="17864"/>
                    </a:lnTo>
                    <a:lnTo>
                      <a:pt x="39405" y="17864"/>
                    </a:lnTo>
                    <a:lnTo>
                      <a:pt x="39405" y="25220"/>
                    </a:lnTo>
                    <a:lnTo>
                      <a:pt x="23227" y="25220"/>
                    </a:lnTo>
                    <a:lnTo>
                      <a:pt x="23227" y="43259"/>
                    </a:lnTo>
                    <a:lnTo>
                      <a:pt x="16179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84" name="Freihandform: Form 283">
                <a:extLst>
                  <a:ext uri="{FF2B5EF4-FFF2-40B4-BE49-F238E27FC236}">
                    <a16:creationId xmlns:a16="http://schemas.microsoft.com/office/drawing/2014/main" id="{8A341C45-3B8F-3762-BF8E-BF04F4B5F786}"/>
                  </a:ext>
                </a:extLst>
              </p:cNvPr>
              <p:cNvSpPr/>
              <p:nvPr/>
            </p:nvSpPr>
            <p:spPr>
              <a:xfrm>
                <a:off x="4649204" y="1957053"/>
                <a:ext cx="39404" cy="43083"/>
              </a:xfrm>
              <a:custGeom>
                <a:avLst/>
                <a:gdLst>
                  <a:gd name="connsiteX0" fmla="*/ 16178 w 39404"/>
                  <a:gd name="connsiteY0" fmla="*/ 43084 h 43083"/>
                  <a:gd name="connsiteX1" fmla="*/ 16178 w 39404"/>
                  <a:gd name="connsiteY1" fmla="*/ 25220 h 43083"/>
                  <a:gd name="connsiteX2" fmla="*/ 0 w 39404"/>
                  <a:gd name="connsiteY2" fmla="*/ 25220 h 43083"/>
                  <a:gd name="connsiteX3" fmla="*/ 0 w 39404"/>
                  <a:gd name="connsiteY3" fmla="*/ 17689 h 43083"/>
                  <a:gd name="connsiteX4" fmla="*/ 16178 w 39404"/>
                  <a:gd name="connsiteY4" fmla="*/ 17689 h 43083"/>
                  <a:gd name="connsiteX5" fmla="*/ 16178 w 39404"/>
                  <a:gd name="connsiteY5" fmla="*/ 0 h 43083"/>
                  <a:gd name="connsiteX6" fmla="*/ 23227 w 39404"/>
                  <a:gd name="connsiteY6" fmla="*/ 0 h 43083"/>
                  <a:gd name="connsiteX7" fmla="*/ 23227 w 39404"/>
                  <a:gd name="connsiteY7" fmla="*/ 17689 h 43083"/>
                  <a:gd name="connsiteX8" fmla="*/ 39405 w 39404"/>
                  <a:gd name="connsiteY8" fmla="*/ 17689 h 43083"/>
                  <a:gd name="connsiteX9" fmla="*/ 39405 w 39404"/>
                  <a:gd name="connsiteY9" fmla="*/ 25220 h 43083"/>
                  <a:gd name="connsiteX10" fmla="*/ 23227 w 39404"/>
                  <a:gd name="connsiteY10" fmla="*/ 25220 h 43083"/>
                  <a:gd name="connsiteX11" fmla="*/ 23227 w 39404"/>
                  <a:gd name="connsiteY11" fmla="*/ 43084 h 43083"/>
                  <a:gd name="connsiteX12" fmla="*/ 16178 w 39404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083">
                    <a:moveTo>
                      <a:pt x="16178" y="43084"/>
                    </a:moveTo>
                    <a:lnTo>
                      <a:pt x="16178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8" y="17689"/>
                    </a:lnTo>
                    <a:lnTo>
                      <a:pt x="16178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178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85" name="Freihandform: Form 284">
                <a:extLst>
                  <a:ext uri="{FF2B5EF4-FFF2-40B4-BE49-F238E27FC236}">
                    <a16:creationId xmlns:a16="http://schemas.microsoft.com/office/drawing/2014/main" id="{383A5857-5415-FD73-907D-9056235E4E67}"/>
                  </a:ext>
                </a:extLst>
              </p:cNvPr>
              <p:cNvSpPr/>
              <p:nvPr/>
            </p:nvSpPr>
            <p:spPr>
              <a:xfrm>
                <a:off x="4673071" y="1957053"/>
                <a:ext cx="39404" cy="43083"/>
              </a:xfrm>
              <a:custGeom>
                <a:avLst/>
                <a:gdLst>
                  <a:gd name="connsiteX0" fmla="*/ 16178 w 39404"/>
                  <a:gd name="connsiteY0" fmla="*/ 43084 h 43083"/>
                  <a:gd name="connsiteX1" fmla="*/ 16178 w 39404"/>
                  <a:gd name="connsiteY1" fmla="*/ 25220 h 43083"/>
                  <a:gd name="connsiteX2" fmla="*/ 0 w 39404"/>
                  <a:gd name="connsiteY2" fmla="*/ 25220 h 43083"/>
                  <a:gd name="connsiteX3" fmla="*/ 0 w 39404"/>
                  <a:gd name="connsiteY3" fmla="*/ 17689 h 43083"/>
                  <a:gd name="connsiteX4" fmla="*/ 16178 w 39404"/>
                  <a:gd name="connsiteY4" fmla="*/ 17689 h 43083"/>
                  <a:gd name="connsiteX5" fmla="*/ 16178 w 39404"/>
                  <a:gd name="connsiteY5" fmla="*/ 0 h 43083"/>
                  <a:gd name="connsiteX6" fmla="*/ 23227 w 39404"/>
                  <a:gd name="connsiteY6" fmla="*/ 0 h 43083"/>
                  <a:gd name="connsiteX7" fmla="*/ 23227 w 39404"/>
                  <a:gd name="connsiteY7" fmla="*/ 17689 h 43083"/>
                  <a:gd name="connsiteX8" fmla="*/ 39405 w 39404"/>
                  <a:gd name="connsiteY8" fmla="*/ 17689 h 43083"/>
                  <a:gd name="connsiteX9" fmla="*/ 39405 w 39404"/>
                  <a:gd name="connsiteY9" fmla="*/ 25220 h 43083"/>
                  <a:gd name="connsiteX10" fmla="*/ 23227 w 39404"/>
                  <a:gd name="connsiteY10" fmla="*/ 25220 h 43083"/>
                  <a:gd name="connsiteX11" fmla="*/ 23227 w 39404"/>
                  <a:gd name="connsiteY11" fmla="*/ 43084 h 43083"/>
                  <a:gd name="connsiteX12" fmla="*/ 16178 w 39404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083">
                    <a:moveTo>
                      <a:pt x="16178" y="43084"/>
                    </a:moveTo>
                    <a:lnTo>
                      <a:pt x="16178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8" y="17689"/>
                    </a:lnTo>
                    <a:lnTo>
                      <a:pt x="16178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178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86" name="Freihandform: Form 285">
                <a:extLst>
                  <a:ext uri="{FF2B5EF4-FFF2-40B4-BE49-F238E27FC236}">
                    <a16:creationId xmlns:a16="http://schemas.microsoft.com/office/drawing/2014/main" id="{AD937DC1-7203-0038-C7B2-99D018136A6C}"/>
                  </a:ext>
                </a:extLst>
              </p:cNvPr>
              <p:cNvSpPr/>
              <p:nvPr/>
            </p:nvSpPr>
            <p:spPr>
              <a:xfrm>
                <a:off x="4789204" y="1957053"/>
                <a:ext cx="39404" cy="43083"/>
              </a:xfrm>
              <a:custGeom>
                <a:avLst/>
                <a:gdLst>
                  <a:gd name="connsiteX0" fmla="*/ 16178 w 39404"/>
                  <a:gd name="connsiteY0" fmla="*/ 43084 h 43083"/>
                  <a:gd name="connsiteX1" fmla="*/ 16178 w 39404"/>
                  <a:gd name="connsiteY1" fmla="*/ 25220 h 43083"/>
                  <a:gd name="connsiteX2" fmla="*/ 0 w 39404"/>
                  <a:gd name="connsiteY2" fmla="*/ 25220 h 43083"/>
                  <a:gd name="connsiteX3" fmla="*/ 0 w 39404"/>
                  <a:gd name="connsiteY3" fmla="*/ 17689 h 43083"/>
                  <a:gd name="connsiteX4" fmla="*/ 16178 w 39404"/>
                  <a:gd name="connsiteY4" fmla="*/ 17689 h 43083"/>
                  <a:gd name="connsiteX5" fmla="*/ 16178 w 39404"/>
                  <a:gd name="connsiteY5" fmla="*/ 0 h 43083"/>
                  <a:gd name="connsiteX6" fmla="*/ 23227 w 39404"/>
                  <a:gd name="connsiteY6" fmla="*/ 0 h 43083"/>
                  <a:gd name="connsiteX7" fmla="*/ 23227 w 39404"/>
                  <a:gd name="connsiteY7" fmla="*/ 17689 h 43083"/>
                  <a:gd name="connsiteX8" fmla="*/ 39405 w 39404"/>
                  <a:gd name="connsiteY8" fmla="*/ 17689 h 43083"/>
                  <a:gd name="connsiteX9" fmla="*/ 39405 w 39404"/>
                  <a:gd name="connsiteY9" fmla="*/ 25220 h 43083"/>
                  <a:gd name="connsiteX10" fmla="*/ 23227 w 39404"/>
                  <a:gd name="connsiteY10" fmla="*/ 25220 h 43083"/>
                  <a:gd name="connsiteX11" fmla="*/ 23227 w 39404"/>
                  <a:gd name="connsiteY11" fmla="*/ 43084 h 43083"/>
                  <a:gd name="connsiteX12" fmla="*/ 16178 w 39404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083">
                    <a:moveTo>
                      <a:pt x="16178" y="43084"/>
                    </a:moveTo>
                    <a:lnTo>
                      <a:pt x="16178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8" y="17689"/>
                    </a:lnTo>
                    <a:lnTo>
                      <a:pt x="16178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178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87" name="Freihandform: Form 286">
                <a:extLst>
                  <a:ext uri="{FF2B5EF4-FFF2-40B4-BE49-F238E27FC236}">
                    <a16:creationId xmlns:a16="http://schemas.microsoft.com/office/drawing/2014/main" id="{56129043-828D-0129-6BA1-C5280C9193A2}"/>
                  </a:ext>
                </a:extLst>
              </p:cNvPr>
              <p:cNvSpPr/>
              <p:nvPr/>
            </p:nvSpPr>
            <p:spPr>
              <a:xfrm>
                <a:off x="4795131" y="1957053"/>
                <a:ext cx="39404" cy="43083"/>
              </a:xfrm>
              <a:custGeom>
                <a:avLst/>
                <a:gdLst>
                  <a:gd name="connsiteX0" fmla="*/ 16339 w 39404"/>
                  <a:gd name="connsiteY0" fmla="*/ 43084 h 43083"/>
                  <a:gd name="connsiteX1" fmla="*/ 16339 w 39404"/>
                  <a:gd name="connsiteY1" fmla="*/ 25220 h 43083"/>
                  <a:gd name="connsiteX2" fmla="*/ 0 w 39404"/>
                  <a:gd name="connsiteY2" fmla="*/ 25220 h 43083"/>
                  <a:gd name="connsiteX3" fmla="*/ 0 w 39404"/>
                  <a:gd name="connsiteY3" fmla="*/ 17689 h 43083"/>
                  <a:gd name="connsiteX4" fmla="*/ 16339 w 39404"/>
                  <a:gd name="connsiteY4" fmla="*/ 17689 h 43083"/>
                  <a:gd name="connsiteX5" fmla="*/ 16339 w 39404"/>
                  <a:gd name="connsiteY5" fmla="*/ 0 h 43083"/>
                  <a:gd name="connsiteX6" fmla="*/ 23227 w 39404"/>
                  <a:gd name="connsiteY6" fmla="*/ 0 h 43083"/>
                  <a:gd name="connsiteX7" fmla="*/ 23227 w 39404"/>
                  <a:gd name="connsiteY7" fmla="*/ 17689 h 43083"/>
                  <a:gd name="connsiteX8" fmla="*/ 39405 w 39404"/>
                  <a:gd name="connsiteY8" fmla="*/ 17689 h 43083"/>
                  <a:gd name="connsiteX9" fmla="*/ 39405 w 39404"/>
                  <a:gd name="connsiteY9" fmla="*/ 25220 h 43083"/>
                  <a:gd name="connsiteX10" fmla="*/ 23227 w 39404"/>
                  <a:gd name="connsiteY10" fmla="*/ 25220 h 43083"/>
                  <a:gd name="connsiteX11" fmla="*/ 23227 w 39404"/>
                  <a:gd name="connsiteY11" fmla="*/ 43084 h 43083"/>
                  <a:gd name="connsiteX12" fmla="*/ 16339 w 39404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88" name="Freihandform: Form 287">
                <a:extLst>
                  <a:ext uri="{FF2B5EF4-FFF2-40B4-BE49-F238E27FC236}">
                    <a16:creationId xmlns:a16="http://schemas.microsoft.com/office/drawing/2014/main" id="{DE7F9DEE-4A32-D4CF-6A73-2FCE23D464B2}"/>
                  </a:ext>
                </a:extLst>
              </p:cNvPr>
              <p:cNvSpPr/>
              <p:nvPr/>
            </p:nvSpPr>
            <p:spPr>
              <a:xfrm>
                <a:off x="5155543" y="2001713"/>
                <a:ext cx="39404" cy="43258"/>
              </a:xfrm>
              <a:custGeom>
                <a:avLst/>
                <a:gdLst>
                  <a:gd name="connsiteX0" fmla="*/ 16178 w 39404"/>
                  <a:gd name="connsiteY0" fmla="*/ 43259 h 43258"/>
                  <a:gd name="connsiteX1" fmla="*/ 16178 w 39404"/>
                  <a:gd name="connsiteY1" fmla="*/ 25220 h 43258"/>
                  <a:gd name="connsiteX2" fmla="*/ 0 w 39404"/>
                  <a:gd name="connsiteY2" fmla="*/ 25220 h 43258"/>
                  <a:gd name="connsiteX3" fmla="*/ 0 w 39404"/>
                  <a:gd name="connsiteY3" fmla="*/ 17864 h 43258"/>
                  <a:gd name="connsiteX4" fmla="*/ 16178 w 39404"/>
                  <a:gd name="connsiteY4" fmla="*/ 17864 h 43258"/>
                  <a:gd name="connsiteX5" fmla="*/ 16178 w 39404"/>
                  <a:gd name="connsiteY5" fmla="*/ 0 h 43258"/>
                  <a:gd name="connsiteX6" fmla="*/ 23227 w 39404"/>
                  <a:gd name="connsiteY6" fmla="*/ 0 h 43258"/>
                  <a:gd name="connsiteX7" fmla="*/ 23227 w 39404"/>
                  <a:gd name="connsiteY7" fmla="*/ 17864 h 43258"/>
                  <a:gd name="connsiteX8" fmla="*/ 39405 w 39404"/>
                  <a:gd name="connsiteY8" fmla="*/ 17864 h 43258"/>
                  <a:gd name="connsiteX9" fmla="*/ 39405 w 39404"/>
                  <a:gd name="connsiteY9" fmla="*/ 25220 h 43258"/>
                  <a:gd name="connsiteX10" fmla="*/ 23227 w 39404"/>
                  <a:gd name="connsiteY10" fmla="*/ 25220 h 43258"/>
                  <a:gd name="connsiteX11" fmla="*/ 23227 w 39404"/>
                  <a:gd name="connsiteY11" fmla="*/ 43259 h 43258"/>
                  <a:gd name="connsiteX12" fmla="*/ 16178 w 39404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258">
                    <a:moveTo>
                      <a:pt x="16178" y="43259"/>
                    </a:moveTo>
                    <a:lnTo>
                      <a:pt x="16178" y="25220"/>
                    </a:lnTo>
                    <a:lnTo>
                      <a:pt x="0" y="25220"/>
                    </a:lnTo>
                    <a:lnTo>
                      <a:pt x="0" y="17864"/>
                    </a:lnTo>
                    <a:lnTo>
                      <a:pt x="16178" y="17864"/>
                    </a:lnTo>
                    <a:lnTo>
                      <a:pt x="16178" y="0"/>
                    </a:lnTo>
                    <a:lnTo>
                      <a:pt x="23227" y="0"/>
                    </a:lnTo>
                    <a:lnTo>
                      <a:pt x="23227" y="17864"/>
                    </a:lnTo>
                    <a:lnTo>
                      <a:pt x="39405" y="17864"/>
                    </a:lnTo>
                    <a:lnTo>
                      <a:pt x="39405" y="25220"/>
                    </a:lnTo>
                    <a:lnTo>
                      <a:pt x="23227" y="25220"/>
                    </a:lnTo>
                    <a:lnTo>
                      <a:pt x="23227" y="43259"/>
                    </a:lnTo>
                    <a:lnTo>
                      <a:pt x="16178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89" name="Freihandform: Form 288">
                <a:extLst>
                  <a:ext uri="{FF2B5EF4-FFF2-40B4-BE49-F238E27FC236}">
                    <a16:creationId xmlns:a16="http://schemas.microsoft.com/office/drawing/2014/main" id="{9B3B53F4-A7D4-879D-D7FC-02AE9562F18E}"/>
                  </a:ext>
                </a:extLst>
              </p:cNvPr>
              <p:cNvSpPr/>
              <p:nvPr/>
            </p:nvSpPr>
            <p:spPr>
              <a:xfrm>
                <a:off x="5271676" y="2001713"/>
                <a:ext cx="39565" cy="43258"/>
              </a:xfrm>
              <a:custGeom>
                <a:avLst/>
                <a:gdLst>
                  <a:gd name="connsiteX0" fmla="*/ 16339 w 39565"/>
                  <a:gd name="connsiteY0" fmla="*/ 43259 h 43258"/>
                  <a:gd name="connsiteX1" fmla="*/ 16339 w 39565"/>
                  <a:gd name="connsiteY1" fmla="*/ 25220 h 43258"/>
                  <a:gd name="connsiteX2" fmla="*/ 0 w 39565"/>
                  <a:gd name="connsiteY2" fmla="*/ 25220 h 43258"/>
                  <a:gd name="connsiteX3" fmla="*/ 0 w 39565"/>
                  <a:gd name="connsiteY3" fmla="*/ 17864 h 43258"/>
                  <a:gd name="connsiteX4" fmla="*/ 16339 w 39565"/>
                  <a:gd name="connsiteY4" fmla="*/ 17864 h 43258"/>
                  <a:gd name="connsiteX5" fmla="*/ 16339 w 39565"/>
                  <a:gd name="connsiteY5" fmla="*/ 0 h 43258"/>
                  <a:gd name="connsiteX6" fmla="*/ 23227 w 39565"/>
                  <a:gd name="connsiteY6" fmla="*/ 0 h 43258"/>
                  <a:gd name="connsiteX7" fmla="*/ 23227 w 39565"/>
                  <a:gd name="connsiteY7" fmla="*/ 17864 h 43258"/>
                  <a:gd name="connsiteX8" fmla="*/ 39565 w 39565"/>
                  <a:gd name="connsiteY8" fmla="*/ 17864 h 43258"/>
                  <a:gd name="connsiteX9" fmla="*/ 39565 w 39565"/>
                  <a:gd name="connsiteY9" fmla="*/ 25220 h 43258"/>
                  <a:gd name="connsiteX10" fmla="*/ 23227 w 39565"/>
                  <a:gd name="connsiteY10" fmla="*/ 25220 h 43258"/>
                  <a:gd name="connsiteX11" fmla="*/ 23227 w 39565"/>
                  <a:gd name="connsiteY11" fmla="*/ 43259 h 43258"/>
                  <a:gd name="connsiteX12" fmla="*/ 16339 w 39565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565" h="43258">
                    <a:moveTo>
                      <a:pt x="16339" y="43259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864"/>
                    </a:lnTo>
                    <a:lnTo>
                      <a:pt x="16339" y="17864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864"/>
                    </a:lnTo>
                    <a:lnTo>
                      <a:pt x="39565" y="17864"/>
                    </a:lnTo>
                    <a:lnTo>
                      <a:pt x="39565" y="25220"/>
                    </a:lnTo>
                    <a:lnTo>
                      <a:pt x="23227" y="25220"/>
                    </a:lnTo>
                    <a:lnTo>
                      <a:pt x="23227" y="43259"/>
                    </a:lnTo>
                    <a:lnTo>
                      <a:pt x="16339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90" name="Freihandform: Form 289">
                <a:extLst>
                  <a:ext uri="{FF2B5EF4-FFF2-40B4-BE49-F238E27FC236}">
                    <a16:creationId xmlns:a16="http://schemas.microsoft.com/office/drawing/2014/main" id="{6ED579AF-13BC-862F-29DD-8DCE8D39517A}"/>
                  </a:ext>
                </a:extLst>
              </p:cNvPr>
              <p:cNvSpPr/>
              <p:nvPr/>
            </p:nvSpPr>
            <p:spPr>
              <a:xfrm>
                <a:off x="5334308" y="2001713"/>
                <a:ext cx="39404" cy="43258"/>
              </a:xfrm>
              <a:custGeom>
                <a:avLst/>
                <a:gdLst>
                  <a:gd name="connsiteX0" fmla="*/ 16178 w 39404"/>
                  <a:gd name="connsiteY0" fmla="*/ 43259 h 43258"/>
                  <a:gd name="connsiteX1" fmla="*/ 16178 w 39404"/>
                  <a:gd name="connsiteY1" fmla="*/ 25220 h 43258"/>
                  <a:gd name="connsiteX2" fmla="*/ 0 w 39404"/>
                  <a:gd name="connsiteY2" fmla="*/ 25220 h 43258"/>
                  <a:gd name="connsiteX3" fmla="*/ 0 w 39404"/>
                  <a:gd name="connsiteY3" fmla="*/ 17864 h 43258"/>
                  <a:gd name="connsiteX4" fmla="*/ 16178 w 39404"/>
                  <a:gd name="connsiteY4" fmla="*/ 17864 h 43258"/>
                  <a:gd name="connsiteX5" fmla="*/ 16178 w 39404"/>
                  <a:gd name="connsiteY5" fmla="*/ 0 h 43258"/>
                  <a:gd name="connsiteX6" fmla="*/ 23227 w 39404"/>
                  <a:gd name="connsiteY6" fmla="*/ 0 h 43258"/>
                  <a:gd name="connsiteX7" fmla="*/ 23227 w 39404"/>
                  <a:gd name="connsiteY7" fmla="*/ 17864 h 43258"/>
                  <a:gd name="connsiteX8" fmla="*/ 39405 w 39404"/>
                  <a:gd name="connsiteY8" fmla="*/ 17864 h 43258"/>
                  <a:gd name="connsiteX9" fmla="*/ 39405 w 39404"/>
                  <a:gd name="connsiteY9" fmla="*/ 25220 h 43258"/>
                  <a:gd name="connsiteX10" fmla="*/ 23227 w 39404"/>
                  <a:gd name="connsiteY10" fmla="*/ 25220 h 43258"/>
                  <a:gd name="connsiteX11" fmla="*/ 23227 w 39404"/>
                  <a:gd name="connsiteY11" fmla="*/ 43259 h 43258"/>
                  <a:gd name="connsiteX12" fmla="*/ 16178 w 39404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258">
                    <a:moveTo>
                      <a:pt x="16178" y="43259"/>
                    </a:moveTo>
                    <a:lnTo>
                      <a:pt x="16178" y="25220"/>
                    </a:lnTo>
                    <a:lnTo>
                      <a:pt x="0" y="25220"/>
                    </a:lnTo>
                    <a:lnTo>
                      <a:pt x="0" y="17864"/>
                    </a:lnTo>
                    <a:lnTo>
                      <a:pt x="16178" y="17864"/>
                    </a:lnTo>
                    <a:lnTo>
                      <a:pt x="16178" y="0"/>
                    </a:lnTo>
                    <a:lnTo>
                      <a:pt x="23227" y="0"/>
                    </a:lnTo>
                    <a:lnTo>
                      <a:pt x="23227" y="17864"/>
                    </a:lnTo>
                    <a:lnTo>
                      <a:pt x="39405" y="17864"/>
                    </a:lnTo>
                    <a:lnTo>
                      <a:pt x="39405" y="25220"/>
                    </a:lnTo>
                    <a:lnTo>
                      <a:pt x="23227" y="25220"/>
                    </a:lnTo>
                    <a:lnTo>
                      <a:pt x="23227" y="43259"/>
                    </a:lnTo>
                    <a:lnTo>
                      <a:pt x="16178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91" name="Freihandform: Form 290">
                <a:extLst>
                  <a:ext uri="{FF2B5EF4-FFF2-40B4-BE49-F238E27FC236}">
                    <a16:creationId xmlns:a16="http://schemas.microsoft.com/office/drawing/2014/main" id="{E59BB643-11CF-EB6B-0B88-3538403EF107}"/>
                  </a:ext>
                </a:extLst>
              </p:cNvPr>
              <p:cNvSpPr/>
              <p:nvPr/>
            </p:nvSpPr>
            <p:spPr>
              <a:xfrm>
                <a:off x="5349205" y="2001713"/>
                <a:ext cx="39405" cy="43258"/>
              </a:xfrm>
              <a:custGeom>
                <a:avLst/>
                <a:gdLst>
                  <a:gd name="connsiteX0" fmla="*/ 16178 w 39405"/>
                  <a:gd name="connsiteY0" fmla="*/ 43259 h 43258"/>
                  <a:gd name="connsiteX1" fmla="*/ 16178 w 39405"/>
                  <a:gd name="connsiteY1" fmla="*/ 25220 h 43258"/>
                  <a:gd name="connsiteX2" fmla="*/ 0 w 39405"/>
                  <a:gd name="connsiteY2" fmla="*/ 25220 h 43258"/>
                  <a:gd name="connsiteX3" fmla="*/ 0 w 39405"/>
                  <a:gd name="connsiteY3" fmla="*/ 17864 h 43258"/>
                  <a:gd name="connsiteX4" fmla="*/ 16178 w 39405"/>
                  <a:gd name="connsiteY4" fmla="*/ 17864 h 43258"/>
                  <a:gd name="connsiteX5" fmla="*/ 16178 w 39405"/>
                  <a:gd name="connsiteY5" fmla="*/ 0 h 43258"/>
                  <a:gd name="connsiteX6" fmla="*/ 23227 w 39405"/>
                  <a:gd name="connsiteY6" fmla="*/ 0 h 43258"/>
                  <a:gd name="connsiteX7" fmla="*/ 23227 w 39405"/>
                  <a:gd name="connsiteY7" fmla="*/ 17864 h 43258"/>
                  <a:gd name="connsiteX8" fmla="*/ 39405 w 39405"/>
                  <a:gd name="connsiteY8" fmla="*/ 17864 h 43258"/>
                  <a:gd name="connsiteX9" fmla="*/ 39405 w 39405"/>
                  <a:gd name="connsiteY9" fmla="*/ 25220 h 43258"/>
                  <a:gd name="connsiteX10" fmla="*/ 23227 w 39405"/>
                  <a:gd name="connsiteY10" fmla="*/ 25220 h 43258"/>
                  <a:gd name="connsiteX11" fmla="*/ 23227 w 39405"/>
                  <a:gd name="connsiteY11" fmla="*/ 43259 h 43258"/>
                  <a:gd name="connsiteX12" fmla="*/ 16178 w 39405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5" h="43258">
                    <a:moveTo>
                      <a:pt x="16178" y="43259"/>
                    </a:moveTo>
                    <a:lnTo>
                      <a:pt x="16178" y="25220"/>
                    </a:lnTo>
                    <a:lnTo>
                      <a:pt x="0" y="25220"/>
                    </a:lnTo>
                    <a:lnTo>
                      <a:pt x="0" y="17864"/>
                    </a:lnTo>
                    <a:lnTo>
                      <a:pt x="16178" y="17864"/>
                    </a:lnTo>
                    <a:lnTo>
                      <a:pt x="16178" y="0"/>
                    </a:lnTo>
                    <a:lnTo>
                      <a:pt x="23227" y="0"/>
                    </a:lnTo>
                    <a:lnTo>
                      <a:pt x="23227" y="17864"/>
                    </a:lnTo>
                    <a:lnTo>
                      <a:pt x="39405" y="17864"/>
                    </a:lnTo>
                    <a:lnTo>
                      <a:pt x="39405" y="25220"/>
                    </a:lnTo>
                    <a:lnTo>
                      <a:pt x="23227" y="25220"/>
                    </a:lnTo>
                    <a:lnTo>
                      <a:pt x="23227" y="43259"/>
                    </a:lnTo>
                    <a:lnTo>
                      <a:pt x="16178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92" name="Freihandform: Form 291">
                <a:extLst>
                  <a:ext uri="{FF2B5EF4-FFF2-40B4-BE49-F238E27FC236}">
                    <a16:creationId xmlns:a16="http://schemas.microsoft.com/office/drawing/2014/main" id="{1AAFE6D1-A4B2-7BAE-8828-7D21E5CE23AE}"/>
                  </a:ext>
                </a:extLst>
              </p:cNvPr>
              <p:cNvSpPr/>
              <p:nvPr/>
            </p:nvSpPr>
            <p:spPr>
              <a:xfrm>
                <a:off x="5432500" y="2001713"/>
                <a:ext cx="39405" cy="43258"/>
              </a:xfrm>
              <a:custGeom>
                <a:avLst/>
                <a:gdLst>
                  <a:gd name="connsiteX0" fmla="*/ 16339 w 39405"/>
                  <a:gd name="connsiteY0" fmla="*/ 43259 h 43258"/>
                  <a:gd name="connsiteX1" fmla="*/ 16339 w 39405"/>
                  <a:gd name="connsiteY1" fmla="*/ 25220 h 43258"/>
                  <a:gd name="connsiteX2" fmla="*/ 0 w 39405"/>
                  <a:gd name="connsiteY2" fmla="*/ 25220 h 43258"/>
                  <a:gd name="connsiteX3" fmla="*/ 0 w 39405"/>
                  <a:gd name="connsiteY3" fmla="*/ 17864 h 43258"/>
                  <a:gd name="connsiteX4" fmla="*/ 16339 w 39405"/>
                  <a:gd name="connsiteY4" fmla="*/ 17864 h 43258"/>
                  <a:gd name="connsiteX5" fmla="*/ 16339 w 39405"/>
                  <a:gd name="connsiteY5" fmla="*/ 0 h 43258"/>
                  <a:gd name="connsiteX6" fmla="*/ 23227 w 39405"/>
                  <a:gd name="connsiteY6" fmla="*/ 0 h 43258"/>
                  <a:gd name="connsiteX7" fmla="*/ 23227 w 39405"/>
                  <a:gd name="connsiteY7" fmla="*/ 17864 h 43258"/>
                  <a:gd name="connsiteX8" fmla="*/ 39405 w 39405"/>
                  <a:gd name="connsiteY8" fmla="*/ 17864 h 43258"/>
                  <a:gd name="connsiteX9" fmla="*/ 39405 w 39405"/>
                  <a:gd name="connsiteY9" fmla="*/ 25220 h 43258"/>
                  <a:gd name="connsiteX10" fmla="*/ 23227 w 39405"/>
                  <a:gd name="connsiteY10" fmla="*/ 25220 h 43258"/>
                  <a:gd name="connsiteX11" fmla="*/ 23227 w 39405"/>
                  <a:gd name="connsiteY11" fmla="*/ 43259 h 43258"/>
                  <a:gd name="connsiteX12" fmla="*/ 16339 w 39405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5" h="43258">
                    <a:moveTo>
                      <a:pt x="16339" y="43259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864"/>
                    </a:lnTo>
                    <a:lnTo>
                      <a:pt x="16339" y="17864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864"/>
                    </a:lnTo>
                    <a:lnTo>
                      <a:pt x="39405" y="17864"/>
                    </a:lnTo>
                    <a:lnTo>
                      <a:pt x="39405" y="25220"/>
                    </a:lnTo>
                    <a:lnTo>
                      <a:pt x="23227" y="25220"/>
                    </a:lnTo>
                    <a:lnTo>
                      <a:pt x="23227" y="43259"/>
                    </a:lnTo>
                    <a:lnTo>
                      <a:pt x="16339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93" name="Freihandform: Form 292">
                <a:extLst>
                  <a:ext uri="{FF2B5EF4-FFF2-40B4-BE49-F238E27FC236}">
                    <a16:creationId xmlns:a16="http://schemas.microsoft.com/office/drawing/2014/main" id="{E8DBB7E8-07BB-6CFE-589D-C10B54C21490}"/>
                  </a:ext>
                </a:extLst>
              </p:cNvPr>
              <p:cNvSpPr/>
              <p:nvPr/>
            </p:nvSpPr>
            <p:spPr>
              <a:xfrm>
                <a:off x="5703690" y="2001713"/>
                <a:ext cx="39404" cy="43258"/>
              </a:xfrm>
              <a:custGeom>
                <a:avLst/>
                <a:gdLst>
                  <a:gd name="connsiteX0" fmla="*/ 16178 w 39404"/>
                  <a:gd name="connsiteY0" fmla="*/ 43259 h 43258"/>
                  <a:gd name="connsiteX1" fmla="*/ 16178 w 39404"/>
                  <a:gd name="connsiteY1" fmla="*/ 25220 h 43258"/>
                  <a:gd name="connsiteX2" fmla="*/ 0 w 39404"/>
                  <a:gd name="connsiteY2" fmla="*/ 25220 h 43258"/>
                  <a:gd name="connsiteX3" fmla="*/ 0 w 39404"/>
                  <a:gd name="connsiteY3" fmla="*/ 17864 h 43258"/>
                  <a:gd name="connsiteX4" fmla="*/ 16178 w 39404"/>
                  <a:gd name="connsiteY4" fmla="*/ 17864 h 43258"/>
                  <a:gd name="connsiteX5" fmla="*/ 16178 w 39404"/>
                  <a:gd name="connsiteY5" fmla="*/ 0 h 43258"/>
                  <a:gd name="connsiteX6" fmla="*/ 23066 w 39404"/>
                  <a:gd name="connsiteY6" fmla="*/ 0 h 43258"/>
                  <a:gd name="connsiteX7" fmla="*/ 23066 w 39404"/>
                  <a:gd name="connsiteY7" fmla="*/ 17864 h 43258"/>
                  <a:gd name="connsiteX8" fmla="*/ 39405 w 39404"/>
                  <a:gd name="connsiteY8" fmla="*/ 17864 h 43258"/>
                  <a:gd name="connsiteX9" fmla="*/ 39405 w 39404"/>
                  <a:gd name="connsiteY9" fmla="*/ 25220 h 43258"/>
                  <a:gd name="connsiteX10" fmla="*/ 23066 w 39404"/>
                  <a:gd name="connsiteY10" fmla="*/ 25220 h 43258"/>
                  <a:gd name="connsiteX11" fmla="*/ 23066 w 39404"/>
                  <a:gd name="connsiteY11" fmla="*/ 43259 h 43258"/>
                  <a:gd name="connsiteX12" fmla="*/ 16178 w 39404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258">
                    <a:moveTo>
                      <a:pt x="16178" y="43259"/>
                    </a:moveTo>
                    <a:lnTo>
                      <a:pt x="16178" y="25220"/>
                    </a:lnTo>
                    <a:lnTo>
                      <a:pt x="0" y="25220"/>
                    </a:lnTo>
                    <a:lnTo>
                      <a:pt x="0" y="17864"/>
                    </a:lnTo>
                    <a:lnTo>
                      <a:pt x="16178" y="17864"/>
                    </a:lnTo>
                    <a:lnTo>
                      <a:pt x="16178" y="0"/>
                    </a:lnTo>
                    <a:lnTo>
                      <a:pt x="23066" y="0"/>
                    </a:lnTo>
                    <a:lnTo>
                      <a:pt x="23066" y="17864"/>
                    </a:lnTo>
                    <a:lnTo>
                      <a:pt x="39405" y="17864"/>
                    </a:lnTo>
                    <a:lnTo>
                      <a:pt x="39405" y="25220"/>
                    </a:lnTo>
                    <a:lnTo>
                      <a:pt x="23066" y="25220"/>
                    </a:lnTo>
                    <a:lnTo>
                      <a:pt x="23066" y="43259"/>
                    </a:lnTo>
                    <a:lnTo>
                      <a:pt x="16178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94" name="Freihandform: Form 293">
                <a:extLst>
                  <a:ext uri="{FF2B5EF4-FFF2-40B4-BE49-F238E27FC236}">
                    <a16:creationId xmlns:a16="http://schemas.microsoft.com/office/drawing/2014/main" id="{CBD9C3E3-8D75-D4D5-C0D3-8B3AD97A453C}"/>
                  </a:ext>
                </a:extLst>
              </p:cNvPr>
              <p:cNvSpPr/>
              <p:nvPr/>
            </p:nvSpPr>
            <p:spPr>
              <a:xfrm>
                <a:off x="5718587" y="2001713"/>
                <a:ext cx="39405" cy="43258"/>
              </a:xfrm>
              <a:custGeom>
                <a:avLst/>
                <a:gdLst>
                  <a:gd name="connsiteX0" fmla="*/ 16179 w 39405"/>
                  <a:gd name="connsiteY0" fmla="*/ 43259 h 43258"/>
                  <a:gd name="connsiteX1" fmla="*/ 16179 w 39405"/>
                  <a:gd name="connsiteY1" fmla="*/ 25220 h 43258"/>
                  <a:gd name="connsiteX2" fmla="*/ 0 w 39405"/>
                  <a:gd name="connsiteY2" fmla="*/ 25220 h 43258"/>
                  <a:gd name="connsiteX3" fmla="*/ 0 w 39405"/>
                  <a:gd name="connsiteY3" fmla="*/ 17864 h 43258"/>
                  <a:gd name="connsiteX4" fmla="*/ 16179 w 39405"/>
                  <a:gd name="connsiteY4" fmla="*/ 17864 h 43258"/>
                  <a:gd name="connsiteX5" fmla="*/ 16179 w 39405"/>
                  <a:gd name="connsiteY5" fmla="*/ 0 h 43258"/>
                  <a:gd name="connsiteX6" fmla="*/ 23066 w 39405"/>
                  <a:gd name="connsiteY6" fmla="*/ 0 h 43258"/>
                  <a:gd name="connsiteX7" fmla="*/ 23066 w 39405"/>
                  <a:gd name="connsiteY7" fmla="*/ 17864 h 43258"/>
                  <a:gd name="connsiteX8" fmla="*/ 39405 w 39405"/>
                  <a:gd name="connsiteY8" fmla="*/ 17864 h 43258"/>
                  <a:gd name="connsiteX9" fmla="*/ 39405 w 39405"/>
                  <a:gd name="connsiteY9" fmla="*/ 25220 h 43258"/>
                  <a:gd name="connsiteX10" fmla="*/ 23066 w 39405"/>
                  <a:gd name="connsiteY10" fmla="*/ 25220 h 43258"/>
                  <a:gd name="connsiteX11" fmla="*/ 23066 w 39405"/>
                  <a:gd name="connsiteY11" fmla="*/ 43259 h 43258"/>
                  <a:gd name="connsiteX12" fmla="*/ 16179 w 39405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5" h="43258">
                    <a:moveTo>
                      <a:pt x="16179" y="43259"/>
                    </a:moveTo>
                    <a:lnTo>
                      <a:pt x="16179" y="25220"/>
                    </a:lnTo>
                    <a:lnTo>
                      <a:pt x="0" y="25220"/>
                    </a:lnTo>
                    <a:lnTo>
                      <a:pt x="0" y="17864"/>
                    </a:lnTo>
                    <a:lnTo>
                      <a:pt x="16179" y="17864"/>
                    </a:lnTo>
                    <a:lnTo>
                      <a:pt x="16179" y="0"/>
                    </a:lnTo>
                    <a:lnTo>
                      <a:pt x="23066" y="0"/>
                    </a:lnTo>
                    <a:lnTo>
                      <a:pt x="23066" y="17864"/>
                    </a:lnTo>
                    <a:lnTo>
                      <a:pt x="39405" y="17864"/>
                    </a:lnTo>
                    <a:lnTo>
                      <a:pt x="39405" y="25220"/>
                    </a:lnTo>
                    <a:lnTo>
                      <a:pt x="23066" y="25220"/>
                    </a:lnTo>
                    <a:lnTo>
                      <a:pt x="23066" y="43259"/>
                    </a:lnTo>
                    <a:lnTo>
                      <a:pt x="16179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95" name="Freihandform: Form 294">
                <a:extLst>
                  <a:ext uri="{FF2B5EF4-FFF2-40B4-BE49-F238E27FC236}">
                    <a16:creationId xmlns:a16="http://schemas.microsoft.com/office/drawing/2014/main" id="{CEDDD39E-DCBD-60D0-8B8E-5674618B4A76}"/>
                  </a:ext>
                </a:extLst>
              </p:cNvPr>
              <p:cNvSpPr/>
              <p:nvPr/>
            </p:nvSpPr>
            <p:spPr>
              <a:xfrm>
                <a:off x="5730441" y="2001713"/>
                <a:ext cx="39404" cy="43258"/>
              </a:xfrm>
              <a:custGeom>
                <a:avLst/>
                <a:gdLst>
                  <a:gd name="connsiteX0" fmla="*/ 16178 w 39404"/>
                  <a:gd name="connsiteY0" fmla="*/ 43259 h 43258"/>
                  <a:gd name="connsiteX1" fmla="*/ 16178 w 39404"/>
                  <a:gd name="connsiteY1" fmla="*/ 25220 h 43258"/>
                  <a:gd name="connsiteX2" fmla="*/ 0 w 39404"/>
                  <a:gd name="connsiteY2" fmla="*/ 25220 h 43258"/>
                  <a:gd name="connsiteX3" fmla="*/ 0 w 39404"/>
                  <a:gd name="connsiteY3" fmla="*/ 17864 h 43258"/>
                  <a:gd name="connsiteX4" fmla="*/ 16178 w 39404"/>
                  <a:gd name="connsiteY4" fmla="*/ 17864 h 43258"/>
                  <a:gd name="connsiteX5" fmla="*/ 16178 w 39404"/>
                  <a:gd name="connsiteY5" fmla="*/ 0 h 43258"/>
                  <a:gd name="connsiteX6" fmla="*/ 23066 w 39404"/>
                  <a:gd name="connsiteY6" fmla="*/ 0 h 43258"/>
                  <a:gd name="connsiteX7" fmla="*/ 23066 w 39404"/>
                  <a:gd name="connsiteY7" fmla="*/ 17864 h 43258"/>
                  <a:gd name="connsiteX8" fmla="*/ 39405 w 39404"/>
                  <a:gd name="connsiteY8" fmla="*/ 17864 h 43258"/>
                  <a:gd name="connsiteX9" fmla="*/ 39405 w 39404"/>
                  <a:gd name="connsiteY9" fmla="*/ 25220 h 43258"/>
                  <a:gd name="connsiteX10" fmla="*/ 23066 w 39404"/>
                  <a:gd name="connsiteY10" fmla="*/ 25220 h 43258"/>
                  <a:gd name="connsiteX11" fmla="*/ 23066 w 39404"/>
                  <a:gd name="connsiteY11" fmla="*/ 43259 h 43258"/>
                  <a:gd name="connsiteX12" fmla="*/ 16178 w 39404"/>
                  <a:gd name="connsiteY12" fmla="*/ 43259 h 4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258">
                    <a:moveTo>
                      <a:pt x="16178" y="43259"/>
                    </a:moveTo>
                    <a:lnTo>
                      <a:pt x="16178" y="25220"/>
                    </a:lnTo>
                    <a:lnTo>
                      <a:pt x="0" y="25220"/>
                    </a:lnTo>
                    <a:lnTo>
                      <a:pt x="0" y="17864"/>
                    </a:lnTo>
                    <a:lnTo>
                      <a:pt x="16178" y="17864"/>
                    </a:lnTo>
                    <a:lnTo>
                      <a:pt x="16178" y="0"/>
                    </a:lnTo>
                    <a:lnTo>
                      <a:pt x="23066" y="0"/>
                    </a:lnTo>
                    <a:lnTo>
                      <a:pt x="23066" y="17864"/>
                    </a:lnTo>
                    <a:lnTo>
                      <a:pt x="39405" y="17864"/>
                    </a:lnTo>
                    <a:lnTo>
                      <a:pt x="39405" y="25220"/>
                    </a:lnTo>
                    <a:lnTo>
                      <a:pt x="23066" y="25220"/>
                    </a:lnTo>
                    <a:lnTo>
                      <a:pt x="23066" y="43259"/>
                    </a:lnTo>
                    <a:lnTo>
                      <a:pt x="16178" y="4325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96" name="Freihandform: Form 295">
                <a:extLst>
                  <a:ext uri="{FF2B5EF4-FFF2-40B4-BE49-F238E27FC236}">
                    <a16:creationId xmlns:a16="http://schemas.microsoft.com/office/drawing/2014/main" id="{7C3C723C-CEB1-A69B-3F2C-76363D3CB031}"/>
                  </a:ext>
                </a:extLst>
              </p:cNvPr>
              <p:cNvSpPr/>
              <p:nvPr/>
            </p:nvSpPr>
            <p:spPr>
              <a:xfrm>
                <a:off x="5843690" y="2035689"/>
                <a:ext cx="39405" cy="43083"/>
              </a:xfrm>
              <a:custGeom>
                <a:avLst/>
                <a:gdLst>
                  <a:gd name="connsiteX0" fmla="*/ 16179 w 39405"/>
                  <a:gd name="connsiteY0" fmla="*/ 43084 h 43083"/>
                  <a:gd name="connsiteX1" fmla="*/ 16179 w 39405"/>
                  <a:gd name="connsiteY1" fmla="*/ 25220 h 43083"/>
                  <a:gd name="connsiteX2" fmla="*/ 0 w 39405"/>
                  <a:gd name="connsiteY2" fmla="*/ 25220 h 43083"/>
                  <a:gd name="connsiteX3" fmla="*/ 0 w 39405"/>
                  <a:gd name="connsiteY3" fmla="*/ 17689 h 43083"/>
                  <a:gd name="connsiteX4" fmla="*/ 16179 w 39405"/>
                  <a:gd name="connsiteY4" fmla="*/ 17689 h 43083"/>
                  <a:gd name="connsiteX5" fmla="*/ 16179 w 39405"/>
                  <a:gd name="connsiteY5" fmla="*/ 0 h 43083"/>
                  <a:gd name="connsiteX6" fmla="*/ 23066 w 39405"/>
                  <a:gd name="connsiteY6" fmla="*/ 0 h 43083"/>
                  <a:gd name="connsiteX7" fmla="*/ 23066 w 39405"/>
                  <a:gd name="connsiteY7" fmla="*/ 17689 h 43083"/>
                  <a:gd name="connsiteX8" fmla="*/ 39405 w 39405"/>
                  <a:gd name="connsiteY8" fmla="*/ 17689 h 43083"/>
                  <a:gd name="connsiteX9" fmla="*/ 39405 w 39405"/>
                  <a:gd name="connsiteY9" fmla="*/ 25220 h 43083"/>
                  <a:gd name="connsiteX10" fmla="*/ 23066 w 39405"/>
                  <a:gd name="connsiteY10" fmla="*/ 25220 h 43083"/>
                  <a:gd name="connsiteX11" fmla="*/ 23066 w 39405"/>
                  <a:gd name="connsiteY11" fmla="*/ 43084 h 43083"/>
                  <a:gd name="connsiteX12" fmla="*/ 16179 w 3940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5" h="43083">
                    <a:moveTo>
                      <a:pt x="16179" y="43084"/>
                    </a:moveTo>
                    <a:lnTo>
                      <a:pt x="1617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9" y="17689"/>
                    </a:lnTo>
                    <a:lnTo>
                      <a:pt x="16179" y="0"/>
                    </a:lnTo>
                    <a:lnTo>
                      <a:pt x="23066" y="0"/>
                    </a:lnTo>
                    <a:lnTo>
                      <a:pt x="23066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066" y="25220"/>
                    </a:lnTo>
                    <a:lnTo>
                      <a:pt x="23066" y="43084"/>
                    </a:lnTo>
                    <a:lnTo>
                      <a:pt x="1617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97" name="Freihandform: Form 296">
                <a:extLst>
                  <a:ext uri="{FF2B5EF4-FFF2-40B4-BE49-F238E27FC236}">
                    <a16:creationId xmlns:a16="http://schemas.microsoft.com/office/drawing/2014/main" id="{6110D941-37D8-B996-8F19-B6E02860889B}"/>
                  </a:ext>
                </a:extLst>
              </p:cNvPr>
              <p:cNvSpPr/>
              <p:nvPr/>
            </p:nvSpPr>
            <p:spPr>
              <a:xfrm>
                <a:off x="5924102" y="2035689"/>
                <a:ext cx="39405" cy="43083"/>
              </a:xfrm>
              <a:custGeom>
                <a:avLst/>
                <a:gdLst>
                  <a:gd name="connsiteX0" fmla="*/ 16178 w 39405"/>
                  <a:gd name="connsiteY0" fmla="*/ 43084 h 43083"/>
                  <a:gd name="connsiteX1" fmla="*/ 16178 w 39405"/>
                  <a:gd name="connsiteY1" fmla="*/ 25220 h 43083"/>
                  <a:gd name="connsiteX2" fmla="*/ 0 w 39405"/>
                  <a:gd name="connsiteY2" fmla="*/ 25220 h 43083"/>
                  <a:gd name="connsiteX3" fmla="*/ 0 w 39405"/>
                  <a:gd name="connsiteY3" fmla="*/ 17689 h 43083"/>
                  <a:gd name="connsiteX4" fmla="*/ 16178 w 39405"/>
                  <a:gd name="connsiteY4" fmla="*/ 17689 h 43083"/>
                  <a:gd name="connsiteX5" fmla="*/ 16178 w 39405"/>
                  <a:gd name="connsiteY5" fmla="*/ 0 h 43083"/>
                  <a:gd name="connsiteX6" fmla="*/ 23066 w 39405"/>
                  <a:gd name="connsiteY6" fmla="*/ 0 h 43083"/>
                  <a:gd name="connsiteX7" fmla="*/ 23066 w 39405"/>
                  <a:gd name="connsiteY7" fmla="*/ 17689 h 43083"/>
                  <a:gd name="connsiteX8" fmla="*/ 39405 w 39405"/>
                  <a:gd name="connsiteY8" fmla="*/ 17689 h 43083"/>
                  <a:gd name="connsiteX9" fmla="*/ 39405 w 39405"/>
                  <a:gd name="connsiteY9" fmla="*/ 25220 h 43083"/>
                  <a:gd name="connsiteX10" fmla="*/ 23066 w 39405"/>
                  <a:gd name="connsiteY10" fmla="*/ 25220 h 43083"/>
                  <a:gd name="connsiteX11" fmla="*/ 23066 w 39405"/>
                  <a:gd name="connsiteY11" fmla="*/ 43084 h 43083"/>
                  <a:gd name="connsiteX12" fmla="*/ 16178 w 3940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5" h="43083">
                    <a:moveTo>
                      <a:pt x="16178" y="43084"/>
                    </a:moveTo>
                    <a:lnTo>
                      <a:pt x="16178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8" y="17689"/>
                    </a:lnTo>
                    <a:lnTo>
                      <a:pt x="16178" y="0"/>
                    </a:lnTo>
                    <a:lnTo>
                      <a:pt x="23066" y="0"/>
                    </a:lnTo>
                    <a:lnTo>
                      <a:pt x="23066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066" y="25220"/>
                    </a:lnTo>
                    <a:lnTo>
                      <a:pt x="23066" y="43084"/>
                    </a:lnTo>
                    <a:lnTo>
                      <a:pt x="16178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98" name="Freihandform: Form 297">
                <a:extLst>
                  <a:ext uri="{FF2B5EF4-FFF2-40B4-BE49-F238E27FC236}">
                    <a16:creationId xmlns:a16="http://schemas.microsoft.com/office/drawing/2014/main" id="{BB91FAE7-9FC5-B118-5F69-F1C65365006A}"/>
                  </a:ext>
                </a:extLst>
              </p:cNvPr>
              <p:cNvSpPr/>
              <p:nvPr/>
            </p:nvSpPr>
            <p:spPr>
              <a:xfrm>
                <a:off x="5953736" y="2035689"/>
                <a:ext cx="39565" cy="43083"/>
              </a:xfrm>
              <a:custGeom>
                <a:avLst/>
                <a:gdLst>
                  <a:gd name="connsiteX0" fmla="*/ 16339 w 39565"/>
                  <a:gd name="connsiteY0" fmla="*/ 43084 h 43083"/>
                  <a:gd name="connsiteX1" fmla="*/ 16339 w 39565"/>
                  <a:gd name="connsiteY1" fmla="*/ 25220 h 43083"/>
                  <a:gd name="connsiteX2" fmla="*/ 0 w 39565"/>
                  <a:gd name="connsiteY2" fmla="*/ 25220 h 43083"/>
                  <a:gd name="connsiteX3" fmla="*/ 0 w 39565"/>
                  <a:gd name="connsiteY3" fmla="*/ 17689 h 43083"/>
                  <a:gd name="connsiteX4" fmla="*/ 16339 w 39565"/>
                  <a:gd name="connsiteY4" fmla="*/ 17689 h 43083"/>
                  <a:gd name="connsiteX5" fmla="*/ 16339 w 39565"/>
                  <a:gd name="connsiteY5" fmla="*/ 0 h 43083"/>
                  <a:gd name="connsiteX6" fmla="*/ 23227 w 39565"/>
                  <a:gd name="connsiteY6" fmla="*/ 0 h 43083"/>
                  <a:gd name="connsiteX7" fmla="*/ 23227 w 39565"/>
                  <a:gd name="connsiteY7" fmla="*/ 17689 h 43083"/>
                  <a:gd name="connsiteX8" fmla="*/ 39565 w 39565"/>
                  <a:gd name="connsiteY8" fmla="*/ 17689 h 43083"/>
                  <a:gd name="connsiteX9" fmla="*/ 39565 w 39565"/>
                  <a:gd name="connsiteY9" fmla="*/ 25220 h 43083"/>
                  <a:gd name="connsiteX10" fmla="*/ 23227 w 39565"/>
                  <a:gd name="connsiteY10" fmla="*/ 25220 h 43083"/>
                  <a:gd name="connsiteX11" fmla="*/ 23227 w 39565"/>
                  <a:gd name="connsiteY11" fmla="*/ 43084 h 43083"/>
                  <a:gd name="connsiteX12" fmla="*/ 16339 w 3956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565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565" y="17689"/>
                    </a:lnTo>
                    <a:lnTo>
                      <a:pt x="3956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99" name="Freihandform: Form 298">
                <a:extLst>
                  <a:ext uri="{FF2B5EF4-FFF2-40B4-BE49-F238E27FC236}">
                    <a16:creationId xmlns:a16="http://schemas.microsoft.com/office/drawing/2014/main" id="{C7413D08-D60E-DBBB-C7C6-37BBF50E2F94}"/>
                  </a:ext>
                </a:extLst>
              </p:cNvPr>
              <p:cNvSpPr/>
              <p:nvPr/>
            </p:nvSpPr>
            <p:spPr>
              <a:xfrm>
                <a:off x="5965750" y="2035689"/>
                <a:ext cx="39404" cy="43083"/>
              </a:xfrm>
              <a:custGeom>
                <a:avLst/>
                <a:gdLst>
                  <a:gd name="connsiteX0" fmla="*/ 16178 w 39404"/>
                  <a:gd name="connsiteY0" fmla="*/ 43084 h 43083"/>
                  <a:gd name="connsiteX1" fmla="*/ 16178 w 39404"/>
                  <a:gd name="connsiteY1" fmla="*/ 25220 h 43083"/>
                  <a:gd name="connsiteX2" fmla="*/ 0 w 39404"/>
                  <a:gd name="connsiteY2" fmla="*/ 25220 h 43083"/>
                  <a:gd name="connsiteX3" fmla="*/ 0 w 39404"/>
                  <a:gd name="connsiteY3" fmla="*/ 17689 h 43083"/>
                  <a:gd name="connsiteX4" fmla="*/ 16178 w 39404"/>
                  <a:gd name="connsiteY4" fmla="*/ 17689 h 43083"/>
                  <a:gd name="connsiteX5" fmla="*/ 16178 w 39404"/>
                  <a:gd name="connsiteY5" fmla="*/ 0 h 43083"/>
                  <a:gd name="connsiteX6" fmla="*/ 23227 w 39404"/>
                  <a:gd name="connsiteY6" fmla="*/ 0 h 43083"/>
                  <a:gd name="connsiteX7" fmla="*/ 23227 w 39404"/>
                  <a:gd name="connsiteY7" fmla="*/ 17689 h 43083"/>
                  <a:gd name="connsiteX8" fmla="*/ 39405 w 39404"/>
                  <a:gd name="connsiteY8" fmla="*/ 17689 h 43083"/>
                  <a:gd name="connsiteX9" fmla="*/ 39405 w 39404"/>
                  <a:gd name="connsiteY9" fmla="*/ 25220 h 43083"/>
                  <a:gd name="connsiteX10" fmla="*/ 23227 w 39404"/>
                  <a:gd name="connsiteY10" fmla="*/ 25220 h 43083"/>
                  <a:gd name="connsiteX11" fmla="*/ 23227 w 39404"/>
                  <a:gd name="connsiteY11" fmla="*/ 43084 h 43083"/>
                  <a:gd name="connsiteX12" fmla="*/ 16178 w 39404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083">
                    <a:moveTo>
                      <a:pt x="16178" y="43084"/>
                    </a:moveTo>
                    <a:lnTo>
                      <a:pt x="16178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8" y="17689"/>
                    </a:lnTo>
                    <a:lnTo>
                      <a:pt x="16178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178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0" name="Freihandform: Form 299">
                <a:extLst>
                  <a:ext uri="{FF2B5EF4-FFF2-40B4-BE49-F238E27FC236}">
                    <a16:creationId xmlns:a16="http://schemas.microsoft.com/office/drawing/2014/main" id="{77FAFA21-3934-AADE-47A7-60E65CEFEE30}"/>
                  </a:ext>
                </a:extLst>
              </p:cNvPr>
              <p:cNvSpPr/>
              <p:nvPr/>
            </p:nvSpPr>
            <p:spPr>
              <a:xfrm>
                <a:off x="6105750" y="2035689"/>
                <a:ext cx="39405" cy="43083"/>
              </a:xfrm>
              <a:custGeom>
                <a:avLst/>
                <a:gdLst>
                  <a:gd name="connsiteX0" fmla="*/ 16179 w 39405"/>
                  <a:gd name="connsiteY0" fmla="*/ 43084 h 43083"/>
                  <a:gd name="connsiteX1" fmla="*/ 16179 w 39405"/>
                  <a:gd name="connsiteY1" fmla="*/ 25220 h 43083"/>
                  <a:gd name="connsiteX2" fmla="*/ 0 w 39405"/>
                  <a:gd name="connsiteY2" fmla="*/ 25220 h 43083"/>
                  <a:gd name="connsiteX3" fmla="*/ 0 w 39405"/>
                  <a:gd name="connsiteY3" fmla="*/ 17689 h 43083"/>
                  <a:gd name="connsiteX4" fmla="*/ 16179 w 39405"/>
                  <a:gd name="connsiteY4" fmla="*/ 17689 h 43083"/>
                  <a:gd name="connsiteX5" fmla="*/ 16179 w 39405"/>
                  <a:gd name="connsiteY5" fmla="*/ 0 h 43083"/>
                  <a:gd name="connsiteX6" fmla="*/ 23227 w 39405"/>
                  <a:gd name="connsiteY6" fmla="*/ 0 h 43083"/>
                  <a:gd name="connsiteX7" fmla="*/ 23227 w 39405"/>
                  <a:gd name="connsiteY7" fmla="*/ 17689 h 43083"/>
                  <a:gd name="connsiteX8" fmla="*/ 39405 w 39405"/>
                  <a:gd name="connsiteY8" fmla="*/ 17689 h 43083"/>
                  <a:gd name="connsiteX9" fmla="*/ 39405 w 39405"/>
                  <a:gd name="connsiteY9" fmla="*/ 25220 h 43083"/>
                  <a:gd name="connsiteX10" fmla="*/ 23227 w 39405"/>
                  <a:gd name="connsiteY10" fmla="*/ 25220 h 43083"/>
                  <a:gd name="connsiteX11" fmla="*/ 23227 w 39405"/>
                  <a:gd name="connsiteY11" fmla="*/ 43084 h 43083"/>
                  <a:gd name="connsiteX12" fmla="*/ 16179 w 3940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5" h="43083">
                    <a:moveTo>
                      <a:pt x="16179" y="43084"/>
                    </a:moveTo>
                    <a:lnTo>
                      <a:pt x="1617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9" y="17689"/>
                    </a:lnTo>
                    <a:lnTo>
                      <a:pt x="1617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17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1" name="Freihandform: Form 300">
                <a:extLst>
                  <a:ext uri="{FF2B5EF4-FFF2-40B4-BE49-F238E27FC236}">
                    <a16:creationId xmlns:a16="http://schemas.microsoft.com/office/drawing/2014/main" id="{BD22DB80-1BCE-E304-7A72-45ADAB429AFA}"/>
                  </a:ext>
                </a:extLst>
              </p:cNvPr>
              <p:cNvSpPr/>
              <p:nvPr/>
            </p:nvSpPr>
            <p:spPr>
              <a:xfrm>
                <a:off x="6111677" y="2035689"/>
                <a:ext cx="39404" cy="43083"/>
              </a:xfrm>
              <a:custGeom>
                <a:avLst/>
                <a:gdLst>
                  <a:gd name="connsiteX0" fmla="*/ 16339 w 39404"/>
                  <a:gd name="connsiteY0" fmla="*/ 43084 h 43083"/>
                  <a:gd name="connsiteX1" fmla="*/ 16339 w 39404"/>
                  <a:gd name="connsiteY1" fmla="*/ 25220 h 43083"/>
                  <a:gd name="connsiteX2" fmla="*/ 0 w 39404"/>
                  <a:gd name="connsiteY2" fmla="*/ 25220 h 43083"/>
                  <a:gd name="connsiteX3" fmla="*/ 0 w 39404"/>
                  <a:gd name="connsiteY3" fmla="*/ 17689 h 43083"/>
                  <a:gd name="connsiteX4" fmla="*/ 16339 w 39404"/>
                  <a:gd name="connsiteY4" fmla="*/ 17689 h 43083"/>
                  <a:gd name="connsiteX5" fmla="*/ 16339 w 39404"/>
                  <a:gd name="connsiteY5" fmla="*/ 0 h 43083"/>
                  <a:gd name="connsiteX6" fmla="*/ 23227 w 39404"/>
                  <a:gd name="connsiteY6" fmla="*/ 0 h 43083"/>
                  <a:gd name="connsiteX7" fmla="*/ 23227 w 39404"/>
                  <a:gd name="connsiteY7" fmla="*/ 17689 h 43083"/>
                  <a:gd name="connsiteX8" fmla="*/ 39405 w 39404"/>
                  <a:gd name="connsiteY8" fmla="*/ 17689 h 43083"/>
                  <a:gd name="connsiteX9" fmla="*/ 39405 w 39404"/>
                  <a:gd name="connsiteY9" fmla="*/ 25220 h 43083"/>
                  <a:gd name="connsiteX10" fmla="*/ 23227 w 39404"/>
                  <a:gd name="connsiteY10" fmla="*/ 25220 h 43083"/>
                  <a:gd name="connsiteX11" fmla="*/ 23227 w 39404"/>
                  <a:gd name="connsiteY11" fmla="*/ 43084 h 43083"/>
                  <a:gd name="connsiteX12" fmla="*/ 16339 w 39404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2" name="Freihandform: Form 301">
                <a:extLst>
                  <a:ext uri="{FF2B5EF4-FFF2-40B4-BE49-F238E27FC236}">
                    <a16:creationId xmlns:a16="http://schemas.microsoft.com/office/drawing/2014/main" id="{CCA77273-B310-5353-CB4F-7B34F4B4C738}"/>
                  </a:ext>
                </a:extLst>
              </p:cNvPr>
              <p:cNvSpPr/>
              <p:nvPr/>
            </p:nvSpPr>
            <p:spPr>
              <a:xfrm>
                <a:off x="6114721" y="2035689"/>
                <a:ext cx="39404" cy="43083"/>
              </a:xfrm>
              <a:custGeom>
                <a:avLst/>
                <a:gdLst>
                  <a:gd name="connsiteX0" fmla="*/ 16178 w 39404"/>
                  <a:gd name="connsiteY0" fmla="*/ 43084 h 43083"/>
                  <a:gd name="connsiteX1" fmla="*/ 16178 w 39404"/>
                  <a:gd name="connsiteY1" fmla="*/ 25220 h 43083"/>
                  <a:gd name="connsiteX2" fmla="*/ 0 w 39404"/>
                  <a:gd name="connsiteY2" fmla="*/ 25220 h 43083"/>
                  <a:gd name="connsiteX3" fmla="*/ 0 w 39404"/>
                  <a:gd name="connsiteY3" fmla="*/ 17689 h 43083"/>
                  <a:gd name="connsiteX4" fmla="*/ 16178 w 39404"/>
                  <a:gd name="connsiteY4" fmla="*/ 17689 h 43083"/>
                  <a:gd name="connsiteX5" fmla="*/ 16178 w 39404"/>
                  <a:gd name="connsiteY5" fmla="*/ 0 h 43083"/>
                  <a:gd name="connsiteX6" fmla="*/ 23066 w 39404"/>
                  <a:gd name="connsiteY6" fmla="*/ 0 h 43083"/>
                  <a:gd name="connsiteX7" fmla="*/ 23066 w 39404"/>
                  <a:gd name="connsiteY7" fmla="*/ 17689 h 43083"/>
                  <a:gd name="connsiteX8" fmla="*/ 39405 w 39404"/>
                  <a:gd name="connsiteY8" fmla="*/ 17689 h 43083"/>
                  <a:gd name="connsiteX9" fmla="*/ 39405 w 39404"/>
                  <a:gd name="connsiteY9" fmla="*/ 25220 h 43083"/>
                  <a:gd name="connsiteX10" fmla="*/ 23066 w 39404"/>
                  <a:gd name="connsiteY10" fmla="*/ 25220 h 43083"/>
                  <a:gd name="connsiteX11" fmla="*/ 23066 w 39404"/>
                  <a:gd name="connsiteY11" fmla="*/ 43084 h 43083"/>
                  <a:gd name="connsiteX12" fmla="*/ 16178 w 39404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083">
                    <a:moveTo>
                      <a:pt x="16178" y="43084"/>
                    </a:moveTo>
                    <a:lnTo>
                      <a:pt x="16178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8" y="17689"/>
                    </a:lnTo>
                    <a:lnTo>
                      <a:pt x="16178" y="0"/>
                    </a:lnTo>
                    <a:lnTo>
                      <a:pt x="23066" y="0"/>
                    </a:lnTo>
                    <a:lnTo>
                      <a:pt x="23066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066" y="25220"/>
                    </a:lnTo>
                    <a:lnTo>
                      <a:pt x="23066" y="43084"/>
                    </a:lnTo>
                    <a:lnTo>
                      <a:pt x="16178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3" name="Freihandform: Form 302">
                <a:extLst>
                  <a:ext uri="{FF2B5EF4-FFF2-40B4-BE49-F238E27FC236}">
                    <a16:creationId xmlns:a16="http://schemas.microsoft.com/office/drawing/2014/main" id="{F37192A5-8F87-6045-C718-E0B993FFBAD4}"/>
                  </a:ext>
                </a:extLst>
              </p:cNvPr>
              <p:cNvSpPr/>
              <p:nvPr/>
            </p:nvSpPr>
            <p:spPr>
              <a:xfrm>
                <a:off x="6132501" y="2035689"/>
                <a:ext cx="39565" cy="43083"/>
              </a:xfrm>
              <a:custGeom>
                <a:avLst/>
                <a:gdLst>
                  <a:gd name="connsiteX0" fmla="*/ 16339 w 39565"/>
                  <a:gd name="connsiteY0" fmla="*/ 43084 h 43083"/>
                  <a:gd name="connsiteX1" fmla="*/ 16339 w 39565"/>
                  <a:gd name="connsiteY1" fmla="*/ 25220 h 43083"/>
                  <a:gd name="connsiteX2" fmla="*/ 0 w 39565"/>
                  <a:gd name="connsiteY2" fmla="*/ 25220 h 43083"/>
                  <a:gd name="connsiteX3" fmla="*/ 0 w 39565"/>
                  <a:gd name="connsiteY3" fmla="*/ 17689 h 43083"/>
                  <a:gd name="connsiteX4" fmla="*/ 16339 w 39565"/>
                  <a:gd name="connsiteY4" fmla="*/ 17689 h 43083"/>
                  <a:gd name="connsiteX5" fmla="*/ 16339 w 39565"/>
                  <a:gd name="connsiteY5" fmla="*/ 0 h 43083"/>
                  <a:gd name="connsiteX6" fmla="*/ 23227 w 39565"/>
                  <a:gd name="connsiteY6" fmla="*/ 0 h 43083"/>
                  <a:gd name="connsiteX7" fmla="*/ 23227 w 39565"/>
                  <a:gd name="connsiteY7" fmla="*/ 17689 h 43083"/>
                  <a:gd name="connsiteX8" fmla="*/ 39565 w 39565"/>
                  <a:gd name="connsiteY8" fmla="*/ 17689 h 43083"/>
                  <a:gd name="connsiteX9" fmla="*/ 39565 w 39565"/>
                  <a:gd name="connsiteY9" fmla="*/ 25220 h 43083"/>
                  <a:gd name="connsiteX10" fmla="*/ 23227 w 39565"/>
                  <a:gd name="connsiteY10" fmla="*/ 25220 h 43083"/>
                  <a:gd name="connsiteX11" fmla="*/ 23227 w 39565"/>
                  <a:gd name="connsiteY11" fmla="*/ 43084 h 43083"/>
                  <a:gd name="connsiteX12" fmla="*/ 16339 w 3956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565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565" y="17689"/>
                    </a:lnTo>
                    <a:lnTo>
                      <a:pt x="3956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4" name="Freihandform: Form 303">
                <a:extLst>
                  <a:ext uri="{FF2B5EF4-FFF2-40B4-BE49-F238E27FC236}">
                    <a16:creationId xmlns:a16="http://schemas.microsoft.com/office/drawing/2014/main" id="{7E3CFABA-5C82-4376-99FF-A23170DE616E}"/>
                  </a:ext>
                </a:extLst>
              </p:cNvPr>
              <p:cNvSpPr/>
              <p:nvPr/>
            </p:nvSpPr>
            <p:spPr>
              <a:xfrm>
                <a:off x="6150441" y="2035689"/>
                <a:ext cx="39404" cy="43083"/>
              </a:xfrm>
              <a:custGeom>
                <a:avLst/>
                <a:gdLst>
                  <a:gd name="connsiteX0" fmla="*/ 16178 w 39404"/>
                  <a:gd name="connsiteY0" fmla="*/ 43084 h 43083"/>
                  <a:gd name="connsiteX1" fmla="*/ 16178 w 39404"/>
                  <a:gd name="connsiteY1" fmla="*/ 25220 h 43083"/>
                  <a:gd name="connsiteX2" fmla="*/ 0 w 39404"/>
                  <a:gd name="connsiteY2" fmla="*/ 25220 h 43083"/>
                  <a:gd name="connsiteX3" fmla="*/ 0 w 39404"/>
                  <a:gd name="connsiteY3" fmla="*/ 17689 h 43083"/>
                  <a:gd name="connsiteX4" fmla="*/ 16178 w 39404"/>
                  <a:gd name="connsiteY4" fmla="*/ 17689 h 43083"/>
                  <a:gd name="connsiteX5" fmla="*/ 16178 w 39404"/>
                  <a:gd name="connsiteY5" fmla="*/ 0 h 43083"/>
                  <a:gd name="connsiteX6" fmla="*/ 23227 w 39404"/>
                  <a:gd name="connsiteY6" fmla="*/ 0 h 43083"/>
                  <a:gd name="connsiteX7" fmla="*/ 23227 w 39404"/>
                  <a:gd name="connsiteY7" fmla="*/ 17689 h 43083"/>
                  <a:gd name="connsiteX8" fmla="*/ 39405 w 39404"/>
                  <a:gd name="connsiteY8" fmla="*/ 17689 h 43083"/>
                  <a:gd name="connsiteX9" fmla="*/ 39405 w 39404"/>
                  <a:gd name="connsiteY9" fmla="*/ 25220 h 43083"/>
                  <a:gd name="connsiteX10" fmla="*/ 23227 w 39404"/>
                  <a:gd name="connsiteY10" fmla="*/ 25220 h 43083"/>
                  <a:gd name="connsiteX11" fmla="*/ 23227 w 39404"/>
                  <a:gd name="connsiteY11" fmla="*/ 43084 h 43083"/>
                  <a:gd name="connsiteX12" fmla="*/ 16178 w 39404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083">
                    <a:moveTo>
                      <a:pt x="16178" y="43084"/>
                    </a:moveTo>
                    <a:lnTo>
                      <a:pt x="16178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8" y="17689"/>
                    </a:lnTo>
                    <a:lnTo>
                      <a:pt x="16178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178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5" name="Freihandform: Form 304">
                <a:extLst>
                  <a:ext uri="{FF2B5EF4-FFF2-40B4-BE49-F238E27FC236}">
                    <a16:creationId xmlns:a16="http://schemas.microsoft.com/office/drawing/2014/main" id="{FA319A43-CC21-FD04-D49F-49A9F1019859}"/>
                  </a:ext>
                </a:extLst>
              </p:cNvPr>
              <p:cNvSpPr/>
              <p:nvPr/>
            </p:nvSpPr>
            <p:spPr>
              <a:xfrm>
                <a:off x="6162295" y="2035689"/>
                <a:ext cx="39565" cy="43083"/>
              </a:xfrm>
              <a:custGeom>
                <a:avLst/>
                <a:gdLst>
                  <a:gd name="connsiteX0" fmla="*/ 16339 w 39565"/>
                  <a:gd name="connsiteY0" fmla="*/ 43084 h 43083"/>
                  <a:gd name="connsiteX1" fmla="*/ 16339 w 39565"/>
                  <a:gd name="connsiteY1" fmla="*/ 25220 h 43083"/>
                  <a:gd name="connsiteX2" fmla="*/ 0 w 39565"/>
                  <a:gd name="connsiteY2" fmla="*/ 25220 h 43083"/>
                  <a:gd name="connsiteX3" fmla="*/ 0 w 39565"/>
                  <a:gd name="connsiteY3" fmla="*/ 17689 h 43083"/>
                  <a:gd name="connsiteX4" fmla="*/ 16339 w 39565"/>
                  <a:gd name="connsiteY4" fmla="*/ 17689 h 43083"/>
                  <a:gd name="connsiteX5" fmla="*/ 16339 w 39565"/>
                  <a:gd name="connsiteY5" fmla="*/ 0 h 43083"/>
                  <a:gd name="connsiteX6" fmla="*/ 23227 w 39565"/>
                  <a:gd name="connsiteY6" fmla="*/ 0 h 43083"/>
                  <a:gd name="connsiteX7" fmla="*/ 23227 w 39565"/>
                  <a:gd name="connsiteY7" fmla="*/ 17689 h 43083"/>
                  <a:gd name="connsiteX8" fmla="*/ 39565 w 39565"/>
                  <a:gd name="connsiteY8" fmla="*/ 17689 h 43083"/>
                  <a:gd name="connsiteX9" fmla="*/ 39565 w 39565"/>
                  <a:gd name="connsiteY9" fmla="*/ 25220 h 43083"/>
                  <a:gd name="connsiteX10" fmla="*/ 23227 w 39565"/>
                  <a:gd name="connsiteY10" fmla="*/ 25220 h 43083"/>
                  <a:gd name="connsiteX11" fmla="*/ 23227 w 39565"/>
                  <a:gd name="connsiteY11" fmla="*/ 43084 h 43083"/>
                  <a:gd name="connsiteX12" fmla="*/ 16339 w 3956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565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565" y="17689"/>
                    </a:lnTo>
                    <a:lnTo>
                      <a:pt x="3956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6" name="Freihandform: Form 305">
                <a:extLst>
                  <a:ext uri="{FF2B5EF4-FFF2-40B4-BE49-F238E27FC236}">
                    <a16:creationId xmlns:a16="http://schemas.microsoft.com/office/drawing/2014/main" id="{89475F5F-7D31-56F9-EF58-67BB90F2424D}"/>
                  </a:ext>
                </a:extLst>
              </p:cNvPr>
              <p:cNvSpPr/>
              <p:nvPr/>
            </p:nvSpPr>
            <p:spPr>
              <a:xfrm>
                <a:off x="6180235" y="2035689"/>
                <a:ext cx="39404" cy="43083"/>
              </a:xfrm>
              <a:custGeom>
                <a:avLst/>
                <a:gdLst>
                  <a:gd name="connsiteX0" fmla="*/ 16178 w 39404"/>
                  <a:gd name="connsiteY0" fmla="*/ 43084 h 43083"/>
                  <a:gd name="connsiteX1" fmla="*/ 16178 w 39404"/>
                  <a:gd name="connsiteY1" fmla="*/ 25220 h 43083"/>
                  <a:gd name="connsiteX2" fmla="*/ 0 w 39404"/>
                  <a:gd name="connsiteY2" fmla="*/ 25220 h 43083"/>
                  <a:gd name="connsiteX3" fmla="*/ 0 w 39404"/>
                  <a:gd name="connsiteY3" fmla="*/ 17689 h 43083"/>
                  <a:gd name="connsiteX4" fmla="*/ 16178 w 39404"/>
                  <a:gd name="connsiteY4" fmla="*/ 17689 h 43083"/>
                  <a:gd name="connsiteX5" fmla="*/ 16178 w 39404"/>
                  <a:gd name="connsiteY5" fmla="*/ 0 h 43083"/>
                  <a:gd name="connsiteX6" fmla="*/ 23066 w 39404"/>
                  <a:gd name="connsiteY6" fmla="*/ 0 h 43083"/>
                  <a:gd name="connsiteX7" fmla="*/ 23066 w 39404"/>
                  <a:gd name="connsiteY7" fmla="*/ 17689 h 43083"/>
                  <a:gd name="connsiteX8" fmla="*/ 39405 w 39404"/>
                  <a:gd name="connsiteY8" fmla="*/ 17689 h 43083"/>
                  <a:gd name="connsiteX9" fmla="*/ 39405 w 39404"/>
                  <a:gd name="connsiteY9" fmla="*/ 25220 h 43083"/>
                  <a:gd name="connsiteX10" fmla="*/ 23066 w 39404"/>
                  <a:gd name="connsiteY10" fmla="*/ 25220 h 43083"/>
                  <a:gd name="connsiteX11" fmla="*/ 23066 w 39404"/>
                  <a:gd name="connsiteY11" fmla="*/ 43084 h 43083"/>
                  <a:gd name="connsiteX12" fmla="*/ 16178 w 39404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083">
                    <a:moveTo>
                      <a:pt x="16178" y="43084"/>
                    </a:moveTo>
                    <a:lnTo>
                      <a:pt x="16178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8" y="17689"/>
                    </a:lnTo>
                    <a:lnTo>
                      <a:pt x="16178" y="0"/>
                    </a:lnTo>
                    <a:lnTo>
                      <a:pt x="23066" y="0"/>
                    </a:lnTo>
                    <a:lnTo>
                      <a:pt x="23066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066" y="25220"/>
                    </a:lnTo>
                    <a:lnTo>
                      <a:pt x="23066" y="43084"/>
                    </a:lnTo>
                    <a:lnTo>
                      <a:pt x="16178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7" name="Freihandform: Form 306">
                <a:extLst>
                  <a:ext uri="{FF2B5EF4-FFF2-40B4-BE49-F238E27FC236}">
                    <a16:creationId xmlns:a16="http://schemas.microsoft.com/office/drawing/2014/main" id="{47B12B70-300A-0397-D4F3-A3CEA30B03A9}"/>
                  </a:ext>
                </a:extLst>
              </p:cNvPr>
              <p:cNvSpPr/>
              <p:nvPr/>
            </p:nvSpPr>
            <p:spPr>
              <a:xfrm>
                <a:off x="6201059" y="2035689"/>
                <a:ext cx="39404" cy="43083"/>
              </a:xfrm>
              <a:custGeom>
                <a:avLst/>
                <a:gdLst>
                  <a:gd name="connsiteX0" fmla="*/ 16178 w 39404"/>
                  <a:gd name="connsiteY0" fmla="*/ 43084 h 43083"/>
                  <a:gd name="connsiteX1" fmla="*/ 16178 w 39404"/>
                  <a:gd name="connsiteY1" fmla="*/ 25220 h 43083"/>
                  <a:gd name="connsiteX2" fmla="*/ 0 w 39404"/>
                  <a:gd name="connsiteY2" fmla="*/ 25220 h 43083"/>
                  <a:gd name="connsiteX3" fmla="*/ 0 w 39404"/>
                  <a:gd name="connsiteY3" fmla="*/ 17689 h 43083"/>
                  <a:gd name="connsiteX4" fmla="*/ 16178 w 39404"/>
                  <a:gd name="connsiteY4" fmla="*/ 17689 h 43083"/>
                  <a:gd name="connsiteX5" fmla="*/ 16178 w 39404"/>
                  <a:gd name="connsiteY5" fmla="*/ 0 h 43083"/>
                  <a:gd name="connsiteX6" fmla="*/ 23227 w 39404"/>
                  <a:gd name="connsiteY6" fmla="*/ 0 h 43083"/>
                  <a:gd name="connsiteX7" fmla="*/ 23227 w 39404"/>
                  <a:gd name="connsiteY7" fmla="*/ 17689 h 43083"/>
                  <a:gd name="connsiteX8" fmla="*/ 39405 w 39404"/>
                  <a:gd name="connsiteY8" fmla="*/ 17689 h 43083"/>
                  <a:gd name="connsiteX9" fmla="*/ 39405 w 39404"/>
                  <a:gd name="connsiteY9" fmla="*/ 25220 h 43083"/>
                  <a:gd name="connsiteX10" fmla="*/ 23227 w 39404"/>
                  <a:gd name="connsiteY10" fmla="*/ 25220 h 43083"/>
                  <a:gd name="connsiteX11" fmla="*/ 23227 w 39404"/>
                  <a:gd name="connsiteY11" fmla="*/ 43084 h 43083"/>
                  <a:gd name="connsiteX12" fmla="*/ 16178 w 39404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083">
                    <a:moveTo>
                      <a:pt x="16178" y="43084"/>
                    </a:moveTo>
                    <a:lnTo>
                      <a:pt x="16178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8" y="17689"/>
                    </a:lnTo>
                    <a:lnTo>
                      <a:pt x="16178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178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8" name="Freihandform: Form 307">
                <a:extLst>
                  <a:ext uri="{FF2B5EF4-FFF2-40B4-BE49-F238E27FC236}">
                    <a16:creationId xmlns:a16="http://schemas.microsoft.com/office/drawing/2014/main" id="{5A4B7327-9970-B970-DC29-B5965FA712AC}"/>
                  </a:ext>
                </a:extLst>
              </p:cNvPr>
              <p:cNvSpPr/>
              <p:nvPr/>
            </p:nvSpPr>
            <p:spPr>
              <a:xfrm>
                <a:off x="6204103" y="2035689"/>
                <a:ext cx="39405" cy="43083"/>
              </a:xfrm>
              <a:custGeom>
                <a:avLst/>
                <a:gdLst>
                  <a:gd name="connsiteX0" fmla="*/ 16179 w 39405"/>
                  <a:gd name="connsiteY0" fmla="*/ 43084 h 43083"/>
                  <a:gd name="connsiteX1" fmla="*/ 16179 w 39405"/>
                  <a:gd name="connsiteY1" fmla="*/ 25220 h 43083"/>
                  <a:gd name="connsiteX2" fmla="*/ 0 w 39405"/>
                  <a:gd name="connsiteY2" fmla="*/ 25220 h 43083"/>
                  <a:gd name="connsiteX3" fmla="*/ 0 w 39405"/>
                  <a:gd name="connsiteY3" fmla="*/ 17689 h 43083"/>
                  <a:gd name="connsiteX4" fmla="*/ 16179 w 39405"/>
                  <a:gd name="connsiteY4" fmla="*/ 17689 h 43083"/>
                  <a:gd name="connsiteX5" fmla="*/ 16179 w 39405"/>
                  <a:gd name="connsiteY5" fmla="*/ 0 h 43083"/>
                  <a:gd name="connsiteX6" fmla="*/ 23066 w 39405"/>
                  <a:gd name="connsiteY6" fmla="*/ 0 h 43083"/>
                  <a:gd name="connsiteX7" fmla="*/ 23066 w 39405"/>
                  <a:gd name="connsiteY7" fmla="*/ 17689 h 43083"/>
                  <a:gd name="connsiteX8" fmla="*/ 39405 w 39405"/>
                  <a:gd name="connsiteY8" fmla="*/ 17689 h 43083"/>
                  <a:gd name="connsiteX9" fmla="*/ 39405 w 39405"/>
                  <a:gd name="connsiteY9" fmla="*/ 25220 h 43083"/>
                  <a:gd name="connsiteX10" fmla="*/ 23066 w 39405"/>
                  <a:gd name="connsiteY10" fmla="*/ 25220 h 43083"/>
                  <a:gd name="connsiteX11" fmla="*/ 23066 w 39405"/>
                  <a:gd name="connsiteY11" fmla="*/ 43084 h 43083"/>
                  <a:gd name="connsiteX12" fmla="*/ 16179 w 3940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5" h="43083">
                    <a:moveTo>
                      <a:pt x="16179" y="43084"/>
                    </a:moveTo>
                    <a:lnTo>
                      <a:pt x="1617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9" y="17689"/>
                    </a:lnTo>
                    <a:lnTo>
                      <a:pt x="16179" y="0"/>
                    </a:lnTo>
                    <a:lnTo>
                      <a:pt x="23066" y="0"/>
                    </a:lnTo>
                    <a:lnTo>
                      <a:pt x="23066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066" y="25220"/>
                    </a:lnTo>
                    <a:lnTo>
                      <a:pt x="23066" y="43084"/>
                    </a:lnTo>
                    <a:lnTo>
                      <a:pt x="1617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9" name="Freihandform: Form 308">
                <a:extLst>
                  <a:ext uri="{FF2B5EF4-FFF2-40B4-BE49-F238E27FC236}">
                    <a16:creationId xmlns:a16="http://schemas.microsoft.com/office/drawing/2014/main" id="{25E99EFC-0441-297E-A406-5348E913DA36}"/>
                  </a:ext>
                </a:extLst>
              </p:cNvPr>
              <p:cNvSpPr/>
              <p:nvPr/>
            </p:nvSpPr>
            <p:spPr>
              <a:xfrm>
                <a:off x="6227810" y="2035689"/>
                <a:ext cx="39565" cy="43083"/>
              </a:xfrm>
              <a:custGeom>
                <a:avLst/>
                <a:gdLst>
                  <a:gd name="connsiteX0" fmla="*/ 16339 w 39565"/>
                  <a:gd name="connsiteY0" fmla="*/ 43084 h 43083"/>
                  <a:gd name="connsiteX1" fmla="*/ 16339 w 39565"/>
                  <a:gd name="connsiteY1" fmla="*/ 25220 h 43083"/>
                  <a:gd name="connsiteX2" fmla="*/ 0 w 39565"/>
                  <a:gd name="connsiteY2" fmla="*/ 25220 h 43083"/>
                  <a:gd name="connsiteX3" fmla="*/ 0 w 39565"/>
                  <a:gd name="connsiteY3" fmla="*/ 17689 h 43083"/>
                  <a:gd name="connsiteX4" fmla="*/ 16339 w 39565"/>
                  <a:gd name="connsiteY4" fmla="*/ 17689 h 43083"/>
                  <a:gd name="connsiteX5" fmla="*/ 16339 w 39565"/>
                  <a:gd name="connsiteY5" fmla="*/ 0 h 43083"/>
                  <a:gd name="connsiteX6" fmla="*/ 23226 w 39565"/>
                  <a:gd name="connsiteY6" fmla="*/ 0 h 43083"/>
                  <a:gd name="connsiteX7" fmla="*/ 23226 w 39565"/>
                  <a:gd name="connsiteY7" fmla="*/ 17689 h 43083"/>
                  <a:gd name="connsiteX8" fmla="*/ 39565 w 39565"/>
                  <a:gd name="connsiteY8" fmla="*/ 17689 h 43083"/>
                  <a:gd name="connsiteX9" fmla="*/ 39565 w 39565"/>
                  <a:gd name="connsiteY9" fmla="*/ 25220 h 43083"/>
                  <a:gd name="connsiteX10" fmla="*/ 23226 w 39565"/>
                  <a:gd name="connsiteY10" fmla="*/ 25220 h 43083"/>
                  <a:gd name="connsiteX11" fmla="*/ 23226 w 39565"/>
                  <a:gd name="connsiteY11" fmla="*/ 43084 h 43083"/>
                  <a:gd name="connsiteX12" fmla="*/ 16339 w 3956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565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6" y="0"/>
                    </a:lnTo>
                    <a:lnTo>
                      <a:pt x="23226" y="17689"/>
                    </a:lnTo>
                    <a:lnTo>
                      <a:pt x="39565" y="17689"/>
                    </a:lnTo>
                    <a:lnTo>
                      <a:pt x="39565" y="25220"/>
                    </a:lnTo>
                    <a:lnTo>
                      <a:pt x="23226" y="25220"/>
                    </a:lnTo>
                    <a:lnTo>
                      <a:pt x="23226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0" name="Freihandform: Form 309">
                <a:extLst>
                  <a:ext uri="{FF2B5EF4-FFF2-40B4-BE49-F238E27FC236}">
                    <a16:creationId xmlns:a16="http://schemas.microsoft.com/office/drawing/2014/main" id="{722DD0ED-FD4B-456B-A072-897A4E2ECD7F}"/>
                  </a:ext>
                </a:extLst>
              </p:cNvPr>
              <p:cNvSpPr/>
              <p:nvPr/>
            </p:nvSpPr>
            <p:spPr>
              <a:xfrm>
                <a:off x="6239824" y="2035689"/>
                <a:ext cx="39404" cy="43083"/>
              </a:xfrm>
              <a:custGeom>
                <a:avLst/>
                <a:gdLst>
                  <a:gd name="connsiteX0" fmla="*/ 16179 w 39404"/>
                  <a:gd name="connsiteY0" fmla="*/ 43084 h 43083"/>
                  <a:gd name="connsiteX1" fmla="*/ 16179 w 39404"/>
                  <a:gd name="connsiteY1" fmla="*/ 25220 h 43083"/>
                  <a:gd name="connsiteX2" fmla="*/ 0 w 39404"/>
                  <a:gd name="connsiteY2" fmla="*/ 25220 h 43083"/>
                  <a:gd name="connsiteX3" fmla="*/ 0 w 39404"/>
                  <a:gd name="connsiteY3" fmla="*/ 17689 h 43083"/>
                  <a:gd name="connsiteX4" fmla="*/ 16179 w 39404"/>
                  <a:gd name="connsiteY4" fmla="*/ 17689 h 43083"/>
                  <a:gd name="connsiteX5" fmla="*/ 16179 w 39404"/>
                  <a:gd name="connsiteY5" fmla="*/ 0 h 43083"/>
                  <a:gd name="connsiteX6" fmla="*/ 23066 w 39404"/>
                  <a:gd name="connsiteY6" fmla="*/ 0 h 43083"/>
                  <a:gd name="connsiteX7" fmla="*/ 23066 w 39404"/>
                  <a:gd name="connsiteY7" fmla="*/ 17689 h 43083"/>
                  <a:gd name="connsiteX8" fmla="*/ 39405 w 39404"/>
                  <a:gd name="connsiteY8" fmla="*/ 17689 h 43083"/>
                  <a:gd name="connsiteX9" fmla="*/ 39405 w 39404"/>
                  <a:gd name="connsiteY9" fmla="*/ 25220 h 43083"/>
                  <a:gd name="connsiteX10" fmla="*/ 23066 w 39404"/>
                  <a:gd name="connsiteY10" fmla="*/ 25220 h 43083"/>
                  <a:gd name="connsiteX11" fmla="*/ 23066 w 39404"/>
                  <a:gd name="connsiteY11" fmla="*/ 43084 h 43083"/>
                  <a:gd name="connsiteX12" fmla="*/ 16179 w 39404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083">
                    <a:moveTo>
                      <a:pt x="16179" y="43084"/>
                    </a:moveTo>
                    <a:lnTo>
                      <a:pt x="1617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9" y="17689"/>
                    </a:lnTo>
                    <a:lnTo>
                      <a:pt x="16179" y="0"/>
                    </a:lnTo>
                    <a:lnTo>
                      <a:pt x="23066" y="0"/>
                    </a:lnTo>
                    <a:lnTo>
                      <a:pt x="23066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066" y="25220"/>
                    </a:lnTo>
                    <a:lnTo>
                      <a:pt x="23066" y="43084"/>
                    </a:lnTo>
                    <a:lnTo>
                      <a:pt x="1617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1" name="Freihandform: Form 310">
                <a:extLst>
                  <a:ext uri="{FF2B5EF4-FFF2-40B4-BE49-F238E27FC236}">
                    <a16:creationId xmlns:a16="http://schemas.microsoft.com/office/drawing/2014/main" id="{819F6893-5145-0752-8376-5505CEC8D016}"/>
                  </a:ext>
                </a:extLst>
              </p:cNvPr>
              <p:cNvSpPr/>
              <p:nvPr/>
            </p:nvSpPr>
            <p:spPr>
              <a:xfrm>
                <a:off x="6257604" y="2035689"/>
                <a:ext cx="39405" cy="43083"/>
              </a:xfrm>
              <a:custGeom>
                <a:avLst/>
                <a:gdLst>
                  <a:gd name="connsiteX0" fmla="*/ 16339 w 39405"/>
                  <a:gd name="connsiteY0" fmla="*/ 43084 h 43083"/>
                  <a:gd name="connsiteX1" fmla="*/ 16339 w 39405"/>
                  <a:gd name="connsiteY1" fmla="*/ 25220 h 43083"/>
                  <a:gd name="connsiteX2" fmla="*/ 0 w 39405"/>
                  <a:gd name="connsiteY2" fmla="*/ 25220 h 43083"/>
                  <a:gd name="connsiteX3" fmla="*/ 0 w 39405"/>
                  <a:gd name="connsiteY3" fmla="*/ 17689 h 43083"/>
                  <a:gd name="connsiteX4" fmla="*/ 16339 w 39405"/>
                  <a:gd name="connsiteY4" fmla="*/ 17689 h 43083"/>
                  <a:gd name="connsiteX5" fmla="*/ 16339 w 39405"/>
                  <a:gd name="connsiteY5" fmla="*/ 0 h 43083"/>
                  <a:gd name="connsiteX6" fmla="*/ 23227 w 39405"/>
                  <a:gd name="connsiteY6" fmla="*/ 0 h 43083"/>
                  <a:gd name="connsiteX7" fmla="*/ 23227 w 39405"/>
                  <a:gd name="connsiteY7" fmla="*/ 17689 h 43083"/>
                  <a:gd name="connsiteX8" fmla="*/ 39405 w 39405"/>
                  <a:gd name="connsiteY8" fmla="*/ 17689 h 43083"/>
                  <a:gd name="connsiteX9" fmla="*/ 39405 w 39405"/>
                  <a:gd name="connsiteY9" fmla="*/ 25220 h 43083"/>
                  <a:gd name="connsiteX10" fmla="*/ 23227 w 39405"/>
                  <a:gd name="connsiteY10" fmla="*/ 25220 h 43083"/>
                  <a:gd name="connsiteX11" fmla="*/ 23227 w 39405"/>
                  <a:gd name="connsiteY11" fmla="*/ 43084 h 43083"/>
                  <a:gd name="connsiteX12" fmla="*/ 16339 w 3940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5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2" name="Freihandform: Form 311">
                <a:extLst>
                  <a:ext uri="{FF2B5EF4-FFF2-40B4-BE49-F238E27FC236}">
                    <a16:creationId xmlns:a16="http://schemas.microsoft.com/office/drawing/2014/main" id="{8C818B80-A3E9-7E77-09A6-350487C895F4}"/>
                  </a:ext>
                </a:extLst>
              </p:cNvPr>
              <p:cNvSpPr/>
              <p:nvPr/>
            </p:nvSpPr>
            <p:spPr>
              <a:xfrm>
                <a:off x="6263530" y="2035689"/>
                <a:ext cx="39565" cy="43083"/>
              </a:xfrm>
              <a:custGeom>
                <a:avLst/>
                <a:gdLst>
                  <a:gd name="connsiteX0" fmla="*/ 16339 w 39565"/>
                  <a:gd name="connsiteY0" fmla="*/ 43084 h 43083"/>
                  <a:gd name="connsiteX1" fmla="*/ 16339 w 39565"/>
                  <a:gd name="connsiteY1" fmla="*/ 25220 h 43083"/>
                  <a:gd name="connsiteX2" fmla="*/ 0 w 39565"/>
                  <a:gd name="connsiteY2" fmla="*/ 25220 h 43083"/>
                  <a:gd name="connsiteX3" fmla="*/ 0 w 39565"/>
                  <a:gd name="connsiteY3" fmla="*/ 17689 h 43083"/>
                  <a:gd name="connsiteX4" fmla="*/ 16339 w 39565"/>
                  <a:gd name="connsiteY4" fmla="*/ 17689 h 43083"/>
                  <a:gd name="connsiteX5" fmla="*/ 16339 w 39565"/>
                  <a:gd name="connsiteY5" fmla="*/ 0 h 43083"/>
                  <a:gd name="connsiteX6" fmla="*/ 23227 w 39565"/>
                  <a:gd name="connsiteY6" fmla="*/ 0 h 43083"/>
                  <a:gd name="connsiteX7" fmla="*/ 23227 w 39565"/>
                  <a:gd name="connsiteY7" fmla="*/ 17689 h 43083"/>
                  <a:gd name="connsiteX8" fmla="*/ 39565 w 39565"/>
                  <a:gd name="connsiteY8" fmla="*/ 17689 h 43083"/>
                  <a:gd name="connsiteX9" fmla="*/ 39565 w 39565"/>
                  <a:gd name="connsiteY9" fmla="*/ 25220 h 43083"/>
                  <a:gd name="connsiteX10" fmla="*/ 23227 w 39565"/>
                  <a:gd name="connsiteY10" fmla="*/ 25220 h 43083"/>
                  <a:gd name="connsiteX11" fmla="*/ 23227 w 39565"/>
                  <a:gd name="connsiteY11" fmla="*/ 43084 h 43083"/>
                  <a:gd name="connsiteX12" fmla="*/ 16339 w 3956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565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565" y="17689"/>
                    </a:lnTo>
                    <a:lnTo>
                      <a:pt x="3956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3" name="Freihandform: Form 312">
                <a:extLst>
                  <a:ext uri="{FF2B5EF4-FFF2-40B4-BE49-F238E27FC236}">
                    <a16:creationId xmlns:a16="http://schemas.microsoft.com/office/drawing/2014/main" id="{1983DB67-2672-BAD4-50FB-0443B65E22FA}"/>
                  </a:ext>
                </a:extLst>
              </p:cNvPr>
              <p:cNvSpPr/>
              <p:nvPr/>
            </p:nvSpPr>
            <p:spPr>
              <a:xfrm>
                <a:off x="6293325" y="2035689"/>
                <a:ext cx="39565" cy="43083"/>
              </a:xfrm>
              <a:custGeom>
                <a:avLst/>
                <a:gdLst>
                  <a:gd name="connsiteX0" fmla="*/ 16339 w 39565"/>
                  <a:gd name="connsiteY0" fmla="*/ 43084 h 43083"/>
                  <a:gd name="connsiteX1" fmla="*/ 16339 w 39565"/>
                  <a:gd name="connsiteY1" fmla="*/ 25220 h 43083"/>
                  <a:gd name="connsiteX2" fmla="*/ 0 w 39565"/>
                  <a:gd name="connsiteY2" fmla="*/ 25220 h 43083"/>
                  <a:gd name="connsiteX3" fmla="*/ 0 w 39565"/>
                  <a:gd name="connsiteY3" fmla="*/ 17689 h 43083"/>
                  <a:gd name="connsiteX4" fmla="*/ 16339 w 39565"/>
                  <a:gd name="connsiteY4" fmla="*/ 17689 h 43083"/>
                  <a:gd name="connsiteX5" fmla="*/ 16339 w 39565"/>
                  <a:gd name="connsiteY5" fmla="*/ 0 h 43083"/>
                  <a:gd name="connsiteX6" fmla="*/ 23227 w 39565"/>
                  <a:gd name="connsiteY6" fmla="*/ 0 h 43083"/>
                  <a:gd name="connsiteX7" fmla="*/ 23227 w 39565"/>
                  <a:gd name="connsiteY7" fmla="*/ 17689 h 43083"/>
                  <a:gd name="connsiteX8" fmla="*/ 39565 w 39565"/>
                  <a:gd name="connsiteY8" fmla="*/ 17689 h 43083"/>
                  <a:gd name="connsiteX9" fmla="*/ 39565 w 39565"/>
                  <a:gd name="connsiteY9" fmla="*/ 25220 h 43083"/>
                  <a:gd name="connsiteX10" fmla="*/ 23227 w 39565"/>
                  <a:gd name="connsiteY10" fmla="*/ 25220 h 43083"/>
                  <a:gd name="connsiteX11" fmla="*/ 23227 w 39565"/>
                  <a:gd name="connsiteY11" fmla="*/ 43084 h 43083"/>
                  <a:gd name="connsiteX12" fmla="*/ 16339 w 3956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565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565" y="17689"/>
                    </a:lnTo>
                    <a:lnTo>
                      <a:pt x="3956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4" name="Freihandform: Form 313">
                <a:extLst>
                  <a:ext uri="{FF2B5EF4-FFF2-40B4-BE49-F238E27FC236}">
                    <a16:creationId xmlns:a16="http://schemas.microsoft.com/office/drawing/2014/main" id="{72BC0991-6B0B-813D-0F1F-69BD500610A3}"/>
                  </a:ext>
                </a:extLst>
              </p:cNvPr>
              <p:cNvSpPr/>
              <p:nvPr/>
            </p:nvSpPr>
            <p:spPr>
              <a:xfrm>
                <a:off x="6299412" y="2035689"/>
                <a:ext cx="39404" cy="43083"/>
              </a:xfrm>
              <a:custGeom>
                <a:avLst/>
                <a:gdLst>
                  <a:gd name="connsiteX0" fmla="*/ 16178 w 39404"/>
                  <a:gd name="connsiteY0" fmla="*/ 43084 h 43083"/>
                  <a:gd name="connsiteX1" fmla="*/ 16178 w 39404"/>
                  <a:gd name="connsiteY1" fmla="*/ 25220 h 43083"/>
                  <a:gd name="connsiteX2" fmla="*/ 0 w 39404"/>
                  <a:gd name="connsiteY2" fmla="*/ 25220 h 43083"/>
                  <a:gd name="connsiteX3" fmla="*/ 0 w 39404"/>
                  <a:gd name="connsiteY3" fmla="*/ 17689 h 43083"/>
                  <a:gd name="connsiteX4" fmla="*/ 16178 w 39404"/>
                  <a:gd name="connsiteY4" fmla="*/ 17689 h 43083"/>
                  <a:gd name="connsiteX5" fmla="*/ 16178 w 39404"/>
                  <a:gd name="connsiteY5" fmla="*/ 0 h 43083"/>
                  <a:gd name="connsiteX6" fmla="*/ 23066 w 39404"/>
                  <a:gd name="connsiteY6" fmla="*/ 0 h 43083"/>
                  <a:gd name="connsiteX7" fmla="*/ 23066 w 39404"/>
                  <a:gd name="connsiteY7" fmla="*/ 17689 h 43083"/>
                  <a:gd name="connsiteX8" fmla="*/ 39405 w 39404"/>
                  <a:gd name="connsiteY8" fmla="*/ 17689 h 43083"/>
                  <a:gd name="connsiteX9" fmla="*/ 39405 w 39404"/>
                  <a:gd name="connsiteY9" fmla="*/ 25220 h 43083"/>
                  <a:gd name="connsiteX10" fmla="*/ 23066 w 39404"/>
                  <a:gd name="connsiteY10" fmla="*/ 25220 h 43083"/>
                  <a:gd name="connsiteX11" fmla="*/ 23066 w 39404"/>
                  <a:gd name="connsiteY11" fmla="*/ 43084 h 43083"/>
                  <a:gd name="connsiteX12" fmla="*/ 16178 w 39404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083">
                    <a:moveTo>
                      <a:pt x="16178" y="43084"/>
                    </a:moveTo>
                    <a:lnTo>
                      <a:pt x="16178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8" y="17689"/>
                    </a:lnTo>
                    <a:lnTo>
                      <a:pt x="16178" y="0"/>
                    </a:lnTo>
                    <a:lnTo>
                      <a:pt x="23066" y="0"/>
                    </a:lnTo>
                    <a:lnTo>
                      <a:pt x="23066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066" y="25220"/>
                    </a:lnTo>
                    <a:lnTo>
                      <a:pt x="23066" y="43084"/>
                    </a:lnTo>
                    <a:lnTo>
                      <a:pt x="16178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5" name="Freihandform: Form 314">
                <a:extLst>
                  <a:ext uri="{FF2B5EF4-FFF2-40B4-BE49-F238E27FC236}">
                    <a16:creationId xmlns:a16="http://schemas.microsoft.com/office/drawing/2014/main" id="{8A1E2736-7EFF-7308-36C5-C66282C12230}"/>
                  </a:ext>
                </a:extLst>
              </p:cNvPr>
              <p:cNvSpPr/>
              <p:nvPr/>
            </p:nvSpPr>
            <p:spPr>
              <a:xfrm>
                <a:off x="6314148" y="2035689"/>
                <a:ext cx="39405" cy="43083"/>
              </a:xfrm>
              <a:custGeom>
                <a:avLst/>
                <a:gdLst>
                  <a:gd name="connsiteX0" fmla="*/ 16339 w 39405"/>
                  <a:gd name="connsiteY0" fmla="*/ 43084 h 43083"/>
                  <a:gd name="connsiteX1" fmla="*/ 16339 w 39405"/>
                  <a:gd name="connsiteY1" fmla="*/ 25220 h 43083"/>
                  <a:gd name="connsiteX2" fmla="*/ 0 w 39405"/>
                  <a:gd name="connsiteY2" fmla="*/ 25220 h 43083"/>
                  <a:gd name="connsiteX3" fmla="*/ 0 w 39405"/>
                  <a:gd name="connsiteY3" fmla="*/ 17689 h 43083"/>
                  <a:gd name="connsiteX4" fmla="*/ 16339 w 39405"/>
                  <a:gd name="connsiteY4" fmla="*/ 17689 h 43083"/>
                  <a:gd name="connsiteX5" fmla="*/ 16339 w 39405"/>
                  <a:gd name="connsiteY5" fmla="*/ 0 h 43083"/>
                  <a:gd name="connsiteX6" fmla="*/ 23227 w 39405"/>
                  <a:gd name="connsiteY6" fmla="*/ 0 h 43083"/>
                  <a:gd name="connsiteX7" fmla="*/ 23227 w 39405"/>
                  <a:gd name="connsiteY7" fmla="*/ 17689 h 43083"/>
                  <a:gd name="connsiteX8" fmla="*/ 39405 w 39405"/>
                  <a:gd name="connsiteY8" fmla="*/ 17689 h 43083"/>
                  <a:gd name="connsiteX9" fmla="*/ 39405 w 39405"/>
                  <a:gd name="connsiteY9" fmla="*/ 25220 h 43083"/>
                  <a:gd name="connsiteX10" fmla="*/ 23227 w 39405"/>
                  <a:gd name="connsiteY10" fmla="*/ 25220 h 43083"/>
                  <a:gd name="connsiteX11" fmla="*/ 23227 w 39405"/>
                  <a:gd name="connsiteY11" fmla="*/ 43084 h 43083"/>
                  <a:gd name="connsiteX12" fmla="*/ 16339 w 3940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5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6" name="Freihandform: Form 315">
                <a:extLst>
                  <a:ext uri="{FF2B5EF4-FFF2-40B4-BE49-F238E27FC236}">
                    <a16:creationId xmlns:a16="http://schemas.microsoft.com/office/drawing/2014/main" id="{F1FD0571-E723-1085-63A8-0BBEB52C7DC3}"/>
                  </a:ext>
                </a:extLst>
              </p:cNvPr>
              <p:cNvSpPr/>
              <p:nvPr/>
            </p:nvSpPr>
            <p:spPr>
              <a:xfrm>
                <a:off x="6341060" y="2035689"/>
                <a:ext cx="39404" cy="43083"/>
              </a:xfrm>
              <a:custGeom>
                <a:avLst/>
                <a:gdLst>
                  <a:gd name="connsiteX0" fmla="*/ 16178 w 39404"/>
                  <a:gd name="connsiteY0" fmla="*/ 43084 h 43083"/>
                  <a:gd name="connsiteX1" fmla="*/ 16178 w 39404"/>
                  <a:gd name="connsiteY1" fmla="*/ 25220 h 43083"/>
                  <a:gd name="connsiteX2" fmla="*/ 0 w 39404"/>
                  <a:gd name="connsiteY2" fmla="*/ 25220 h 43083"/>
                  <a:gd name="connsiteX3" fmla="*/ 0 w 39404"/>
                  <a:gd name="connsiteY3" fmla="*/ 17689 h 43083"/>
                  <a:gd name="connsiteX4" fmla="*/ 16178 w 39404"/>
                  <a:gd name="connsiteY4" fmla="*/ 17689 h 43083"/>
                  <a:gd name="connsiteX5" fmla="*/ 16178 w 39404"/>
                  <a:gd name="connsiteY5" fmla="*/ 0 h 43083"/>
                  <a:gd name="connsiteX6" fmla="*/ 23066 w 39404"/>
                  <a:gd name="connsiteY6" fmla="*/ 0 h 43083"/>
                  <a:gd name="connsiteX7" fmla="*/ 23066 w 39404"/>
                  <a:gd name="connsiteY7" fmla="*/ 17689 h 43083"/>
                  <a:gd name="connsiteX8" fmla="*/ 39405 w 39404"/>
                  <a:gd name="connsiteY8" fmla="*/ 17689 h 43083"/>
                  <a:gd name="connsiteX9" fmla="*/ 39405 w 39404"/>
                  <a:gd name="connsiteY9" fmla="*/ 25220 h 43083"/>
                  <a:gd name="connsiteX10" fmla="*/ 23066 w 39404"/>
                  <a:gd name="connsiteY10" fmla="*/ 25220 h 43083"/>
                  <a:gd name="connsiteX11" fmla="*/ 23066 w 39404"/>
                  <a:gd name="connsiteY11" fmla="*/ 43084 h 43083"/>
                  <a:gd name="connsiteX12" fmla="*/ 16178 w 39404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083">
                    <a:moveTo>
                      <a:pt x="16178" y="43084"/>
                    </a:moveTo>
                    <a:lnTo>
                      <a:pt x="16178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8" y="17689"/>
                    </a:lnTo>
                    <a:lnTo>
                      <a:pt x="16178" y="0"/>
                    </a:lnTo>
                    <a:lnTo>
                      <a:pt x="23066" y="0"/>
                    </a:lnTo>
                    <a:lnTo>
                      <a:pt x="23066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066" y="25220"/>
                    </a:lnTo>
                    <a:lnTo>
                      <a:pt x="23066" y="43084"/>
                    </a:lnTo>
                    <a:lnTo>
                      <a:pt x="16178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7" name="Freihandform: Form 316">
                <a:extLst>
                  <a:ext uri="{FF2B5EF4-FFF2-40B4-BE49-F238E27FC236}">
                    <a16:creationId xmlns:a16="http://schemas.microsoft.com/office/drawing/2014/main" id="{3BAF0E96-D98E-FFCC-31EE-D8A887DC8B18}"/>
                  </a:ext>
                </a:extLst>
              </p:cNvPr>
              <p:cNvSpPr/>
              <p:nvPr/>
            </p:nvSpPr>
            <p:spPr>
              <a:xfrm>
                <a:off x="6358840" y="2035689"/>
                <a:ext cx="39565" cy="43083"/>
              </a:xfrm>
              <a:custGeom>
                <a:avLst/>
                <a:gdLst>
                  <a:gd name="connsiteX0" fmla="*/ 16339 w 39565"/>
                  <a:gd name="connsiteY0" fmla="*/ 43084 h 43083"/>
                  <a:gd name="connsiteX1" fmla="*/ 16339 w 39565"/>
                  <a:gd name="connsiteY1" fmla="*/ 25220 h 43083"/>
                  <a:gd name="connsiteX2" fmla="*/ 0 w 39565"/>
                  <a:gd name="connsiteY2" fmla="*/ 25220 h 43083"/>
                  <a:gd name="connsiteX3" fmla="*/ 0 w 39565"/>
                  <a:gd name="connsiteY3" fmla="*/ 17689 h 43083"/>
                  <a:gd name="connsiteX4" fmla="*/ 16339 w 39565"/>
                  <a:gd name="connsiteY4" fmla="*/ 17689 h 43083"/>
                  <a:gd name="connsiteX5" fmla="*/ 16339 w 39565"/>
                  <a:gd name="connsiteY5" fmla="*/ 0 h 43083"/>
                  <a:gd name="connsiteX6" fmla="*/ 23227 w 39565"/>
                  <a:gd name="connsiteY6" fmla="*/ 0 h 43083"/>
                  <a:gd name="connsiteX7" fmla="*/ 23227 w 39565"/>
                  <a:gd name="connsiteY7" fmla="*/ 17689 h 43083"/>
                  <a:gd name="connsiteX8" fmla="*/ 39565 w 39565"/>
                  <a:gd name="connsiteY8" fmla="*/ 17689 h 43083"/>
                  <a:gd name="connsiteX9" fmla="*/ 39565 w 39565"/>
                  <a:gd name="connsiteY9" fmla="*/ 25220 h 43083"/>
                  <a:gd name="connsiteX10" fmla="*/ 23227 w 39565"/>
                  <a:gd name="connsiteY10" fmla="*/ 25220 h 43083"/>
                  <a:gd name="connsiteX11" fmla="*/ 23227 w 39565"/>
                  <a:gd name="connsiteY11" fmla="*/ 43084 h 43083"/>
                  <a:gd name="connsiteX12" fmla="*/ 16339 w 3956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565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565" y="17689"/>
                    </a:lnTo>
                    <a:lnTo>
                      <a:pt x="3956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8" name="Freihandform: Form 317">
                <a:extLst>
                  <a:ext uri="{FF2B5EF4-FFF2-40B4-BE49-F238E27FC236}">
                    <a16:creationId xmlns:a16="http://schemas.microsoft.com/office/drawing/2014/main" id="{AEBCF42B-9E03-4F44-F00F-5B7CFB719533}"/>
                  </a:ext>
                </a:extLst>
              </p:cNvPr>
              <p:cNvSpPr/>
              <p:nvPr/>
            </p:nvSpPr>
            <p:spPr>
              <a:xfrm>
                <a:off x="6379824" y="2035689"/>
                <a:ext cx="39404" cy="43083"/>
              </a:xfrm>
              <a:custGeom>
                <a:avLst/>
                <a:gdLst>
                  <a:gd name="connsiteX0" fmla="*/ 16179 w 39404"/>
                  <a:gd name="connsiteY0" fmla="*/ 43084 h 43083"/>
                  <a:gd name="connsiteX1" fmla="*/ 16179 w 39404"/>
                  <a:gd name="connsiteY1" fmla="*/ 25220 h 43083"/>
                  <a:gd name="connsiteX2" fmla="*/ 0 w 39404"/>
                  <a:gd name="connsiteY2" fmla="*/ 25220 h 43083"/>
                  <a:gd name="connsiteX3" fmla="*/ 0 w 39404"/>
                  <a:gd name="connsiteY3" fmla="*/ 17689 h 43083"/>
                  <a:gd name="connsiteX4" fmla="*/ 16179 w 39404"/>
                  <a:gd name="connsiteY4" fmla="*/ 17689 h 43083"/>
                  <a:gd name="connsiteX5" fmla="*/ 16179 w 39404"/>
                  <a:gd name="connsiteY5" fmla="*/ 0 h 43083"/>
                  <a:gd name="connsiteX6" fmla="*/ 23066 w 39404"/>
                  <a:gd name="connsiteY6" fmla="*/ 0 h 43083"/>
                  <a:gd name="connsiteX7" fmla="*/ 23066 w 39404"/>
                  <a:gd name="connsiteY7" fmla="*/ 17689 h 43083"/>
                  <a:gd name="connsiteX8" fmla="*/ 39405 w 39404"/>
                  <a:gd name="connsiteY8" fmla="*/ 17689 h 43083"/>
                  <a:gd name="connsiteX9" fmla="*/ 39405 w 39404"/>
                  <a:gd name="connsiteY9" fmla="*/ 25220 h 43083"/>
                  <a:gd name="connsiteX10" fmla="*/ 23066 w 39404"/>
                  <a:gd name="connsiteY10" fmla="*/ 25220 h 43083"/>
                  <a:gd name="connsiteX11" fmla="*/ 23066 w 39404"/>
                  <a:gd name="connsiteY11" fmla="*/ 43084 h 43083"/>
                  <a:gd name="connsiteX12" fmla="*/ 16179 w 39404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083">
                    <a:moveTo>
                      <a:pt x="16179" y="43084"/>
                    </a:moveTo>
                    <a:lnTo>
                      <a:pt x="1617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9" y="17689"/>
                    </a:lnTo>
                    <a:lnTo>
                      <a:pt x="16179" y="0"/>
                    </a:lnTo>
                    <a:lnTo>
                      <a:pt x="23066" y="0"/>
                    </a:lnTo>
                    <a:lnTo>
                      <a:pt x="23066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066" y="25220"/>
                    </a:lnTo>
                    <a:lnTo>
                      <a:pt x="23066" y="43084"/>
                    </a:lnTo>
                    <a:lnTo>
                      <a:pt x="1617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9" name="Freihandform: Form 318">
                <a:extLst>
                  <a:ext uri="{FF2B5EF4-FFF2-40B4-BE49-F238E27FC236}">
                    <a16:creationId xmlns:a16="http://schemas.microsoft.com/office/drawing/2014/main" id="{084FEB00-BB2E-BA6B-2549-83A2A9324F89}"/>
                  </a:ext>
                </a:extLst>
              </p:cNvPr>
              <p:cNvSpPr/>
              <p:nvPr/>
            </p:nvSpPr>
            <p:spPr>
              <a:xfrm>
                <a:off x="6382707" y="2035689"/>
                <a:ext cx="39405" cy="43083"/>
              </a:xfrm>
              <a:custGeom>
                <a:avLst/>
                <a:gdLst>
                  <a:gd name="connsiteX0" fmla="*/ 16339 w 39405"/>
                  <a:gd name="connsiteY0" fmla="*/ 43084 h 43083"/>
                  <a:gd name="connsiteX1" fmla="*/ 16339 w 39405"/>
                  <a:gd name="connsiteY1" fmla="*/ 25220 h 43083"/>
                  <a:gd name="connsiteX2" fmla="*/ 0 w 39405"/>
                  <a:gd name="connsiteY2" fmla="*/ 25220 h 43083"/>
                  <a:gd name="connsiteX3" fmla="*/ 0 w 39405"/>
                  <a:gd name="connsiteY3" fmla="*/ 17689 h 43083"/>
                  <a:gd name="connsiteX4" fmla="*/ 16339 w 39405"/>
                  <a:gd name="connsiteY4" fmla="*/ 17689 h 43083"/>
                  <a:gd name="connsiteX5" fmla="*/ 16339 w 39405"/>
                  <a:gd name="connsiteY5" fmla="*/ 0 h 43083"/>
                  <a:gd name="connsiteX6" fmla="*/ 23227 w 39405"/>
                  <a:gd name="connsiteY6" fmla="*/ 0 h 43083"/>
                  <a:gd name="connsiteX7" fmla="*/ 23227 w 39405"/>
                  <a:gd name="connsiteY7" fmla="*/ 17689 h 43083"/>
                  <a:gd name="connsiteX8" fmla="*/ 39405 w 39405"/>
                  <a:gd name="connsiteY8" fmla="*/ 17689 h 43083"/>
                  <a:gd name="connsiteX9" fmla="*/ 39405 w 39405"/>
                  <a:gd name="connsiteY9" fmla="*/ 25220 h 43083"/>
                  <a:gd name="connsiteX10" fmla="*/ 23227 w 39405"/>
                  <a:gd name="connsiteY10" fmla="*/ 25220 h 43083"/>
                  <a:gd name="connsiteX11" fmla="*/ 23227 w 39405"/>
                  <a:gd name="connsiteY11" fmla="*/ 43084 h 43083"/>
                  <a:gd name="connsiteX12" fmla="*/ 16339 w 3940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5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20" name="Freihandform: Form 319">
                <a:extLst>
                  <a:ext uri="{FF2B5EF4-FFF2-40B4-BE49-F238E27FC236}">
                    <a16:creationId xmlns:a16="http://schemas.microsoft.com/office/drawing/2014/main" id="{8F856EE4-0031-F62A-31F3-D358D4D82860}"/>
                  </a:ext>
                </a:extLst>
              </p:cNvPr>
              <p:cNvSpPr/>
              <p:nvPr/>
            </p:nvSpPr>
            <p:spPr>
              <a:xfrm>
                <a:off x="6388634" y="2035689"/>
                <a:ext cx="39404" cy="43083"/>
              </a:xfrm>
              <a:custGeom>
                <a:avLst/>
                <a:gdLst>
                  <a:gd name="connsiteX0" fmla="*/ 16339 w 39404"/>
                  <a:gd name="connsiteY0" fmla="*/ 43084 h 43083"/>
                  <a:gd name="connsiteX1" fmla="*/ 16339 w 39404"/>
                  <a:gd name="connsiteY1" fmla="*/ 25220 h 43083"/>
                  <a:gd name="connsiteX2" fmla="*/ 0 w 39404"/>
                  <a:gd name="connsiteY2" fmla="*/ 25220 h 43083"/>
                  <a:gd name="connsiteX3" fmla="*/ 0 w 39404"/>
                  <a:gd name="connsiteY3" fmla="*/ 17689 h 43083"/>
                  <a:gd name="connsiteX4" fmla="*/ 16339 w 39404"/>
                  <a:gd name="connsiteY4" fmla="*/ 17689 h 43083"/>
                  <a:gd name="connsiteX5" fmla="*/ 16339 w 39404"/>
                  <a:gd name="connsiteY5" fmla="*/ 0 h 43083"/>
                  <a:gd name="connsiteX6" fmla="*/ 23226 w 39404"/>
                  <a:gd name="connsiteY6" fmla="*/ 0 h 43083"/>
                  <a:gd name="connsiteX7" fmla="*/ 23226 w 39404"/>
                  <a:gd name="connsiteY7" fmla="*/ 17689 h 43083"/>
                  <a:gd name="connsiteX8" fmla="*/ 39405 w 39404"/>
                  <a:gd name="connsiteY8" fmla="*/ 17689 h 43083"/>
                  <a:gd name="connsiteX9" fmla="*/ 39405 w 39404"/>
                  <a:gd name="connsiteY9" fmla="*/ 25220 h 43083"/>
                  <a:gd name="connsiteX10" fmla="*/ 23226 w 39404"/>
                  <a:gd name="connsiteY10" fmla="*/ 25220 h 43083"/>
                  <a:gd name="connsiteX11" fmla="*/ 23226 w 39404"/>
                  <a:gd name="connsiteY11" fmla="*/ 43084 h 43083"/>
                  <a:gd name="connsiteX12" fmla="*/ 16339 w 39404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6" y="0"/>
                    </a:lnTo>
                    <a:lnTo>
                      <a:pt x="23226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226" y="25220"/>
                    </a:lnTo>
                    <a:lnTo>
                      <a:pt x="23226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21" name="Freihandform: Form 320">
                <a:extLst>
                  <a:ext uri="{FF2B5EF4-FFF2-40B4-BE49-F238E27FC236}">
                    <a16:creationId xmlns:a16="http://schemas.microsoft.com/office/drawing/2014/main" id="{A2B51C03-E21C-772C-4899-B7FFD9C4EB8F}"/>
                  </a:ext>
                </a:extLst>
              </p:cNvPr>
              <p:cNvSpPr/>
              <p:nvPr/>
            </p:nvSpPr>
            <p:spPr>
              <a:xfrm>
                <a:off x="6442295" y="2035689"/>
                <a:ext cx="39405" cy="43083"/>
              </a:xfrm>
              <a:custGeom>
                <a:avLst/>
                <a:gdLst>
                  <a:gd name="connsiteX0" fmla="*/ 16339 w 39405"/>
                  <a:gd name="connsiteY0" fmla="*/ 43084 h 43083"/>
                  <a:gd name="connsiteX1" fmla="*/ 16339 w 39405"/>
                  <a:gd name="connsiteY1" fmla="*/ 25220 h 43083"/>
                  <a:gd name="connsiteX2" fmla="*/ 0 w 39405"/>
                  <a:gd name="connsiteY2" fmla="*/ 25220 h 43083"/>
                  <a:gd name="connsiteX3" fmla="*/ 0 w 39405"/>
                  <a:gd name="connsiteY3" fmla="*/ 17689 h 43083"/>
                  <a:gd name="connsiteX4" fmla="*/ 16339 w 39405"/>
                  <a:gd name="connsiteY4" fmla="*/ 17689 h 43083"/>
                  <a:gd name="connsiteX5" fmla="*/ 16339 w 39405"/>
                  <a:gd name="connsiteY5" fmla="*/ 0 h 43083"/>
                  <a:gd name="connsiteX6" fmla="*/ 23227 w 39405"/>
                  <a:gd name="connsiteY6" fmla="*/ 0 h 43083"/>
                  <a:gd name="connsiteX7" fmla="*/ 23227 w 39405"/>
                  <a:gd name="connsiteY7" fmla="*/ 17689 h 43083"/>
                  <a:gd name="connsiteX8" fmla="*/ 39405 w 39405"/>
                  <a:gd name="connsiteY8" fmla="*/ 17689 h 43083"/>
                  <a:gd name="connsiteX9" fmla="*/ 39405 w 39405"/>
                  <a:gd name="connsiteY9" fmla="*/ 25220 h 43083"/>
                  <a:gd name="connsiteX10" fmla="*/ 23227 w 39405"/>
                  <a:gd name="connsiteY10" fmla="*/ 25220 h 43083"/>
                  <a:gd name="connsiteX11" fmla="*/ 23227 w 39405"/>
                  <a:gd name="connsiteY11" fmla="*/ 43084 h 43083"/>
                  <a:gd name="connsiteX12" fmla="*/ 16339 w 3940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5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22" name="Freihandform: Form 321">
                <a:extLst>
                  <a:ext uri="{FF2B5EF4-FFF2-40B4-BE49-F238E27FC236}">
                    <a16:creationId xmlns:a16="http://schemas.microsoft.com/office/drawing/2014/main" id="{11B9CDFE-2267-BDE1-E489-89A7A3C48666}"/>
                  </a:ext>
                </a:extLst>
              </p:cNvPr>
              <p:cNvSpPr/>
              <p:nvPr/>
            </p:nvSpPr>
            <p:spPr>
              <a:xfrm>
                <a:off x="6463119" y="2035689"/>
                <a:ext cx="39404" cy="43083"/>
              </a:xfrm>
              <a:custGeom>
                <a:avLst/>
                <a:gdLst>
                  <a:gd name="connsiteX0" fmla="*/ 16178 w 39404"/>
                  <a:gd name="connsiteY0" fmla="*/ 43084 h 43083"/>
                  <a:gd name="connsiteX1" fmla="*/ 16178 w 39404"/>
                  <a:gd name="connsiteY1" fmla="*/ 25220 h 43083"/>
                  <a:gd name="connsiteX2" fmla="*/ 0 w 39404"/>
                  <a:gd name="connsiteY2" fmla="*/ 25220 h 43083"/>
                  <a:gd name="connsiteX3" fmla="*/ 0 w 39404"/>
                  <a:gd name="connsiteY3" fmla="*/ 17689 h 43083"/>
                  <a:gd name="connsiteX4" fmla="*/ 16178 w 39404"/>
                  <a:gd name="connsiteY4" fmla="*/ 17689 h 43083"/>
                  <a:gd name="connsiteX5" fmla="*/ 16178 w 39404"/>
                  <a:gd name="connsiteY5" fmla="*/ 0 h 43083"/>
                  <a:gd name="connsiteX6" fmla="*/ 23226 w 39404"/>
                  <a:gd name="connsiteY6" fmla="*/ 0 h 43083"/>
                  <a:gd name="connsiteX7" fmla="*/ 23226 w 39404"/>
                  <a:gd name="connsiteY7" fmla="*/ 17689 h 43083"/>
                  <a:gd name="connsiteX8" fmla="*/ 39405 w 39404"/>
                  <a:gd name="connsiteY8" fmla="*/ 17689 h 43083"/>
                  <a:gd name="connsiteX9" fmla="*/ 39405 w 39404"/>
                  <a:gd name="connsiteY9" fmla="*/ 25220 h 43083"/>
                  <a:gd name="connsiteX10" fmla="*/ 23226 w 39404"/>
                  <a:gd name="connsiteY10" fmla="*/ 25220 h 43083"/>
                  <a:gd name="connsiteX11" fmla="*/ 23226 w 39404"/>
                  <a:gd name="connsiteY11" fmla="*/ 43084 h 43083"/>
                  <a:gd name="connsiteX12" fmla="*/ 16178 w 39404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083">
                    <a:moveTo>
                      <a:pt x="16178" y="43084"/>
                    </a:moveTo>
                    <a:lnTo>
                      <a:pt x="16178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8" y="17689"/>
                    </a:lnTo>
                    <a:lnTo>
                      <a:pt x="16178" y="0"/>
                    </a:lnTo>
                    <a:lnTo>
                      <a:pt x="23226" y="0"/>
                    </a:lnTo>
                    <a:lnTo>
                      <a:pt x="23226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226" y="25220"/>
                    </a:lnTo>
                    <a:lnTo>
                      <a:pt x="23226" y="43084"/>
                    </a:lnTo>
                    <a:lnTo>
                      <a:pt x="16178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23" name="Freihandform: Form 322">
                <a:extLst>
                  <a:ext uri="{FF2B5EF4-FFF2-40B4-BE49-F238E27FC236}">
                    <a16:creationId xmlns:a16="http://schemas.microsoft.com/office/drawing/2014/main" id="{BF30D350-483C-DF23-2524-A9EFA19248AA}"/>
                  </a:ext>
                </a:extLst>
              </p:cNvPr>
              <p:cNvSpPr/>
              <p:nvPr/>
            </p:nvSpPr>
            <p:spPr>
              <a:xfrm>
                <a:off x="6492913" y="2035689"/>
                <a:ext cx="39405" cy="43083"/>
              </a:xfrm>
              <a:custGeom>
                <a:avLst/>
                <a:gdLst>
                  <a:gd name="connsiteX0" fmla="*/ 16179 w 39405"/>
                  <a:gd name="connsiteY0" fmla="*/ 43084 h 43083"/>
                  <a:gd name="connsiteX1" fmla="*/ 16179 w 39405"/>
                  <a:gd name="connsiteY1" fmla="*/ 25220 h 43083"/>
                  <a:gd name="connsiteX2" fmla="*/ 0 w 39405"/>
                  <a:gd name="connsiteY2" fmla="*/ 25220 h 43083"/>
                  <a:gd name="connsiteX3" fmla="*/ 0 w 39405"/>
                  <a:gd name="connsiteY3" fmla="*/ 17689 h 43083"/>
                  <a:gd name="connsiteX4" fmla="*/ 16179 w 39405"/>
                  <a:gd name="connsiteY4" fmla="*/ 17689 h 43083"/>
                  <a:gd name="connsiteX5" fmla="*/ 16179 w 39405"/>
                  <a:gd name="connsiteY5" fmla="*/ 0 h 43083"/>
                  <a:gd name="connsiteX6" fmla="*/ 23227 w 39405"/>
                  <a:gd name="connsiteY6" fmla="*/ 0 h 43083"/>
                  <a:gd name="connsiteX7" fmla="*/ 23227 w 39405"/>
                  <a:gd name="connsiteY7" fmla="*/ 17689 h 43083"/>
                  <a:gd name="connsiteX8" fmla="*/ 39405 w 39405"/>
                  <a:gd name="connsiteY8" fmla="*/ 17689 h 43083"/>
                  <a:gd name="connsiteX9" fmla="*/ 39405 w 39405"/>
                  <a:gd name="connsiteY9" fmla="*/ 25220 h 43083"/>
                  <a:gd name="connsiteX10" fmla="*/ 23227 w 39405"/>
                  <a:gd name="connsiteY10" fmla="*/ 25220 h 43083"/>
                  <a:gd name="connsiteX11" fmla="*/ 23227 w 39405"/>
                  <a:gd name="connsiteY11" fmla="*/ 43084 h 43083"/>
                  <a:gd name="connsiteX12" fmla="*/ 16179 w 3940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5" h="43083">
                    <a:moveTo>
                      <a:pt x="16179" y="43084"/>
                    </a:moveTo>
                    <a:lnTo>
                      <a:pt x="1617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9" y="17689"/>
                    </a:lnTo>
                    <a:lnTo>
                      <a:pt x="1617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17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24" name="Freihandform: Form 323">
                <a:extLst>
                  <a:ext uri="{FF2B5EF4-FFF2-40B4-BE49-F238E27FC236}">
                    <a16:creationId xmlns:a16="http://schemas.microsoft.com/office/drawing/2014/main" id="{A27D7076-444B-0D6A-EC8E-077DB9551987}"/>
                  </a:ext>
                </a:extLst>
              </p:cNvPr>
              <p:cNvSpPr/>
              <p:nvPr/>
            </p:nvSpPr>
            <p:spPr>
              <a:xfrm>
                <a:off x="6504927" y="2035689"/>
                <a:ext cx="39405" cy="43083"/>
              </a:xfrm>
              <a:custGeom>
                <a:avLst/>
                <a:gdLst>
                  <a:gd name="connsiteX0" fmla="*/ 16179 w 39405"/>
                  <a:gd name="connsiteY0" fmla="*/ 43084 h 43083"/>
                  <a:gd name="connsiteX1" fmla="*/ 16179 w 39405"/>
                  <a:gd name="connsiteY1" fmla="*/ 25220 h 43083"/>
                  <a:gd name="connsiteX2" fmla="*/ 0 w 39405"/>
                  <a:gd name="connsiteY2" fmla="*/ 25220 h 43083"/>
                  <a:gd name="connsiteX3" fmla="*/ 0 w 39405"/>
                  <a:gd name="connsiteY3" fmla="*/ 17689 h 43083"/>
                  <a:gd name="connsiteX4" fmla="*/ 16179 w 39405"/>
                  <a:gd name="connsiteY4" fmla="*/ 17689 h 43083"/>
                  <a:gd name="connsiteX5" fmla="*/ 16179 w 39405"/>
                  <a:gd name="connsiteY5" fmla="*/ 0 h 43083"/>
                  <a:gd name="connsiteX6" fmla="*/ 23066 w 39405"/>
                  <a:gd name="connsiteY6" fmla="*/ 0 h 43083"/>
                  <a:gd name="connsiteX7" fmla="*/ 23066 w 39405"/>
                  <a:gd name="connsiteY7" fmla="*/ 17689 h 43083"/>
                  <a:gd name="connsiteX8" fmla="*/ 39405 w 39405"/>
                  <a:gd name="connsiteY8" fmla="*/ 17689 h 43083"/>
                  <a:gd name="connsiteX9" fmla="*/ 39405 w 39405"/>
                  <a:gd name="connsiteY9" fmla="*/ 25220 h 43083"/>
                  <a:gd name="connsiteX10" fmla="*/ 23066 w 39405"/>
                  <a:gd name="connsiteY10" fmla="*/ 25220 h 43083"/>
                  <a:gd name="connsiteX11" fmla="*/ 23066 w 39405"/>
                  <a:gd name="connsiteY11" fmla="*/ 43084 h 43083"/>
                  <a:gd name="connsiteX12" fmla="*/ 16179 w 3940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5" h="43083">
                    <a:moveTo>
                      <a:pt x="16179" y="43084"/>
                    </a:moveTo>
                    <a:lnTo>
                      <a:pt x="1617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9" y="17689"/>
                    </a:lnTo>
                    <a:lnTo>
                      <a:pt x="16179" y="0"/>
                    </a:lnTo>
                    <a:lnTo>
                      <a:pt x="23066" y="0"/>
                    </a:lnTo>
                    <a:lnTo>
                      <a:pt x="23066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066" y="25220"/>
                    </a:lnTo>
                    <a:lnTo>
                      <a:pt x="23066" y="43084"/>
                    </a:lnTo>
                    <a:lnTo>
                      <a:pt x="1617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25" name="Freihandform: Form 324">
                <a:extLst>
                  <a:ext uri="{FF2B5EF4-FFF2-40B4-BE49-F238E27FC236}">
                    <a16:creationId xmlns:a16="http://schemas.microsoft.com/office/drawing/2014/main" id="{BA507FA0-7264-4603-B7F6-B6F408995245}"/>
                  </a:ext>
                </a:extLst>
              </p:cNvPr>
              <p:cNvSpPr/>
              <p:nvPr/>
            </p:nvSpPr>
            <p:spPr>
              <a:xfrm>
                <a:off x="6546574" y="2035689"/>
                <a:ext cx="39404" cy="43083"/>
              </a:xfrm>
              <a:custGeom>
                <a:avLst/>
                <a:gdLst>
                  <a:gd name="connsiteX0" fmla="*/ 16179 w 39404"/>
                  <a:gd name="connsiteY0" fmla="*/ 43084 h 43083"/>
                  <a:gd name="connsiteX1" fmla="*/ 16179 w 39404"/>
                  <a:gd name="connsiteY1" fmla="*/ 25220 h 43083"/>
                  <a:gd name="connsiteX2" fmla="*/ 0 w 39404"/>
                  <a:gd name="connsiteY2" fmla="*/ 25220 h 43083"/>
                  <a:gd name="connsiteX3" fmla="*/ 0 w 39404"/>
                  <a:gd name="connsiteY3" fmla="*/ 17689 h 43083"/>
                  <a:gd name="connsiteX4" fmla="*/ 16179 w 39404"/>
                  <a:gd name="connsiteY4" fmla="*/ 17689 h 43083"/>
                  <a:gd name="connsiteX5" fmla="*/ 16179 w 39404"/>
                  <a:gd name="connsiteY5" fmla="*/ 0 h 43083"/>
                  <a:gd name="connsiteX6" fmla="*/ 23066 w 39404"/>
                  <a:gd name="connsiteY6" fmla="*/ 0 h 43083"/>
                  <a:gd name="connsiteX7" fmla="*/ 23066 w 39404"/>
                  <a:gd name="connsiteY7" fmla="*/ 17689 h 43083"/>
                  <a:gd name="connsiteX8" fmla="*/ 39405 w 39404"/>
                  <a:gd name="connsiteY8" fmla="*/ 17689 h 43083"/>
                  <a:gd name="connsiteX9" fmla="*/ 39405 w 39404"/>
                  <a:gd name="connsiteY9" fmla="*/ 25220 h 43083"/>
                  <a:gd name="connsiteX10" fmla="*/ 23066 w 39404"/>
                  <a:gd name="connsiteY10" fmla="*/ 25220 h 43083"/>
                  <a:gd name="connsiteX11" fmla="*/ 23066 w 39404"/>
                  <a:gd name="connsiteY11" fmla="*/ 43084 h 43083"/>
                  <a:gd name="connsiteX12" fmla="*/ 16179 w 39404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083">
                    <a:moveTo>
                      <a:pt x="16179" y="43084"/>
                    </a:moveTo>
                    <a:lnTo>
                      <a:pt x="1617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9" y="17689"/>
                    </a:lnTo>
                    <a:lnTo>
                      <a:pt x="16179" y="0"/>
                    </a:lnTo>
                    <a:lnTo>
                      <a:pt x="23066" y="0"/>
                    </a:lnTo>
                    <a:lnTo>
                      <a:pt x="23066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066" y="25220"/>
                    </a:lnTo>
                    <a:lnTo>
                      <a:pt x="23066" y="43084"/>
                    </a:lnTo>
                    <a:lnTo>
                      <a:pt x="1617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26" name="Freihandform: Form 325">
                <a:extLst>
                  <a:ext uri="{FF2B5EF4-FFF2-40B4-BE49-F238E27FC236}">
                    <a16:creationId xmlns:a16="http://schemas.microsoft.com/office/drawing/2014/main" id="{F8BA8C59-B736-6543-9E46-056B744DF796}"/>
                  </a:ext>
                </a:extLst>
              </p:cNvPr>
              <p:cNvSpPr/>
              <p:nvPr/>
            </p:nvSpPr>
            <p:spPr>
              <a:xfrm>
                <a:off x="6582296" y="2035689"/>
                <a:ext cx="39404" cy="43083"/>
              </a:xfrm>
              <a:custGeom>
                <a:avLst/>
                <a:gdLst>
                  <a:gd name="connsiteX0" fmla="*/ 16339 w 39404"/>
                  <a:gd name="connsiteY0" fmla="*/ 43084 h 43083"/>
                  <a:gd name="connsiteX1" fmla="*/ 16339 w 39404"/>
                  <a:gd name="connsiteY1" fmla="*/ 25220 h 43083"/>
                  <a:gd name="connsiteX2" fmla="*/ 0 w 39404"/>
                  <a:gd name="connsiteY2" fmla="*/ 25220 h 43083"/>
                  <a:gd name="connsiteX3" fmla="*/ 0 w 39404"/>
                  <a:gd name="connsiteY3" fmla="*/ 17689 h 43083"/>
                  <a:gd name="connsiteX4" fmla="*/ 16339 w 39404"/>
                  <a:gd name="connsiteY4" fmla="*/ 17689 h 43083"/>
                  <a:gd name="connsiteX5" fmla="*/ 16339 w 39404"/>
                  <a:gd name="connsiteY5" fmla="*/ 0 h 43083"/>
                  <a:gd name="connsiteX6" fmla="*/ 23226 w 39404"/>
                  <a:gd name="connsiteY6" fmla="*/ 0 h 43083"/>
                  <a:gd name="connsiteX7" fmla="*/ 23226 w 39404"/>
                  <a:gd name="connsiteY7" fmla="*/ 17689 h 43083"/>
                  <a:gd name="connsiteX8" fmla="*/ 39405 w 39404"/>
                  <a:gd name="connsiteY8" fmla="*/ 17689 h 43083"/>
                  <a:gd name="connsiteX9" fmla="*/ 39405 w 39404"/>
                  <a:gd name="connsiteY9" fmla="*/ 25220 h 43083"/>
                  <a:gd name="connsiteX10" fmla="*/ 23226 w 39404"/>
                  <a:gd name="connsiteY10" fmla="*/ 25220 h 43083"/>
                  <a:gd name="connsiteX11" fmla="*/ 23226 w 39404"/>
                  <a:gd name="connsiteY11" fmla="*/ 43084 h 43083"/>
                  <a:gd name="connsiteX12" fmla="*/ 16339 w 39404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6" y="0"/>
                    </a:lnTo>
                    <a:lnTo>
                      <a:pt x="23226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226" y="25220"/>
                    </a:lnTo>
                    <a:lnTo>
                      <a:pt x="23226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27" name="Freihandform: Form 326">
                <a:extLst>
                  <a:ext uri="{FF2B5EF4-FFF2-40B4-BE49-F238E27FC236}">
                    <a16:creationId xmlns:a16="http://schemas.microsoft.com/office/drawing/2014/main" id="{2507B697-327B-787E-3E48-C48C2ED832B2}"/>
                  </a:ext>
                </a:extLst>
              </p:cNvPr>
              <p:cNvSpPr/>
              <p:nvPr/>
            </p:nvSpPr>
            <p:spPr>
              <a:xfrm>
                <a:off x="6623943" y="2035689"/>
                <a:ext cx="39405" cy="43083"/>
              </a:xfrm>
              <a:custGeom>
                <a:avLst/>
                <a:gdLst>
                  <a:gd name="connsiteX0" fmla="*/ 16339 w 39405"/>
                  <a:gd name="connsiteY0" fmla="*/ 43084 h 43083"/>
                  <a:gd name="connsiteX1" fmla="*/ 16339 w 39405"/>
                  <a:gd name="connsiteY1" fmla="*/ 25220 h 43083"/>
                  <a:gd name="connsiteX2" fmla="*/ 0 w 39405"/>
                  <a:gd name="connsiteY2" fmla="*/ 25220 h 43083"/>
                  <a:gd name="connsiteX3" fmla="*/ 0 w 39405"/>
                  <a:gd name="connsiteY3" fmla="*/ 17689 h 43083"/>
                  <a:gd name="connsiteX4" fmla="*/ 16339 w 39405"/>
                  <a:gd name="connsiteY4" fmla="*/ 17689 h 43083"/>
                  <a:gd name="connsiteX5" fmla="*/ 16339 w 39405"/>
                  <a:gd name="connsiteY5" fmla="*/ 0 h 43083"/>
                  <a:gd name="connsiteX6" fmla="*/ 23227 w 39405"/>
                  <a:gd name="connsiteY6" fmla="*/ 0 h 43083"/>
                  <a:gd name="connsiteX7" fmla="*/ 23227 w 39405"/>
                  <a:gd name="connsiteY7" fmla="*/ 17689 h 43083"/>
                  <a:gd name="connsiteX8" fmla="*/ 39405 w 39405"/>
                  <a:gd name="connsiteY8" fmla="*/ 17689 h 43083"/>
                  <a:gd name="connsiteX9" fmla="*/ 39405 w 39405"/>
                  <a:gd name="connsiteY9" fmla="*/ 25220 h 43083"/>
                  <a:gd name="connsiteX10" fmla="*/ 23227 w 39405"/>
                  <a:gd name="connsiteY10" fmla="*/ 25220 h 43083"/>
                  <a:gd name="connsiteX11" fmla="*/ 23227 w 39405"/>
                  <a:gd name="connsiteY11" fmla="*/ 43084 h 43083"/>
                  <a:gd name="connsiteX12" fmla="*/ 16339 w 3940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5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28" name="Freihandform: Form 327">
                <a:extLst>
                  <a:ext uri="{FF2B5EF4-FFF2-40B4-BE49-F238E27FC236}">
                    <a16:creationId xmlns:a16="http://schemas.microsoft.com/office/drawing/2014/main" id="{AAA49B45-BBAE-EC06-D02C-84F9559855FD}"/>
                  </a:ext>
                </a:extLst>
              </p:cNvPr>
              <p:cNvSpPr/>
              <p:nvPr/>
            </p:nvSpPr>
            <p:spPr>
              <a:xfrm>
                <a:off x="6653737" y="2035689"/>
                <a:ext cx="39565" cy="43083"/>
              </a:xfrm>
              <a:custGeom>
                <a:avLst/>
                <a:gdLst>
                  <a:gd name="connsiteX0" fmla="*/ 16339 w 39565"/>
                  <a:gd name="connsiteY0" fmla="*/ 43084 h 43083"/>
                  <a:gd name="connsiteX1" fmla="*/ 16339 w 39565"/>
                  <a:gd name="connsiteY1" fmla="*/ 25220 h 43083"/>
                  <a:gd name="connsiteX2" fmla="*/ 0 w 39565"/>
                  <a:gd name="connsiteY2" fmla="*/ 25220 h 43083"/>
                  <a:gd name="connsiteX3" fmla="*/ 0 w 39565"/>
                  <a:gd name="connsiteY3" fmla="*/ 17689 h 43083"/>
                  <a:gd name="connsiteX4" fmla="*/ 16339 w 39565"/>
                  <a:gd name="connsiteY4" fmla="*/ 17689 h 43083"/>
                  <a:gd name="connsiteX5" fmla="*/ 16339 w 39565"/>
                  <a:gd name="connsiteY5" fmla="*/ 0 h 43083"/>
                  <a:gd name="connsiteX6" fmla="*/ 23227 w 39565"/>
                  <a:gd name="connsiteY6" fmla="*/ 0 h 43083"/>
                  <a:gd name="connsiteX7" fmla="*/ 23227 w 39565"/>
                  <a:gd name="connsiteY7" fmla="*/ 17689 h 43083"/>
                  <a:gd name="connsiteX8" fmla="*/ 39565 w 39565"/>
                  <a:gd name="connsiteY8" fmla="*/ 17689 h 43083"/>
                  <a:gd name="connsiteX9" fmla="*/ 39565 w 39565"/>
                  <a:gd name="connsiteY9" fmla="*/ 25220 h 43083"/>
                  <a:gd name="connsiteX10" fmla="*/ 23227 w 39565"/>
                  <a:gd name="connsiteY10" fmla="*/ 25220 h 43083"/>
                  <a:gd name="connsiteX11" fmla="*/ 23227 w 39565"/>
                  <a:gd name="connsiteY11" fmla="*/ 43084 h 43083"/>
                  <a:gd name="connsiteX12" fmla="*/ 16339 w 3956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565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565" y="17689"/>
                    </a:lnTo>
                    <a:lnTo>
                      <a:pt x="3956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29" name="Freihandform: Form 328">
                <a:extLst>
                  <a:ext uri="{FF2B5EF4-FFF2-40B4-BE49-F238E27FC236}">
                    <a16:creationId xmlns:a16="http://schemas.microsoft.com/office/drawing/2014/main" id="{7086924B-7258-A980-AC83-26C7F479AA26}"/>
                  </a:ext>
                </a:extLst>
              </p:cNvPr>
              <p:cNvSpPr/>
              <p:nvPr/>
            </p:nvSpPr>
            <p:spPr>
              <a:xfrm>
                <a:off x="6692502" y="2035689"/>
                <a:ext cx="39404" cy="43083"/>
              </a:xfrm>
              <a:custGeom>
                <a:avLst/>
                <a:gdLst>
                  <a:gd name="connsiteX0" fmla="*/ 16178 w 39404"/>
                  <a:gd name="connsiteY0" fmla="*/ 43084 h 43083"/>
                  <a:gd name="connsiteX1" fmla="*/ 16178 w 39404"/>
                  <a:gd name="connsiteY1" fmla="*/ 25220 h 43083"/>
                  <a:gd name="connsiteX2" fmla="*/ 0 w 39404"/>
                  <a:gd name="connsiteY2" fmla="*/ 25220 h 43083"/>
                  <a:gd name="connsiteX3" fmla="*/ 0 w 39404"/>
                  <a:gd name="connsiteY3" fmla="*/ 17689 h 43083"/>
                  <a:gd name="connsiteX4" fmla="*/ 16178 w 39404"/>
                  <a:gd name="connsiteY4" fmla="*/ 17689 h 43083"/>
                  <a:gd name="connsiteX5" fmla="*/ 16178 w 39404"/>
                  <a:gd name="connsiteY5" fmla="*/ 0 h 43083"/>
                  <a:gd name="connsiteX6" fmla="*/ 23226 w 39404"/>
                  <a:gd name="connsiteY6" fmla="*/ 0 h 43083"/>
                  <a:gd name="connsiteX7" fmla="*/ 23226 w 39404"/>
                  <a:gd name="connsiteY7" fmla="*/ 17689 h 43083"/>
                  <a:gd name="connsiteX8" fmla="*/ 39405 w 39404"/>
                  <a:gd name="connsiteY8" fmla="*/ 17689 h 43083"/>
                  <a:gd name="connsiteX9" fmla="*/ 39405 w 39404"/>
                  <a:gd name="connsiteY9" fmla="*/ 25220 h 43083"/>
                  <a:gd name="connsiteX10" fmla="*/ 23226 w 39404"/>
                  <a:gd name="connsiteY10" fmla="*/ 25220 h 43083"/>
                  <a:gd name="connsiteX11" fmla="*/ 23226 w 39404"/>
                  <a:gd name="connsiteY11" fmla="*/ 43084 h 43083"/>
                  <a:gd name="connsiteX12" fmla="*/ 16178 w 39404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083">
                    <a:moveTo>
                      <a:pt x="16178" y="43084"/>
                    </a:moveTo>
                    <a:lnTo>
                      <a:pt x="16178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8" y="17689"/>
                    </a:lnTo>
                    <a:lnTo>
                      <a:pt x="16178" y="0"/>
                    </a:lnTo>
                    <a:lnTo>
                      <a:pt x="23226" y="0"/>
                    </a:lnTo>
                    <a:lnTo>
                      <a:pt x="23226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226" y="25220"/>
                    </a:lnTo>
                    <a:lnTo>
                      <a:pt x="23226" y="43084"/>
                    </a:lnTo>
                    <a:lnTo>
                      <a:pt x="16178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30" name="Freihandform: Form 329">
                <a:extLst>
                  <a:ext uri="{FF2B5EF4-FFF2-40B4-BE49-F238E27FC236}">
                    <a16:creationId xmlns:a16="http://schemas.microsoft.com/office/drawing/2014/main" id="{A0408007-7327-490A-326E-CE1E1F82379F}"/>
                  </a:ext>
                </a:extLst>
              </p:cNvPr>
              <p:cNvSpPr/>
              <p:nvPr/>
            </p:nvSpPr>
            <p:spPr>
              <a:xfrm>
                <a:off x="6716369" y="2035689"/>
                <a:ext cx="39404" cy="43083"/>
              </a:xfrm>
              <a:custGeom>
                <a:avLst/>
                <a:gdLst>
                  <a:gd name="connsiteX0" fmla="*/ 16179 w 39404"/>
                  <a:gd name="connsiteY0" fmla="*/ 43084 h 43083"/>
                  <a:gd name="connsiteX1" fmla="*/ 16179 w 39404"/>
                  <a:gd name="connsiteY1" fmla="*/ 25220 h 43083"/>
                  <a:gd name="connsiteX2" fmla="*/ 0 w 39404"/>
                  <a:gd name="connsiteY2" fmla="*/ 25220 h 43083"/>
                  <a:gd name="connsiteX3" fmla="*/ 0 w 39404"/>
                  <a:gd name="connsiteY3" fmla="*/ 17689 h 43083"/>
                  <a:gd name="connsiteX4" fmla="*/ 16179 w 39404"/>
                  <a:gd name="connsiteY4" fmla="*/ 17689 h 43083"/>
                  <a:gd name="connsiteX5" fmla="*/ 16179 w 39404"/>
                  <a:gd name="connsiteY5" fmla="*/ 0 h 43083"/>
                  <a:gd name="connsiteX6" fmla="*/ 23066 w 39404"/>
                  <a:gd name="connsiteY6" fmla="*/ 0 h 43083"/>
                  <a:gd name="connsiteX7" fmla="*/ 23066 w 39404"/>
                  <a:gd name="connsiteY7" fmla="*/ 17689 h 43083"/>
                  <a:gd name="connsiteX8" fmla="*/ 39405 w 39404"/>
                  <a:gd name="connsiteY8" fmla="*/ 17689 h 43083"/>
                  <a:gd name="connsiteX9" fmla="*/ 39405 w 39404"/>
                  <a:gd name="connsiteY9" fmla="*/ 25220 h 43083"/>
                  <a:gd name="connsiteX10" fmla="*/ 23066 w 39404"/>
                  <a:gd name="connsiteY10" fmla="*/ 25220 h 43083"/>
                  <a:gd name="connsiteX11" fmla="*/ 23066 w 39404"/>
                  <a:gd name="connsiteY11" fmla="*/ 43084 h 43083"/>
                  <a:gd name="connsiteX12" fmla="*/ 16179 w 39404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083">
                    <a:moveTo>
                      <a:pt x="16179" y="43084"/>
                    </a:moveTo>
                    <a:lnTo>
                      <a:pt x="1617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9" y="17689"/>
                    </a:lnTo>
                    <a:lnTo>
                      <a:pt x="16179" y="0"/>
                    </a:lnTo>
                    <a:lnTo>
                      <a:pt x="23066" y="0"/>
                    </a:lnTo>
                    <a:lnTo>
                      <a:pt x="23066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066" y="25220"/>
                    </a:lnTo>
                    <a:lnTo>
                      <a:pt x="23066" y="43084"/>
                    </a:lnTo>
                    <a:lnTo>
                      <a:pt x="1617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31" name="Freihandform: Form 330">
                <a:extLst>
                  <a:ext uri="{FF2B5EF4-FFF2-40B4-BE49-F238E27FC236}">
                    <a16:creationId xmlns:a16="http://schemas.microsoft.com/office/drawing/2014/main" id="{796C8513-CA32-2DEB-40CF-8BE2FE3C7005}"/>
                  </a:ext>
                </a:extLst>
              </p:cNvPr>
              <p:cNvSpPr/>
              <p:nvPr/>
            </p:nvSpPr>
            <p:spPr>
              <a:xfrm>
                <a:off x="6758017" y="2070717"/>
                <a:ext cx="39404" cy="43083"/>
              </a:xfrm>
              <a:custGeom>
                <a:avLst/>
                <a:gdLst>
                  <a:gd name="connsiteX0" fmla="*/ 16178 w 39404"/>
                  <a:gd name="connsiteY0" fmla="*/ 43084 h 43083"/>
                  <a:gd name="connsiteX1" fmla="*/ 16178 w 39404"/>
                  <a:gd name="connsiteY1" fmla="*/ 25220 h 43083"/>
                  <a:gd name="connsiteX2" fmla="*/ 0 w 39404"/>
                  <a:gd name="connsiteY2" fmla="*/ 25220 h 43083"/>
                  <a:gd name="connsiteX3" fmla="*/ 0 w 39404"/>
                  <a:gd name="connsiteY3" fmla="*/ 17689 h 43083"/>
                  <a:gd name="connsiteX4" fmla="*/ 16178 w 39404"/>
                  <a:gd name="connsiteY4" fmla="*/ 17689 h 43083"/>
                  <a:gd name="connsiteX5" fmla="*/ 16178 w 39404"/>
                  <a:gd name="connsiteY5" fmla="*/ 0 h 43083"/>
                  <a:gd name="connsiteX6" fmla="*/ 23226 w 39404"/>
                  <a:gd name="connsiteY6" fmla="*/ 0 h 43083"/>
                  <a:gd name="connsiteX7" fmla="*/ 23226 w 39404"/>
                  <a:gd name="connsiteY7" fmla="*/ 17689 h 43083"/>
                  <a:gd name="connsiteX8" fmla="*/ 39405 w 39404"/>
                  <a:gd name="connsiteY8" fmla="*/ 17689 h 43083"/>
                  <a:gd name="connsiteX9" fmla="*/ 39405 w 39404"/>
                  <a:gd name="connsiteY9" fmla="*/ 25220 h 43083"/>
                  <a:gd name="connsiteX10" fmla="*/ 23226 w 39404"/>
                  <a:gd name="connsiteY10" fmla="*/ 25220 h 43083"/>
                  <a:gd name="connsiteX11" fmla="*/ 23226 w 39404"/>
                  <a:gd name="connsiteY11" fmla="*/ 43084 h 43083"/>
                  <a:gd name="connsiteX12" fmla="*/ 16178 w 39404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083">
                    <a:moveTo>
                      <a:pt x="16178" y="43084"/>
                    </a:moveTo>
                    <a:lnTo>
                      <a:pt x="16178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8" y="17689"/>
                    </a:lnTo>
                    <a:lnTo>
                      <a:pt x="16178" y="0"/>
                    </a:lnTo>
                    <a:lnTo>
                      <a:pt x="23226" y="0"/>
                    </a:lnTo>
                    <a:lnTo>
                      <a:pt x="23226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226" y="25220"/>
                    </a:lnTo>
                    <a:lnTo>
                      <a:pt x="23226" y="43084"/>
                    </a:lnTo>
                    <a:lnTo>
                      <a:pt x="16178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32" name="Freihandform: Form 331">
                <a:extLst>
                  <a:ext uri="{FF2B5EF4-FFF2-40B4-BE49-F238E27FC236}">
                    <a16:creationId xmlns:a16="http://schemas.microsoft.com/office/drawing/2014/main" id="{6903CE33-031A-D22B-47C6-8EA9540262C8}"/>
                  </a:ext>
                </a:extLst>
              </p:cNvPr>
              <p:cNvSpPr/>
              <p:nvPr/>
            </p:nvSpPr>
            <p:spPr>
              <a:xfrm>
                <a:off x="6775957" y="2070717"/>
                <a:ext cx="39404" cy="43083"/>
              </a:xfrm>
              <a:custGeom>
                <a:avLst/>
                <a:gdLst>
                  <a:gd name="connsiteX0" fmla="*/ 16178 w 39404"/>
                  <a:gd name="connsiteY0" fmla="*/ 43084 h 43083"/>
                  <a:gd name="connsiteX1" fmla="*/ 16178 w 39404"/>
                  <a:gd name="connsiteY1" fmla="*/ 25220 h 43083"/>
                  <a:gd name="connsiteX2" fmla="*/ 0 w 39404"/>
                  <a:gd name="connsiteY2" fmla="*/ 25220 h 43083"/>
                  <a:gd name="connsiteX3" fmla="*/ 0 w 39404"/>
                  <a:gd name="connsiteY3" fmla="*/ 17689 h 43083"/>
                  <a:gd name="connsiteX4" fmla="*/ 16178 w 39404"/>
                  <a:gd name="connsiteY4" fmla="*/ 17689 h 43083"/>
                  <a:gd name="connsiteX5" fmla="*/ 16178 w 39404"/>
                  <a:gd name="connsiteY5" fmla="*/ 0 h 43083"/>
                  <a:gd name="connsiteX6" fmla="*/ 23066 w 39404"/>
                  <a:gd name="connsiteY6" fmla="*/ 0 h 43083"/>
                  <a:gd name="connsiteX7" fmla="*/ 23066 w 39404"/>
                  <a:gd name="connsiteY7" fmla="*/ 17689 h 43083"/>
                  <a:gd name="connsiteX8" fmla="*/ 39405 w 39404"/>
                  <a:gd name="connsiteY8" fmla="*/ 17689 h 43083"/>
                  <a:gd name="connsiteX9" fmla="*/ 39405 w 39404"/>
                  <a:gd name="connsiteY9" fmla="*/ 25220 h 43083"/>
                  <a:gd name="connsiteX10" fmla="*/ 23066 w 39404"/>
                  <a:gd name="connsiteY10" fmla="*/ 25220 h 43083"/>
                  <a:gd name="connsiteX11" fmla="*/ 23066 w 39404"/>
                  <a:gd name="connsiteY11" fmla="*/ 43084 h 43083"/>
                  <a:gd name="connsiteX12" fmla="*/ 16178 w 39404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083">
                    <a:moveTo>
                      <a:pt x="16178" y="43084"/>
                    </a:moveTo>
                    <a:lnTo>
                      <a:pt x="16178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8" y="17689"/>
                    </a:lnTo>
                    <a:lnTo>
                      <a:pt x="16178" y="0"/>
                    </a:lnTo>
                    <a:lnTo>
                      <a:pt x="23066" y="0"/>
                    </a:lnTo>
                    <a:lnTo>
                      <a:pt x="23066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066" y="25220"/>
                    </a:lnTo>
                    <a:lnTo>
                      <a:pt x="23066" y="43084"/>
                    </a:lnTo>
                    <a:lnTo>
                      <a:pt x="16178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33" name="Freihandform: Form 332">
                <a:extLst>
                  <a:ext uri="{FF2B5EF4-FFF2-40B4-BE49-F238E27FC236}">
                    <a16:creationId xmlns:a16="http://schemas.microsoft.com/office/drawing/2014/main" id="{FD1BDD10-E944-894C-50E4-3D25CCCB1AA5}"/>
                  </a:ext>
                </a:extLst>
              </p:cNvPr>
              <p:cNvSpPr/>
              <p:nvPr/>
            </p:nvSpPr>
            <p:spPr>
              <a:xfrm>
                <a:off x="6784767" y="2070717"/>
                <a:ext cx="39565" cy="43083"/>
              </a:xfrm>
              <a:custGeom>
                <a:avLst/>
                <a:gdLst>
                  <a:gd name="connsiteX0" fmla="*/ 16339 w 39565"/>
                  <a:gd name="connsiteY0" fmla="*/ 43084 h 43083"/>
                  <a:gd name="connsiteX1" fmla="*/ 16339 w 39565"/>
                  <a:gd name="connsiteY1" fmla="*/ 25220 h 43083"/>
                  <a:gd name="connsiteX2" fmla="*/ 0 w 39565"/>
                  <a:gd name="connsiteY2" fmla="*/ 25220 h 43083"/>
                  <a:gd name="connsiteX3" fmla="*/ 0 w 39565"/>
                  <a:gd name="connsiteY3" fmla="*/ 17689 h 43083"/>
                  <a:gd name="connsiteX4" fmla="*/ 16339 w 39565"/>
                  <a:gd name="connsiteY4" fmla="*/ 17689 h 43083"/>
                  <a:gd name="connsiteX5" fmla="*/ 16339 w 39565"/>
                  <a:gd name="connsiteY5" fmla="*/ 0 h 43083"/>
                  <a:gd name="connsiteX6" fmla="*/ 23227 w 39565"/>
                  <a:gd name="connsiteY6" fmla="*/ 0 h 43083"/>
                  <a:gd name="connsiteX7" fmla="*/ 23227 w 39565"/>
                  <a:gd name="connsiteY7" fmla="*/ 17689 h 43083"/>
                  <a:gd name="connsiteX8" fmla="*/ 39565 w 39565"/>
                  <a:gd name="connsiteY8" fmla="*/ 17689 h 43083"/>
                  <a:gd name="connsiteX9" fmla="*/ 39565 w 39565"/>
                  <a:gd name="connsiteY9" fmla="*/ 25220 h 43083"/>
                  <a:gd name="connsiteX10" fmla="*/ 23227 w 39565"/>
                  <a:gd name="connsiteY10" fmla="*/ 25220 h 43083"/>
                  <a:gd name="connsiteX11" fmla="*/ 23227 w 39565"/>
                  <a:gd name="connsiteY11" fmla="*/ 43084 h 43083"/>
                  <a:gd name="connsiteX12" fmla="*/ 16339 w 3956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565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565" y="17689"/>
                    </a:lnTo>
                    <a:lnTo>
                      <a:pt x="3956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34" name="Freihandform: Form 333">
                <a:extLst>
                  <a:ext uri="{FF2B5EF4-FFF2-40B4-BE49-F238E27FC236}">
                    <a16:creationId xmlns:a16="http://schemas.microsoft.com/office/drawing/2014/main" id="{678793BA-462F-59D7-916D-6A06A6AEC92B}"/>
                  </a:ext>
                </a:extLst>
              </p:cNvPr>
              <p:cNvSpPr/>
              <p:nvPr/>
            </p:nvSpPr>
            <p:spPr>
              <a:xfrm>
                <a:off x="6787810" y="2070717"/>
                <a:ext cx="39404" cy="43083"/>
              </a:xfrm>
              <a:custGeom>
                <a:avLst/>
                <a:gdLst>
                  <a:gd name="connsiteX0" fmla="*/ 16179 w 39404"/>
                  <a:gd name="connsiteY0" fmla="*/ 43084 h 43083"/>
                  <a:gd name="connsiteX1" fmla="*/ 16179 w 39404"/>
                  <a:gd name="connsiteY1" fmla="*/ 25220 h 43083"/>
                  <a:gd name="connsiteX2" fmla="*/ 0 w 39404"/>
                  <a:gd name="connsiteY2" fmla="*/ 25220 h 43083"/>
                  <a:gd name="connsiteX3" fmla="*/ 0 w 39404"/>
                  <a:gd name="connsiteY3" fmla="*/ 17689 h 43083"/>
                  <a:gd name="connsiteX4" fmla="*/ 16179 w 39404"/>
                  <a:gd name="connsiteY4" fmla="*/ 17689 h 43083"/>
                  <a:gd name="connsiteX5" fmla="*/ 16179 w 39404"/>
                  <a:gd name="connsiteY5" fmla="*/ 0 h 43083"/>
                  <a:gd name="connsiteX6" fmla="*/ 23227 w 39404"/>
                  <a:gd name="connsiteY6" fmla="*/ 0 h 43083"/>
                  <a:gd name="connsiteX7" fmla="*/ 23227 w 39404"/>
                  <a:gd name="connsiteY7" fmla="*/ 17689 h 43083"/>
                  <a:gd name="connsiteX8" fmla="*/ 39405 w 39404"/>
                  <a:gd name="connsiteY8" fmla="*/ 17689 h 43083"/>
                  <a:gd name="connsiteX9" fmla="*/ 39405 w 39404"/>
                  <a:gd name="connsiteY9" fmla="*/ 25220 h 43083"/>
                  <a:gd name="connsiteX10" fmla="*/ 23227 w 39404"/>
                  <a:gd name="connsiteY10" fmla="*/ 25220 h 43083"/>
                  <a:gd name="connsiteX11" fmla="*/ 23227 w 39404"/>
                  <a:gd name="connsiteY11" fmla="*/ 43084 h 43083"/>
                  <a:gd name="connsiteX12" fmla="*/ 16179 w 39404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083">
                    <a:moveTo>
                      <a:pt x="16179" y="43084"/>
                    </a:moveTo>
                    <a:lnTo>
                      <a:pt x="1617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9" y="17689"/>
                    </a:lnTo>
                    <a:lnTo>
                      <a:pt x="1617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17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35" name="Freihandform: Form 334">
                <a:extLst>
                  <a:ext uri="{FF2B5EF4-FFF2-40B4-BE49-F238E27FC236}">
                    <a16:creationId xmlns:a16="http://schemas.microsoft.com/office/drawing/2014/main" id="{10AF6C3E-9913-03C7-3571-D49BD47AA710}"/>
                  </a:ext>
                </a:extLst>
              </p:cNvPr>
              <p:cNvSpPr/>
              <p:nvPr/>
            </p:nvSpPr>
            <p:spPr>
              <a:xfrm>
                <a:off x="6814561" y="2070717"/>
                <a:ext cx="39565" cy="43083"/>
              </a:xfrm>
              <a:custGeom>
                <a:avLst/>
                <a:gdLst>
                  <a:gd name="connsiteX0" fmla="*/ 16339 w 39565"/>
                  <a:gd name="connsiteY0" fmla="*/ 43084 h 43083"/>
                  <a:gd name="connsiteX1" fmla="*/ 16339 w 39565"/>
                  <a:gd name="connsiteY1" fmla="*/ 25220 h 43083"/>
                  <a:gd name="connsiteX2" fmla="*/ 0 w 39565"/>
                  <a:gd name="connsiteY2" fmla="*/ 25220 h 43083"/>
                  <a:gd name="connsiteX3" fmla="*/ 0 w 39565"/>
                  <a:gd name="connsiteY3" fmla="*/ 17689 h 43083"/>
                  <a:gd name="connsiteX4" fmla="*/ 16339 w 39565"/>
                  <a:gd name="connsiteY4" fmla="*/ 17689 h 43083"/>
                  <a:gd name="connsiteX5" fmla="*/ 16339 w 39565"/>
                  <a:gd name="connsiteY5" fmla="*/ 0 h 43083"/>
                  <a:gd name="connsiteX6" fmla="*/ 23226 w 39565"/>
                  <a:gd name="connsiteY6" fmla="*/ 0 h 43083"/>
                  <a:gd name="connsiteX7" fmla="*/ 23226 w 39565"/>
                  <a:gd name="connsiteY7" fmla="*/ 17689 h 43083"/>
                  <a:gd name="connsiteX8" fmla="*/ 39565 w 39565"/>
                  <a:gd name="connsiteY8" fmla="*/ 17689 h 43083"/>
                  <a:gd name="connsiteX9" fmla="*/ 39565 w 39565"/>
                  <a:gd name="connsiteY9" fmla="*/ 25220 h 43083"/>
                  <a:gd name="connsiteX10" fmla="*/ 23226 w 39565"/>
                  <a:gd name="connsiteY10" fmla="*/ 25220 h 43083"/>
                  <a:gd name="connsiteX11" fmla="*/ 23226 w 39565"/>
                  <a:gd name="connsiteY11" fmla="*/ 43084 h 43083"/>
                  <a:gd name="connsiteX12" fmla="*/ 16339 w 3956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565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6" y="0"/>
                    </a:lnTo>
                    <a:lnTo>
                      <a:pt x="23226" y="17689"/>
                    </a:lnTo>
                    <a:lnTo>
                      <a:pt x="39565" y="17689"/>
                    </a:lnTo>
                    <a:lnTo>
                      <a:pt x="39565" y="25220"/>
                    </a:lnTo>
                    <a:lnTo>
                      <a:pt x="23226" y="25220"/>
                    </a:lnTo>
                    <a:lnTo>
                      <a:pt x="23226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36" name="Freihandform: Form 335">
                <a:extLst>
                  <a:ext uri="{FF2B5EF4-FFF2-40B4-BE49-F238E27FC236}">
                    <a16:creationId xmlns:a16="http://schemas.microsoft.com/office/drawing/2014/main" id="{8637E865-A3F8-E39D-8101-3537C6CE51BE}"/>
                  </a:ext>
                </a:extLst>
              </p:cNvPr>
              <p:cNvSpPr/>
              <p:nvPr/>
            </p:nvSpPr>
            <p:spPr>
              <a:xfrm>
                <a:off x="6820648" y="2070717"/>
                <a:ext cx="39404" cy="43083"/>
              </a:xfrm>
              <a:custGeom>
                <a:avLst/>
                <a:gdLst>
                  <a:gd name="connsiteX0" fmla="*/ 16178 w 39404"/>
                  <a:gd name="connsiteY0" fmla="*/ 43084 h 43083"/>
                  <a:gd name="connsiteX1" fmla="*/ 16178 w 39404"/>
                  <a:gd name="connsiteY1" fmla="*/ 25220 h 43083"/>
                  <a:gd name="connsiteX2" fmla="*/ 0 w 39404"/>
                  <a:gd name="connsiteY2" fmla="*/ 25220 h 43083"/>
                  <a:gd name="connsiteX3" fmla="*/ 0 w 39404"/>
                  <a:gd name="connsiteY3" fmla="*/ 17689 h 43083"/>
                  <a:gd name="connsiteX4" fmla="*/ 16178 w 39404"/>
                  <a:gd name="connsiteY4" fmla="*/ 17689 h 43083"/>
                  <a:gd name="connsiteX5" fmla="*/ 16178 w 39404"/>
                  <a:gd name="connsiteY5" fmla="*/ 0 h 43083"/>
                  <a:gd name="connsiteX6" fmla="*/ 23066 w 39404"/>
                  <a:gd name="connsiteY6" fmla="*/ 0 h 43083"/>
                  <a:gd name="connsiteX7" fmla="*/ 23066 w 39404"/>
                  <a:gd name="connsiteY7" fmla="*/ 17689 h 43083"/>
                  <a:gd name="connsiteX8" fmla="*/ 39405 w 39404"/>
                  <a:gd name="connsiteY8" fmla="*/ 17689 h 43083"/>
                  <a:gd name="connsiteX9" fmla="*/ 39405 w 39404"/>
                  <a:gd name="connsiteY9" fmla="*/ 25220 h 43083"/>
                  <a:gd name="connsiteX10" fmla="*/ 23066 w 39404"/>
                  <a:gd name="connsiteY10" fmla="*/ 25220 h 43083"/>
                  <a:gd name="connsiteX11" fmla="*/ 23066 w 39404"/>
                  <a:gd name="connsiteY11" fmla="*/ 43084 h 43083"/>
                  <a:gd name="connsiteX12" fmla="*/ 16178 w 39404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083">
                    <a:moveTo>
                      <a:pt x="16178" y="43084"/>
                    </a:moveTo>
                    <a:lnTo>
                      <a:pt x="16178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8" y="17689"/>
                    </a:lnTo>
                    <a:lnTo>
                      <a:pt x="16178" y="0"/>
                    </a:lnTo>
                    <a:lnTo>
                      <a:pt x="23066" y="0"/>
                    </a:lnTo>
                    <a:lnTo>
                      <a:pt x="23066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066" y="25220"/>
                    </a:lnTo>
                    <a:lnTo>
                      <a:pt x="23066" y="43084"/>
                    </a:lnTo>
                    <a:lnTo>
                      <a:pt x="16178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37" name="Freihandform: Form 336">
                <a:extLst>
                  <a:ext uri="{FF2B5EF4-FFF2-40B4-BE49-F238E27FC236}">
                    <a16:creationId xmlns:a16="http://schemas.microsoft.com/office/drawing/2014/main" id="{D52B6FFA-4975-1994-88EF-18759C5A4821}"/>
                  </a:ext>
                </a:extLst>
              </p:cNvPr>
              <p:cNvSpPr/>
              <p:nvPr/>
            </p:nvSpPr>
            <p:spPr>
              <a:xfrm>
                <a:off x="6823531" y="2070717"/>
                <a:ext cx="39565" cy="43083"/>
              </a:xfrm>
              <a:custGeom>
                <a:avLst/>
                <a:gdLst>
                  <a:gd name="connsiteX0" fmla="*/ 16339 w 39565"/>
                  <a:gd name="connsiteY0" fmla="*/ 43084 h 43083"/>
                  <a:gd name="connsiteX1" fmla="*/ 16339 w 39565"/>
                  <a:gd name="connsiteY1" fmla="*/ 25220 h 43083"/>
                  <a:gd name="connsiteX2" fmla="*/ 0 w 39565"/>
                  <a:gd name="connsiteY2" fmla="*/ 25220 h 43083"/>
                  <a:gd name="connsiteX3" fmla="*/ 0 w 39565"/>
                  <a:gd name="connsiteY3" fmla="*/ 17689 h 43083"/>
                  <a:gd name="connsiteX4" fmla="*/ 16339 w 39565"/>
                  <a:gd name="connsiteY4" fmla="*/ 17689 h 43083"/>
                  <a:gd name="connsiteX5" fmla="*/ 16339 w 39565"/>
                  <a:gd name="connsiteY5" fmla="*/ 0 h 43083"/>
                  <a:gd name="connsiteX6" fmla="*/ 23226 w 39565"/>
                  <a:gd name="connsiteY6" fmla="*/ 0 h 43083"/>
                  <a:gd name="connsiteX7" fmla="*/ 23226 w 39565"/>
                  <a:gd name="connsiteY7" fmla="*/ 17689 h 43083"/>
                  <a:gd name="connsiteX8" fmla="*/ 39565 w 39565"/>
                  <a:gd name="connsiteY8" fmla="*/ 17689 h 43083"/>
                  <a:gd name="connsiteX9" fmla="*/ 39565 w 39565"/>
                  <a:gd name="connsiteY9" fmla="*/ 25220 h 43083"/>
                  <a:gd name="connsiteX10" fmla="*/ 23226 w 39565"/>
                  <a:gd name="connsiteY10" fmla="*/ 25220 h 43083"/>
                  <a:gd name="connsiteX11" fmla="*/ 23226 w 39565"/>
                  <a:gd name="connsiteY11" fmla="*/ 43084 h 43083"/>
                  <a:gd name="connsiteX12" fmla="*/ 16339 w 3956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565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6" y="0"/>
                    </a:lnTo>
                    <a:lnTo>
                      <a:pt x="23226" y="17689"/>
                    </a:lnTo>
                    <a:lnTo>
                      <a:pt x="39565" y="17689"/>
                    </a:lnTo>
                    <a:lnTo>
                      <a:pt x="39565" y="25220"/>
                    </a:lnTo>
                    <a:lnTo>
                      <a:pt x="23226" y="25220"/>
                    </a:lnTo>
                    <a:lnTo>
                      <a:pt x="23226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38" name="Freihandform: Form 337">
                <a:extLst>
                  <a:ext uri="{FF2B5EF4-FFF2-40B4-BE49-F238E27FC236}">
                    <a16:creationId xmlns:a16="http://schemas.microsoft.com/office/drawing/2014/main" id="{414440B8-E16D-B66D-812B-FB26164F4293}"/>
                  </a:ext>
                </a:extLst>
              </p:cNvPr>
              <p:cNvSpPr/>
              <p:nvPr/>
            </p:nvSpPr>
            <p:spPr>
              <a:xfrm>
                <a:off x="6826575" y="2070717"/>
                <a:ext cx="39404" cy="43083"/>
              </a:xfrm>
              <a:custGeom>
                <a:avLst/>
                <a:gdLst>
                  <a:gd name="connsiteX0" fmla="*/ 16178 w 39404"/>
                  <a:gd name="connsiteY0" fmla="*/ 43084 h 43083"/>
                  <a:gd name="connsiteX1" fmla="*/ 16178 w 39404"/>
                  <a:gd name="connsiteY1" fmla="*/ 25220 h 43083"/>
                  <a:gd name="connsiteX2" fmla="*/ 0 w 39404"/>
                  <a:gd name="connsiteY2" fmla="*/ 25220 h 43083"/>
                  <a:gd name="connsiteX3" fmla="*/ 0 w 39404"/>
                  <a:gd name="connsiteY3" fmla="*/ 17689 h 43083"/>
                  <a:gd name="connsiteX4" fmla="*/ 16178 w 39404"/>
                  <a:gd name="connsiteY4" fmla="*/ 17689 h 43083"/>
                  <a:gd name="connsiteX5" fmla="*/ 16178 w 39404"/>
                  <a:gd name="connsiteY5" fmla="*/ 0 h 43083"/>
                  <a:gd name="connsiteX6" fmla="*/ 23226 w 39404"/>
                  <a:gd name="connsiteY6" fmla="*/ 0 h 43083"/>
                  <a:gd name="connsiteX7" fmla="*/ 23226 w 39404"/>
                  <a:gd name="connsiteY7" fmla="*/ 17689 h 43083"/>
                  <a:gd name="connsiteX8" fmla="*/ 39405 w 39404"/>
                  <a:gd name="connsiteY8" fmla="*/ 17689 h 43083"/>
                  <a:gd name="connsiteX9" fmla="*/ 39405 w 39404"/>
                  <a:gd name="connsiteY9" fmla="*/ 25220 h 43083"/>
                  <a:gd name="connsiteX10" fmla="*/ 23226 w 39404"/>
                  <a:gd name="connsiteY10" fmla="*/ 25220 h 43083"/>
                  <a:gd name="connsiteX11" fmla="*/ 23226 w 39404"/>
                  <a:gd name="connsiteY11" fmla="*/ 43084 h 43083"/>
                  <a:gd name="connsiteX12" fmla="*/ 16178 w 39404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083">
                    <a:moveTo>
                      <a:pt x="16178" y="43084"/>
                    </a:moveTo>
                    <a:lnTo>
                      <a:pt x="16178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8" y="17689"/>
                    </a:lnTo>
                    <a:lnTo>
                      <a:pt x="16178" y="0"/>
                    </a:lnTo>
                    <a:lnTo>
                      <a:pt x="23226" y="0"/>
                    </a:lnTo>
                    <a:lnTo>
                      <a:pt x="23226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226" y="25220"/>
                    </a:lnTo>
                    <a:lnTo>
                      <a:pt x="23226" y="43084"/>
                    </a:lnTo>
                    <a:lnTo>
                      <a:pt x="16178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39" name="Freihandform: Form 338">
                <a:extLst>
                  <a:ext uri="{FF2B5EF4-FFF2-40B4-BE49-F238E27FC236}">
                    <a16:creationId xmlns:a16="http://schemas.microsoft.com/office/drawing/2014/main" id="{4BD27292-C6DE-D8AB-6B39-9CC189B32FD8}"/>
                  </a:ext>
                </a:extLst>
              </p:cNvPr>
              <p:cNvSpPr/>
              <p:nvPr/>
            </p:nvSpPr>
            <p:spPr>
              <a:xfrm>
                <a:off x="6832502" y="2070717"/>
                <a:ext cx="39404" cy="43083"/>
              </a:xfrm>
              <a:custGeom>
                <a:avLst/>
                <a:gdLst>
                  <a:gd name="connsiteX0" fmla="*/ 16179 w 39404"/>
                  <a:gd name="connsiteY0" fmla="*/ 43084 h 43083"/>
                  <a:gd name="connsiteX1" fmla="*/ 16179 w 39404"/>
                  <a:gd name="connsiteY1" fmla="*/ 25220 h 43083"/>
                  <a:gd name="connsiteX2" fmla="*/ 0 w 39404"/>
                  <a:gd name="connsiteY2" fmla="*/ 25220 h 43083"/>
                  <a:gd name="connsiteX3" fmla="*/ 0 w 39404"/>
                  <a:gd name="connsiteY3" fmla="*/ 17689 h 43083"/>
                  <a:gd name="connsiteX4" fmla="*/ 16179 w 39404"/>
                  <a:gd name="connsiteY4" fmla="*/ 17689 h 43083"/>
                  <a:gd name="connsiteX5" fmla="*/ 16179 w 39404"/>
                  <a:gd name="connsiteY5" fmla="*/ 0 h 43083"/>
                  <a:gd name="connsiteX6" fmla="*/ 23066 w 39404"/>
                  <a:gd name="connsiteY6" fmla="*/ 0 h 43083"/>
                  <a:gd name="connsiteX7" fmla="*/ 23066 w 39404"/>
                  <a:gd name="connsiteY7" fmla="*/ 17689 h 43083"/>
                  <a:gd name="connsiteX8" fmla="*/ 39405 w 39404"/>
                  <a:gd name="connsiteY8" fmla="*/ 17689 h 43083"/>
                  <a:gd name="connsiteX9" fmla="*/ 39405 w 39404"/>
                  <a:gd name="connsiteY9" fmla="*/ 25220 h 43083"/>
                  <a:gd name="connsiteX10" fmla="*/ 23066 w 39404"/>
                  <a:gd name="connsiteY10" fmla="*/ 25220 h 43083"/>
                  <a:gd name="connsiteX11" fmla="*/ 23066 w 39404"/>
                  <a:gd name="connsiteY11" fmla="*/ 43084 h 43083"/>
                  <a:gd name="connsiteX12" fmla="*/ 16179 w 39404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083">
                    <a:moveTo>
                      <a:pt x="16179" y="43084"/>
                    </a:moveTo>
                    <a:lnTo>
                      <a:pt x="1617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9" y="17689"/>
                    </a:lnTo>
                    <a:lnTo>
                      <a:pt x="16179" y="0"/>
                    </a:lnTo>
                    <a:lnTo>
                      <a:pt x="23066" y="0"/>
                    </a:lnTo>
                    <a:lnTo>
                      <a:pt x="23066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066" y="25220"/>
                    </a:lnTo>
                    <a:lnTo>
                      <a:pt x="23066" y="43084"/>
                    </a:lnTo>
                    <a:lnTo>
                      <a:pt x="1617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40" name="Freihandform: Form 339">
                <a:extLst>
                  <a:ext uri="{FF2B5EF4-FFF2-40B4-BE49-F238E27FC236}">
                    <a16:creationId xmlns:a16="http://schemas.microsoft.com/office/drawing/2014/main" id="{B91A9FBB-BAE7-5BF9-B440-89817C6773C6}"/>
                  </a:ext>
                </a:extLst>
              </p:cNvPr>
              <p:cNvSpPr/>
              <p:nvPr/>
            </p:nvSpPr>
            <p:spPr>
              <a:xfrm>
                <a:off x="6880076" y="2070717"/>
                <a:ext cx="39565" cy="43083"/>
              </a:xfrm>
              <a:custGeom>
                <a:avLst/>
                <a:gdLst>
                  <a:gd name="connsiteX0" fmla="*/ 16339 w 39565"/>
                  <a:gd name="connsiteY0" fmla="*/ 43084 h 43083"/>
                  <a:gd name="connsiteX1" fmla="*/ 16339 w 39565"/>
                  <a:gd name="connsiteY1" fmla="*/ 25220 h 43083"/>
                  <a:gd name="connsiteX2" fmla="*/ 0 w 39565"/>
                  <a:gd name="connsiteY2" fmla="*/ 25220 h 43083"/>
                  <a:gd name="connsiteX3" fmla="*/ 0 w 39565"/>
                  <a:gd name="connsiteY3" fmla="*/ 17689 h 43083"/>
                  <a:gd name="connsiteX4" fmla="*/ 16339 w 39565"/>
                  <a:gd name="connsiteY4" fmla="*/ 17689 h 43083"/>
                  <a:gd name="connsiteX5" fmla="*/ 16339 w 39565"/>
                  <a:gd name="connsiteY5" fmla="*/ 0 h 43083"/>
                  <a:gd name="connsiteX6" fmla="*/ 23226 w 39565"/>
                  <a:gd name="connsiteY6" fmla="*/ 0 h 43083"/>
                  <a:gd name="connsiteX7" fmla="*/ 23226 w 39565"/>
                  <a:gd name="connsiteY7" fmla="*/ 17689 h 43083"/>
                  <a:gd name="connsiteX8" fmla="*/ 39565 w 39565"/>
                  <a:gd name="connsiteY8" fmla="*/ 17689 h 43083"/>
                  <a:gd name="connsiteX9" fmla="*/ 39565 w 39565"/>
                  <a:gd name="connsiteY9" fmla="*/ 25220 h 43083"/>
                  <a:gd name="connsiteX10" fmla="*/ 23226 w 39565"/>
                  <a:gd name="connsiteY10" fmla="*/ 25220 h 43083"/>
                  <a:gd name="connsiteX11" fmla="*/ 23226 w 39565"/>
                  <a:gd name="connsiteY11" fmla="*/ 43084 h 43083"/>
                  <a:gd name="connsiteX12" fmla="*/ 16339 w 3956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565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6" y="0"/>
                    </a:lnTo>
                    <a:lnTo>
                      <a:pt x="23226" y="17689"/>
                    </a:lnTo>
                    <a:lnTo>
                      <a:pt x="39565" y="17689"/>
                    </a:lnTo>
                    <a:lnTo>
                      <a:pt x="39565" y="25220"/>
                    </a:lnTo>
                    <a:lnTo>
                      <a:pt x="23226" y="25220"/>
                    </a:lnTo>
                    <a:lnTo>
                      <a:pt x="23226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41" name="Freihandform: Form 340">
                <a:extLst>
                  <a:ext uri="{FF2B5EF4-FFF2-40B4-BE49-F238E27FC236}">
                    <a16:creationId xmlns:a16="http://schemas.microsoft.com/office/drawing/2014/main" id="{49BCB625-BB25-D1E1-04AA-03099C498323}"/>
                  </a:ext>
                </a:extLst>
              </p:cNvPr>
              <p:cNvSpPr/>
              <p:nvPr/>
            </p:nvSpPr>
            <p:spPr>
              <a:xfrm>
                <a:off x="6895133" y="2070717"/>
                <a:ext cx="39404" cy="43083"/>
              </a:xfrm>
              <a:custGeom>
                <a:avLst/>
                <a:gdLst>
                  <a:gd name="connsiteX0" fmla="*/ 16178 w 39404"/>
                  <a:gd name="connsiteY0" fmla="*/ 43084 h 43083"/>
                  <a:gd name="connsiteX1" fmla="*/ 16178 w 39404"/>
                  <a:gd name="connsiteY1" fmla="*/ 25220 h 43083"/>
                  <a:gd name="connsiteX2" fmla="*/ 0 w 39404"/>
                  <a:gd name="connsiteY2" fmla="*/ 25220 h 43083"/>
                  <a:gd name="connsiteX3" fmla="*/ 0 w 39404"/>
                  <a:gd name="connsiteY3" fmla="*/ 17689 h 43083"/>
                  <a:gd name="connsiteX4" fmla="*/ 16178 w 39404"/>
                  <a:gd name="connsiteY4" fmla="*/ 17689 h 43083"/>
                  <a:gd name="connsiteX5" fmla="*/ 16178 w 39404"/>
                  <a:gd name="connsiteY5" fmla="*/ 0 h 43083"/>
                  <a:gd name="connsiteX6" fmla="*/ 23066 w 39404"/>
                  <a:gd name="connsiteY6" fmla="*/ 0 h 43083"/>
                  <a:gd name="connsiteX7" fmla="*/ 23066 w 39404"/>
                  <a:gd name="connsiteY7" fmla="*/ 17689 h 43083"/>
                  <a:gd name="connsiteX8" fmla="*/ 39405 w 39404"/>
                  <a:gd name="connsiteY8" fmla="*/ 17689 h 43083"/>
                  <a:gd name="connsiteX9" fmla="*/ 39405 w 39404"/>
                  <a:gd name="connsiteY9" fmla="*/ 25220 h 43083"/>
                  <a:gd name="connsiteX10" fmla="*/ 23066 w 39404"/>
                  <a:gd name="connsiteY10" fmla="*/ 25220 h 43083"/>
                  <a:gd name="connsiteX11" fmla="*/ 23066 w 39404"/>
                  <a:gd name="connsiteY11" fmla="*/ 43084 h 43083"/>
                  <a:gd name="connsiteX12" fmla="*/ 16178 w 39404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083">
                    <a:moveTo>
                      <a:pt x="16178" y="43084"/>
                    </a:moveTo>
                    <a:lnTo>
                      <a:pt x="16178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8" y="17689"/>
                    </a:lnTo>
                    <a:lnTo>
                      <a:pt x="16178" y="0"/>
                    </a:lnTo>
                    <a:lnTo>
                      <a:pt x="23066" y="0"/>
                    </a:lnTo>
                    <a:lnTo>
                      <a:pt x="23066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066" y="25220"/>
                    </a:lnTo>
                    <a:lnTo>
                      <a:pt x="23066" y="43084"/>
                    </a:lnTo>
                    <a:lnTo>
                      <a:pt x="16178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42" name="Freihandform: Form 341">
                <a:extLst>
                  <a:ext uri="{FF2B5EF4-FFF2-40B4-BE49-F238E27FC236}">
                    <a16:creationId xmlns:a16="http://schemas.microsoft.com/office/drawing/2014/main" id="{36ECE701-6658-7749-190F-C191075CBFE2}"/>
                  </a:ext>
                </a:extLst>
              </p:cNvPr>
              <p:cNvSpPr/>
              <p:nvPr/>
            </p:nvSpPr>
            <p:spPr>
              <a:xfrm>
                <a:off x="6898017" y="2070717"/>
                <a:ext cx="39404" cy="43083"/>
              </a:xfrm>
              <a:custGeom>
                <a:avLst/>
                <a:gdLst>
                  <a:gd name="connsiteX0" fmla="*/ 16339 w 39404"/>
                  <a:gd name="connsiteY0" fmla="*/ 43084 h 43083"/>
                  <a:gd name="connsiteX1" fmla="*/ 16339 w 39404"/>
                  <a:gd name="connsiteY1" fmla="*/ 25220 h 43083"/>
                  <a:gd name="connsiteX2" fmla="*/ 0 w 39404"/>
                  <a:gd name="connsiteY2" fmla="*/ 25220 h 43083"/>
                  <a:gd name="connsiteX3" fmla="*/ 0 w 39404"/>
                  <a:gd name="connsiteY3" fmla="*/ 17689 h 43083"/>
                  <a:gd name="connsiteX4" fmla="*/ 16339 w 39404"/>
                  <a:gd name="connsiteY4" fmla="*/ 17689 h 43083"/>
                  <a:gd name="connsiteX5" fmla="*/ 16339 w 39404"/>
                  <a:gd name="connsiteY5" fmla="*/ 0 h 43083"/>
                  <a:gd name="connsiteX6" fmla="*/ 23227 w 39404"/>
                  <a:gd name="connsiteY6" fmla="*/ 0 h 43083"/>
                  <a:gd name="connsiteX7" fmla="*/ 23227 w 39404"/>
                  <a:gd name="connsiteY7" fmla="*/ 17689 h 43083"/>
                  <a:gd name="connsiteX8" fmla="*/ 39405 w 39404"/>
                  <a:gd name="connsiteY8" fmla="*/ 17689 h 43083"/>
                  <a:gd name="connsiteX9" fmla="*/ 39405 w 39404"/>
                  <a:gd name="connsiteY9" fmla="*/ 25220 h 43083"/>
                  <a:gd name="connsiteX10" fmla="*/ 23227 w 39404"/>
                  <a:gd name="connsiteY10" fmla="*/ 25220 h 43083"/>
                  <a:gd name="connsiteX11" fmla="*/ 23227 w 39404"/>
                  <a:gd name="connsiteY11" fmla="*/ 43084 h 43083"/>
                  <a:gd name="connsiteX12" fmla="*/ 16339 w 39404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43" name="Freihandform: Form 342">
                <a:extLst>
                  <a:ext uri="{FF2B5EF4-FFF2-40B4-BE49-F238E27FC236}">
                    <a16:creationId xmlns:a16="http://schemas.microsoft.com/office/drawing/2014/main" id="{230E4764-C30F-E965-9A4E-C550B44019F9}"/>
                  </a:ext>
                </a:extLst>
              </p:cNvPr>
              <p:cNvSpPr/>
              <p:nvPr/>
            </p:nvSpPr>
            <p:spPr>
              <a:xfrm>
                <a:off x="6909870" y="2070717"/>
                <a:ext cx="39565" cy="43083"/>
              </a:xfrm>
              <a:custGeom>
                <a:avLst/>
                <a:gdLst>
                  <a:gd name="connsiteX0" fmla="*/ 16339 w 39565"/>
                  <a:gd name="connsiteY0" fmla="*/ 43084 h 43083"/>
                  <a:gd name="connsiteX1" fmla="*/ 16339 w 39565"/>
                  <a:gd name="connsiteY1" fmla="*/ 25220 h 43083"/>
                  <a:gd name="connsiteX2" fmla="*/ 0 w 39565"/>
                  <a:gd name="connsiteY2" fmla="*/ 25220 h 43083"/>
                  <a:gd name="connsiteX3" fmla="*/ 0 w 39565"/>
                  <a:gd name="connsiteY3" fmla="*/ 17689 h 43083"/>
                  <a:gd name="connsiteX4" fmla="*/ 16339 w 39565"/>
                  <a:gd name="connsiteY4" fmla="*/ 17689 h 43083"/>
                  <a:gd name="connsiteX5" fmla="*/ 16339 w 39565"/>
                  <a:gd name="connsiteY5" fmla="*/ 0 h 43083"/>
                  <a:gd name="connsiteX6" fmla="*/ 23227 w 39565"/>
                  <a:gd name="connsiteY6" fmla="*/ 0 h 43083"/>
                  <a:gd name="connsiteX7" fmla="*/ 23227 w 39565"/>
                  <a:gd name="connsiteY7" fmla="*/ 17689 h 43083"/>
                  <a:gd name="connsiteX8" fmla="*/ 39565 w 39565"/>
                  <a:gd name="connsiteY8" fmla="*/ 17689 h 43083"/>
                  <a:gd name="connsiteX9" fmla="*/ 39565 w 39565"/>
                  <a:gd name="connsiteY9" fmla="*/ 25220 h 43083"/>
                  <a:gd name="connsiteX10" fmla="*/ 23227 w 39565"/>
                  <a:gd name="connsiteY10" fmla="*/ 25220 h 43083"/>
                  <a:gd name="connsiteX11" fmla="*/ 23227 w 39565"/>
                  <a:gd name="connsiteY11" fmla="*/ 43084 h 43083"/>
                  <a:gd name="connsiteX12" fmla="*/ 16339 w 3956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565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565" y="17689"/>
                    </a:lnTo>
                    <a:lnTo>
                      <a:pt x="3956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44" name="Freihandform: Form 343">
                <a:extLst>
                  <a:ext uri="{FF2B5EF4-FFF2-40B4-BE49-F238E27FC236}">
                    <a16:creationId xmlns:a16="http://schemas.microsoft.com/office/drawing/2014/main" id="{93D3E4B9-E2A4-77DB-E327-2C91D6EF2308}"/>
                  </a:ext>
                </a:extLst>
              </p:cNvPr>
              <p:cNvSpPr/>
              <p:nvPr/>
            </p:nvSpPr>
            <p:spPr>
              <a:xfrm>
                <a:off x="6969458" y="2070717"/>
                <a:ext cx="39565" cy="43083"/>
              </a:xfrm>
              <a:custGeom>
                <a:avLst/>
                <a:gdLst>
                  <a:gd name="connsiteX0" fmla="*/ 16339 w 39565"/>
                  <a:gd name="connsiteY0" fmla="*/ 43084 h 43083"/>
                  <a:gd name="connsiteX1" fmla="*/ 16339 w 39565"/>
                  <a:gd name="connsiteY1" fmla="*/ 25220 h 43083"/>
                  <a:gd name="connsiteX2" fmla="*/ 0 w 39565"/>
                  <a:gd name="connsiteY2" fmla="*/ 25220 h 43083"/>
                  <a:gd name="connsiteX3" fmla="*/ 0 w 39565"/>
                  <a:gd name="connsiteY3" fmla="*/ 17689 h 43083"/>
                  <a:gd name="connsiteX4" fmla="*/ 16339 w 39565"/>
                  <a:gd name="connsiteY4" fmla="*/ 17689 h 43083"/>
                  <a:gd name="connsiteX5" fmla="*/ 16339 w 39565"/>
                  <a:gd name="connsiteY5" fmla="*/ 0 h 43083"/>
                  <a:gd name="connsiteX6" fmla="*/ 23227 w 39565"/>
                  <a:gd name="connsiteY6" fmla="*/ 0 h 43083"/>
                  <a:gd name="connsiteX7" fmla="*/ 23227 w 39565"/>
                  <a:gd name="connsiteY7" fmla="*/ 17689 h 43083"/>
                  <a:gd name="connsiteX8" fmla="*/ 39565 w 39565"/>
                  <a:gd name="connsiteY8" fmla="*/ 17689 h 43083"/>
                  <a:gd name="connsiteX9" fmla="*/ 39565 w 39565"/>
                  <a:gd name="connsiteY9" fmla="*/ 25220 h 43083"/>
                  <a:gd name="connsiteX10" fmla="*/ 23227 w 39565"/>
                  <a:gd name="connsiteY10" fmla="*/ 25220 h 43083"/>
                  <a:gd name="connsiteX11" fmla="*/ 23227 w 39565"/>
                  <a:gd name="connsiteY11" fmla="*/ 43084 h 43083"/>
                  <a:gd name="connsiteX12" fmla="*/ 16339 w 3956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565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565" y="17689"/>
                    </a:lnTo>
                    <a:lnTo>
                      <a:pt x="3956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45" name="Freihandform: Form 344">
                <a:extLst>
                  <a:ext uri="{FF2B5EF4-FFF2-40B4-BE49-F238E27FC236}">
                    <a16:creationId xmlns:a16="http://schemas.microsoft.com/office/drawing/2014/main" id="{101BBCE8-DFDC-FF6E-7061-903B4085035B}"/>
                  </a:ext>
                </a:extLst>
              </p:cNvPr>
              <p:cNvSpPr/>
              <p:nvPr/>
            </p:nvSpPr>
            <p:spPr>
              <a:xfrm>
                <a:off x="6978428" y="2070717"/>
                <a:ext cx="39405" cy="43083"/>
              </a:xfrm>
              <a:custGeom>
                <a:avLst/>
                <a:gdLst>
                  <a:gd name="connsiteX0" fmla="*/ 16179 w 39405"/>
                  <a:gd name="connsiteY0" fmla="*/ 43084 h 43083"/>
                  <a:gd name="connsiteX1" fmla="*/ 16179 w 39405"/>
                  <a:gd name="connsiteY1" fmla="*/ 25220 h 43083"/>
                  <a:gd name="connsiteX2" fmla="*/ 0 w 39405"/>
                  <a:gd name="connsiteY2" fmla="*/ 25220 h 43083"/>
                  <a:gd name="connsiteX3" fmla="*/ 0 w 39405"/>
                  <a:gd name="connsiteY3" fmla="*/ 17689 h 43083"/>
                  <a:gd name="connsiteX4" fmla="*/ 16179 w 39405"/>
                  <a:gd name="connsiteY4" fmla="*/ 17689 h 43083"/>
                  <a:gd name="connsiteX5" fmla="*/ 16179 w 39405"/>
                  <a:gd name="connsiteY5" fmla="*/ 0 h 43083"/>
                  <a:gd name="connsiteX6" fmla="*/ 23227 w 39405"/>
                  <a:gd name="connsiteY6" fmla="*/ 0 h 43083"/>
                  <a:gd name="connsiteX7" fmla="*/ 23227 w 39405"/>
                  <a:gd name="connsiteY7" fmla="*/ 17689 h 43083"/>
                  <a:gd name="connsiteX8" fmla="*/ 39405 w 39405"/>
                  <a:gd name="connsiteY8" fmla="*/ 17689 h 43083"/>
                  <a:gd name="connsiteX9" fmla="*/ 39405 w 39405"/>
                  <a:gd name="connsiteY9" fmla="*/ 25220 h 43083"/>
                  <a:gd name="connsiteX10" fmla="*/ 23227 w 39405"/>
                  <a:gd name="connsiteY10" fmla="*/ 25220 h 43083"/>
                  <a:gd name="connsiteX11" fmla="*/ 23227 w 39405"/>
                  <a:gd name="connsiteY11" fmla="*/ 43084 h 43083"/>
                  <a:gd name="connsiteX12" fmla="*/ 16179 w 3940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5" h="43083">
                    <a:moveTo>
                      <a:pt x="16179" y="43084"/>
                    </a:moveTo>
                    <a:lnTo>
                      <a:pt x="1617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9" y="17689"/>
                    </a:lnTo>
                    <a:lnTo>
                      <a:pt x="1617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17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46" name="Freihandform: Form 345">
                <a:extLst>
                  <a:ext uri="{FF2B5EF4-FFF2-40B4-BE49-F238E27FC236}">
                    <a16:creationId xmlns:a16="http://schemas.microsoft.com/office/drawing/2014/main" id="{867C2692-BBDC-0CC6-5513-9D8830B756AE}"/>
                  </a:ext>
                </a:extLst>
              </p:cNvPr>
              <p:cNvSpPr/>
              <p:nvPr/>
            </p:nvSpPr>
            <p:spPr>
              <a:xfrm>
                <a:off x="6984355" y="2070717"/>
                <a:ext cx="39405" cy="43083"/>
              </a:xfrm>
              <a:custGeom>
                <a:avLst/>
                <a:gdLst>
                  <a:gd name="connsiteX0" fmla="*/ 16339 w 39405"/>
                  <a:gd name="connsiteY0" fmla="*/ 43084 h 43083"/>
                  <a:gd name="connsiteX1" fmla="*/ 16339 w 39405"/>
                  <a:gd name="connsiteY1" fmla="*/ 25220 h 43083"/>
                  <a:gd name="connsiteX2" fmla="*/ 0 w 39405"/>
                  <a:gd name="connsiteY2" fmla="*/ 25220 h 43083"/>
                  <a:gd name="connsiteX3" fmla="*/ 0 w 39405"/>
                  <a:gd name="connsiteY3" fmla="*/ 17689 h 43083"/>
                  <a:gd name="connsiteX4" fmla="*/ 16339 w 39405"/>
                  <a:gd name="connsiteY4" fmla="*/ 17689 h 43083"/>
                  <a:gd name="connsiteX5" fmla="*/ 16339 w 39405"/>
                  <a:gd name="connsiteY5" fmla="*/ 0 h 43083"/>
                  <a:gd name="connsiteX6" fmla="*/ 23227 w 39405"/>
                  <a:gd name="connsiteY6" fmla="*/ 0 h 43083"/>
                  <a:gd name="connsiteX7" fmla="*/ 23227 w 39405"/>
                  <a:gd name="connsiteY7" fmla="*/ 17689 h 43083"/>
                  <a:gd name="connsiteX8" fmla="*/ 39405 w 39405"/>
                  <a:gd name="connsiteY8" fmla="*/ 17689 h 43083"/>
                  <a:gd name="connsiteX9" fmla="*/ 39405 w 39405"/>
                  <a:gd name="connsiteY9" fmla="*/ 25220 h 43083"/>
                  <a:gd name="connsiteX10" fmla="*/ 23227 w 39405"/>
                  <a:gd name="connsiteY10" fmla="*/ 25220 h 43083"/>
                  <a:gd name="connsiteX11" fmla="*/ 23227 w 39405"/>
                  <a:gd name="connsiteY11" fmla="*/ 43084 h 43083"/>
                  <a:gd name="connsiteX12" fmla="*/ 16339 w 3940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5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47" name="Freihandform: Form 346">
                <a:extLst>
                  <a:ext uri="{FF2B5EF4-FFF2-40B4-BE49-F238E27FC236}">
                    <a16:creationId xmlns:a16="http://schemas.microsoft.com/office/drawing/2014/main" id="{4FDD8975-535D-E728-19F8-0CB70A7FA0FC}"/>
                  </a:ext>
                </a:extLst>
              </p:cNvPr>
              <p:cNvSpPr/>
              <p:nvPr/>
            </p:nvSpPr>
            <p:spPr>
              <a:xfrm>
                <a:off x="7005179" y="2070717"/>
                <a:ext cx="39565" cy="43083"/>
              </a:xfrm>
              <a:custGeom>
                <a:avLst/>
                <a:gdLst>
                  <a:gd name="connsiteX0" fmla="*/ 16339 w 39565"/>
                  <a:gd name="connsiteY0" fmla="*/ 43084 h 43083"/>
                  <a:gd name="connsiteX1" fmla="*/ 16339 w 39565"/>
                  <a:gd name="connsiteY1" fmla="*/ 25220 h 43083"/>
                  <a:gd name="connsiteX2" fmla="*/ 0 w 39565"/>
                  <a:gd name="connsiteY2" fmla="*/ 25220 h 43083"/>
                  <a:gd name="connsiteX3" fmla="*/ 0 w 39565"/>
                  <a:gd name="connsiteY3" fmla="*/ 17689 h 43083"/>
                  <a:gd name="connsiteX4" fmla="*/ 16339 w 39565"/>
                  <a:gd name="connsiteY4" fmla="*/ 17689 h 43083"/>
                  <a:gd name="connsiteX5" fmla="*/ 16339 w 39565"/>
                  <a:gd name="connsiteY5" fmla="*/ 0 h 43083"/>
                  <a:gd name="connsiteX6" fmla="*/ 23226 w 39565"/>
                  <a:gd name="connsiteY6" fmla="*/ 0 h 43083"/>
                  <a:gd name="connsiteX7" fmla="*/ 23226 w 39565"/>
                  <a:gd name="connsiteY7" fmla="*/ 17689 h 43083"/>
                  <a:gd name="connsiteX8" fmla="*/ 39565 w 39565"/>
                  <a:gd name="connsiteY8" fmla="*/ 17689 h 43083"/>
                  <a:gd name="connsiteX9" fmla="*/ 39565 w 39565"/>
                  <a:gd name="connsiteY9" fmla="*/ 25220 h 43083"/>
                  <a:gd name="connsiteX10" fmla="*/ 23226 w 39565"/>
                  <a:gd name="connsiteY10" fmla="*/ 25220 h 43083"/>
                  <a:gd name="connsiteX11" fmla="*/ 23226 w 39565"/>
                  <a:gd name="connsiteY11" fmla="*/ 43084 h 43083"/>
                  <a:gd name="connsiteX12" fmla="*/ 16339 w 3956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565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6" y="0"/>
                    </a:lnTo>
                    <a:lnTo>
                      <a:pt x="23226" y="17689"/>
                    </a:lnTo>
                    <a:lnTo>
                      <a:pt x="39565" y="17689"/>
                    </a:lnTo>
                    <a:lnTo>
                      <a:pt x="39565" y="25220"/>
                    </a:lnTo>
                    <a:lnTo>
                      <a:pt x="23226" y="25220"/>
                    </a:lnTo>
                    <a:lnTo>
                      <a:pt x="23226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48" name="Freihandform: Form 347">
                <a:extLst>
                  <a:ext uri="{FF2B5EF4-FFF2-40B4-BE49-F238E27FC236}">
                    <a16:creationId xmlns:a16="http://schemas.microsoft.com/office/drawing/2014/main" id="{BA96DFEB-A62A-1C31-7F6D-BAD28DAE27C0}"/>
                  </a:ext>
                </a:extLst>
              </p:cNvPr>
              <p:cNvSpPr/>
              <p:nvPr/>
            </p:nvSpPr>
            <p:spPr>
              <a:xfrm>
                <a:off x="7026163" y="2070717"/>
                <a:ext cx="39404" cy="43083"/>
              </a:xfrm>
              <a:custGeom>
                <a:avLst/>
                <a:gdLst>
                  <a:gd name="connsiteX0" fmla="*/ 16179 w 39404"/>
                  <a:gd name="connsiteY0" fmla="*/ 43084 h 43083"/>
                  <a:gd name="connsiteX1" fmla="*/ 16179 w 39404"/>
                  <a:gd name="connsiteY1" fmla="*/ 25220 h 43083"/>
                  <a:gd name="connsiteX2" fmla="*/ 0 w 39404"/>
                  <a:gd name="connsiteY2" fmla="*/ 25220 h 43083"/>
                  <a:gd name="connsiteX3" fmla="*/ 0 w 39404"/>
                  <a:gd name="connsiteY3" fmla="*/ 17689 h 43083"/>
                  <a:gd name="connsiteX4" fmla="*/ 16179 w 39404"/>
                  <a:gd name="connsiteY4" fmla="*/ 17689 h 43083"/>
                  <a:gd name="connsiteX5" fmla="*/ 16179 w 39404"/>
                  <a:gd name="connsiteY5" fmla="*/ 0 h 43083"/>
                  <a:gd name="connsiteX6" fmla="*/ 23066 w 39404"/>
                  <a:gd name="connsiteY6" fmla="*/ 0 h 43083"/>
                  <a:gd name="connsiteX7" fmla="*/ 23066 w 39404"/>
                  <a:gd name="connsiteY7" fmla="*/ 17689 h 43083"/>
                  <a:gd name="connsiteX8" fmla="*/ 39405 w 39404"/>
                  <a:gd name="connsiteY8" fmla="*/ 17689 h 43083"/>
                  <a:gd name="connsiteX9" fmla="*/ 39405 w 39404"/>
                  <a:gd name="connsiteY9" fmla="*/ 25220 h 43083"/>
                  <a:gd name="connsiteX10" fmla="*/ 23066 w 39404"/>
                  <a:gd name="connsiteY10" fmla="*/ 25220 h 43083"/>
                  <a:gd name="connsiteX11" fmla="*/ 23066 w 39404"/>
                  <a:gd name="connsiteY11" fmla="*/ 43084 h 43083"/>
                  <a:gd name="connsiteX12" fmla="*/ 16179 w 39404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083">
                    <a:moveTo>
                      <a:pt x="16179" y="43084"/>
                    </a:moveTo>
                    <a:lnTo>
                      <a:pt x="1617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9" y="17689"/>
                    </a:lnTo>
                    <a:lnTo>
                      <a:pt x="16179" y="0"/>
                    </a:lnTo>
                    <a:lnTo>
                      <a:pt x="23066" y="0"/>
                    </a:lnTo>
                    <a:lnTo>
                      <a:pt x="23066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066" y="25220"/>
                    </a:lnTo>
                    <a:lnTo>
                      <a:pt x="23066" y="43084"/>
                    </a:lnTo>
                    <a:lnTo>
                      <a:pt x="1617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49" name="Freihandform: Form 348">
                <a:extLst>
                  <a:ext uri="{FF2B5EF4-FFF2-40B4-BE49-F238E27FC236}">
                    <a16:creationId xmlns:a16="http://schemas.microsoft.com/office/drawing/2014/main" id="{DC3D0B70-1E4D-785C-CCE9-27B06F1A5CE3}"/>
                  </a:ext>
                </a:extLst>
              </p:cNvPr>
              <p:cNvSpPr/>
              <p:nvPr/>
            </p:nvSpPr>
            <p:spPr>
              <a:xfrm>
                <a:off x="7041060" y="2070717"/>
                <a:ext cx="39404" cy="43083"/>
              </a:xfrm>
              <a:custGeom>
                <a:avLst/>
                <a:gdLst>
                  <a:gd name="connsiteX0" fmla="*/ 16179 w 39404"/>
                  <a:gd name="connsiteY0" fmla="*/ 43084 h 43083"/>
                  <a:gd name="connsiteX1" fmla="*/ 16179 w 39404"/>
                  <a:gd name="connsiteY1" fmla="*/ 25220 h 43083"/>
                  <a:gd name="connsiteX2" fmla="*/ 0 w 39404"/>
                  <a:gd name="connsiteY2" fmla="*/ 25220 h 43083"/>
                  <a:gd name="connsiteX3" fmla="*/ 0 w 39404"/>
                  <a:gd name="connsiteY3" fmla="*/ 17689 h 43083"/>
                  <a:gd name="connsiteX4" fmla="*/ 16179 w 39404"/>
                  <a:gd name="connsiteY4" fmla="*/ 17689 h 43083"/>
                  <a:gd name="connsiteX5" fmla="*/ 16179 w 39404"/>
                  <a:gd name="connsiteY5" fmla="*/ 0 h 43083"/>
                  <a:gd name="connsiteX6" fmla="*/ 23066 w 39404"/>
                  <a:gd name="connsiteY6" fmla="*/ 0 h 43083"/>
                  <a:gd name="connsiteX7" fmla="*/ 23066 w 39404"/>
                  <a:gd name="connsiteY7" fmla="*/ 17689 h 43083"/>
                  <a:gd name="connsiteX8" fmla="*/ 39405 w 39404"/>
                  <a:gd name="connsiteY8" fmla="*/ 17689 h 43083"/>
                  <a:gd name="connsiteX9" fmla="*/ 39405 w 39404"/>
                  <a:gd name="connsiteY9" fmla="*/ 25220 h 43083"/>
                  <a:gd name="connsiteX10" fmla="*/ 23066 w 39404"/>
                  <a:gd name="connsiteY10" fmla="*/ 25220 h 43083"/>
                  <a:gd name="connsiteX11" fmla="*/ 23066 w 39404"/>
                  <a:gd name="connsiteY11" fmla="*/ 43084 h 43083"/>
                  <a:gd name="connsiteX12" fmla="*/ 16179 w 39404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083">
                    <a:moveTo>
                      <a:pt x="16179" y="43084"/>
                    </a:moveTo>
                    <a:lnTo>
                      <a:pt x="1617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9" y="17689"/>
                    </a:lnTo>
                    <a:lnTo>
                      <a:pt x="16179" y="0"/>
                    </a:lnTo>
                    <a:lnTo>
                      <a:pt x="23066" y="0"/>
                    </a:lnTo>
                    <a:lnTo>
                      <a:pt x="23066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066" y="25220"/>
                    </a:lnTo>
                    <a:lnTo>
                      <a:pt x="23066" y="43084"/>
                    </a:lnTo>
                    <a:lnTo>
                      <a:pt x="1617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50" name="Freihandform: Form 349">
                <a:extLst>
                  <a:ext uri="{FF2B5EF4-FFF2-40B4-BE49-F238E27FC236}">
                    <a16:creationId xmlns:a16="http://schemas.microsoft.com/office/drawing/2014/main" id="{4102F0B7-93DE-7C70-89C6-6AB48D5F2439}"/>
                  </a:ext>
                </a:extLst>
              </p:cNvPr>
              <p:cNvSpPr/>
              <p:nvPr/>
            </p:nvSpPr>
            <p:spPr>
              <a:xfrm>
                <a:off x="7064767" y="2070717"/>
                <a:ext cx="39404" cy="43083"/>
              </a:xfrm>
              <a:custGeom>
                <a:avLst/>
                <a:gdLst>
                  <a:gd name="connsiteX0" fmla="*/ 16339 w 39404"/>
                  <a:gd name="connsiteY0" fmla="*/ 43084 h 43083"/>
                  <a:gd name="connsiteX1" fmla="*/ 16339 w 39404"/>
                  <a:gd name="connsiteY1" fmla="*/ 25220 h 43083"/>
                  <a:gd name="connsiteX2" fmla="*/ 0 w 39404"/>
                  <a:gd name="connsiteY2" fmla="*/ 25220 h 43083"/>
                  <a:gd name="connsiteX3" fmla="*/ 0 w 39404"/>
                  <a:gd name="connsiteY3" fmla="*/ 17689 h 43083"/>
                  <a:gd name="connsiteX4" fmla="*/ 16339 w 39404"/>
                  <a:gd name="connsiteY4" fmla="*/ 17689 h 43083"/>
                  <a:gd name="connsiteX5" fmla="*/ 16339 w 39404"/>
                  <a:gd name="connsiteY5" fmla="*/ 0 h 43083"/>
                  <a:gd name="connsiteX6" fmla="*/ 23226 w 39404"/>
                  <a:gd name="connsiteY6" fmla="*/ 0 h 43083"/>
                  <a:gd name="connsiteX7" fmla="*/ 23226 w 39404"/>
                  <a:gd name="connsiteY7" fmla="*/ 17689 h 43083"/>
                  <a:gd name="connsiteX8" fmla="*/ 39405 w 39404"/>
                  <a:gd name="connsiteY8" fmla="*/ 17689 h 43083"/>
                  <a:gd name="connsiteX9" fmla="*/ 39405 w 39404"/>
                  <a:gd name="connsiteY9" fmla="*/ 25220 h 43083"/>
                  <a:gd name="connsiteX10" fmla="*/ 23226 w 39404"/>
                  <a:gd name="connsiteY10" fmla="*/ 25220 h 43083"/>
                  <a:gd name="connsiteX11" fmla="*/ 23226 w 39404"/>
                  <a:gd name="connsiteY11" fmla="*/ 43084 h 43083"/>
                  <a:gd name="connsiteX12" fmla="*/ 16339 w 39404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6" y="0"/>
                    </a:lnTo>
                    <a:lnTo>
                      <a:pt x="23226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226" y="25220"/>
                    </a:lnTo>
                    <a:lnTo>
                      <a:pt x="23226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51" name="Freihandform: Form 350">
                <a:extLst>
                  <a:ext uri="{FF2B5EF4-FFF2-40B4-BE49-F238E27FC236}">
                    <a16:creationId xmlns:a16="http://schemas.microsoft.com/office/drawing/2014/main" id="{C1DFEB13-0648-D662-AFCE-43C3A19400D9}"/>
                  </a:ext>
                </a:extLst>
              </p:cNvPr>
              <p:cNvSpPr/>
              <p:nvPr/>
            </p:nvSpPr>
            <p:spPr>
              <a:xfrm>
                <a:off x="7067811" y="2070717"/>
                <a:ext cx="39404" cy="43083"/>
              </a:xfrm>
              <a:custGeom>
                <a:avLst/>
                <a:gdLst>
                  <a:gd name="connsiteX0" fmla="*/ 16178 w 39404"/>
                  <a:gd name="connsiteY0" fmla="*/ 43084 h 43083"/>
                  <a:gd name="connsiteX1" fmla="*/ 16178 w 39404"/>
                  <a:gd name="connsiteY1" fmla="*/ 25220 h 43083"/>
                  <a:gd name="connsiteX2" fmla="*/ 0 w 39404"/>
                  <a:gd name="connsiteY2" fmla="*/ 25220 h 43083"/>
                  <a:gd name="connsiteX3" fmla="*/ 0 w 39404"/>
                  <a:gd name="connsiteY3" fmla="*/ 17689 h 43083"/>
                  <a:gd name="connsiteX4" fmla="*/ 16178 w 39404"/>
                  <a:gd name="connsiteY4" fmla="*/ 17689 h 43083"/>
                  <a:gd name="connsiteX5" fmla="*/ 16178 w 39404"/>
                  <a:gd name="connsiteY5" fmla="*/ 0 h 43083"/>
                  <a:gd name="connsiteX6" fmla="*/ 23066 w 39404"/>
                  <a:gd name="connsiteY6" fmla="*/ 0 h 43083"/>
                  <a:gd name="connsiteX7" fmla="*/ 23066 w 39404"/>
                  <a:gd name="connsiteY7" fmla="*/ 17689 h 43083"/>
                  <a:gd name="connsiteX8" fmla="*/ 39405 w 39404"/>
                  <a:gd name="connsiteY8" fmla="*/ 17689 h 43083"/>
                  <a:gd name="connsiteX9" fmla="*/ 39405 w 39404"/>
                  <a:gd name="connsiteY9" fmla="*/ 25220 h 43083"/>
                  <a:gd name="connsiteX10" fmla="*/ 23066 w 39404"/>
                  <a:gd name="connsiteY10" fmla="*/ 25220 h 43083"/>
                  <a:gd name="connsiteX11" fmla="*/ 23066 w 39404"/>
                  <a:gd name="connsiteY11" fmla="*/ 43084 h 43083"/>
                  <a:gd name="connsiteX12" fmla="*/ 16178 w 39404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083">
                    <a:moveTo>
                      <a:pt x="16178" y="43084"/>
                    </a:moveTo>
                    <a:lnTo>
                      <a:pt x="16178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8" y="17689"/>
                    </a:lnTo>
                    <a:lnTo>
                      <a:pt x="16178" y="0"/>
                    </a:lnTo>
                    <a:lnTo>
                      <a:pt x="23066" y="0"/>
                    </a:lnTo>
                    <a:lnTo>
                      <a:pt x="23066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066" y="25220"/>
                    </a:lnTo>
                    <a:lnTo>
                      <a:pt x="23066" y="43084"/>
                    </a:lnTo>
                    <a:lnTo>
                      <a:pt x="16178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52" name="Freihandform: Form 351">
                <a:extLst>
                  <a:ext uri="{FF2B5EF4-FFF2-40B4-BE49-F238E27FC236}">
                    <a16:creationId xmlns:a16="http://schemas.microsoft.com/office/drawing/2014/main" id="{906B5DCE-A844-64DB-88FE-CE94F020B37D}"/>
                  </a:ext>
                </a:extLst>
              </p:cNvPr>
              <p:cNvSpPr/>
              <p:nvPr/>
            </p:nvSpPr>
            <p:spPr>
              <a:xfrm>
                <a:off x="7076781" y="2070717"/>
                <a:ext cx="39404" cy="43083"/>
              </a:xfrm>
              <a:custGeom>
                <a:avLst/>
                <a:gdLst>
                  <a:gd name="connsiteX0" fmla="*/ 16179 w 39404"/>
                  <a:gd name="connsiteY0" fmla="*/ 43084 h 43083"/>
                  <a:gd name="connsiteX1" fmla="*/ 16179 w 39404"/>
                  <a:gd name="connsiteY1" fmla="*/ 25220 h 43083"/>
                  <a:gd name="connsiteX2" fmla="*/ 0 w 39404"/>
                  <a:gd name="connsiteY2" fmla="*/ 25220 h 43083"/>
                  <a:gd name="connsiteX3" fmla="*/ 0 w 39404"/>
                  <a:gd name="connsiteY3" fmla="*/ 17689 h 43083"/>
                  <a:gd name="connsiteX4" fmla="*/ 16179 w 39404"/>
                  <a:gd name="connsiteY4" fmla="*/ 17689 h 43083"/>
                  <a:gd name="connsiteX5" fmla="*/ 16179 w 39404"/>
                  <a:gd name="connsiteY5" fmla="*/ 0 h 43083"/>
                  <a:gd name="connsiteX6" fmla="*/ 23066 w 39404"/>
                  <a:gd name="connsiteY6" fmla="*/ 0 h 43083"/>
                  <a:gd name="connsiteX7" fmla="*/ 23066 w 39404"/>
                  <a:gd name="connsiteY7" fmla="*/ 17689 h 43083"/>
                  <a:gd name="connsiteX8" fmla="*/ 39405 w 39404"/>
                  <a:gd name="connsiteY8" fmla="*/ 17689 h 43083"/>
                  <a:gd name="connsiteX9" fmla="*/ 39405 w 39404"/>
                  <a:gd name="connsiteY9" fmla="*/ 25220 h 43083"/>
                  <a:gd name="connsiteX10" fmla="*/ 23066 w 39404"/>
                  <a:gd name="connsiteY10" fmla="*/ 25220 h 43083"/>
                  <a:gd name="connsiteX11" fmla="*/ 23066 w 39404"/>
                  <a:gd name="connsiteY11" fmla="*/ 43084 h 43083"/>
                  <a:gd name="connsiteX12" fmla="*/ 16179 w 39404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083">
                    <a:moveTo>
                      <a:pt x="16179" y="43084"/>
                    </a:moveTo>
                    <a:lnTo>
                      <a:pt x="1617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9" y="17689"/>
                    </a:lnTo>
                    <a:lnTo>
                      <a:pt x="16179" y="0"/>
                    </a:lnTo>
                    <a:lnTo>
                      <a:pt x="23066" y="0"/>
                    </a:lnTo>
                    <a:lnTo>
                      <a:pt x="23066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066" y="25220"/>
                    </a:lnTo>
                    <a:lnTo>
                      <a:pt x="23066" y="43084"/>
                    </a:lnTo>
                    <a:lnTo>
                      <a:pt x="1617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53" name="Freihandform: Form 352">
                <a:extLst>
                  <a:ext uri="{FF2B5EF4-FFF2-40B4-BE49-F238E27FC236}">
                    <a16:creationId xmlns:a16="http://schemas.microsoft.com/office/drawing/2014/main" id="{3E841D48-FE8E-416A-7E82-FB4B783A132A}"/>
                  </a:ext>
                </a:extLst>
              </p:cNvPr>
              <p:cNvSpPr/>
              <p:nvPr/>
            </p:nvSpPr>
            <p:spPr>
              <a:xfrm>
                <a:off x="7094561" y="2070717"/>
                <a:ext cx="39565" cy="43083"/>
              </a:xfrm>
              <a:custGeom>
                <a:avLst/>
                <a:gdLst>
                  <a:gd name="connsiteX0" fmla="*/ 16339 w 39565"/>
                  <a:gd name="connsiteY0" fmla="*/ 43084 h 43083"/>
                  <a:gd name="connsiteX1" fmla="*/ 16339 w 39565"/>
                  <a:gd name="connsiteY1" fmla="*/ 25220 h 43083"/>
                  <a:gd name="connsiteX2" fmla="*/ 0 w 39565"/>
                  <a:gd name="connsiteY2" fmla="*/ 25220 h 43083"/>
                  <a:gd name="connsiteX3" fmla="*/ 0 w 39565"/>
                  <a:gd name="connsiteY3" fmla="*/ 17689 h 43083"/>
                  <a:gd name="connsiteX4" fmla="*/ 16339 w 39565"/>
                  <a:gd name="connsiteY4" fmla="*/ 17689 h 43083"/>
                  <a:gd name="connsiteX5" fmla="*/ 16339 w 39565"/>
                  <a:gd name="connsiteY5" fmla="*/ 0 h 43083"/>
                  <a:gd name="connsiteX6" fmla="*/ 23227 w 39565"/>
                  <a:gd name="connsiteY6" fmla="*/ 0 h 43083"/>
                  <a:gd name="connsiteX7" fmla="*/ 23227 w 39565"/>
                  <a:gd name="connsiteY7" fmla="*/ 17689 h 43083"/>
                  <a:gd name="connsiteX8" fmla="*/ 39565 w 39565"/>
                  <a:gd name="connsiteY8" fmla="*/ 17689 h 43083"/>
                  <a:gd name="connsiteX9" fmla="*/ 39565 w 39565"/>
                  <a:gd name="connsiteY9" fmla="*/ 25220 h 43083"/>
                  <a:gd name="connsiteX10" fmla="*/ 23227 w 39565"/>
                  <a:gd name="connsiteY10" fmla="*/ 25220 h 43083"/>
                  <a:gd name="connsiteX11" fmla="*/ 23227 w 39565"/>
                  <a:gd name="connsiteY11" fmla="*/ 43084 h 43083"/>
                  <a:gd name="connsiteX12" fmla="*/ 16339 w 3956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565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565" y="17689"/>
                    </a:lnTo>
                    <a:lnTo>
                      <a:pt x="3956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54" name="Freihandform: Form 353">
                <a:extLst>
                  <a:ext uri="{FF2B5EF4-FFF2-40B4-BE49-F238E27FC236}">
                    <a16:creationId xmlns:a16="http://schemas.microsoft.com/office/drawing/2014/main" id="{3953C86D-8039-70D3-B546-55850373249E}"/>
                  </a:ext>
                </a:extLst>
              </p:cNvPr>
              <p:cNvSpPr/>
              <p:nvPr/>
            </p:nvSpPr>
            <p:spPr>
              <a:xfrm>
                <a:off x="7097605" y="2070717"/>
                <a:ext cx="39405" cy="43083"/>
              </a:xfrm>
              <a:custGeom>
                <a:avLst/>
                <a:gdLst>
                  <a:gd name="connsiteX0" fmla="*/ 16179 w 39405"/>
                  <a:gd name="connsiteY0" fmla="*/ 43084 h 43083"/>
                  <a:gd name="connsiteX1" fmla="*/ 16179 w 39405"/>
                  <a:gd name="connsiteY1" fmla="*/ 25220 h 43083"/>
                  <a:gd name="connsiteX2" fmla="*/ 0 w 39405"/>
                  <a:gd name="connsiteY2" fmla="*/ 25220 h 43083"/>
                  <a:gd name="connsiteX3" fmla="*/ 0 w 39405"/>
                  <a:gd name="connsiteY3" fmla="*/ 17689 h 43083"/>
                  <a:gd name="connsiteX4" fmla="*/ 16179 w 39405"/>
                  <a:gd name="connsiteY4" fmla="*/ 17689 h 43083"/>
                  <a:gd name="connsiteX5" fmla="*/ 16179 w 39405"/>
                  <a:gd name="connsiteY5" fmla="*/ 0 h 43083"/>
                  <a:gd name="connsiteX6" fmla="*/ 23227 w 39405"/>
                  <a:gd name="connsiteY6" fmla="*/ 0 h 43083"/>
                  <a:gd name="connsiteX7" fmla="*/ 23227 w 39405"/>
                  <a:gd name="connsiteY7" fmla="*/ 17689 h 43083"/>
                  <a:gd name="connsiteX8" fmla="*/ 39405 w 39405"/>
                  <a:gd name="connsiteY8" fmla="*/ 17689 h 43083"/>
                  <a:gd name="connsiteX9" fmla="*/ 39405 w 39405"/>
                  <a:gd name="connsiteY9" fmla="*/ 25220 h 43083"/>
                  <a:gd name="connsiteX10" fmla="*/ 23227 w 39405"/>
                  <a:gd name="connsiteY10" fmla="*/ 25220 h 43083"/>
                  <a:gd name="connsiteX11" fmla="*/ 23227 w 39405"/>
                  <a:gd name="connsiteY11" fmla="*/ 43084 h 43083"/>
                  <a:gd name="connsiteX12" fmla="*/ 16179 w 3940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5" h="43083">
                    <a:moveTo>
                      <a:pt x="16179" y="43084"/>
                    </a:moveTo>
                    <a:lnTo>
                      <a:pt x="1617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9" y="17689"/>
                    </a:lnTo>
                    <a:lnTo>
                      <a:pt x="1617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17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55" name="Freihandform: Form 354">
                <a:extLst>
                  <a:ext uri="{FF2B5EF4-FFF2-40B4-BE49-F238E27FC236}">
                    <a16:creationId xmlns:a16="http://schemas.microsoft.com/office/drawing/2014/main" id="{EED09AD4-891C-93E6-75DA-53CD67E3B43E}"/>
                  </a:ext>
                </a:extLst>
              </p:cNvPr>
              <p:cNvSpPr/>
              <p:nvPr/>
            </p:nvSpPr>
            <p:spPr>
              <a:xfrm>
                <a:off x="7106575" y="2070717"/>
                <a:ext cx="39405" cy="43083"/>
              </a:xfrm>
              <a:custGeom>
                <a:avLst/>
                <a:gdLst>
                  <a:gd name="connsiteX0" fmla="*/ 16179 w 39405"/>
                  <a:gd name="connsiteY0" fmla="*/ 43084 h 43083"/>
                  <a:gd name="connsiteX1" fmla="*/ 16179 w 39405"/>
                  <a:gd name="connsiteY1" fmla="*/ 25220 h 43083"/>
                  <a:gd name="connsiteX2" fmla="*/ 0 w 39405"/>
                  <a:gd name="connsiteY2" fmla="*/ 25220 h 43083"/>
                  <a:gd name="connsiteX3" fmla="*/ 0 w 39405"/>
                  <a:gd name="connsiteY3" fmla="*/ 17689 h 43083"/>
                  <a:gd name="connsiteX4" fmla="*/ 16179 w 39405"/>
                  <a:gd name="connsiteY4" fmla="*/ 17689 h 43083"/>
                  <a:gd name="connsiteX5" fmla="*/ 16179 w 39405"/>
                  <a:gd name="connsiteY5" fmla="*/ 0 h 43083"/>
                  <a:gd name="connsiteX6" fmla="*/ 23227 w 39405"/>
                  <a:gd name="connsiteY6" fmla="*/ 0 h 43083"/>
                  <a:gd name="connsiteX7" fmla="*/ 23227 w 39405"/>
                  <a:gd name="connsiteY7" fmla="*/ 17689 h 43083"/>
                  <a:gd name="connsiteX8" fmla="*/ 39405 w 39405"/>
                  <a:gd name="connsiteY8" fmla="*/ 17689 h 43083"/>
                  <a:gd name="connsiteX9" fmla="*/ 39405 w 39405"/>
                  <a:gd name="connsiteY9" fmla="*/ 25220 h 43083"/>
                  <a:gd name="connsiteX10" fmla="*/ 23227 w 39405"/>
                  <a:gd name="connsiteY10" fmla="*/ 25220 h 43083"/>
                  <a:gd name="connsiteX11" fmla="*/ 23227 w 39405"/>
                  <a:gd name="connsiteY11" fmla="*/ 43084 h 43083"/>
                  <a:gd name="connsiteX12" fmla="*/ 16179 w 3940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5" h="43083">
                    <a:moveTo>
                      <a:pt x="16179" y="43084"/>
                    </a:moveTo>
                    <a:lnTo>
                      <a:pt x="1617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9" y="17689"/>
                    </a:lnTo>
                    <a:lnTo>
                      <a:pt x="1617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17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56" name="Freihandform: Form 355">
                <a:extLst>
                  <a:ext uri="{FF2B5EF4-FFF2-40B4-BE49-F238E27FC236}">
                    <a16:creationId xmlns:a16="http://schemas.microsoft.com/office/drawing/2014/main" id="{E2865697-020B-EC80-4427-9A006B6C9EA2}"/>
                  </a:ext>
                </a:extLst>
              </p:cNvPr>
              <p:cNvSpPr/>
              <p:nvPr/>
            </p:nvSpPr>
            <p:spPr>
              <a:xfrm>
                <a:off x="7124356" y="2070717"/>
                <a:ext cx="39404" cy="43083"/>
              </a:xfrm>
              <a:custGeom>
                <a:avLst/>
                <a:gdLst>
                  <a:gd name="connsiteX0" fmla="*/ 16339 w 39404"/>
                  <a:gd name="connsiteY0" fmla="*/ 43084 h 43083"/>
                  <a:gd name="connsiteX1" fmla="*/ 16339 w 39404"/>
                  <a:gd name="connsiteY1" fmla="*/ 25220 h 43083"/>
                  <a:gd name="connsiteX2" fmla="*/ 0 w 39404"/>
                  <a:gd name="connsiteY2" fmla="*/ 25220 h 43083"/>
                  <a:gd name="connsiteX3" fmla="*/ 0 w 39404"/>
                  <a:gd name="connsiteY3" fmla="*/ 17689 h 43083"/>
                  <a:gd name="connsiteX4" fmla="*/ 16339 w 39404"/>
                  <a:gd name="connsiteY4" fmla="*/ 17689 h 43083"/>
                  <a:gd name="connsiteX5" fmla="*/ 16339 w 39404"/>
                  <a:gd name="connsiteY5" fmla="*/ 0 h 43083"/>
                  <a:gd name="connsiteX6" fmla="*/ 23226 w 39404"/>
                  <a:gd name="connsiteY6" fmla="*/ 0 h 43083"/>
                  <a:gd name="connsiteX7" fmla="*/ 23226 w 39404"/>
                  <a:gd name="connsiteY7" fmla="*/ 17689 h 43083"/>
                  <a:gd name="connsiteX8" fmla="*/ 39405 w 39404"/>
                  <a:gd name="connsiteY8" fmla="*/ 17689 h 43083"/>
                  <a:gd name="connsiteX9" fmla="*/ 39405 w 39404"/>
                  <a:gd name="connsiteY9" fmla="*/ 25220 h 43083"/>
                  <a:gd name="connsiteX10" fmla="*/ 23226 w 39404"/>
                  <a:gd name="connsiteY10" fmla="*/ 25220 h 43083"/>
                  <a:gd name="connsiteX11" fmla="*/ 23226 w 39404"/>
                  <a:gd name="connsiteY11" fmla="*/ 43084 h 43083"/>
                  <a:gd name="connsiteX12" fmla="*/ 16339 w 39404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04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6" y="0"/>
                    </a:lnTo>
                    <a:lnTo>
                      <a:pt x="23226" y="17689"/>
                    </a:lnTo>
                    <a:lnTo>
                      <a:pt x="39405" y="17689"/>
                    </a:lnTo>
                    <a:lnTo>
                      <a:pt x="39405" y="25220"/>
                    </a:lnTo>
                    <a:lnTo>
                      <a:pt x="23226" y="25220"/>
                    </a:lnTo>
                    <a:lnTo>
                      <a:pt x="23226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57" name="Freihandform: Form 356">
                <a:extLst>
                  <a:ext uri="{FF2B5EF4-FFF2-40B4-BE49-F238E27FC236}">
                    <a16:creationId xmlns:a16="http://schemas.microsoft.com/office/drawing/2014/main" id="{77B5ECF1-1DB3-BFBC-B631-3E04B6EC15F0}"/>
                  </a:ext>
                </a:extLst>
              </p:cNvPr>
              <p:cNvSpPr/>
              <p:nvPr/>
            </p:nvSpPr>
            <p:spPr>
              <a:xfrm>
                <a:off x="7130282" y="2070717"/>
                <a:ext cx="39565" cy="43083"/>
              </a:xfrm>
              <a:custGeom>
                <a:avLst/>
                <a:gdLst>
                  <a:gd name="connsiteX0" fmla="*/ 16339 w 39565"/>
                  <a:gd name="connsiteY0" fmla="*/ 43084 h 43083"/>
                  <a:gd name="connsiteX1" fmla="*/ 16339 w 39565"/>
                  <a:gd name="connsiteY1" fmla="*/ 25220 h 43083"/>
                  <a:gd name="connsiteX2" fmla="*/ 0 w 39565"/>
                  <a:gd name="connsiteY2" fmla="*/ 25220 h 43083"/>
                  <a:gd name="connsiteX3" fmla="*/ 0 w 39565"/>
                  <a:gd name="connsiteY3" fmla="*/ 17689 h 43083"/>
                  <a:gd name="connsiteX4" fmla="*/ 16339 w 39565"/>
                  <a:gd name="connsiteY4" fmla="*/ 17689 h 43083"/>
                  <a:gd name="connsiteX5" fmla="*/ 16339 w 39565"/>
                  <a:gd name="connsiteY5" fmla="*/ 0 h 43083"/>
                  <a:gd name="connsiteX6" fmla="*/ 23227 w 39565"/>
                  <a:gd name="connsiteY6" fmla="*/ 0 h 43083"/>
                  <a:gd name="connsiteX7" fmla="*/ 23227 w 39565"/>
                  <a:gd name="connsiteY7" fmla="*/ 17689 h 43083"/>
                  <a:gd name="connsiteX8" fmla="*/ 39565 w 39565"/>
                  <a:gd name="connsiteY8" fmla="*/ 17689 h 43083"/>
                  <a:gd name="connsiteX9" fmla="*/ 39565 w 39565"/>
                  <a:gd name="connsiteY9" fmla="*/ 25220 h 43083"/>
                  <a:gd name="connsiteX10" fmla="*/ 23227 w 39565"/>
                  <a:gd name="connsiteY10" fmla="*/ 25220 h 43083"/>
                  <a:gd name="connsiteX11" fmla="*/ 23227 w 39565"/>
                  <a:gd name="connsiteY11" fmla="*/ 43084 h 43083"/>
                  <a:gd name="connsiteX12" fmla="*/ 16339 w 3956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565" h="43083">
                    <a:moveTo>
                      <a:pt x="16339" y="43084"/>
                    </a:moveTo>
                    <a:lnTo>
                      <a:pt x="1633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339" y="17689"/>
                    </a:lnTo>
                    <a:lnTo>
                      <a:pt x="1633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9565" y="17689"/>
                    </a:lnTo>
                    <a:lnTo>
                      <a:pt x="3956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33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58" name="Freihandform: Form 357">
                <a:extLst>
                  <a:ext uri="{FF2B5EF4-FFF2-40B4-BE49-F238E27FC236}">
                    <a16:creationId xmlns:a16="http://schemas.microsoft.com/office/drawing/2014/main" id="{461CFB11-76AC-6325-FD3C-5E8DA2E65D85}"/>
                  </a:ext>
                </a:extLst>
              </p:cNvPr>
              <p:cNvSpPr/>
              <p:nvPr/>
            </p:nvSpPr>
            <p:spPr>
              <a:xfrm>
                <a:off x="7139253" y="2070717"/>
                <a:ext cx="30915" cy="43083"/>
              </a:xfrm>
              <a:custGeom>
                <a:avLst/>
                <a:gdLst>
                  <a:gd name="connsiteX0" fmla="*/ 16179 w 30915"/>
                  <a:gd name="connsiteY0" fmla="*/ 43084 h 43083"/>
                  <a:gd name="connsiteX1" fmla="*/ 16179 w 30915"/>
                  <a:gd name="connsiteY1" fmla="*/ 25220 h 43083"/>
                  <a:gd name="connsiteX2" fmla="*/ 0 w 30915"/>
                  <a:gd name="connsiteY2" fmla="*/ 25220 h 43083"/>
                  <a:gd name="connsiteX3" fmla="*/ 0 w 30915"/>
                  <a:gd name="connsiteY3" fmla="*/ 17689 h 43083"/>
                  <a:gd name="connsiteX4" fmla="*/ 16179 w 30915"/>
                  <a:gd name="connsiteY4" fmla="*/ 17689 h 43083"/>
                  <a:gd name="connsiteX5" fmla="*/ 16179 w 30915"/>
                  <a:gd name="connsiteY5" fmla="*/ 0 h 43083"/>
                  <a:gd name="connsiteX6" fmla="*/ 23227 w 30915"/>
                  <a:gd name="connsiteY6" fmla="*/ 0 h 43083"/>
                  <a:gd name="connsiteX7" fmla="*/ 23227 w 30915"/>
                  <a:gd name="connsiteY7" fmla="*/ 17689 h 43083"/>
                  <a:gd name="connsiteX8" fmla="*/ 30915 w 30915"/>
                  <a:gd name="connsiteY8" fmla="*/ 17689 h 43083"/>
                  <a:gd name="connsiteX9" fmla="*/ 30915 w 30915"/>
                  <a:gd name="connsiteY9" fmla="*/ 25220 h 43083"/>
                  <a:gd name="connsiteX10" fmla="*/ 23227 w 30915"/>
                  <a:gd name="connsiteY10" fmla="*/ 25220 h 43083"/>
                  <a:gd name="connsiteX11" fmla="*/ 23227 w 30915"/>
                  <a:gd name="connsiteY11" fmla="*/ 43084 h 43083"/>
                  <a:gd name="connsiteX12" fmla="*/ 16179 w 30915"/>
                  <a:gd name="connsiteY12" fmla="*/ 43084 h 4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0915" h="43083">
                    <a:moveTo>
                      <a:pt x="16179" y="43084"/>
                    </a:moveTo>
                    <a:lnTo>
                      <a:pt x="16179" y="25220"/>
                    </a:lnTo>
                    <a:lnTo>
                      <a:pt x="0" y="25220"/>
                    </a:lnTo>
                    <a:lnTo>
                      <a:pt x="0" y="17689"/>
                    </a:lnTo>
                    <a:lnTo>
                      <a:pt x="16179" y="17689"/>
                    </a:lnTo>
                    <a:lnTo>
                      <a:pt x="16179" y="0"/>
                    </a:lnTo>
                    <a:lnTo>
                      <a:pt x="23227" y="0"/>
                    </a:lnTo>
                    <a:lnTo>
                      <a:pt x="23227" y="17689"/>
                    </a:lnTo>
                    <a:lnTo>
                      <a:pt x="30915" y="17689"/>
                    </a:lnTo>
                    <a:lnTo>
                      <a:pt x="30915" y="25220"/>
                    </a:lnTo>
                    <a:lnTo>
                      <a:pt x="23227" y="25220"/>
                    </a:lnTo>
                    <a:lnTo>
                      <a:pt x="23227" y="43084"/>
                    </a:lnTo>
                    <a:lnTo>
                      <a:pt x="16179" y="43084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59" name="Grafik 134">
              <a:extLst>
                <a:ext uri="{FF2B5EF4-FFF2-40B4-BE49-F238E27FC236}">
                  <a16:creationId xmlns:a16="http://schemas.microsoft.com/office/drawing/2014/main" id="{1EA6BE27-2DA5-B6F3-3880-4294BCF90906}"/>
                </a:ext>
              </a:extLst>
            </p:cNvPr>
            <p:cNvGrpSpPr/>
            <p:nvPr/>
          </p:nvGrpSpPr>
          <p:grpSpPr>
            <a:xfrm>
              <a:off x="2149064" y="1775938"/>
              <a:ext cx="5021264" cy="486958"/>
              <a:chOff x="2149064" y="1786994"/>
              <a:chExt cx="5021264" cy="473746"/>
            </a:xfrm>
            <a:solidFill>
              <a:schemeClr val="accent6">
                <a:alpha val="30000"/>
              </a:schemeClr>
            </a:solidFill>
          </p:grpSpPr>
          <p:sp>
            <p:nvSpPr>
              <p:cNvPr id="360" name="Freihandform: Form 359">
                <a:extLst>
                  <a:ext uri="{FF2B5EF4-FFF2-40B4-BE49-F238E27FC236}">
                    <a16:creationId xmlns:a16="http://schemas.microsoft.com/office/drawing/2014/main" id="{49E62C34-276A-6F38-A706-B6219375E194}"/>
                  </a:ext>
                </a:extLst>
              </p:cNvPr>
              <p:cNvSpPr/>
              <p:nvPr/>
            </p:nvSpPr>
            <p:spPr>
              <a:xfrm>
                <a:off x="2633938" y="1786994"/>
                <a:ext cx="4536389" cy="473746"/>
              </a:xfrm>
              <a:custGeom>
                <a:avLst/>
                <a:gdLst>
                  <a:gd name="connsiteX0" fmla="*/ 1331604 w 4536389"/>
                  <a:gd name="connsiteY0" fmla="*/ 185470 h 473746"/>
                  <a:gd name="connsiteX1" fmla="*/ 1305173 w 4536389"/>
                  <a:gd name="connsiteY1" fmla="*/ 185470 h 473746"/>
                  <a:gd name="connsiteX2" fmla="*/ 1305173 w 4536389"/>
                  <a:gd name="connsiteY2" fmla="*/ 181617 h 473746"/>
                  <a:gd name="connsiteX3" fmla="*/ 1272336 w 4536389"/>
                  <a:gd name="connsiteY3" fmla="*/ 181617 h 473746"/>
                  <a:gd name="connsiteX4" fmla="*/ 1272336 w 4536389"/>
                  <a:gd name="connsiteY4" fmla="*/ 177589 h 473746"/>
                  <a:gd name="connsiteX5" fmla="*/ 1257439 w 4536389"/>
                  <a:gd name="connsiteY5" fmla="*/ 177589 h 473746"/>
                  <a:gd name="connsiteX6" fmla="*/ 1257439 w 4536389"/>
                  <a:gd name="connsiteY6" fmla="*/ 173386 h 473746"/>
                  <a:gd name="connsiteX7" fmla="*/ 1179910 w 4536389"/>
                  <a:gd name="connsiteY7" fmla="*/ 173386 h 473746"/>
                  <a:gd name="connsiteX8" fmla="*/ 1179910 w 4536389"/>
                  <a:gd name="connsiteY8" fmla="*/ 169533 h 473746"/>
                  <a:gd name="connsiteX9" fmla="*/ 1096454 w 4536389"/>
                  <a:gd name="connsiteY9" fmla="*/ 169533 h 473746"/>
                  <a:gd name="connsiteX10" fmla="*/ 1096454 w 4536389"/>
                  <a:gd name="connsiteY10" fmla="*/ 167782 h 473746"/>
                  <a:gd name="connsiteX11" fmla="*/ 1027896 w 4536389"/>
                  <a:gd name="connsiteY11" fmla="*/ 167782 h 473746"/>
                  <a:gd name="connsiteX12" fmla="*/ 1027896 w 4536389"/>
                  <a:gd name="connsiteY12" fmla="*/ 164979 h 473746"/>
                  <a:gd name="connsiteX13" fmla="*/ 1007072 w 4536389"/>
                  <a:gd name="connsiteY13" fmla="*/ 164979 h 473746"/>
                  <a:gd name="connsiteX14" fmla="*/ 1007072 w 4536389"/>
                  <a:gd name="connsiteY14" fmla="*/ 122946 h 473746"/>
                  <a:gd name="connsiteX15" fmla="*/ 1001145 w 4536389"/>
                  <a:gd name="connsiteY15" fmla="*/ 122946 h 473746"/>
                  <a:gd name="connsiteX16" fmla="*/ 1001145 w 4536389"/>
                  <a:gd name="connsiteY16" fmla="*/ 105958 h 473746"/>
                  <a:gd name="connsiteX17" fmla="*/ 741969 w 4536389"/>
                  <a:gd name="connsiteY17" fmla="*/ 105958 h 473746"/>
                  <a:gd name="connsiteX18" fmla="*/ 741969 w 4536389"/>
                  <a:gd name="connsiteY18" fmla="*/ 90196 h 473746"/>
                  <a:gd name="connsiteX19" fmla="*/ 458925 w 4536389"/>
                  <a:gd name="connsiteY19" fmla="*/ 90196 h 473746"/>
                  <a:gd name="connsiteX20" fmla="*/ 458925 w 4536389"/>
                  <a:gd name="connsiteY20" fmla="*/ 88094 h 473746"/>
                  <a:gd name="connsiteX21" fmla="*/ 449955 w 4536389"/>
                  <a:gd name="connsiteY21" fmla="*/ 88094 h 473746"/>
                  <a:gd name="connsiteX22" fmla="*/ 449955 w 4536389"/>
                  <a:gd name="connsiteY22" fmla="*/ 80388 h 473746"/>
                  <a:gd name="connsiteX23" fmla="*/ 435058 w 4536389"/>
                  <a:gd name="connsiteY23" fmla="*/ 80388 h 473746"/>
                  <a:gd name="connsiteX24" fmla="*/ 435058 w 4536389"/>
                  <a:gd name="connsiteY24" fmla="*/ 76885 h 473746"/>
                  <a:gd name="connsiteX25" fmla="*/ 390367 w 4536389"/>
                  <a:gd name="connsiteY25" fmla="*/ 76885 h 473746"/>
                  <a:gd name="connsiteX26" fmla="*/ 390367 w 4536389"/>
                  <a:gd name="connsiteY26" fmla="*/ 73383 h 473746"/>
                  <a:gd name="connsiteX27" fmla="*/ 327895 w 4536389"/>
                  <a:gd name="connsiteY27" fmla="*/ 73383 h 473746"/>
                  <a:gd name="connsiteX28" fmla="*/ 327895 w 4536389"/>
                  <a:gd name="connsiteY28" fmla="*/ 70055 h 473746"/>
                  <a:gd name="connsiteX29" fmla="*/ 266385 w 4536389"/>
                  <a:gd name="connsiteY29" fmla="*/ 70055 h 473746"/>
                  <a:gd name="connsiteX30" fmla="*/ 0 w 4536389"/>
                  <a:gd name="connsiteY30" fmla="*/ 7356 h 473746"/>
                  <a:gd name="connsiteX31" fmla="*/ 273913 w 4536389"/>
                  <a:gd name="connsiteY31" fmla="*/ 7356 h 473746"/>
                  <a:gd name="connsiteX32" fmla="*/ 273913 w 4536389"/>
                  <a:gd name="connsiteY32" fmla="*/ 25395 h 473746"/>
                  <a:gd name="connsiteX33" fmla="*/ 275836 w 4536389"/>
                  <a:gd name="connsiteY33" fmla="*/ 30299 h 473746"/>
                  <a:gd name="connsiteX34" fmla="*/ 280321 w 4536389"/>
                  <a:gd name="connsiteY34" fmla="*/ 32400 h 473746"/>
                  <a:gd name="connsiteX35" fmla="*/ 384119 w 4536389"/>
                  <a:gd name="connsiteY35" fmla="*/ 32400 h 473746"/>
                  <a:gd name="connsiteX36" fmla="*/ 384119 w 4536389"/>
                  <a:gd name="connsiteY36" fmla="*/ 37479 h 473746"/>
                  <a:gd name="connsiteX37" fmla="*/ 386042 w 4536389"/>
                  <a:gd name="connsiteY37" fmla="*/ 42383 h 473746"/>
                  <a:gd name="connsiteX38" fmla="*/ 390527 w 4536389"/>
                  <a:gd name="connsiteY38" fmla="*/ 44485 h 473746"/>
                  <a:gd name="connsiteX39" fmla="*/ 735722 w 4536389"/>
                  <a:gd name="connsiteY39" fmla="*/ 44485 h 473746"/>
                  <a:gd name="connsiteX40" fmla="*/ 735722 w 4536389"/>
                  <a:gd name="connsiteY40" fmla="*/ 48863 h 473746"/>
                  <a:gd name="connsiteX41" fmla="*/ 737644 w 4536389"/>
                  <a:gd name="connsiteY41" fmla="*/ 53767 h 473746"/>
                  <a:gd name="connsiteX42" fmla="*/ 742129 w 4536389"/>
                  <a:gd name="connsiteY42" fmla="*/ 55869 h 473746"/>
                  <a:gd name="connsiteX43" fmla="*/ 994898 w 4536389"/>
                  <a:gd name="connsiteY43" fmla="*/ 55869 h 473746"/>
                  <a:gd name="connsiteX44" fmla="*/ 994898 w 4536389"/>
                  <a:gd name="connsiteY44" fmla="*/ 61473 h 473746"/>
                  <a:gd name="connsiteX45" fmla="*/ 996820 w 4536389"/>
                  <a:gd name="connsiteY45" fmla="*/ 66377 h 473746"/>
                  <a:gd name="connsiteX46" fmla="*/ 1000985 w 4536389"/>
                  <a:gd name="connsiteY46" fmla="*/ 68304 h 473746"/>
                  <a:gd name="connsiteX47" fmla="*/ 1000985 w 4536389"/>
                  <a:gd name="connsiteY47" fmla="*/ 88444 h 473746"/>
                  <a:gd name="connsiteX48" fmla="*/ 1002907 w 4536389"/>
                  <a:gd name="connsiteY48" fmla="*/ 93348 h 473746"/>
                  <a:gd name="connsiteX49" fmla="*/ 1007393 w 4536389"/>
                  <a:gd name="connsiteY49" fmla="*/ 95450 h 473746"/>
                  <a:gd name="connsiteX50" fmla="*/ 1090367 w 4536389"/>
                  <a:gd name="connsiteY50" fmla="*/ 95450 h 473746"/>
                  <a:gd name="connsiteX51" fmla="*/ 1090367 w 4536389"/>
                  <a:gd name="connsiteY51" fmla="*/ 109986 h 473746"/>
                  <a:gd name="connsiteX52" fmla="*/ 1092290 w 4536389"/>
                  <a:gd name="connsiteY52" fmla="*/ 114890 h 473746"/>
                  <a:gd name="connsiteX53" fmla="*/ 1096775 w 4536389"/>
                  <a:gd name="connsiteY53" fmla="*/ 116992 h 473746"/>
                  <a:gd name="connsiteX54" fmla="*/ 1129132 w 4536389"/>
                  <a:gd name="connsiteY54" fmla="*/ 116992 h 473746"/>
                  <a:gd name="connsiteX55" fmla="*/ 1129132 w 4536389"/>
                  <a:gd name="connsiteY55" fmla="*/ 140986 h 473746"/>
                  <a:gd name="connsiteX56" fmla="*/ 1131054 w 4536389"/>
                  <a:gd name="connsiteY56" fmla="*/ 145889 h 473746"/>
                  <a:gd name="connsiteX57" fmla="*/ 1135539 w 4536389"/>
                  <a:gd name="connsiteY57" fmla="*/ 147991 h 473746"/>
                  <a:gd name="connsiteX58" fmla="*/ 1331764 w 4536389"/>
                  <a:gd name="connsiteY58" fmla="*/ 147991 h 473746"/>
                  <a:gd name="connsiteX59" fmla="*/ 1331764 w 4536389"/>
                  <a:gd name="connsiteY59" fmla="*/ 185821 h 473746"/>
                  <a:gd name="connsiteX60" fmla="*/ 1352908 w 4536389"/>
                  <a:gd name="connsiteY60" fmla="*/ 317349 h 473746"/>
                  <a:gd name="connsiteX61" fmla="*/ 1338011 w 4536389"/>
                  <a:gd name="connsiteY61" fmla="*/ 317349 h 473746"/>
                  <a:gd name="connsiteX62" fmla="*/ 1338011 w 4536389"/>
                  <a:gd name="connsiteY62" fmla="*/ 308242 h 473746"/>
                  <a:gd name="connsiteX63" fmla="*/ 1346981 w 4536389"/>
                  <a:gd name="connsiteY63" fmla="*/ 308242 h 473746"/>
                  <a:gd name="connsiteX64" fmla="*/ 1346981 w 4536389"/>
                  <a:gd name="connsiteY64" fmla="*/ 313145 h 473746"/>
                  <a:gd name="connsiteX65" fmla="*/ 1352908 w 4536389"/>
                  <a:gd name="connsiteY65" fmla="*/ 313145 h 473746"/>
                  <a:gd name="connsiteX66" fmla="*/ 1352908 w 4536389"/>
                  <a:gd name="connsiteY66" fmla="*/ 317349 h 473746"/>
                  <a:gd name="connsiteX67" fmla="*/ 4536230 w 4536389"/>
                  <a:gd name="connsiteY67" fmla="*/ 473746 h 473746"/>
                  <a:gd name="connsiteX68" fmla="*/ 4111104 w 4536389"/>
                  <a:gd name="connsiteY68" fmla="*/ 473746 h 473746"/>
                  <a:gd name="connsiteX69" fmla="*/ 4111104 w 4536389"/>
                  <a:gd name="connsiteY69" fmla="*/ 427860 h 473746"/>
                  <a:gd name="connsiteX70" fmla="*/ 3491515 w 4536389"/>
                  <a:gd name="connsiteY70" fmla="*/ 427860 h 473746"/>
                  <a:gd name="connsiteX71" fmla="*/ 3491515 w 4536389"/>
                  <a:gd name="connsiteY71" fmla="*/ 427160 h 473746"/>
                  <a:gd name="connsiteX72" fmla="*/ 3476618 w 4536389"/>
                  <a:gd name="connsiteY72" fmla="*/ 427160 h 473746"/>
                  <a:gd name="connsiteX73" fmla="*/ 3476618 w 4536389"/>
                  <a:gd name="connsiteY73" fmla="*/ 421380 h 473746"/>
                  <a:gd name="connsiteX74" fmla="*/ 3470691 w 4536389"/>
                  <a:gd name="connsiteY74" fmla="*/ 421380 h 473746"/>
                  <a:gd name="connsiteX75" fmla="*/ 3470691 w 4536389"/>
                  <a:gd name="connsiteY75" fmla="*/ 415776 h 473746"/>
                  <a:gd name="connsiteX76" fmla="*/ 3271102 w 4536389"/>
                  <a:gd name="connsiteY76" fmla="*/ 415776 h 473746"/>
                  <a:gd name="connsiteX77" fmla="*/ 3271102 w 4536389"/>
                  <a:gd name="connsiteY77" fmla="*/ 410347 h 473746"/>
                  <a:gd name="connsiteX78" fmla="*/ 3241308 w 4536389"/>
                  <a:gd name="connsiteY78" fmla="*/ 410347 h 473746"/>
                  <a:gd name="connsiteX79" fmla="*/ 3241308 w 4536389"/>
                  <a:gd name="connsiteY79" fmla="*/ 405618 h 473746"/>
                  <a:gd name="connsiteX80" fmla="*/ 3187647 w 4536389"/>
                  <a:gd name="connsiteY80" fmla="*/ 405618 h 473746"/>
                  <a:gd name="connsiteX81" fmla="*/ 3187647 w 4536389"/>
                  <a:gd name="connsiteY81" fmla="*/ 399838 h 473746"/>
                  <a:gd name="connsiteX82" fmla="*/ 3157853 w 4536389"/>
                  <a:gd name="connsiteY82" fmla="*/ 399838 h 473746"/>
                  <a:gd name="connsiteX83" fmla="*/ 3157853 w 4536389"/>
                  <a:gd name="connsiteY83" fmla="*/ 388454 h 473746"/>
                  <a:gd name="connsiteX84" fmla="*/ 2961148 w 4536389"/>
                  <a:gd name="connsiteY84" fmla="*/ 388454 h 473746"/>
                  <a:gd name="connsiteX85" fmla="*/ 2961148 w 4536389"/>
                  <a:gd name="connsiteY85" fmla="*/ 383376 h 473746"/>
                  <a:gd name="connsiteX86" fmla="*/ 2946251 w 4536389"/>
                  <a:gd name="connsiteY86" fmla="*/ 383376 h 473746"/>
                  <a:gd name="connsiteX87" fmla="*/ 2946251 w 4536389"/>
                  <a:gd name="connsiteY87" fmla="*/ 378297 h 473746"/>
                  <a:gd name="connsiteX88" fmla="*/ 2886663 w 4536389"/>
                  <a:gd name="connsiteY88" fmla="*/ 378297 h 473746"/>
                  <a:gd name="connsiteX89" fmla="*/ 2886663 w 4536389"/>
                  <a:gd name="connsiteY89" fmla="*/ 373568 h 473746"/>
                  <a:gd name="connsiteX90" fmla="*/ 2883619 w 4536389"/>
                  <a:gd name="connsiteY90" fmla="*/ 373568 h 473746"/>
                  <a:gd name="connsiteX91" fmla="*/ 2883619 w 4536389"/>
                  <a:gd name="connsiteY91" fmla="*/ 368664 h 473746"/>
                  <a:gd name="connsiteX92" fmla="*/ 2785427 w 4536389"/>
                  <a:gd name="connsiteY92" fmla="*/ 368664 h 473746"/>
                  <a:gd name="connsiteX93" fmla="*/ 2785427 w 4536389"/>
                  <a:gd name="connsiteY93" fmla="*/ 363410 h 473746"/>
                  <a:gd name="connsiteX94" fmla="*/ 2770530 w 4536389"/>
                  <a:gd name="connsiteY94" fmla="*/ 363410 h 473746"/>
                  <a:gd name="connsiteX95" fmla="*/ 2770530 w 4536389"/>
                  <a:gd name="connsiteY95" fmla="*/ 358331 h 473746"/>
                  <a:gd name="connsiteX96" fmla="*/ 2746663 w 4536389"/>
                  <a:gd name="connsiteY96" fmla="*/ 358331 h 473746"/>
                  <a:gd name="connsiteX97" fmla="*/ 2746663 w 4536389"/>
                  <a:gd name="connsiteY97" fmla="*/ 353602 h 473746"/>
                  <a:gd name="connsiteX98" fmla="*/ 2737692 w 4536389"/>
                  <a:gd name="connsiteY98" fmla="*/ 353602 h 473746"/>
                  <a:gd name="connsiteX99" fmla="*/ 2737692 w 4536389"/>
                  <a:gd name="connsiteY99" fmla="*/ 349049 h 473746"/>
                  <a:gd name="connsiteX100" fmla="*/ 2713825 w 4536389"/>
                  <a:gd name="connsiteY100" fmla="*/ 349049 h 473746"/>
                  <a:gd name="connsiteX101" fmla="*/ 2713825 w 4536389"/>
                  <a:gd name="connsiteY101" fmla="*/ 344670 h 473746"/>
                  <a:gd name="connsiteX102" fmla="*/ 2693001 w 4536389"/>
                  <a:gd name="connsiteY102" fmla="*/ 344670 h 473746"/>
                  <a:gd name="connsiteX103" fmla="*/ 2693001 w 4536389"/>
                  <a:gd name="connsiteY103" fmla="*/ 338891 h 473746"/>
                  <a:gd name="connsiteX104" fmla="*/ 2627486 w 4536389"/>
                  <a:gd name="connsiteY104" fmla="*/ 338891 h 473746"/>
                  <a:gd name="connsiteX105" fmla="*/ 2627486 w 4536389"/>
                  <a:gd name="connsiteY105" fmla="*/ 333987 h 473746"/>
                  <a:gd name="connsiteX106" fmla="*/ 2523207 w 4536389"/>
                  <a:gd name="connsiteY106" fmla="*/ 333987 h 473746"/>
                  <a:gd name="connsiteX107" fmla="*/ 2523207 w 4536389"/>
                  <a:gd name="connsiteY107" fmla="*/ 327507 h 473746"/>
                  <a:gd name="connsiteX108" fmla="*/ 2481559 w 4536389"/>
                  <a:gd name="connsiteY108" fmla="*/ 327507 h 473746"/>
                  <a:gd name="connsiteX109" fmla="*/ 2481559 w 4536389"/>
                  <a:gd name="connsiteY109" fmla="*/ 322953 h 473746"/>
                  <a:gd name="connsiteX110" fmla="*/ 2356456 w 4536389"/>
                  <a:gd name="connsiteY110" fmla="*/ 322953 h 473746"/>
                  <a:gd name="connsiteX111" fmla="*/ 2356456 w 4536389"/>
                  <a:gd name="connsiteY111" fmla="*/ 318575 h 473746"/>
                  <a:gd name="connsiteX112" fmla="*/ 2326662 w 4536389"/>
                  <a:gd name="connsiteY112" fmla="*/ 318575 h 473746"/>
                  <a:gd name="connsiteX113" fmla="*/ 2326662 w 4536389"/>
                  <a:gd name="connsiteY113" fmla="*/ 313496 h 473746"/>
                  <a:gd name="connsiteX114" fmla="*/ 2323618 w 4536389"/>
                  <a:gd name="connsiteY114" fmla="*/ 313496 h 473746"/>
                  <a:gd name="connsiteX115" fmla="*/ 2323618 w 4536389"/>
                  <a:gd name="connsiteY115" fmla="*/ 308592 h 473746"/>
                  <a:gd name="connsiteX116" fmla="*/ 2255060 w 4536389"/>
                  <a:gd name="connsiteY116" fmla="*/ 308592 h 473746"/>
                  <a:gd name="connsiteX117" fmla="*/ 2255060 w 4536389"/>
                  <a:gd name="connsiteY117" fmla="*/ 303863 h 473746"/>
                  <a:gd name="connsiteX118" fmla="*/ 2174648 w 4536389"/>
                  <a:gd name="connsiteY118" fmla="*/ 303863 h 473746"/>
                  <a:gd name="connsiteX119" fmla="*/ 2174648 w 4536389"/>
                  <a:gd name="connsiteY119" fmla="*/ 299485 h 473746"/>
                  <a:gd name="connsiteX120" fmla="*/ 2129957 w 4536389"/>
                  <a:gd name="connsiteY120" fmla="*/ 299485 h 473746"/>
                  <a:gd name="connsiteX121" fmla="*/ 2129957 w 4536389"/>
                  <a:gd name="connsiteY121" fmla="*/ 295281 h 473746"/>
                  <a:gd name="connsiteX122" fmla="*/ 2043618 w 4536389"/>
                  <a:gd name="connsiteY122" fmla="*/ 295281 h 473746"/>
                  <a:gd name="connsiteX123" fmla="*/ 2043618 w 4536389"/>
                  <a:gd name="connsiteY123" fmla="*/ 290728 h 473746"/>
                  <a:gd name="connsiteX124" fmla="*/ 2013824 w 4536389"/>
                  <a:gd name="connsiteY124" fmla="*/ 290728 h 473746"/>
                  <a:gd name="connsiteX125" fmla="*/ 2013824 w 4536389"/>
                  <a:gd name="connsiteY125" fmla="*/ 286349 h 473746"/>
                  <a:gd name="connsiteX126" fmla="*/ 2007897 w 4536389"/>
                  <a:gd name="connsiteY126" fmla="*/ 286349 h 473746"/>
                  <a:gd name="connsiteX127" fmla="*/ 2007897 w 4536389"/>
                  <a:gd name="connsiteY127" fmla="*/ 278118 h 473746"/>
                  <a:gd name="connsiteX128" fmla="*/ 1954236 w 4536389"/>
                  <a:gd name="connsiteY128" fmla="*/ 278118 h 473746"/>
                  <a:gd name="connsiteX129" fmla="*/ 1954236 w 4536389"/>
                  <a:gd name="connsiteY129" fmla="*/ 272514 h 473746"/>
                  <a:gd name="connsiteX130" fmla="*/ 1894648 w 4536389"/>
                  <a:gd name="connsiteY130" fmla="*/ 272514 h 473746"/>
                  <a:gd name="connsiteX131" fmla="*/ 1894648 w 4536389"/>
                  <a:gd name="connsiteY131" fmla="*/ 267785 h 473746"/>
                  <a:gd name="connsiteX132" fmla="*/ 1861810 w 4536389"/>
                  <a:gd name="connsiteY132" fmla="*/ 267785 h 473746"/>
                  <a:gd name="connsiteX133" fmla="*/ 1861810 w 4536389"/>
                  <a:gd name="connsiteY133" fmla="*/ 263406 h 473746"/>
                  <a:gd name="connsiteX134" fmla="*/ 1855883 w 4536389"/>
                  <a:gd name="connsiteY134" fmla="*/ 263406 h 473746"/>
                  <a:gd name="connsiteX135" fmla="*/ 1855883 w 4536389"/>
                  <a:gd name="connsiteY135" fmla="*/ 258853 h 473746"/>
                  <a:gd name="connsiteX136" fmla="*/ 1739751 w 4536389"/>
                  <a:gd name="connsiteY136" fmla="*/ 258853 h 473746"/>
                  <a:gd name="connsiteX137" fmla="*/ 1739751 w 4536389"/>
                  <a:gd name="connsiteY137" fmla="*/ 254825 h 473746"/>
                  <a:gd name="connsiteX138" fmla="*/ 1683206 w 4536389"/>
                  <a:gd name="connsiteY138" fmla="*/ 254825 h 473746"/>
                  <a:gd name="connsiteX139" fmla="*/ 1683206 w 4536389"/>
                  <a:gd name="connsiteY139" fmla="*/ 250621 h 473746"/>
                  <a:gd name="connsiteX140" fmla="*/ 1668309 w 4536389"/>
                  <a:gd name="connsiteY140" fmla="*/ 250621 h 473746"/>
                  <a:gd name="connsiteX141" fmla="*/ 1668309 w 4536389"/>
                  <a:gd name="connsiteY141" fmla="*/ 246593 h 473746"/>
                  <a:gd name="connsiteX142" fmla="*/ 1650368 w 4536389"/>
                  <a:gd name="connsiteY142" fmla="*/ 246593 h 473746"/>
                  <a:gd name="connsiteX143" fmla="*/ 1650368 w 4536389"/>
                  <a:gd name="connsiteY143" fmla="*/ 242565 h 473746"/>
                  <a:gd name="connsiteX144" fmla="*/ 1623618 w 4536389"/>
                  <a:gd name="connsiteY144" fmla="*/ 242565 h 473746"/>
                  <a:gd name="connsiteX145" fmla="*/ 1623618 w 4536389"/>
                  <a:gd name="connsiteY145" fmla="*/ 237661 h 473746"/>
                  <a:gd name="connsiteX146" fmla="*/ 1599750 w 4536389"/>
                  <a:gd name="connsiteY146" fmla="*/ 237661 h 473746"/>
                  <a:gd name="connsiteX147" fmla="*/ 1599750 w 4536389"/>
                  <a:gd name="connsiteY147" fmla="*/ 233458 h 473746"/>
                  <a:gd name="connsiteX148" fmla="*/ 1590780 w 4536389"/>
                  <a:gd name="connsiteY148" fmla="*/ 233458 h 473746"/>
                  <a:gd name="connsiteX149" fmla="*/ 1590780 w 4536389"/>
                  <a:gd name="connsiteY149" fmla="*/ 229080 h 473746"/>
                  <a:gd name="connsiteX150" fmla="*/ 1584853 w 4536389"/>
                  <a:gd name="connsiteY150" fmla="*/ 229080 h 473746"/>
                  <a:gd name="connsiteX151" fmla="*/ 1584853 w 4536389"/>
                  <a:gd name="connsiteY151" fmla="*/ 224876 h 473746"/>
                  <a:gd name="connsiteX152" fmla="*/ 1569956 w 4536389"/>
                  <a:gd name="connsiteY152" fmla="*/ 224876 h 473746"/>
                  <a:gd name="connsiteX153" fmla="*/ 1569956 w 4536389"/>
                  <a:gd name="connsiteY153" fmla="*/ 220323 h 473746"/>
                  <a:gd name="connsiteX154" fmla="*/ 1537279 w 4536389"/>
                  <a:gd name="connsiteY154" fmla="*/ 220323 h 473746"/>
                  <a:gd name="connsiteX155" fmla="*/ 1537279 w 4536389"/>
                  <a:gd name="connsiteY155" fmla="*/ 215944 h 473746"/>
                  <a:gd name="connsiteX156" fmla="*/ 1477691 w 4536389"/>
                  <a:gd name="connsiteY156" fmla="*/ 215944 h 473746"/>
                  <a:gd name="connsiteX157" fmla="*/ 1477691 w 4536389"/>
                  <a:gd name="connsiteY157" fmla="*/ 211566 h 473746"/>
                  <a:gd name="connsiteX158" fmla="*/ 1429956 w 4536389"/>
                  <a:gd name="connsiteY158" fmla="*/ 211566 h 473746"/>
                  <a:gd name="connsiteX159" fmla="*/ 1429956 w 4536389"/>
                  <a:gd name="connsiteY159" fmla="*/ 207187 h 473746"/>
                  <a:gd name="connsiteX160" fmla="*/ 1373411 w 4536389"/>
                  <a:gd name="connsiteY160" fmla="*/ 207187 h 473746"/>
                  <a:gd name="connsiteX161" fmla="*/ 1373411 w 4536389"/>
                  <a:gd name="connsiteY161" fmla="*/ 203159 h 473746"/>
                  <a:gd name="connsiteX162" fmla="*/ 1367485 w 4536389"/>
                  <a:gd name="connsiteY162" fmla="*/ 203159 h 473746"/>
                  <a:gd name="connsiteX163" fmla="*/ 1367485 w 4536389"/>
                  <a:gd name="connsiteY163" fmla="*/ 197730 h 473746"/>
                  <a:gd name="connsiteX164" fmla="*/ 1361558 w 4536389"/>
                  <a:gd name="connsiteY164" fmla="*/ 197730 h 473746"/>
                  <a:gd name="connsiteX165" fmla="*/ 1361558 w 4536389"/>
                  <a:gd name="connsiteY165" fmla="*/ 193877 h 473746"/>
                  <a:gd name="connsiteX166" fmla="*/ 1352587 w 4536389"/>
                  <a:gd name="connsiteY166" fmla="*/ 193877 h 473746"/>
                  <a:gd name="connsiteX167" fmla="*/ 1739430 w 4536389"/>
                  <a:gd name="connsiteY167" fmla="*/ 193877 h 473746"/>
                  <a:gd name="connsiteX168" fmla="*/ 1739430 w 4536389"/>
                  <a:gd name="connsiteY168" fmla="*/ 200532 h 473746"/>
                  <a:gd name="connsiteX169" fmla="*/ 1741352 w 4536389"/>
                  <a:gd name="connsiteY169" fmla="*/ 205436 h 473746"/>
                  <a:gd name="connsiteX170" fmla="*/ 1745837 w 4536389"/>
                  <a:gd name="connsiteY170" fmla="*/ 207538 h 473746"/>
                  <a:gd name="connsiteX171" fmla="*/ 2227989 w 4536389"/>
                  <a:gd name="connsiteY171" fmla="*/ 207538 h 473746"/>
                  <a:gd name="connsiteX172" fmla="*/ 2227989 w 4536389"/>
                  <a:gd name="connsiteY172" fmla="*/ 232232 h 473746"/>
                  <a:gd name="connsiteX173" fmla="*/ 2229911 w 4536389"/>
                  <a:gd name="connsiteY173" fmla="*/ 237136 h 473746"/>
                  <a:gd name="connsiteX174" fmla="*/ 2234396 w 4536389"/>
                  <a:gd name="connsiteY174" fmla="*/ 239238 h 473746"/>
                  <a:gd name="connsiteX175" fmla="*/ 2445518 w 4536389"/>
                  <a:gd name="connsiteY175" fmla="*/ 239238 h 473746"/>
                  <a:gd name="connsiteX176" fmla="*/ 2445518 w 4536389"/>
                  <a:gd name="connsiteY176" fmla="*/ 245367 h 473746"/>
                  <a:gd name="connsiteX177" fmla="*/ 2447440 w 4536389"/>
                  <a:gd name="connsiteY177" fmla="*/ 250271 h 473746"/>
                  <a:gd name="connsiteX178" fmla="*/ 2451925 w 4536389"/>
                  <a:gd name="connsiteY178" fmla="*/ 252373 h 473746"/>
                  <a:gd name="connsiteX179" fmla="*/ 3151606 w 4536389"/>
                  <a:gd name="connsiteY179" fmla="*/ 252373 h 473746"/>
                  <a:gd name="connsiteX180" fmla="*/ 3151606 w 4536389"/>
                  <a:gd name="connsiteY180" fmla="*/ 267960 h 473746"/>
                  <a:gd name="connsiteX181" fmla="*/ 3153528 w 4536389"/>
                  <a:gd name="connsiteY181" fmla="*/ 272864 h 473746"/>
                  <a:gd name="connsiteX182" fmla="*/ 3158013 w 4536389"/>
                  <a:gd name="connsiteY182" fmla="*/ 274966 h 473746"/>
                  <a:gd name="connsiteX183" fmla="*/ 3187327 w 4536389"/>
                  <a:gd name="connsiteY183" fmla="*/ 274966 h 473746"/>
                  <a:gd name="connsiteX184" fmla="*/ 3187327 w 4536389"/>
                  <a:gd name="connsiteY184" fmla="*/ 279519 h 473746"/>
                  <a:gd name="connsiteX185" fmla="*/ 3189249 w 4536389"/>
                  <a:gd name="connsiteY185" fmla="*/ 284423 h 473746"/>
                  <a:gd name="connsiteX186" fmla="*/ 3193734 w 4536389"/>
                  <a:gd name="connsiteY186" fmla="*/ 286525 h 473746"/>
                  <a:gd name="connsiteX187" fmla="*/ 4104856 w 4536389"/>
                  <a:gd name="connsiteY187" fmla="*/ 286525 h 473746"/>
                  <a:gd name="connsiteX188" fmla="*/ 4104856 w 4536389"/>
                  <a:gd name="connsiteY188" fmla="*/ 314547 h 473746"/>
                  <a:gd name="connsiteX189" fmla="*/ 4106778 w 4536389"/>
                  <a:gd name="connsiteY189" fmla="*/ 319450 h 473746"/>
                  <a:gd name="connsiteX190" fmla="*/ 4111264 w 4536389"/>
                  <a:gd name="connsiteY190" fmla="*/ 321552 h 473746"/>
                  <a:gd name="connsiteX191" fmla="*/ 4536390 w 4536389"/>
                  <a:gd name="connsiteY191" fmla="*/ 321552 h 473746"/>
                  <a:gd name="connsiteX192" fmla="*/ 4536390 w 4536389"/>
                  <a:gd name="connsiteY192" fmla="*/ 307716 h 473746"/>
                  <a:gd name="connsiteX193" fmla="*/ 4117671 w 4536389"/>
                  <a:gd name="connsiteY193" fmla="*/ 307716 h 473746"/>
                  <a:gd name="connsiteX194" fmla="*/ 4117671 w 4536389"/>
                  <a:gd name="connsiteY194" fmla="*/ 279694 h 473746"/>
                  <a:gd name="connsiteX195" fmla="*/ 4115749 w 4536389"/>
                  <a:gd name="connsiteY195" fmla="*/ 274790 h 473746"/>
                  <a:gd name="connsiteX196" fmla="*/ 4111264 w 4536389"/>
                  <a:gd name="connsiteY196" fmla="*/ 272689 h 473746"/>
                  <a:gd name="connsiteX197" fmla="*/ 3200141 w 4536389"/>
                  <a:gd name="connsiteY197" fmla="*/ 272689 h 473746"/>
                  <a:gd name="connsiteX198" fmla="*/ 3200141 w 4536389"/>
                  <a:gd name="connsiteY198" fmla="*/ 268135 h 473746"/>
                  <a:gd name="connsiteX199" fmla="*/ 3198219 w 4536389"/>
                  <a:gd name="connsiteY199" fmla="*/ 263231 h 473746"/>
                  <a:gd name="connsiteX200" fmla="*/ 3193734 w 4536389"/>
                  <a:gd name="connsiteY200" fmla="*/ 261130 h 473746"/>
                  <a:gd name="connsiteX201" fmla="*/ 3164421 w 4536389"/>
                  <a:gd name="connsiteY201" fmla="*/ 261130 h 473746"/>
                  <a:gd name="connsiteX202" fmla="*/ 3164421 w 4536389"/>
                  <a:gd name="connsiteY202" fmla="*/ 245718 h 473746"/>
                  <a:gd name="connsiteX203" fmla="*/ 3162498 w 4536389"/>
                  <a:gd name="connsiteY203" fmla="*/ 240814 h 473746"/>
                  <a:gd name="connsiteX204" fmla="*/ 3158013 w 4536389"/>
                  <a:gd name="connsiteY204" fmla="*/ 238712 h 473746"/>
                  <a:gd name="connsiteX205" fmla="*/ 2458333 w 4536389"/>
                  <a:gd name="connsiteY205" fmla="*/ 238712 h 473746"/>
                  <a:gd name="connsiteX206" fmla="*/ 2458333 w 4536389"/>
                  <a:gd name="connsiteY206" fmla="*/ 232582 h 473746"/>
                  <a:gd name="connsiteX207" fmla="*/ 2456410 w 4536389"/>
                  <a:gd name="connsiteY207" fmla="*/ 227678 h 473746"/>
                  <a:gd name="connsiteX208" fmla="*/ 2451925 w 4536389"/>
                  <a:gd name="connsiteY208" fmla="*/ 225577 h 473746"/>
                  <a:gd name="connsiteX209" fmla="*/ 2240804 w 4536389"/>
                  <a:gd name="connsiteY209" fmla="*/ 225577 h 473746"/>
                  <a:gd name="connsiteX210" fmla="*/ 2240804 w 4536389"/>
                  <a:gd name="connsiteY210" fmla="*/ 201058 h 473746"/>
                  <a:gd name="connsiteX211" fmla="*/ 2238881 w 4536389"/>
                  <a:gd name="connsiteY211" fmla="*/ 196154 h 473746"/>
                  <a:gd name="connsiteX212" fmla="*/ 2234396 w 4536389"/>
                  <a:gd name="connsiteY212" fmla="*/ 194052 h 473746"/>
                  <a:gd name="connsiteX213" fmla="*/ 1752245 w 4536389"/>
                  <a:gd name="connsiteY213" fmla="*/ 194052 h 473746"/>
                  <a:gd name="connsiteX214" fmla="*/ 1752245 w 4536389"/>
                  <a:gd name="connsiteY214" fmla="*/ 187397 h 473746"/>
                  <a:gd name="connsiteX215" fmla="*/ 1750322 w 4536389"/>
                  <a:gd name="connsiteY215" fmla="*/ 182493 h 473746"/>
                  <a:gd name="connsiteX216" fmla="*/ 1745837 w 4536389"/>
                  <a:gd name="connsiteY216" fmla="*/ 180391 h 473746"/>
                  <a:gd name="connsiteX217" fmla="*/ 1344098 w 4536389"/>
                  <a:gd name="connsiteY217" fmla="*/ 180391 h 473746"/>
                  <a:gd name="connsiteX218" fmla="*/ 1344098 w 4536389"/>
                  <a:gd name="connsiteY218" fmla="*/ 140986 h 473746"/>
                  <a:gd name="connsiteX219" fmla="*/ 1342176 w 4536389"/>
                  <a:gd name="connsiteY219" fmla="*/ 136082 h 473746"/>
                  <a:gd name="connsiteX220" fmla="*/ 1337690 w 4536389"/>
                  <a:gd name="connsiteY220" fmla="*/ 133980 h 473746"/>
                  <a:gd name="connsiteX221" fmla="*/ 1141466 w 4536389"/>
                  <a:gd name="connsiteY221" fmla="*/ 133980 h 473746"/>
                  <a:gd name="connsiteX222" fmla="*/ 1141466 w 4536389"/>
                  <a:gd name="connsiteY222" fmla="*/ 109986 h 473746"/>
                  <a:gd name="connsiteX223" fmla="*/ 1139544 w 4536389"/>
                  <a:gd name="connsiteY223" fmla="*/ 105082 h 473746"/>
                  <a:gd name="connsiteX224" fmla="*/ 1135059 w 4536389"/>
                  <a:gd name="connsiteY224" fmla="*/ 102981 h 473746"/>
                  <a:gd name="connsiteX225" fmla="*/ 1102702 w 4536389"/>
                  <a:gd name="connsiteY225" fmla="*/ 102981 h 473746"/>
                  <a:gd name="connsiteX226" fmla="*/ 1102702 w 4536389"/>
                  <a:gd name="connsiteY226" fmla="*/ 88444 h 473746"/>
                  <a:gd name="connsiteX227" fmla="*/ 1100779 w 4536389"/>
                  <a:gd name="connsiteY227" fmla="*/ 83540 h 473746"/>
                  <a:gd name="connsiteX228" fmla="*/ 1096294 w 4536389"/>
                  <a:gd name="connsiteY228" fmla="*/ 81439 h 473746"/>
                  <a:gd name="connsiteX229" fmla="*/ 1013319 w 4536389"/>
                  <a:gd name="connsiteY229" fmla="*/ 81439 h 473746"/>
                  <a:gd name="connsiteX230" fmla="*/ 1013319 w 4536389"/>
                  <a:gd name="connsiteY230" fmla="*/ 61298 h 473746"/>
                  <a:gd name="connsiteX231" fmla="*/ 1011397 w 4536389"/>
                  <a:gd name="connsiteY231" fmla="*/ 56394 h 473746"/>
                  <a:gd name="connsiteX232" fmla="*/ 1007232 w 4536389"/>
                  <a:gd name="connsiteY232" fmla="*/ 54293 h 473746"/>
                  <a:gd name="connsiteX233" fmla="*/ 1007232 w 4536389"/>
                  <a:gd name="connsiteY233" fmla="*/ 48688 h 473746"/>
                  <a:gd name="connsiteX234" fmla="*/ 1005310 w 4536389"/>
                  <a:gd name="connsiteY234" fmla="*/ 43784 h 473746"/>
                  <a:gd name="connsiteX235" fmla="*/ 1000825 w 4536389"/>
                  <a:gd name="connsiteY235" fmla="*/ 41683 h 473746"/>
                  <a:gd name="connsiteX236" fmla="*/ 748056 w 4536389"/>
                  <a:gd name="connsiteY236" fmla="*/ 41683 h 473746"/>
                  <a:gd name="connsiteX237" fmla="*/ 748056 w 4536389"/>
                  <a:gd name="connsiteY237" fmla="*/ 37129 h 473746"/>
                  <a:gd name="connsiteX238" fmla="*/ 746134 w 4536389"/>
                  <a:gd name="connsiteY238" fmla="*/ 32225 h 473746"/>
                  <a:gd name="connsiteX239" fmla="*/ 741649 w 4536389"/>
                  <a:gd name="connsiteY239" fmla="*/ 30124 h 473746"/>
                  <a:gd name="connsiteX240" fmla="*/ 396454 w 4536389"/>
                  <a:gd name="connsiteY240" fmla="*/ 30124 h 473746"/>
                  <a:gd name="connsiteX241" fmla="*/ 396454 w 4536389"/>
                  <a:gd name="connsiteY241" fmla="*/ 25045 h 473746"/>
                  <a:gd name="connsiteX242" fmla="*/ 394531 w 4536389"/>
                  <a:gd name="connsiteY242" fmla="*/ 20141 h 473746"/>
                  <a:gd name="connsiteX243" fmla="*/ 390046 w 4536389"/>
                  <a:gd name="connsiteY243" fmla="*/ 18039 h 473746"/>
                  <a:gd name="connsiteX244" fmla="*/ 286247 w 4536389"/>
                  <a:gd name="connsiteY244" fmla="*/ 18039 h 473746"/>
                  <a:gd name="connsiteX245" fmla="*/ 286247 w 4536389"/>
                  <a:gd name="connsiteY245" fmla="*/ 0 h 473746"/>
                  <a:gd name="connsiteX246" fmla="*/ 1006592 w 4536389"/>
                  <a:gd name="connsiteY246" fmla="*/ 0 h 473746"/>
                  <a:gd name="connsiteX247" fmla="*/ 1006592 w 4536389"/>
                  <a:gd name="connsiteY247" fmla="*/ 5254 h 473746"/>
                  <a:gd name="connsiteX248" fmla="*/ 1095974 w 4536389"/>
                  <a:gd name="connsiteY248" fmla="*/ 5254 h 473746"/>
                  <a:gd name="connsiteX249" fmla="*/ 1095974 w 4536389"/>
                  <a:gd name="connsiteY249" fmla="*/ 16813 h 473746"/>
                  <a:gd name="connsiteX250" fmla="*/ 1134738 w 4536389"/>
                  <a:gd name="connsiteY250" fmla="*/ 16813 h 473746"/>
                  <a:gd name="connsiteX251" fmla="*/ 1134738 w 4536389"/>
                  <a:gd name="connsiteY251" fmla="*/ 30649 h 473746"/>
                  <a:gd name="connsiteX252" fmla="*/ 1337210 w 4536389"/>
                  <a:gd name="connsiteY252" fmla="*/ 30649 h 473746"/>
                  <a:gd name="connsiteX253" fmla="*/ 1337210 w 4536389"/>
                  <a:gd name="connsiteY253" fmla="*/ 47112 h 473746"/>
                  <a:gd name="connsiteX254" fmla="*/ 1745357 w 4536389"/>
                  <a:gd name="connsiteY254" fmla="*/ 47112 h 473746"/>
                  <a:gd name="connsiteX255" fmla="*/ 1745357 w 4536389"/>
                  <a:gd name="connsiteY255" fmla="*/ 58496 h 473746"/>
                  <a:gd name="connsiteX256" fmla="*/ 2233756 w 4536389"/>
                  <a:gd name="connsiteY256" fmla="*/ 58496 h 473746"/>
                  <a:gd name="connsiteX257" fmla="*/ 2233756 w 4536389"/>
                  <a:gd name="connsiteY257" fmla="*/ 78812 h 473746"/>
                  <a:gd name="connsiteX258" fmla="*/ 2451124 w 4536389"/>
                  <a:gd name="connsiteY258" fmla="*/ 78812 h 473746"/>
                  <a:gd name="connsiteX259" fmla="*/ 2451124 w 4536389"/>
                  <a:gd name="connsiteY259" fmla="*/ 90196 h 473746"/>
                  <a:gd name="connsiteX260" fmla="*/ 3157052 w 4536389"/>
                  <a:gd name="connsiteY260" fmla="*/ 90196 h 473746"/>
                  <a:gd name="connsiteX261" fmla="*/ 3157052 w 4536389"/>
                  <a:gd name="connsiteY261" fmla="*/ 107359 h 473746"/>
                  <a:gd name="connsiteX262" fmla="*/ 3192773 w 4536389"/>
                  <a:gd name="connsiteY262" fmla="*/ 107359 h 473746"/>
                  <a:gd name="connsiteX263" fmla="*/ 3192773 w 4536389"/>
                  <a:gd name="connsiteY263" fmla="*/ 117517 h 473746"/>
                  <a:gd name="connsiteX264" fmla="*/ 4110142 w 4536389"/>
                  <a:gd name="connsiteY264" fmla="*/ 117517 h 473746"/>
                  <a:gd name="connsiteX265" fmla="*/ 4110142 w 4536389"/>
                  <a:gd name="connsiteY265" fmla="*/ 139234 h 473746"/>
                  <a:gd name="connsiteX266" fmla="*/ 4535269 w 4536389"/>
                  <a:gd name="connsiteY266" fmla="*/ 139234 h 473746"/>
                  <a:gd name="connsiteX267" fmla="*/ 4535269 w 4536389"/>
                  <a:gd name="connsiteY267" fmla="*/ 473221 h 4737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</a:cxnLst>
                <a:rect l="l" t="t" r="r" b="b"/>
                <a:pathLst>
                  <a:path w="4536389" h="473746">
                    <a:moveTo>
                      <a:pt x="1331604" y="185470"/>
                    </a:moveTo>
                    <a:lnTo>
                      <a:pt x="1305173" y="185470"/>
                    </a:lnTo>
                    <a:lnTo>
                      <a:pt x="1305173" y="181617"/>
                    </a:lnTo>
                    <a:lnTo>
                      <a:pt x="1272336" y="181617"/>
                    </a:lnTo>
                    <a:lnTo>
                      <a:pt x="1272336" y="177589"/>
                    </a:lnTo>
                    <a:lnTo>
                      <a:pt x="1257439" y="177589"/>
                    </a:lnTo>
                    <a:lnTo>
                      <a:pt x="1257439" y="173386"/>
                    </a:lnTo>
                    <a:lnTo>
                      <a:pt x="1179910" y="173386"/>
                    </a:lnTo>
                    <a:lnTo>
                      <a:pt x="1179910" y="169533"/>
                    </a:lnTo>
                    <a:lnTo>
                      <a:pt x="1096454" y="169533"/>
                    </a:lnTo>
                    <a:lnTo>
                      <a:pt x="1096454" y="167782"/>
                    </a:lnTo>
                    <a:lnTo>
                      <a:pt x="1027896" y="167782"/>
                    </a:lnTo>
                    <a:lnTo>
                      <a:pt x="1027896" y="164979"/>
                    </a:lnTo>
                    <a:lnTo>
                      <a:pt x="1007072" y="164979"/>
                    </a:lnTo>
                    <a:lnTo>
                      <a:pt x="1007072" y="122946"/>
                    </a:lnTo>
                    <a:lnTo>
                      <a:pt x="1001145" y="122946"/>
                    </a:lnTo>
                    <a:lnTo>
                      <a:pt x="1001145" y="105958"/>
                    </a:lnTo>
                    <a:lnTo>
                      <a:pt x="741969" y="105958"/>
                    </a:lnTo>
                    <a:lnTo>
                      <a:pt x="741969" y="90196"/>
                    </a:lnTo>
                    <a:lnTo>
                      <a:pt x="458925" y="90196"/>
                    </a:lnTo>
                    <a:lnTo>
                      <a:pt x="458925" y="88094"/>
                    </a:lnTo>
                    <a:lnTo>
                      <a:pt x="449955" y="88094"/>
                    </a:lnTo>
                    <a:lnTo>
                      <a:pt x="449955" y="80388"/>
                    </a:lnTo>
                    <a:lnTo>
                      <a:pt x="435058" y="80388"/>
                    </a:lnTo>
                    <a:lnTo>
                      <a:pt x="435058" y="76885"/>
                    </a:lnTo>
                    <a:lnTo>
                      <a:pt x="390367" y="76885"/>
                    </a:lnTo>
                    <a:lnTo>
                      <a:pt x="390367" y="73383"/>
                    </a:lnTo>
                    <a:lnTo>
                      <a:pt x="327895" y="73383"/>
                    </a:lnTo>
                    <a:lnTo>
                      <a:pt x="327895" y="70055"/>
                    </a:lnTo>
                    <a:lnTo>
                      <a:pt x="266385" y="70055"/>
                    </a:lnTo>
                    <a:lnTo>
                      <a:pt x="0" y="7356"/>
                    </a:lnTo>
                    <a:lnTo>
                      <a:pt x="273913" y="7356"/>
                    </a:lnTo>
                    <a:lnTo>
                      <a:pt x="273913" y="25395"/>
                    </a:lnTo>
                    <a:cubicBezTo>
                      <a:pt x="273913" y="27146"/>
                      <a:pt x="274554" y="29073"/>
                      <a:pt x="275836" y="30299"/>
                    </a:cubicBezTo>
                    <a:cubicBezTo>
                      <a:pt x="276957" y="31525"/>
                      <a:pt x="278719" y="32400"/>
                      <a:pt x="280321" y="32400"/>
                    </a:cubicBezTo>
                    <a:lnTo>
                      <a:pt x="384119" y="32400"/>
                    </a:lnTo>
                    <a:lnTo>
                      <a:pt x="384119" y="37479"/>
                    </a:lnTo>
                    <a:cubicBezTo>
                      <a:pt x="384119" y="39231"/>
                      <a:pt x="384760" y="41157"/>
                      <a:pt x="386042" y="42383"/>
                    </a:cubicBezTo>
                    <a:cubicBezTo>
                      <a:pt x="387163" y="43609"/>
                      <a:pt x="388925" y="44485"/>
                      <a:pt x="390527" y="44485"/>
                    </a:cubicBezTo>
                    <a:lnTo>
                      <a:pt x="735722" y="44485"/>
                    </a:lnTo>
                    <a:lnTo>
                      <a:pt x="735722" y="48863"/>
                    </a:lnTo>
                    <a:cubicBezTo>
                      <a:pt x="735722" y="50615"/>
                      <a:pt x="736362" y="52541"/>
                      <a:pt x="737644" y="53767"/>
                    </a:cubicBezTo>
                    <a:cubicBezTo>
                      <a:pt x="738925" y="54993"/>
                      <a:pt x="740527" y="55869"/>
                      <a:pt x="742129" y="55869"/>
                    </a:cubicBezTo>
                    <a:lnTo>
                      <a:pt x="994898" y="55869"/>
                    </a:lnTo>
                    <a:lnTo>
                      <a:pt x="994898" y="61473"/>
                    </a:lnTo>
                    <a:cubicBezTo>
                      <a:pt x="994898" y="63225"/>
                      <a:pt x="995539" y="65151"/>
                      <a:pt x="996820" y="66377"/>
                    </a:cubicBezTo>
                    <a:cubicBezTo>
                      <a:pt x="997942" y="67603"/>
                      <a:pt x="999383" y="68304"/>
                      <a:pt x="1000985" y="68304"/>
                    </a:cubicBezTo>
                    <a:lnTo>
                      <a:pt x="1000985" y="88444"/>
                    </a:lnTo>
                    <a:cubicBezTo>
                      <a:pt x="1000985" y="90196"/>
                      <a:pt x="1001626" y="92122"/>
                      <a:pt x="1002907" y="93348"/>
                    </a:cubicBezTo>
                    <a:cubicBezTo>
                      <a:pt x="1004029" y="94574"/>
                      <a:pt x="1005791" y="95450"/>
                      <a:pt x="1007393" y="95450"/>
                    </a:cubicBezTo>
                    <a:lnTo>
                      <a:pt x="1090367" y="95450"/>
                    </a:lnTo>
                    <a:lnTo>
                      <a:pt x="1090367" y="109986"/>
                    </a:lnTo>
                    <a:cubicBezTo>
                      <a:pt x="1090367" y="111913"/>
                      <a:pt x="1091008" y="113664"/>
                      <a:pt x="1092290" y="114890"/>
                    </a:cubicBezTo>
                    <a:cubicBezTo>
                      <a:pt x="1093411" y="116116"/>
                      <a:pt x="1095173" y="116992"/>
                      <a:pt x="1096775" y="116992"/>
                    </a:cubicBezTo>
                    <a:lnTo>
                      <a:pt x="1129132" y="116992"/>
                    </a:lnTo>
                    <a:lnTo>
                      <a:pt x="1129132" y="140986"/>
                    </a:lnTo>
                    <a:cubicBezTo>
                      <a:pt x="1129132" y="142737"/>
                      <a:pt x="1129773" y="144663"/>
                      <a:pt x="1131054" y="145889"/>
                    </a:cubicBezTo>
                    <a:cubicBezTo>
                      <a:pt x="1132335" y="147115"/>
                      <a:pt x="1133937" y="147991"/>
                      <a:pt x="1135539" y="147991"/>
                    </a:cubicBezTo>
                    <a:lnTo>
                      <a:pt x="1331764" y="147991"/>
                    </a:lnTo>
                    <a:lnTo>
                      <a:pt x="1331764" y="185821"/>
                    </a:lnTo>
                    <a:moveTo>
                      <a:pt x="1352908" y="317349"/>
                    </a:moveTo>
                    <a:lnTo>
                      <a:pt x="1338011" y="317349"/>
                    </a:lnTo>
                    <a:lnTo>
                      <a:pt x="1338011" y="308242"/>
                    </a:lnTo>
                    <a:lnTo>
                      <a:pt x="1346981" y="308242"/>
                    </a:lnTo>
                    <a:lnTo>
                      <a:pt x="1346981" y="313145"/>
                    </a:lnTo>
                    <a:lnTo>
                      <a:pt x="1352908" y="313145"/>
                    </a:lnTo>
                    <a:lnTo>
                      <a:pt x="1352908" y="317349"/>
                    </a:lnTo>
                    <a:moveTo>
                      <a:pt x="4536230" y="473746"/>
                    </a:moveTo>
                    <a:lnTo>
                      <a:pt x="4111104" y="473746"/>
                    </a:lnTo>
                    <a:lnTo>
                      <a:pt x="4111104" y="427860"/>
                    </a:lnTo>
                    <a:lnTo>
                      <a:pt x="3491515" y="427860"/>
                    </a:lnTo>
                    <a:lnTo>
                      <a:pt x="3491515" y="427160"/>
                    </a:lnTo>
                    <a:lnTo>
                      <a:pt x="3476618" y="427160"/>
                    </a:lnTo>
                    <a:lnTo>
                      <a:pt x="3476618" y="421380"/>
                    </a:lnTo>
                    <a:lnTo>
                      <a:pt x="3470691" y="421380"/>
                    </a:lnTo>
                    <a:lnTo>
                      <a:pt x="3470691" y="415776"/>
                    </a:lnTo>
                    <a:lnTo>
                      <a:pt x="3271102" y="415776"/>
                    </a:lnTo>
                    <a:lnTo>
                      <a:pt x="3271102" y="410347"/>
                    </a:lnTo>
                    <a:lnTo>
                      <a:pt x="3241308" y="410347"/>
                    </a:lnTo>
                    <a:lnTo>
                      <a:pt x="3241308" y="405618"/>
                    </a:lnTo>
                    <a:lnTo>
                      <a:pt x="3187647" y="405618"/>
                    </a:lnTo>
                    <a:lnTo>
                      <a:pt x="3187647" y="399838"/>
                    </a:lnTo>
                    <a:lnTo>
                      <a:pt x="3157853" y="399838"/>
                    </a:lnTo>
                    <a:lnTo>
                      <a:pt x="3157853" y="388454"/>
                    </a:lnTo>
                    <a:lnTo>
                      <a:pt x="2961148" y="388454"/>
                    </a:lnTo>
                    <a:lnTo>
                      <a:pt x="2961148" y="383376"/>
                    </a:lnTo>
                    <a:lnTo>
                      <a:pt x="2946251" y="383376"/>
                    </a:lnTo>
                    <a:lnTo>
                      <a:pt x="2946251" y="378297"/>
                    </a:lnTo>
                    <a:lnTo>
                      <a:pt x="2886663" y="378297"/>
                    </a:lnTo>
                    <a:lnTo>
                      <a:pt x="2886663" y="373568"/>
                    </a:lnTo>
                    <a:lnTo>
                      <a:pt x="2883619" y="373568"/>
                    </a:lnTo>
                    <a:lnTo>
                      <a:pt x="2883619" y="368664"/>
                    </a:lnTo>
                    <a:lnTo>
                      <a:pt x="2785427" y="368664"/>
                    </a:lnTo>
                    <a:lnTo>
                      <a:pt x="2785427" y="363410"/>
                    </a:lnTo>
                    <a:lnTo>
                      <a:pt x="2770530" y="363410"/>
                    </a:lnTo>
                    <a:lnTo>
                      <a:pt x="2770530" y="358331"/>
                    </a:lnTo>
                    <a:lnTo>
                      <a:pt x="2746663" y="358331"/>
                    </a:lnTo>
                    <a:lnTo>
                      <a:pt x="2746663" y="353602"/>
                    </a:lnTo>
                    <a:lnTo>
                      <a:pt x="2737692" y="353602"/>
                    </a:lnTo>
                    <a:lnTo>
                      <a:pt x="2737692" y="349049"/>
                    </a:lnTo>
                    <a:lnTo>
                      <a:pt x="2713825" y="349049"/>
                    </a:lnTo>
                    <a:lnTo>
                      <a:pt x="2713825" y="344670"/>
                    </a:lnTo>
                    <a:lnTo>
                      <a:pt x="2693001" y="344670"/>
                    </a:lnTo>
                    <a:lnTo>
                      <a:pt x="2693001" y="338891"/>
                    </a:lnTo>
                    <a:lnTo>
                      <a:pt x="2627486" y="338891"/>
                    </a:lnTo>
                    <a:lnTo>
                      <a:pt x="2627486" y="333987"/>
                    </a:lnTo>
                    <a:lnTo>
                      <a:pt x="2523207" y="333987"/>
                    </a:lnTo>
                    <a:lnTo>
                      <a:pt x="2523207" y="327507"/>
                    </a:lnTo>
                    <a:lnTo>
                      <a:pt x="2481559" y="327507"/>
                    </a:lnTo>
                    <a:lnTo>
                      <a:pt x="2481559" y="322953"/>
                    </a:lnTo>
                    <a:lnTo>
                      <a:pt x="2356456" y="322953"/>
                    </a:lnTo>
                    <a:lnTo>
                      <a:pt x="2356456" y="318575"/>
                    </a:lnTo>
                    <a:lnTo>
                      <a:pt x="2326662" y="318575"/>
                    </a:lnTo>
                    <a:lnTo>
                      <a:pt x="2326662" y="313496"/>
                    </a:lnTo>
                    <a:lnTo>
                      <a:pt x="2323618" y="313496"/>
                    </a:lnTo>
                    <a:lnTo>
                      <a:pt x="2323618" y="308592"/>
                    </a:lnTo>
                    <a:lnTo>
                      <a:pt x="2255060" y="308592"/>
                    </a:lnTo>
                    <a:lnTo>
                      <a:pt x="2255060" y="303863"/>
                    </a:lnTo>
                    <a:lnTo>
                      <a:pt x="2174648" y="303863"/>
                    </a:lnTo>
                    <a:lnTo>
                      <a:pt x="2174648" y="299485"/>
                    </a:lnTo>
                    <a:lnTo>
                      <a:pt x="2129957" y="299485"/>
                    </a:lnTo>
                    <a:lnTo>
                      <a:pt x="2129957" y="295281"/>
                    </a:lnTo>
                    <a:lnTo>
                      <a:pt x="2043618" y="295281"/>
                    </a:lnTo>
                    <a:lnTo>
                      <a:pt x="2043618" y="290728"/>
                    </a:lnTo>
                    <a:lnTo>
                      <a:pt x="2013824" y="290728"/>
                    </a:lnTo>
                    <a:lnTo>
                      <a:pt x="2013824" y="286349"/>
                    </a:lnTo>
                    <a:lnTo>
                      <a:pt x="2007897" y="286349"/>
                    </a:lnTo>
                    <a:lnTo>
                      <a:pt x="2007897" y="278118"/>
                    </a:lnTo>
                    <a:lnTo>
                      <a:pt x="1954236" y="278118"/>
                    </a:lnTo>
                    <a:lnTo>
                      <a:pt x="1954236" y="272514"/>
                    </a:lnTo>
                    <a:lnTo>
                      <a:pt x="1894648" y="272514"/>
                    </a:lnTo>
                    <a:lnTo>
                      <a:pt x="1894648" y="267785"/>
                    </a:lnTo>
                    <a:lnTo>
                      <a:pt x="1861810" y="267785"/>
                    </a:lnTo>
                    <a:lnTo>
                      <a:pt x="1861810" y="263406"/>
                    </a:lnTo>
                    <a:lnTo>
                      <a:pt x="1855883" y="263406"/>
                    </a:lnTo>
                    <a:lnTo>
                      <a:pt x="1855883" y="258853"/>
                    </a:lnTo>
                    <a:lnTo>
                      <a:pt x="1739751" y="258853"/>
                    </a:lnTo>
                    <a:lnTo>
                      <a:pt x="1739751" y="254825"/>
                    </a:lnTo>
                    <a:lnTo>
                      <a:pt x="1683206" y="254825"/>
                    </a:lnTo>
                    <a:lnTo>
                      <a:pt x="1683206" y="250621"/>
                    </a:lnTo>
                    <a:lnTo>
                      <a:pt x="1668309" y="250621"/>
                    </a:lnTo>
                    <a:lnTo>
                      <a:pt x="1668309" y="246593"/>
                    </a:lnTo>
                    <a:lnTo>
                      <a:pt x="1650368" y="246593"/>
                    </a:lnTo>
                    <a:lnTo>
                      <a:pt x="1650368" y="242565"/>
                    </a:lnTo>
                    <a:lnTo>
                      <a:pt x="1623618" y="242565"/>
                    </a:lnTo>
                    <a:lnTo>
                      <a:pt x="1623618" y="237661"/>
                    </a:lnTo>
                    <a:lnTo>
                      <a:pt x="1599750" y="237661"/>
                    </a:lnTo>
                    <a:lnTo>
                      <a:pt x="1599750" y="233458"/>
                    </a:lnTo>
                    <a:lnTo>
                      <a:pt x="1590780" y="233458"/>
                    </a:lnTo>
                    <a:lnTo>
                      <a:pt x="1590780" y="229080"/>
                    </a:lnTo>
                    <a:lnTo>
                      <a:pt x="1584853" y="229080"/>
                    </a:lnTo>
                    <a:lnTo>
                      <a:pt x="1584853" y="224876"/>
                    </a:lnTo>
                    <a:lnTo>
                      <a:pt x="1569956" y="224876"/>
                    </a:lnTo>
                    <a:lnTo>
                      <a:pt x="1569956" y="220323"/>
                    </a:lnTo>
                    <a:lnTo>
                      <a:pt x="1537279" y="220323"/>
                    </a:lnTo>
                    <a:lnTo>
                      <a:pt x="1537279" y="215944"/>
                    </a:lnTo>
                    <a:lnTo>
                      <a:pt x="1477691" y="215944"/>
                    </a:lnTo>
                    <a:lnTo>
                      <a:pt x="1477691" y="211566"/>
                    </a:lnTo>
                    <a:lnTo>
                      <a:pt x="1429956" y="211566"/>
                    </a:lnTo>
                    <a:lnTo>
                      <a:pt x="1429956" y="207187"/>
                    </a:lnTo>
                    <a:lnTo>
                      <a:pt x="1373411" y="207187"/>
                    </a:lnTo>
                    <a:lnTo>
                      <a:pt x="1373411" y="203159"/>
                    </a:lnTo>
                    <a:lnTo>
                      <a:pt x="1367485" y="203159"/>
                    </a:lnTo>
                    <a:lnTo>
                      <a:pt x="1367485" y="197730"/>
                    </a:lnTo>
                    <a:lnTo>
                      <a:pt x="1361558" y="197730"/>
                    </a:lnTo>
                    <a:lnTo>
                      <a:pt x="1361558" y="193877"/>
                    </a:lnTo>
                    <a:lnTo>
                      <a:pt x="1352587" y="193877"/>
                    </a:lnTo>
                    <a:cubicBezTo>
                      <a:pt x="1352587" y="193877"/>
                      <a:pt x="1739430" y="193877"/>
                      <a:pt x="1739430" y="193877"/>
                    </a:cubicBezTo>
                    <a:lnTo>
                      <a:pt x="1739430" y="200532"/>
                    </a:lnTo>
                    <a:cubicBezTo>
                      <a:pt x="1739430" y="202284"/>
                      <a:pt x="1740071" y="204210"/>
                      <a:pt x="1741352" y="205436"/>
                    </a:cubicBezTo>
                    <a:cubicBezTo>
                      <a:pt x="1742474" y="206662"/>
                      <a:pt x="1744236" y="207538"/>
                      <a:pt x="1745837" y="207538"/>
                    </a:cubicBezTo>
                    <a:lnTo>
                      <a:pt x="2227989" y="207538"/>
                    </a:lnTo>
                    <a:lnTo>
                      <a:pt x="2227989" y="232232"/>
                    </a:lnTo>
                    <a:cubicBezTo>
                      <a:pt x="2227989" y="233983"/>
                      <a:pt x="2228630" y="235910"/>
                      <a:pt x="2229911" y="237136"/>
                    </a:cubicBezTo>
                    <a:cubicBezTo>
                      <a:pt x="2231033" y="238362"/>
                      <a:pt x="2232795" y="239238"/>
                      <a:pt x="2234396" y="239238"/>
                    </a:cubicBezTo>
                    <a:lnTo>
                      <a:pt x="2445518" y="239238"/>
                    </a:lnTo>
                    <a:lnTo>
                      <a:pt x="2445518" y="245367"/>
                    </a:lnTo>
                    <a:cubicBezTo>
                      <a:pt x="2445518" y="247119"/>
                      <a:pt x="2446159" y="249045"/>
                      <a:pt x="2447440" y="250271"/>
                    </a:cubicBezTo>
                    <a:cubicBezTo>
                      <a:pt x="2448722" y="251497"/>
                      <a:pt x="2450324" y="252373"/>
                      <a:pt x="2451925" y="252373"/>
                    </a:cubicBezTo>
                    <a:lnTo>
                      <a:pt x="3151606" y="252373"/>
                    </a:lnTo>
                    <a:lnTo>
                      <a:pt x="3151606" y="267960"/>
                    </a:lnTo>
                    <a:cubicBezTo>
                      <a:pt x="3151606" y="269711"/>
                      <a:pt x="3152246" y="271638"/>
                      <a:pt x="3153528" y="272864"/>
                    </a:cubicBezTo>
                    <a:cubicBezTo>
                      <a:pt x="3154649" y="274090"/>
                      <a:pt x="3156411" y="274966"/>
                      <a:pt x="3158013" y="274966"/>
                    </a:cubicBezTo>
                    <a:lnTo>
                      <a:pt x="3187327" y="274966"/>
                    </a:lnTo>
                    <a:lnTo>
                      <a:pt x="3187327" y="279519"/>
                    </a:lnTo>
                    <a:cubicBezTo>
                      <a:pt x="3187327" y="281270"/>
                      <a:pt x="3187967" y="283197"/>
                      <a:pt x="3189249" y="284423"/>
                    </a:cubicBezTo>
                    <a:cubicBezTo>
                      <a:pt x="3190370" y="285649"/>
                      <a:pt x="3192132" y="286525"/>
                      <a:pt x="3193734" y="286525"/>
                    </a:cubicBezTo>
                    <a:lnTo>
                      <a:pt x="4104856" y="286525"/>
                    </a:lnTo>
                    <a:lnTo>
                      <a:pt x="4104856" y="314547"/>
                    </a:lnTo>
                    <a:cubicBezTo>
                      <a:pt x="4104856" y="316298"/>
                      <a:pt x="4105497" y="318224"/>
                      <a:pt x="4106778" y="319450"/>
                    </a:cubicBezTo>
                    <a:cubicBezTo>
                      <a:pt x="4107900" y="320676"/>
                      <a:pt x="4109502" y="321552"/>
                      <a:pt x="4111264" y="321552"/>
                    </a:cubicBezTo>
                    <a:lnTo>
                      <a:pt x="4536390" y="321552"/>
                    </a:lnTo>
                    <a:lnTo>
                      <a:pt x="4536390" y="307716"/>
                    </a:lnTo>
                    <a:lnTo>
                      <a:pt x="4117671" y="307716"/>
                    </a:lnTo>
                    <a:lnTo>
                      <a:pt x="4117671" y="279694"/>
                    </a:lnTo>
                    <a:cubicBezTo>
                      <a:pt x="4117671" y="277943"/>
                      <a:pt x="4117030" y="276016"/>
                      <a:pt x="4115749" y="274790"/>
                    </a:cubicBezTo>
                    <a:cubicBezTo>
                      <a:pt x="4114628" y="273564"/>
                      <a:pt x="4112865" y="272689"/>
                      <a:pt x="4111264" y="272689"/>
                    </a:cubicBezTo>
                    <a:lnTo>
                      <a:pt x="3200141" y="272689"/>
                    </a:lnTo>
                    <a:lnTo>
                      <a:pt x="3200141" y="268135"/>
                    </a:lnTo>
                    <a:cubicBezTo>
                      <a:pt x="3200141" y="266384"/>
                      <a:pt x="3199500" y="264457"/>
                      <a:pt x="3198219" y="263231"/>
                    </a:cubicBezTo>
                    <a:cubicBezTo>
                      <a:pt x="3196938" y="262005"/>
                      <a:pt x="3195336" y="261130"/>
                      <a:pt x="3193734" y="261130"/>
                    </a:cubicBezTo>
                    <a:lnTo>
                      <a:pt x="3164421" y="261130"/>
                    </a:lnTo>
                    <a:lnTo>
                      <a:pt x="3164421" y="245718"/>
                    </a:lnTo>
                    <a:cubicBezTo>
                      <a:pt x="3164421" y="243966"/>
                      <a:pt x="3163780" y="242040"/>
                      <a:pt x="3162498" y="240814"/>
                    </a:cubicBezTo>
                    <a:cubicBezTo>
                      <a:pt x="3161217" y="239588"/>
                      <a:pt x="3159615" y="238712"/>
                      <a:pt x="3158013" y="238712"/>
                    </a:cubicBezTo>
                    <a:lnTo>
                      <a:pt x="2458333" y="238712"/>
                    </a:lnTo>
                    <a:lnTo>
                      <a:pt x="2458333" y="232582"/>
                    </a:lnTo>
                    <a:cubicBezTo>
                      <a:pt x="2458333" y="230831"/>
                      <a:pt x="2457692" y="228904"/>
                      <a:pt x="2456410" y="227678"/>
                    </a:cubicBezTo>
                    <a:cubicBezTo>
                      <a:pt x="2455289" y="226452"/>
                      <a:pt x="2453527" y="225577"/>
                      <a:pt x="2451925" y="225577"/>
                    </a:cubicBezTo>
                    <a:lnTo>
                      <a:pt x="2240804" y="225577"/>
                    </a:lnTo>
                    <a:lnTo>
                      <a:pt x="2240804" y="201058"/>
                    </a:lnTo>
                    <a:cubicBezTo>
                      <a:pt x="2240804" y="199131"/>
                      <a:pt x="2240163" y="197380"/>
                      <a:pt x="2238881" y="196154"/>
                    </a:cubicBezTo>
                    <a:cubicBezTo>
                      <a:pt x="2237760" y="194928"/>
                      <a:pt x="2235998" y="194052"/>
                      <a:pt x="2234396" y="194052"/>
                    </a:cubicBezTo>
                    <a:lnTo>
                      <a:pt x="1752245" y="194052"/>
                    </a:lnTo>
                    <a:lnTo>
                      <a:pt x="1752245" y="187397"/>
                    </a:lnTo>
                    <a:cubicBezTo>
                      <a:pt x="1752245" y="185470"/>
                      <a:pt x="1751604" y="183719"/>
                      <a:pt x="1750322" y="182493"/>
                    </a:cubicBezTo>
                    <a:cubicBezTo>
                      <a:pt x="1749041" y="181267"/>
                      <a:pt x="1747439" y="180391"/>
                      <a:pt x="1745837" y="180391"/>
                    </a:cubicBezTo>
                    <a:lnTo>
                      <a:pt x="1344098" y="180391"/>
                    </a:lnTo>
                    <a:lnTo>
                      <a:pt x="1344098" y="140986"/>
                    </a:lnTo>
                    <a:cubicBezTo>
                      <a:pt x="1344098" y="139234"/>
                      <a:pt x="1343457" y="137308"/>
                      <a:pt x="1342176" y="136082"/>
                    </a:cubicBezTo>
                    <a:cubicBezTo>
                      <a:pt x="1341054" y="134856"/>
                      <a:pt x="1339292" y="133980"/>
                      <a:pt x="1337690" y="133980"/>
                    </a:cubicBezTo>
                    <a:lnTo>
                      <a:pt x="1141466" y="133980"/>
                    </a:lnTo>
                    <a:lnTo>
                      <a:pt x="1141466" y="109986"/>
                    </a:lnTo>
                    <a:cubicBezTo>
                      <a:pt x="1141466" y="108235"/>
                      <a:pt x="1140825" y="106308"/>
                      <a:pt x="1139544" y="105082"/>
                    </a:cubicBezTo>
                    <a:cubicBezTo>
                      <a:pt x="1138262" y="103856"/>
                      <a:pt x="1136661" y="102981"/>
                      <a:pt x="1135059" y="102981"/>
                    </a:cubicBezTo>
                    <a:lnTo>
                      <a:pt x="1102702" y="102981"/>
                    </a:lnTo>
                    <a:lnTo>
                      <a:pt x="1102702" y="88444"/>
                    </a:lnTo>
                    <a:cubicBezTo>
                      <a:pt x="1102702" y="86693"/>
                      <a:pt x="1102061" y="84766"/>
                      <a:pt x="1100779" y="83540"/>
                    </a:cubicBezTo>
                    <a:cubicBezTo>
                      <a:pt x="1099658" y="82315"/>
                      <a:pt x="1097896" y="81439"/>
                      <a:pt x="1096294" y="81439"/>
                    </a:cubicBezTo>
                    <a:lnTo>
                      <a:pt x="1013319" y="81439"/>
                    </a:lnTo>
                    <a:lnTo>
                      <a:pt x="1013319" y="61298"/>
                    </a:lnTo>
                    <a:cubicBezTo>
                      <a:pt x="1013319" y="59547"/>
                      <a:pt x="1012679" y="57620"/>
                      <a:pt x="1011397" y="56394"/>
                    </a:cubicBezTo>
                    <a:cubicBezTo>
                      <a:pt x="1010276" y="55168"/>
                      <a:pt x="1008834" y="54468"/>
                      <a:pt x="1007232" y="54293"/>
                    </a:cubicBezTo>
                    <a:lnTo>
                      <a:pt x="1007232" y="48688"/>
                    </a:lnTo>
                    <a:cubicBezTo>
                      <a:pt x="1007232" y="46937"/>
                      <a:pt x="1006592" y="45010"/>
                      <a:pt x="1005310" y="43784"/>
                    </a:cubicBezTo>
                    <a:cubicBezTo>
                      <a:pt x="1004029" y="42558"/>
                      <a:pt x="1002427" y="41683"/>
                      <a:pt x="1000825" y="41683"/>
                    </a:cubicBezTo>
                    <a:lnTo>
                      <a:pt x="748056" y="41683"/>
                    </a:lnTo>
                    <a:lnTo>
                      <a:pt x="748056" y="37129"/>
                    </a:lnTo>
                    <a:cubicBezTo>
                      <a:pt x="748056" y="35378"/>
                      <a:pt x="747415" y="33451"/>
                      <a:pt x="746134" y="32225"/>
                    </a:cubicBezTo>
                    <a:cubicBezTo>
                      <a:pt x="745012" y="30999"/>
                      <a:pt x="743250" y="30124"/>
                      <a:pt x="741649" y="30124"/>
                    </a:cubicBezTo>
                    <a:lnTo>
                      <a:pt x="396454" y="30124"/>
                    </a:lnTo>
                    <a:lnTo>
                      <a:pt x="396454" y="25045"/>
                    </a:lnTo>
                    <a:cubicBezTo>
                      <a:pt x="396454" y="23293"/>
                      <a:pt x="395813" y="21367"/>
                      <a:pt x="394531" y="20141"/>
                    </a:cubicBezTo>
                    <a:cubicBezTo>
                      <a:pt x="393410" y="18915"/>
                      <a:pt x="391648" y="18039"/>
                      <a:pt x="390046" y="18039"/>
                    </a:cubicBezTo>
                    <a:lnTo>
                      <a:pt x="286247" y="18039"/>
                    </a:lnTo>
                    <a:lnTo>
                      <a:pt x="286247" y="0"/>
                    </a:lnTo>
                    <a:lnTo>
                      <a:pt x="1006592" y="0"/>
                    </a:lnTo>
                    <a:lnTo>
                      <a:pt x="1006592" y="5254"/>
                    </a:lnTo>
                    <a:lnTo>
                      <a:pt x="1095974" y="5254"/>
                    </a:lnTo>
                    <a:lnTo>
                      <a:pt x="1095974" y="16813"/>
                    </a:lnTo>
                    <a:lnTo>
                      <a:pt x="1134738" y="16813"/>
                    </a:lnTo>
                    <a:lnTo>
                      <a:pt x="1134738" y="30649"/>
                    </a:lnTo>
                    <a:lnTo>
                      <a:pt x="1337210" y="30649"/>
                    </a:lnTo>
                    <a:lnTo>
                      <a:pt x="1337210" y="47112"/>
                    </a:lnTo>
                    <a:lnTo>
                      <a:pt x="1745357" y="47112"/>
                    </a:lnTo>
                    <a:lnTo>
                      <a:pt x="1745357" y="58496"/>
                    </a:lnTo>
                    <a:lnTo>
                      <a:pt x="2233756" y="58496"/>
                    </a:lnTo>
                    <a:lnTo>
                      <a:pt x="2233756" y="78812"/>
                    </a:lnTo>
                    <a:lnTo>
                      <a:pt x="2451124" y="78812"/>
                    </a:lnTo>
                    <a:lnTo>
                      <a:pt x="2451124" y="90196"/>
                    </a:lnTo>
                    <a:lnTo>
                      <a:pt x="3157052" y="90196"/>
                    </a:lnTo>
                    <a:lnTo>
                      <a:pt x="3157052" y="107359"/>
                    </a:lnTo>
                    <a:lnTo>
                      <a:pt x="3192773" y="107359"/>
                    </a:lnTo>
                    <a:lnTo>
                      <a:pt x="3192773" y="117517"/>
                    </a:lnTo>
                    <a:lnTo>
                      <a:pt x="4110142" y="117517"/>
                    </a:lnTo>
                    <a:lnTo>
                      <a:pt x="4110142" y="139234"/>
                    </a:lnTo>
                    <a:lnTo>
                      <a:pt x="4535269" y="139234"/>
                    </a:lnTo>
                    <a:lnTo>
                      <a:pt x="4535269" y="473221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361" name="Freihandform: Form 360">
                <a:extLst>
                  <a:ext uri="{FF2B5EF4-FFF2-40B4-BE49-F238E27FC236}">
                    <a16:creationId xmlns:a16="http://schemas.microsoft.com/office/drawing/2014/main" id="{33CE4028-B25A-47CF-8A4B-3B7CF0435D0D}"/>
                  </a:ext>
                </a:extLst>
              </p:cNvPr>
              <p:cNvSpPr/>
              <p:nvPr/>
            </p:nvSpPr>
            <p:spPr>
              <a:xfrm>
                <a:off x="2149064" y="1787345"/>
                <a:ext cx="232425" cy="7180"/>
              </a:xfrm>
              <a:custGeom>
                <a:avLst/>
                <a:gdLst>
                  <a:gd name="connsiteX0" fmla="*/ 77529 w 232425"/>
                  <a:gd name="connsiteY0" fmla="*/ 175 h 7180"/>
                  <a:gd name="connsiteX1" fmla="*/ 0 w 232425"/>
                  <a:gd name="connsiteY1" fmla="*/ 175 h 7180"/>
                  <a:gd name="connsiteX2" fmla="*/ 77529 w 232425"/>
                  <a:gd name="connsiteY2" fmla="*/ 175 h 7180"/>
                  <a:gd name="connsiteX3" fmla="*/ 232266 w 232425"/>
                  <a:gd name="connsiteY3" fmla="*/ 7005 h 7180"/>
                  <a:gd name="connsiteX4" fmla="*/ 77529 w 232425"/>
                  <a:gd name="connsiteY4" fmla="*/ 7005 h 7180"/>
                  <a:gd name="connsiteX5" fmla="*/ 77529 w 232425"/>
                  <a:gd name="connsiteY5" fmla="*/ 0 h 7180"/>
                  <a:gd name="connsiteX6" fmla="*/ 157941 w 232425"/>
                  <a:gd name="connsiteY6" fmla="*/ 0 h 7180"/>
                  <a:gd name="connsiteX7" fmla="*/ 157941 w 232425"/>
                  <a:gd name="connsiteY7" fmla="*/ 2627 h 7180"/>
                  <a:gd name="connsiteX8" fmla="*/ 229382 w 232425"/>
                  <a:gd name="connsiteY8" fmla="*/ 2627 h 7180"/>
                  <a:gd name="connsiteX9" fmla="*/ 229382 w 232425"/>
                  <a:gd name="connsiteY9" fmla="*/ 5079 h 7180"/>
                  <a:gd name="connsiteX10" fmla="*/ 232426 w 232425"/>
                  <a:gd name="connsiteY10" fmla="*/ 5079 h 7180"/>
                  <a:gd name="connsiteX11" fmla="*/ 232426 w 232425"/>
                  <a:gd name="connsiteY11" fmla="*/ 7181 h 71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32425" h="7180">
                    <a:moveTo>
                      <a:pt x="77529" y="175"/>
                    </a:moveTo>
                    <a:lnTo>
                      <a:pt x="0" y="175"/>
                    </a:lnTo>
                    <a:lnTo>
                      <a:pt x="77529" y="175"/>
                    </a:lnTo>
                    <a:moveTo>
                      <a:pt x="232266" y="7005"/>
                    </a:moveTo>
                    <a:lnTo>
                      <a:pt x="77529" y="7005"/>
                    </a:lnTo>
                    <a:lnTo>
                      <a:pt x="77529" y="0"/>
                    </a:lnTo>
                    <a:lnTo>
                      <a:pt x="157941" y="0"/>
                    </a:lnTo>
                    <a:lnTo>
                      <a:pt x="157941" y="2627"/>
                    </a:lnTo>
                    <a:lnTo>
                      <a:pt x="229382" y="2627"/>
                    </a:lnTo>
                    <a:lnTo>
                      <a:pt x="229382" y="5079"/>
                    </a:lnTo>
                    <a:lnTo>
                      <a:pt x="232426" y="5079"/>
                    </a:lnTo>
                    <a:lnTo>
                      <a:pt x="232426" y="7181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62" name="Freihandform: Form 361">
                <a:extLst>
                  <a:ext uri="{FF2B5EF4-FFF2-40B4-BE49-F238E27FC236}">
                    <a16:creationId xmlns:a16="http://schemas.microsoft.com/office/drawing/2014/main" id="{AF1DFEAC-ADDB-AB7F-C03F-027F5F3799E0}"/>
                  </a:ext>
                </a:extLst>
              </p:cNvPr>
              <p:cNvSpPr/>
              <p:nvPr/>
            </p:nvSpPr>
            <p:spPr>
              <a:xfrm>
                <a:off x="3730713" y="1954951"/>
                <a:ext cx="2394739" cy="260078"/>
              </a:xfrm>
              <a:custGeom>
                <a:avLst/>
                <a:gdLst>
                  <a:gd name="connsiteX0" fmla="*/ 157140 w 2394739"/>
                  <a:gd name="connsiteY0" fmla="*/ 76710 h 260078"/>
                  <a:gd name="connsiteX1" fmla="*/ 38604 w 2394739"/>
                  <a:gd name="connsiteY1" fmla="*/ 76710 h 260078"/>
                  <a:gd name="connsiteX2" fmla="*/ 38604 w 2394739"/>
                  <a:gd name="connsiteY2" fmla="*/ 68829 h 260078"/>
                  <a:gd name="connsiteX3" fmla="*/ 77369 w 2394739"/>
                  <a:gd name="connsiteY3" fmla="*/ 68829 h 260078"/>
                  <a:gd name="connsiteX4" fmla="*/ 78650 w 2394739"/>
                  <a:gd name="connsiteY4" fmla="*/ 71106 h 260078"/>
                  <a:gd name="connsiteX5" fmla="*/ 83135 w 2394739"/>
                  <a:gd name="connsiteY5" fmla="*/ 73207 h 260078"/>
                  <a:gd name="connsiteX6" fmla="*/ 154577 w 2394739"/>
                  <a:gd name="connsiteY6" fmla="*/ 73207 h 260078"/>
                  <a:gd name="connsiteX7" fmla="*/ 156179 w 2394739"/>
                  <a:gd name="connsiteY7" fmla="*/ 76010 h 260078"/>
                  <a:gd name="connsiteX8" fmla="*/ 156980 w 2394739"/>
                  <a:gd name="connsiteY8" fmla="*/ 76710 h 260078"/>
                  <a:gd name="connsiteX9" fmla="*/ 522678 w 2394739"/>
                  <a:gd name="connsiteY9" fmla="*/ 149392 h 260078"/>
                  <a:gd name="connsiteX10" fmla="*/ 256133 w 2394739"/>
                  <a:gd name="connsiteY10" fmla="*/ 149392 h 260078"/>
                  <a:gd name="connsiteX11" fmla="*/ 256133 w 2394739"/>
                  <a:gd name="connsiteY11" fmla="*/ 145189 h 260078"/>
                  <a:gd name="connsiteX12" fmla="*/ 250206 w 2394739"/>
                  <a:gd name="connsiteY12" fmla="*/ 145189 h 260078"/>
                  <a:gd name="connsiteX13" fmla="*/ 250206 w 2394739"/>
                  <a:gd name="connsiteY13" fmla="*/ 140285 h 260078"/>
                  <a:gd name="connsiteX14" fmla="*/ 241236 w 2394739"/>
                  <a:gd name="connsiteY14" fmla="*/ 140285 h 260078"/>
                  <a:gd name="connsiteX15" fmla="*/ 241236 w 2394739"/>
                  <a:gd name="connsiteY15" fmla="*/ 86868 h 260078"/>
                  <a:gd name="connsiteX16" fmla="*/ 244279 w 2394739"/>
                  <a:gd name="connsiteY16" fmla="*/ 86868 h 260078"/>
                  <a:gd name="connsiteX17" fmla="*/ 245721 w 2394739"/>
                  <a:gd name="connsiteY17" fmla="*/ 89320 h 260078"/>
                  <a:gd name="connsiteX18" fmla="*/ 250046 w 2394739"/>
                  <a:gd name="connsiteY18" fmla="*/ 91422 h 260078"/>
                  <a:gd name="connsiteX19" fmla="*/ 251808 w 2394739"/>
                  <a:gd name="connsiteY19" fmla="*/ 94749 h 260078"/>
                  <a:gd name="connsiteX20" fmla="*/ 256293 w 2394739"/>
                  <a:gd name="connsiteY20" fmla="*/ 96851 h 260078"/>
                  <a:gd name="connsiteX21" fmla="*/ 259337 w 2394739"/>
                  <a:gd name="connsiteY21" fmla="*/ 96851 h 260078"/>
                  <a:gd name="connsiteX22" fmla="*/ 260618 w 2394739"/>
                  <a:gd name="connsiteY22" fmla="*/ 98953 h 260078"/>
                  <a:gd name="connsiteX23" fmla="*/ 264783 w 2394739"/>
                  <a:gd name="connsiteY23" fmla="*/ 101054 h 260078"/>
                  <a:gd name="connsiteX24" fmla="*/ 266705 w 2394739"/>
                  <a:gd name="connsiteY24" fmla="*/ 105608 h 260078"/>
                  <a:gd name="connsiteX25" fmla="*/ 271190 w 2394739"/>
                  <a:gd name="connsiteY25" fmla="*/ 107709 h 260078"/>
                  <a:gd name="connsiteX26" fmla="*/ 271190 w 2394739"/>
                  <a:gd name="connsiteY26" fmla="*/ 107709 h 260078"/>
                  <a:gd name="connsiteX27" fmla="*/ 272632 w 2394739"/>
                  <a:gd name="connsiteY27" fmla="*/ 110161 h 260078"/>
                  <a:gd name="connsiteX28" fmla="*/ 277117 w 2394739"/>
                  <a:gd name="connsiteY28" fmla="*/ 112263 h 260078"/>
                  <a:gd name="connsiteX29" fmla="*/ 327575 w 2394739"/>
                  <a:gd name="connsiteY29" fmla="*/ 112263 h 260078"/>
                  <a:gd name="connsiteX30" fmla="*/ 329177 w 2394739"/>
                  <a:gd name="connsiteY30" fmla="*/ 115065 h 260078"/>
                  <a:gd name="connsiteX31" fmla="*/ 333662 w 2394739"/>
                  <a:gd name="connsiteY31" fmla="*/ 117167 h 260078"/>
                  <a:gd name="connsiteX32" fmla="*/ 375309 w 2394739"/>
                  <a:gd name="connsiteY32" fmla="*/ 117167 h 260078"/>
                  <a:gd name="connsiteX33" fmla="*/ 376911 w 2394739"/>
                  <a:gd name="connsiteY33" fmla="*/ 120144 h 260078"/>
                  <a:gd name="connsiteX34" fmla="*/ 381396 w 2394739"/>
                  <a:gd name="connsiteY34" fmla="*/ 122246 h 260078"/>
                  <a:gd name="connsiteX35" fmla="*/ 434898 w 2394739"/>
                  <a:gd name="connsiteY35" fmla="*/ 122246 h 260078"/>
                  <a:gd name="connsiteX36" fmla="*/ 436499 w 2394739"/>
                  <a:gd name="connsiteY36" fmla="*/ 125223 h 260078"/>
                  <a:gd name="connsiteX37" fmla="*/ 440985 w 2394739"/>
                  <a:gd name="connsiteY37" fmla="*/ 127325 h 260078"/>
                  <a:gd name="connsiteX38" fmla="*/ 467575 w 2394739"/>
                  <a:gd name="connsiteY38" fmla="*/ 127325 h 260078"/>
                  <a:gd name="connsiteX39" fmla="*/ 469177 w 2394739"/>
                  <a:gd name="connsiteY39" fmla="*/ 130302 h 260078"/>
                  <a:gd name="connsiteX40" fmla="*/ 473662 w 2394739"/>
                  <a:gd name="connsiteY40" fmla="*/ 132404 h 260078"/>
                  <a:gd name="connsiteX41" fmla="*/ 482472 w 2394739"/>
                  <a:gd name="connsiteY41" fmla="*/ 132404 h 260078"/>
                  <a:gd name="connsiteX42" fmla="*/ 484074 w 2394739"/>
                  <a:gd name="connsiteY42" fmla="*/ 135206 h 260078"/>
                  <a:gd name="connsiteX43" fmla="*/ 488399 w 2394739"/>
                  <a:gd name="connsiteY43" fmla="*/ 137308 h 260078"/>
                  <a:gd name="connsiteX44" fmla="*/ 490001 w 2394739"/>
                  <a:gd name="connsiteY44" fmla="*/ 140110 h 260078"/>
                  <a:gd name="connsiteX45" fmla="*/ 494486 w 2394739"/>
                  <a:gd name="connsiteY45" fmla="*/ 142211 h 260078"/>
                  <a:gd name="connsiteX46" fmla="*/ 497529 w 2394739"/>
                  <a:gd name="connsiteY46" fmla="*/ 142211 h 260078"/>
                  <a:gd name="connsiteX47" fmla="*/ 498971 w 2394739"/>
                  <a:gd name="connsiteY47" fmla="*/ 144839 h 260078"/>
                  <a:gd name="connsiteX48" fmla="*/ 503456 w 2394739"/>
                  <a:gd name="connsiteY48" fmla="*/ 146940 h 260078"/>
                  <a:gd name="connsiteX49" fmla="*/ 521076 w 2394739"/>
                  <a:gd name="connsiteY49" fmla="*/ 146940 h 260078"/>
                  <a:gd name="connsiteX50" fmla="*/ 522678 w 2394739"/>
                  <a:gd name="connsiteY50" fmla="*/ 150443 h 260078"/>
                  <a:gd name="connsiteX51" fmla="*/ 1864533 w 2394739"/>
                  <a:gd name="connsiteY51" fmla="*/ 220498 h 260078"/>
                  <a:gd name="connsiteX52" fmla="*/ 1355150 w 2394739"/>
                  <a:gd name="connsiteY52" fmla="*/ 220498 h 260078"/>
                  <a:gd name="connsiteX53" fmla="*/ 1355150 w 2394739"/>
                  <a:gd name="connsiteY53" fmla="*/ 205786 h 260078"/>
                  <a:gd name="connsiteX54" fmla="*/ 1160368 w 2394739"/>
                  <a:gd name="connsiteY54" fmla="*/ 205786 h 260078"/>
                  <a:gd name="connsiteX55" fmla="*/ 1158606 w 2394739"/>
                  <a:gd name="connsiteY55" fmla="*/ 205436 h 260078"/>
                  <a:gd name="connsiteX56" fmla="*/ 1137782 w 2394739"/>
                  <a:gd name="connsiteY56" fmla="*/ 205436 h 260078"/>
                  <a:gd name="connsiteX57" fmla="*/ 1137782 w 2394739"/>
                  <a:gd name="connsiteY57" fmla="*/ 164629 h 260078"/>
                  <a:gd name="connsiteX58" fmla="*/ 771122 w 2394739"/>
                  <a:gd name="connsiteY58" fmla="*/ 164629 h 260078"/>
                  <a:gd name="connsiteX59" fmla="*/ 769841 w 2394739"/>
                  <a:gd name="connsiteY59" fmla="*/ 162703 h 260078"/>
                  <a:gd name="connsiteX60" fmla="*/ 765516 w 2394739"/>
                  <a:gd name="connsiteY60" fmla="*/ 160601 h 260078"/>
                  <a:gd name="connsiteX61" fmla="*/ 763914 w 2394739"/>
                  <a:gd name="connsiteY61" fmla="*/ 157448 h 260078"/>
                  <a:gd name="connsiteX62" fmla="*/ 759429 w 2394739"/>
                  <a:gd name="connsiteY62" fmla="*/ 155347 h 260078"/>
                  <a:gd name="connsiteX63" fmla="*/ 649223 w 2394739"/>
                  <a:gd name="connsiteY63" fmla="*/ 155347 h 260078"/>
                  <a:gd name="connsiteX64" fmla="*/ 649223 w 2394739"/>
                  <a:gd name="connsiteY64" fmla="*/ 149042 h 260078"/>
                  <a:gd name="connsiteX65" fmla="*/ 591717 w 2394739"/>
                  <a:gd name="connsiteY65" fmla="*/ 149042 h 260078"/>
                  <a:gd name="connsiteX66" fmla="*/ 591236 w 2394739"/>
                  <a:gd name="connsiteY66" fmla="*/ 148341 h 260078"/>
                  <a:gd name="connsiteX67" fmla="*/ 586751 w 2394739"/>
                  <a:gd name="connsiteY67" fmla="*/ 146240 h 260078"/>
                  <a:gd name="connsiteX68" fmla="*/ 577781 w 2394739"/>
                  <a:gd name="connsiteY68" fmla="*/ 146240 h 260078"/>
                  <a:gd name="connsiteX69" fmla="*/ 576339 w 2394739"/>
                  <a:gd name="connsiteY69" fmla="*/ 143613 h 260078"/>
                  <a:gd name="connsiteX70" fmla="*/ 571854 w 2394739"/>
                  <a:gd name="connsiteY70" fmla="*/ 141511 h 260078"/>
                  <a:gd name="connsiteX71" fmla="*/ 559841 w 2394739"/>
                  <a:gd name="connsiteY71" fmla="*/ 141511 h 260078"/>
                  <a:gd name="connsiteX72" fmla="*/ 558399 w 2394739"/>
                  <a:gd name="connsiteY72" fmla="*/ 139059 h 260078"/>
                  <a:gd name="connsiteX73" fmla="*/ 553914 w 2394739"/>
                  <a:gd name="connsiteY73" fmla="*/ 136957 h 260078"/>
                  <a:gd name="connsiteX74" fmla="*/ 533410 w 2394739"/>
                  <a:gd name="connsiteY74" fmla="*/ 136957 h 260078"/>
                  <a:gd name="connsiteX75" fmla="*/ 531648 w 2394739"/>
                  <a:gd name="connsiteY75" fmla="*/ 133455 h 260078"/>
                  <a:gd name="connsiteX76" fmla="*/ 527163 w 2394739"/>
                  <a:gd name="connsiteY76" fmla="*/ 131353 h 260078"/>
                  <a:gd name="connsiteX77" fmla="*/ 509223 w 2394739"/>
                  <a:gd name="connsiteY77" fmla="*/ 131353 h 260078"/>
                  <a:gd name="connsiteX78" fmla="*/ 507781 w 2394739"/>
                  <a:gd name="connsiteY78" fmla="*/ 128901 h 260078"/>
                  <a:gd name="connsiteX79" fmla="*/ 503296 w 2394739"/>
                  <a:gd name="connsiteY79" fmla="*/ 126799 h 260078"/>
                  <a:gd name="connsiteX80" fmla="*/ 500412 w 2394739"/>
                  <a:gd name="connsiteY80" fmla="*/ 126799 h 260078"/>
                  <a:gd name="connsiteX81" fmla="*/ 498811 w 2394739"/>
                  <a:gd name="connsiteY81" fmla="*/ 123997 h 260078"/>
                  <a:gd name="connsiteX82" fmla="*/ 494486 w 2394739"/>
                  <a:gd name="connsiteY82" fmla="*/ 121896 h 260078"/>
                  <a:gd name="connsiteX83" fmla="*/ 492884 w 2394739"/>
                  <a:gd name="connsiteY83" fmla="*/ 119093 h 260078"/>
                  <a:gd name="connsiteX84" fmla="*/ 488399 w 2394739"/>
                  <a:gd name="connsiteY84" fmla="*/ 116992 h 260078"/>
                  <a:gd name="connsiteX85" fmla="*/ 479589 w 2394739"/>
                  <a:gd name="connsiteY85" fmla="*/ 116992 h 260078"/>
                  <a:gd name="connsiteX86" fmla="*/ 477987 w 2394739"/>
                  <a:gd name="connsiteY86" fmla="*/ 114014 h 260078"/>
                  <a:gd name="connsiteX87" fmla="*/ 473502 w 2394739"/>
                  <a:gd name="connsiteY87" fmla="*/ 111913 h 260078"/>
                  <a:gd name="connsiteX88" fmla="*/ 446911 w 2394739"/>
                  <a:gd name="connsiteY88" fmla="*/ 111913 h 260078"/>
                  <a:gd name="connsiteX89" fmla="*/ 445310 w 2394739"/>
                  <a:gd name="connsiteY89" fmla="*/ 108935 h 260078"/>
                  <a:gd name="connsiteX90" fmla="*/ 440824 w 2394739"/>
                  <a:gd name="connsiteY90" fmla="*/ 106834 h 260078"/>
                  <a:gd name="connsiteX91" fmla="*/ 387323 w 2394739"/>
                  <a:gd name="connsiteY91" fmla="*/ 106834 h 260078"/>
                  <a:gd name="connsiteX92" fmla="*/ 385721 w 2394739"/>
                  <a:gd name="connsiteY92" fmla="*/ 103856 h 260078"/>
                  <a:gd name="connsiteX93" fmla="*/ 381236 w 2394739"/>
                  <a:gd name="connsiteY93" fmla="*/ 101755 h 260078"/>
                  <a:gd name="connsiteX94" fmla="*/ 339589 w 2394739"/>
                  <a:gd name="connsiteY94" fmla="*/ 101755 h 260078"/>
                  <a:gd name="connsiteX95" fmla="*/ 337987 w 2394739"/>
                  <a:gd name="connsiteY95" fmla="*/ 98953 h 260078"/>
                  <a:gd name="connsiteX96" fmla="*/ 333502 w 2394739"/>
                  <a:gd name="connsiteY96" fmla="*/ 96851 h 260078"/>
                  <a:gd name="connsiteX97" fmla="*/ 282884 w 2394739"/>
                  <a:gd name="connsiteY97" fmla="*/ 96851 h 260078"/>
                  <a:gd name="connsiteX98" fmla="*/ 281442 w 2394739"/>
                  <a:gd name="connsiteY98" fmla="*/ 94399 h 260078"/>
                  <a:gd name="connsiteX99" fmla="*/ 277277 w 2394739"/>
                  <a:gd name="connsiteY99" fmla="*/ 92297 h 260078"/>
                  <a:gd name="connsiteX100" fmla="*/ 275515 w 2394739"/>
                  <a:gd name="connsiteY100" fmla="*/ 87744 h 260078"/>
                  <a:gd name="connsiteX101" fmla="*/ 271030 w 2394739"/>
                  <a:gd name="connsiteY101" fmla="*/ 85642 h 260078"/>
                  <a:gd name="connsiteX102" fmla="*/ 271030 w 2394739"/>
                  <a:gd name="connsiteY102" fmla="*/ 85642 h 260078"/>
                  <a:gd name="connsiteX103" fmla="*/ 269749 w 2394739"/>
                  <a:gd name="connsiteY103" fmla="*/ 83540 h 260078"/>
                  <a:gd name="connsiteX104" fmla="*/ 265264 w 2394739"/>
                  <a:gd name="connsiteY104" fmla="*/ 81439 h 260078"/>
                  <a:gd name="connsiteX105" fmla="*/ 262540 w 2394739"/>
                  <a:gd name="connsiteY105" fmla="*/ 81439 h 260078"/>
                  <a:gd name="connsiteX106" fmla="*/ 260778 w 2394739"/>
                  <a:gd name="connsiteY106" fmla="*/ 78111 h 260078"/>
                  <a:gd name="connsiteX107" fmla="*/ 256293 w 2394739"/>
                  <a:gd name="connsiteY107" fmla="*/ 76010 h 260078"/>
                  <a:gd name="connsiteX108" fmla="*/ 256293 w 2394739"/>
                  <a:gd name="connsiteY108" fmla="*/ 76010 h 260078"/>
                  <a:gd name="connsiteX109" fmla="*/ 254852 w 2394739"/>
                  <a:gd name="connsiteY109" fmla="*/ 73558 h 260078"/>
                  <a:gd name="connsiteX110" fmla="*/ 250367 w 2394739"/>
                  <a:gd name="connsiteY110" fmla="*/ 71456 h 260078"/>
                  <a:gd name="connsiteX111" fmla="*/ 214485 w 2394739"/>
                  <a:gd name="connsiteY111" fmla="*/ 71456 h 260078"/>
                  <a:gd name="connsiteX112" fmla="*/ 213204 w 2394739"/>
                  <a:gd name="connsiteY112" fmla="*/ 69179 h 260078"/>
                  <a:gd name="connsiteX113" fmla="*/ 208719 w 2394739"/>
                  <a:gd name="connsiteY113" fmla="*/ 67078 h 260078"/>
                  <a:gd name="connsiteX114" fmla="*/ 181808 w 2394739"/>
                  <a:gd name="connsiteY114" fmla="*/ 67078 h 260078"/>
                  <a:gd name="connsiteX115" fmla="*/ 180366 w 2394739"/>
                  <a:gd name="connsiteY115" fmla="*/ 64626 h 260078"/>
                  <a:gd name="connsiteX116" fmla="*/ 175881 w 2394739"/>
                  <a:gd name="connsiteY116" fmla="*/ 62524 h 260078"/>
                  <a:gd name="connsiteX117" fmla="*/ 167071 w 2394739"/>
                  <a:gd name="connsiteY117" fmla="*/ 62524 h 260078"/>
                  <a:gd name="connsiteX118" fmla="*/ 165469 w 2394739"/>
                  <a:gd name="connsiteY118" fmla="*/ 59722 h 260078"/>
                  <a:gd name="connsiteX119" fmla="*/ 160984 w 2394739"/>
                  <a:gd name="connsiteY119" fmla="*/ 57620 h 260078"/>
                  <a:gd name="connsiteX120" fmla="*/ 89382 w 2394739"/>
                  <a:gd name="connsiteY120" fmla="*/ 57620 h 260078"/>
                  <a:gd name="connsiteX121" fmla="*/ 87941 w 2394739"/>
                  <a:gd name="connsiteY121" fmla="*/ 55343 h 260078"/>
                  <a:gd name="connsiteX122" fmla="*/ 83455 w 2394739"/>
                  <a:gd name="connsiteY122" fmla="*/ 53242 h 260078"/>
                  <a:gd name="connsiteX123" fmla="*/ 38764 w 2394739"/>
                  <a:gd name="connsiteY123" fmla="*/ 53242 h 260078"/>
                  <a:gd name="connsiteX124" fmla="*/ 38764 w 2394739"/>
                  <a:gd name="connsiteY124" fmla="*/ 28723 h 260078"/>
                  <a:gd name="connsiteX125" fmla="*/ 0 w 2394739"/>
                  <a:gd name="connsiteY125" fmla="*/ 28723 h 260078"/>
                  <a:gd name="connsiteX126" fmla="*/ 0 w 2394739"/>
                  <a:gd name="connsiteY126" fmla="*/ 0 h 260078"/>
                  <a:gd name="connsiteX127" fmla="*/ 83455 w 2394739"/>
                  <a:gd name="connsiteY127" fmla="*/ 0 h 260078"/>
                  <a:gd name="connsiteX128" fmla="*/ 83455 w 2394739"/>
                  <a:gd name="connsiteY128" fmla="*/ 3853 h 260078"/>
                  <a:gd name="connsiteX129" fmla="*/ 160984 w 2394739"/>
                  <a:gd name="connsiteY129" fmla="*/ 3853 h 260078"/>
                  <a:gd name="connsiteX130" fmla="*/ 160984 w 2394739"/>
                  <a:gd name="connsiteY130" fmla="*/ 8056 h 260078"/>
                  <a:gd name="connsiteX131" fmla="*/ 175881 w 2394739"/>
                  <a:gd name="connsiteY131" fmla="*/ 8056 h 260078"/>
                  <a:gd name="connsiteX132" fmla="*/ 175881 w 2394739"/>
                  <a:gd name="connsiteY132" fmla="*/ 12084 h 260078"/>
                  <a:gd name="connsiteX133" fmla="*/ 208719 w 2394739"/>
                  <a:gd name="connsiteY133" fmla="*/ 12084 h 260078"/>
                  <a:gd name="connsiteX134" fmla="*/ 208719 w 2394739"/>
                  <a:gd name="connsiteY134" fmla="*/ 15937 h 260078"/>
                  <a:gd name="connsiteX135" fmla="*/ 235149 w 2394739"/>
                  <a:gd name="connsiteY135" fmla="*/ 15937 h 260078"/>
                  <a:gd name="connsiteX136" fmla="*/ 235149 w 2394739"/>
                  <a:gd name="connsiteY136" fmla="*/ 17514 h 260078"/>
                  <a:gd name="connsiteX137" fmla="*/ 237071 w 2394739"/>
                  <a:gd name="connsiteY137" fmla="*/ 22418 h 260078"/>
                  <a:gd name="connsiteX138" fmla="*/ 241556 w 2394739"/>
                  <a:gd name="connsiteY138" fmla="*/ 24519 h 260078"/>
                  <a:gd name="connsiteX139" fmla="*/ 256453 w 2394739"/>
                  <a:gd name="connsiteY139" fmla="*/ 24519 h 260078"/>
                  <a:gd name="connsiteX140" fmla="*/ 265424 w 2394739"/>
                  <a:gd name="connsiteY140" fmla="*/ 24519 h 260078"/>
                  <a:gd name="connsiteX141" fmla="*/ 265424 w 2394739"/>
                  <a:gd name="connsiteY141" fmla="*/ 28372 h 260078"/>
                  <a:gd name="connsiteX142" fmla="*/ 271350 w 2394739"/>
                  <a:gd name="connsiteY142" fmla="*/ 28372 h 260078"/>
                  <a:gd name="connsiteX143" fmla="*/ 271350 w 2394739"/>
                  <a:gd name="connsiteY143" fmla="*/ 33802 h 260078"/>
                  <a:gd name="connsiteX144" fmla="*/ 277277 w 2394739"/>
                  <a:gd name="connsiteY144" fmla="*/ 33802 h 260078"/>
                  <a:gd name="connsiteX145" fmla="*/ 277277 w 2394739"/>
                  <a:gd name="connsiteY145" fmla="*/ 37830 h 260078"/>
                  <a:gd name="connsiteX146" fmla="*/ 333822 w 2394739"/>
                  <a:gd name="connsiteY146" fmla="*/ 37830 h 260078"/>
                  <a:gd name="connsiteX147" fmla="*/ 333822 w 2394739"/>
                  <a:gd name="connsiteY147" fmla="*/ 42208 h 260078"/>
                  <a:gd name="connsiteX148" fmla="*/ 381557 w 2394739"/>
                  <a:gd name="connsiteY148" fmla="*/ 42208 h 260078"/>
                  <a:gd name="connsiteX149" fmla="*/ 381557 w 2394739"/>
                  <a:gd name="connsiteY149" fmla="*/ 46587 h 260078"/>
                  <a:gd name="connsiteX150" fmla="*/ 441145 w 2394739"/>
                  <a:gd name="connsiteY150" fmla="*/ 46587 h 260078"/>
                  <a:gd name="connsiteX151" fmla="*/ 441145 w 2394739"/>
                  <a:gd name="connsiteY151" fmla="*/ 50965 h 260078"/>
                  <a:gd name="connsiteX152" fmla="*/ 473822 w 2394739"/>
                  <a:gd name="connsiteY152" fmla="*/ 50965 h 260078"/>
                  <a:gd name="connsiteX153" fmla="*/ 473822 w 2394739"/>
                  <a:gd name="connsiteY153" fmla="*/ 55519 h 260078"/>
                  <a:gd name="connsiteX154" fmla="*/ 488719 w 2394739"/>
                  <a:gd name="connsiteY154" fmla="*/ 55519 h 260078"/>
                  <a:gd name="connsiteX155" fmla="*/ 488719 w 2394739"/>
                  <a:gd name="connsiteY155" fmla="*/ 59722 h 260078"/>
                  <a:gd name="connsiteX156" fmla="*/ 494646 w 2394739"/>
                  <a:gd name="connsiteY156" fmla="*/ 59722 h 260078"/>
                  <a:gd name="connsiteX157" fmla="*/ 494646 w 2394739"/>
                  <a:gd name="connsiteY157" fmla="*/ 64100 h 260078"/>
                  <a:gd name="connsiteX158" fmla="*/ 503616 w 2394739"/>
                  <a:gd name="connsiteY158" fmla="*/ 64100 h 260078"/>
                  <a:gd name="connsiteX159" fmla="*/ 503616 w 2394739"/>
                  <a:gd name="connsiteY159" fmla="*/ 68304 h 260078"/>
                  <a:gd name="connsiteX160" fmla="*/ 527484 w 2394739"/>
                  <a:gd name="connsiteY160" fmla="*/ 68304 h 260078"/>
                  <a:gd name="connsiteX161" fmla="*/ 527484 w 2394739"/>
                  <a:gd name="connsiteY161" fmla="*/ 73207 h 260078"/>
                  <a:gd name="connsiteX162" fmla="*/ 554234 w 2394739"/>
                  <a:gd name="connsiteY162" fmla="*/ 73207 h 260078"/>
                  <a:gd name="connsiteX163" fmla="*/ 554234 w 2394739"/>
                  <a:gd name="connsiteY163" fmla="*/ 77236 h 260078"/>
                  <a:gd name="connsiteX164" fmla="*/ 572175 w 2394739"/>
                  <a:gd name="connsiteY164" fmla="*/ 77236 h 260078"/>
                  <a:gd name="connsiteX165" fmla="*/ 572175 w 2394739"/>
                  <a:gd name="connsiteY165" fmla="*/ 81264 h 260078"/>
                  <a:gd name="connsiteX166" fmla="*/ 587072 w 2394739"/>
                  <a:gd name="connsiteY166" fmla="*/ 81264 h 260078"/>
                  <a:gd name="connsiteX167" fmla="*/ 587072 w 2394739"/>
                  <a:gd name="connsiteY167" fmla="*/ 85467 h 260078"/>
                  <a:gd name="connsiteX168" fmla="*/ 643616 w 2394739"/>
                  <a:gd name="connsiteY168" fmla="*/ 85467 h 260078"/>
                  <a:gd name="connsiteX169" fmla="*/ 643616 w 2394739"/>
                  <a:gd name="connsiteY169" fmla="*/ 89495 h 260078"/>
                  <a:gd name="connsiteX170" fmla="*/ 759749 w 2394739"/>
                  <a:gd name="connsiteY170" fmla="*/ 89495 h 260078"/>
                  <a:gd name="connsiteX171" fmla="*/ 759749 w 2394739"/>
                  <a:gd name="connsiteY171" fmla="*/ 94049 h 260078"/>
                  <a:gd name="connsiteX172" fmla="*/ 765676 w 2394739"/>
                  <a:gd name="connsiteY172" fmla="*/ 94049 h 260078"/>
                  <a:gd name="connsiteX173" fmla="*/ 765676 w 2394739"/>
                  <a:gd name="connsiteY173" fmla="*/ 98427 h 260078"/>
                  <a:gd name="connsiteX174" fmla="*/ 798514 w 2394739"/>
                  <a:gd name="connsiteY174" fmla="*/ 98427 h 260078"/>
                  <a:gd name="connsiteX175" fmla="*/ 798514 w 2394739"/>
                  <a:gd name="connsiteY175" fmla="*/ 103156 h 260078"/>
                  <a:gd name="connsiteX176" fmla="*/ 858102 w 2394739"/>
                  <a:gd name="connsiteY176" fmla="*/ 103156 h 260078"/>
                  <a:gd name="connsiteX177" fmla="*/ 858102 w 2394739"/>
                  <a:gd name="connsiteY177" fmla="*/ 108760 h 260078"/>
                  <a:gd name="connsiteX178" fmla="*/ 911763 w 2394739"/>
                  <a:gd name="connsiteY178" fmla="*/ 108760 h 260078"/>
                  <a:gd name="connsiteX179" fmla="*/ 911763 w 2394739"/>
                  <a:gd name="connsiteY179" fmla="*/ 116992 h 260078"/>
                  <a:gd name="connsiteX180" fmla="*/ 917690 w 2394739"/>
                  <a:gd name="connsiteY180" fmla="*/ 116992 h 260078"/>
                  <a:gd name="connsiteX181" fmla="*/ 917690 w 2394739"/>
                  <a:gd name="connsiteY181" fmla="*/ 121370 h 260078"/>
                  <a:gd name="connsiteX182" fmla="*/ 947484 w 2394739"/>
                  <a:gd name="connsiteY182" fmla="*/ 121370 h 260078"/>
                  <a:gd name="connsiteX183" fmla="*/ 947484 w 2394739"/>
                  <a:gd name="connsiteY183" fmla="*/ 125924 h 260078"/>
                  <a:gd name="connsiteX184" fmla="*/ 1033823 w 2394739"/>
                  <a:gd name="connsiteY184" fmla="*/ 125924 h 260078"/>
                  <a:gd name="connsiteX185" fmla="*/ 1033823 w 2394739"/>
                  <a:gd name="connsiteY185" fmla="*/ 130127 h 260078"/>
                  <a:gd name="connsiteX186" fmla="*/ 1078514 w 2394739"/>
                  <a:gd name="connsiteY186" fmla="*/ 130127 h 260078"/>
                  <a:gd name="connsiteX187" fmla="*/ 1078514 w 2394739"/>
                  <a:gd name="connsiteY187" fmla="*/ 134505 h 260078"/>
                  <a:gd name="connsiteX188" fmla="*/ 1158926 w 2394739"/>
                  <a:gd name="connsiteY188" fmla="*/ 134505 h 260078"/>
                  <a:gd name="connsiteX189" fmla="*/ 1158926 w 2394739"/>
                  <a:gd name="connsiteY189" fmla="*/ 139234 h 260078"/>
                  <a:gd name="connsiteX190" fmla="*/ 1227484 w 2394739"/>
                  <a:gd name="connsiteY190" fmla="*/ 139234 h 260078"/>
                  <a:gd name="connsiteX191" fmla="*/ 1227484 w 2394739"/>
                  <a:gd name="connsiteY191" fmla="*/ 144138 h 260078"/>
                  <a:gd name="connsiteX192" fmla="*/ 1230528 w 2394739"/>
                  <a:gd name="connsiteY192" fmla="*/ 144138 h 260078"/>
                  <a:gd name="connsiteX193" fmla="*/ 1230528 w 2394739"/>
                  <a:gd name="connsiteY193" fmla="*/ 149217 h 260078"/>
                  <a:gd name="connsiteX194" fmla="*/ 1260322 w 2394739"/>
                  <a:gd name="connsiteY194" fmla="*/ 149217 h 260078"/>
                  <a:gd name="connsiteX195" fmla="*/ 1260322 w 2394739"/>
                  <a:gd name="connsiteY195" fmla="*/ 153595 h 260078"/>
                  <a:gd name="connsiteX196" fmla="*/ 1385425 w 2394739"/>
                  <a:gd name="connsiteY196" fmla="*/ 153595 h 260078"/>
                  <a:gd name="connsiteX197" fmla="*/ 1385425 w 2394739"/>
                  <a:gd name="connsiteY197" fmla="*/ 158149 h 260078"/>
                  <a:gd name="connsiteX198" fmla="*/ 1427073 w 2394739"/>
                  <a:gd name="connsiteY198" fmla="*/ 158149 h 260078"/>
                  <a:gd name="connsiteX199" fmla="*/ 1427073 w 2394739"/>
                  <a:gd name="connsiteY199" fmla="*/ 164629 h 260078"/>
                  <a:gd name="connsiteX200" fmla="*/ 1531352 w 2394739"/>
                  <a:gd name="connsiteY200" fmla="*/ 164629 h 260078"/>
                  <a:gd name="connsiteX201" fmla="*/ 1531352 w 2394739"/>
                  <a:gd name="connsiteY201" fmla="*/ 169533 h 260078"/>
                  <a:gd name="connsiteX202" fmla="*/ 1596867 w 2394739"/>
                  <a:gd name="connsiteY202" fmla="*/ 169533 h 260078"/>
                  <a:gd name="connsiteX203" fmla="*/ 1596867 w 2394739"/>
                  <a:gd name="connsiteY203" fmla="*/ 175312 h 260078"/>
                  <a:gd name="connsiteX204" fmla="*/ 1617691 w 2394739"/>
                  <a:gd name="connsiteY204" fmla="*/ 175312 h 260078"/>
                  <a:gd name="connsiteX205" fmla="*/ 1617691 w 2394739"/>
                  <a:gd name="connsiteY205" fmla="*/ 179691 h 260078"/>
                  <a:gd name="connsiteX206" fmla="*/ 1641558 w 2394739"/>
                  <a:gd name="connsiteY206" fmla="*/ 179691 h 260078"/>
                  <a:gd name="connsiteX207" fmla="*/ 1641558 w 2394739"/>
                  <a:gd name="connsiteY207" fmla="*/ 184244 h 260078"/>
                  <a:gd name="connsiteX208" fmla="*/ 1650528 w 2394739"/>
                  <a:gd name="connsiteY208" fmla="*/ 184244 h 260078"/>
                  <a:gd name="connsiteX209" fmla="*/ 1650528 w 2394739"/>
                  <a:gd name="connsiteY209" fmla="*/ 188973 h 260078"/>
                  <a:gd name="connsiteX210" fmla="*/ 1674396 w 2394739"/>
                  <a:gd name="connsiteY210" fmla="*/ 188973 h 260078"/>
                  <a:gd name="connsiteX211" fmla="*/ 1674396 w 2394739"/>
                  <a:gd name="connsiteY211" fmla="*/ 194052 h 260078"/>
                  <a:gd name="connsiteX212" fmla="*/ 1689293 w 2394739"/>
                  <a:gd name="connsiteY212" fmla="*/ 194052 h 260078"/>
                  <a:gd name="connsiteX213" fmla="*/ 1689293 w 2394739"/>
                  <a:gd name="connsiteY213" fmla="*/ 199306 h 260078"/>
                  <a:gd name="connsiteX214" fmla="*/ 1787485 w 2394739"/>
                  <a:gd name="connsiteY214" fmla="*/ 199306 h 260078"/>
                  <a:gd name="connsiteX215" fmla="*/ 1787485 w 2394739"/>
                  <a:gd name="connsiteY215" fmla="*/ 204210 h 260078"/>
                  <a:gd name="connsiteX216" fmla="*/ 1790529 w 2394739"/>
                  <a:gd name="connsiteY216" fmla="*/ 204210 h 260078"/>
                  <a:gd name="connsiteX217" fmla="*/ 1790529 w 2394739"/>
                  <a:gd name="connsiteY217" fmla="*/ 208939 h 260078"/>
                  <a:gd name="connsiteX218" fmla="*/ 1850117 w 2394739"/>
                  <a:gd name="connsiteY218" fmla="*/ 208939 h 260078"/>
                  <a:gd name="connsiteX219" fmla="*/ 1850117 w 2394739"/>
                  <a:gd name="connsiteY219" fmla="*/ 214018 h 260078"/>
                  <a:gd name="connsiteX220" fmla="*/ 1865014 w 2394739"/>
                  <a:gd name="connsiteY220" fmla="*/ 214018 h 260078"/>
                  <a:gd name="connsiteX221" fmla="*/ 1865014 w 2394739"/>
                  <a:gd name="connsiteY221" fmla="*/ 219097 h 260078"/>
                  <a:gd name="connsiteX222" fmla="*/ 2394740 w 2394739"/>
                  <a:gd name="connsiteY222" fmla="*/ 259904 h 260078"/>
                  <a:gd name="connsiteX223" fmla="*/ 2096799 w 2394739"/>
                  <a:gd name="connsiteY223" fmla="*/ 259904 h 260078"/>
                  <a:gd name="connsiteX224" fmla="*/ 2096799 w 2394739"/>
                  <a:gd name="connsiteY224" fmla="*/ 247294 h 260078"/>
                  <a:gd name="connsiteX225" fmla="*/ 2061078 w 2394739"/>
                  <a:gd name="connsiteY225" fmla="*/ 247294 h 260078"/>
                  <a:gd name="connsiteX226" fmla="*/ 2061078 w 2394739"/>
                  <a:gd name="connsiteY226" fmla="*/ 232057 h 260078"/>
                  <a:gd name="connsiteX227" fmla="*/ 2090872 w 2394739"/>
                  <a:gd name="connsiteY227" fmla="*/ 232057 h 260078"/>
                  <a:gd name="connsiteX228" fmla="*/ 2090872 w 2394739"/>
                  <a:gd name="connsiteY228" fmla="*/ 237836 h 260078"/>
                  <a:gd name="connsiteX229" fmla="*/ 2144534 w 2394739"/>
                  <a:gd name="connsiteY229" fmla="*/ 237836 h 260078"/>
                  <a:gd name="connsiteX230" fmla="*/ 2144534 w 2394739"/>
                  <a:gd name="connsiteY230" fmla="*/ 242565 h 260078"/>
                  <a:gd name="connsiteX231" fmla="*/ 2174328 w 2394739"/>
                  <a:gd name="connsiteY231" fmla="*/ 242565 h 260078"/>
                  <a:gd name="connsiteX232" fmla="*/ 2174328 w 2394739"/>
                  <a:gd name="connsiteY232" fmla="*/ 247994 h 260078"/>
                  <a:gd name="connsiteX233" fmla="*/ 2373916 w 2394739"/>
                  <a:gd name="connsiteY233" fmla="*/ 247994 h 260078"/>
                  <a:gd name="connsiteX234" fmla="*/ 2373916 w 2394739"/>
                  <a:gd name="connsiteY234" fmla="*/ 253599 h 260078"/>
                  <a:gd name="connsiteX235" fmla="*/ 2379843 w 2394739"/>
                  <a:gd name="connsiteY235" fmla="*/ 253599 h 260078"/>
                  <a:gd name="connsiteX236" fmla="*/ 2379843 w 2394739"/>
                  <a:gd name="connsiteY236" fmla="*/ 259378 h 260078"/>
                  <a:gd name="connsiteX237" fmla="*/ 2394740 w 2394739"/>
                  <a:gd name="connsiteY237" fmla="*/ 259378 h 260078"/>
                  <a:gd name="connsiteX238" fmla="*/ 2394740 w 2394739"/>
                  <a:gd name="connsiteY238" fmla="*/ 260079 h 2600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</a:cxnLst>
                <a:rect l="l" t="t" r="r" b="b"/>
                <a:pathLst>
                  <a:path w="2394739" h="260078">
                    <a:moveTo>
                      <a:pt x="157140" y="76710"/>
                    </a:moveTo>
                    <a:lnTo>
                      <a:pt x="38604" y="76710"/>
                    </a:lnTo>
                    <a:lnTo>
                      <a:pt x="38604" y="68829"/>
                    </a:lnTo>
                    <a:lnTo>
                      <a:pt x="77369" y="68829"/>
                    </a:lnTo>
                    <a:cubicBezTo>
                      <a:pt x="77369" y="68829"/>
                      <a:pt x="78170" y="70405"/>
                      <a:pt x="78650" y="71106"/>
                    </a:cubicBezTo>
                    <a:cubicBezTo>
                      <a:pt x="79771" y="72332"/>
                      <a:pt x="81533" y="73207"/>
                      <a:pt x="83135" y="73207"/>
                    </a:cubicBezTo>
                    <a:lnTo>
                      <a:pt x="154577" y="73207"/>
                    </a:lnTo>
                    <a:cubicBezTo>
                      <a:pt x="154897" y="74258"/>
                      <a:pt x="155378" y="75309"/>
                      <a:pt x="156179" y="76010"/>
                    </a:cubicBezTo>
                    <a:cubicBezTo>
                      <a:pt x="156499" y="76360"/>
                      <a:pt x="156659" y="76535"/>
                      <a:pt x="156980" y="76710"/>
                    </a:cubicBezTo>
                    <a:moveTo>
                      <a:pt x="522678" y="149392"/>
                    </a:moveTo>
                    <a:lnTo>
                      <a:pt x="256133" y="149392"/>
                    </a:lnTo>
                    <a:lnTo>
                      <a:pt x="256133" y="145189"/>
                    </a:lnTo>
                    <a:lnTo>
                      <a:pt x="250206" y="145189"/>
                    </a:lnTo>
                    <a:lnTo>
                      <a:pt x="250206" y="140285"/>
                    </a:lnTo>
                    <a:lnTo>
                      <a:pt x="241236" y="140285"/>
                    </a:lnTo>
                    <a:lnTo>
                      <a:pt x="241236" y="86868"/>
                    </a:lnTo>
                    <a:lnTo>
                      <a:pt x="244279" y="86868"/>
                    </a:lnTo>
                    <a:cubicBezTo>
                      <a:pt x="244600" y="87744"/>
                      <a:pt x="245080" y="88619"/>
                      <a:pt x="245721" y="89320"/>
                    </a:cubicBezTo>
                    <a:cubicBezTo>
                      <a:pt x="246842" y="90546"/>
                      <a:pt x="248444" y="91247"/>
                      <a:pt x="250046" y="91422"/>
                    </a:cubicBezTo>
                    <a:cubicBezTo>
                      <a:pt x="250367" y="92648"/>
                      <a:pt x="250847" y="93874"/>
                      <a:pt x="251808" y="94749"/>
                    </a:cubicBezTo>
                    <a:cubicBezTo>
                      <a:pt x="252929" y="95975"/>
                      <a:pt x="254531" y="96851"/>
                      <a:pt x="256293" y="96851"/>
                    </a:cubicBezTo>
                    <a:lnTo>
                      <a:pt x="259337" y="96851"/>
                    </a:lnTo>
                    <a:cubicBezTo>
                      <a:pt x="259337" y="96851"/>
                      <a:pt x="260138" y="98427"/>
                      <a:pt x="260618" y="98953"/>
                    </a:cubicBezTo>
                    <a:cubicBezTo>
                      <a:pt x="261740" y="100179"/>
                      <a:pt x="263181" y="100879"/>
                      <a:pt x="264783" y="101054"/>
                    </a:cubicBezTo>
                    <a:cubicBezTo>
                      <a:pt x="264783" y="102806"/>
                      <a:pt x="265584" y="104382"/>
                      <a:pt x="266705" y="105608"/>
                    </a:cubicBezTo>
                    <a:cubicBezTo>
                      <a:pt x="267826" y="106834"/>
                      <a:pt x="269588" y="107709"/>
                      <a:pt x="271190" y="107709"/>
                    </a:cubicBezTo>
                    <a:lnTo>
                      <a:pt x="271190" y="107709"/>
                    </a:lnTo>
                    <a:cubicBezTo>
                      <a:pt x="271511" y="108585"/>
                      <a:pt x="271991" y="109461"/>
                      <a:pt x="272632" y="110161"/>
                    </a:cubicBezTo>
                    <a:cubicBezTo>
                      <a:pt x="273753" y="111387"/>
                      <a:pt x="275515" y="112263"/>
                      <a:pt x="277117" y="112263"/>
                    </a:cubicBezTo>
                    <a:lnTo>
                      <a:pt x="327575" y="112263"/>
                    </a:lnTo>
                    <a:cubicBezTo>
                      <a:pt x="327895" y="113314"/>
                      <a:pt x="328376" y="114365"/>
                      <a:pt x="329177" y="115065"/>
                    </a:cubicBezTo>
                    <a:cubicBezTo>
                      <a:pt x="330298" y="116291"/>
                      <a:pt x="332060" y="117167"/>
                      <a:pt x="333662" y="117167"/>
                    </a:cubicBezTo>
                    <a:lnTo>
                      <a:pt x="375309" y="117167"/>
                    </a:lnTo>
                    <a:cubicBezTo>
                      <a:pt x="375630" y="118218"/>
                      <a:pt x="376110" y="119268"/>
                      <a:pt x="376911" y="120144"/>
                    </a:cubicBezTo>
                    <a:cubicBezTo>
                      <a:pt x="378032" y="121370"/>
                      <a:pt x="379795" y="122246"/>
                      <a:pt x="381396" y="122246"/>
                    </a:cubicBezTo>
                    <a:lnTo>
                      <a:pt x="434898" y="122246"/>
                    </a:lnTo>
                    <a:cubicBezTo>
                      <a:pt x="435218" y="123297"/>
                      <a:pt x="435699" y="124347"/>
                      <a:pt x="436499" y="125223"/>
                    </a:cubicBezTo>
                    <a:cubicBezTo>
                      <a:pt x="437621" y="126449"/>
                      <a:pt x="439383" y="127325"/>
                      <a:pt x="440985" y="127325"/>
                    </a:cubicBezTo>
                    <a:lnTo>
                      <a:pt x="467575" y="127325"/>
                    </a:lnTo>
                    <a:cubicBezTo>
                      <a:pt x="467895" y="128551"/>
                      <a:pt x="468376" y="129602"/>
                      <a:pt x="469177" y="130302"/>
                    </a:cubicBezTo>
                    <a:cubicBezTo>
                      <a:pt x="470298" y="131528"/>
                      <a:pt x="472060" y="132404"/>
                      <a:pt x="473662" y="132404"/>
                    </a:cubicBezTo>
                    <a:lnTo>
                      <a:pt x="482472" y="132404"/>
                    </a:lnTo>
                    <a:cubicBezTo>
                      <a:pt x="482792" y="133455"/>
                      <a:pt x="483273" y="134330"/>
                      <a:pt x="484074" y="135206"/>
                    </a:cubicBezTo>
                    <a:cubicBezTo>
                      <a:pt x="485195" y="136432"/>
                      <a:pt x="486797" y="137308"/>
                      <a:pt x="488399" y="137308"/>
                    </a:cubicBezTo>
                    <a:cubicBezTo>
                      <a:pt x="488719" y="138358"/>
                      <a:pt x="489200" y="139409"/>
                      <a:pt x="490001" y="140110"/>
                    </a:cubicBezTo>
                    <a:cubicBezTo>
                      <a:pt x="491122" y="141336"/>
                      <a:pt x="492884" y="142211"/>
                      <a:pt x="494486" y="142211"/>
                    </a:cubicBezTo>
                    <a:lnTo>
                      <a:pt x="497529" y="142211"/>
                    </a:lnTo>
                    <a:cubicBezTo>
                      <a:pt x="497850" y="143087"/>
                      <a:pt x="498330" y="143963"/>
                      <a:pt x="498971" y="144839"/>
                    </a:cubicBezTo>
                    <a:cubicBezTo>
                      <a:pt x="500092" y="146064"/>
                      <a:pt x="501854" y="146940"/>
                      <a:pt x="503456" y="146940"/>
                    </a:cubicBezTo>
                    <a:lnTo>
                      <a:pt x="521076" y="146940"/>
                    </a:lnTo>
                    <a:cubicBezTo>
                      <a:pt x="521236" y="148166"/>
                      <a:pt x="521877" y="149392"/>
                      <a:pt x="522678" y="150443"/>
                    </a:cubicBezTo>
                    <a:moveTo>
                      <a:pt x="1864533" y="220498"/>
                    </a:moveTo>
                    <a:lnTo>
                      <a:pt x="1355150" y="220498"/>
                    </a:lnTo>
                    <a:lnTo>
                      <a:pt x="1355150" y="205786"/>
                    </a:lnTo>
                    <a:lnTo>
                      <a:pt x="1160368" y="205786"/>
                    </a:lnTo>
                    <a:cubicBezTo>
                      <a:pt x="1160368" y="205786"/>
                      <a:pt x="1159246" y="205436"/>
                      <a:pt x="1158606" y="205436"/>
                    </a:cubicBezTo>
                    <a:lnTo>
                      <a:pt x="1137782" y="205436"/>
                    </a:lnTo>
                    <a:lnTo>
                      <a:pt x="1137782" y="164629"/>
                    </a:lnTo>
                    <a:lnTo>
                      <a:pt x="771122" y="164629"/>
                    </a:lnTo>
                    <a:cubicBezTo>
                      <a:pt x="771122" y="164629"/>
                      <a:pt x="770321" y="163228"/>
                      <a:pt x="769841" y="162703"/>
                    </a:cubicBezTo>
                    <a:cubicBezTo>
                      <a:pt x="768719" y="161477"/>
                      <a:pt x="767118" y="160776"/>
                      <a:pt x="765516" y="160601"/>
                    </a:cubicBezTo>
                    <a:cubicBezTo>
                      <a:pt x="765195" y="159375"/>
                      <a:pt x="764715" y="158324"/>
                      <a:pt x="763914" y="157448"/>
                    </a:cubicBezTo>
                    <a:cubicBezTo>
                      <a:pt x="762793" y="156047"/>
                      <a:pt x="761031" y="155347"/>
                      <a:pt x="759429" y="155347"/>
                    </a:cubicBezTo>
                    <a:lnTo>
                      <a:pt x="649223" y="155347"/>
                    </a:lnTo>
                    <a:lnTo>
                      <a:pt x="649223" y="149042"/>
                    </a:lnTo>
                    <a:lnTo>
                      <a:pt x="591717" y="149042"/>
                    </a:lnTo>
                    <a:cubicBezTo>
                      <a:pt x="591717" y="149042"/>
                      <a:pt x="591397" y="148516"/>
                      <a:pt x="591236" y="148341"/>
                    </a:cubicBezTo>
                    <a:cubicBezTo>
                      <a:pt x="590115" y="147115"/>
                      <a:pt x="588353" y="146240"/>
                      <a:pt x="586751" y="146240"/>
                    </a:cubicBezTo>
                    <a:lnTo>
                      <a:pt x="577781" y="146240"/>
                    </a:lnTo>
                    <a:cubicBezTo>
                      <a:pt x="577461" y="145364"/>
                      <a:pt x="576980" y="144488"/>
                      <a:pt x="576339" y="143613"/>
                    </a:cubicBezTo>
                    <a:cubicBezTo>
                      <a:pt x="575218" y="142387"/>
                      <a:pt x="573456" y="141511"/>
                      <a:pt x="571854" y="141511"/>
                    </a:cubicBezTo>
                    <a:lnTo>
                      <a:pt x="559841" y="141511"/>
                    </a:lnTo>
                    <a:cubicBezTo>
                      <a:pt x="559520" y="140635"/>
                      <a:pt x="559040" y="139760"/>
                      <a:pt x="558399" y="139059"/>
                    </a:cubicBezTo>
                    <a:cubicBezTo>
                      <a:pt x="557278" y="137833"/>
                      <a:pt x="555516" y="136957"/>
                      <a:pt x="553914" y="136957"/>
                    </a:cubicBezTo>
                    <a:lnTo>
                      <a:pt x="533410" y="136957"/>
                    </a:lnTo>
                    <a:cubicBezTo>
                      <a:pt x="533250" y="135556"/>
                      <a:pt x="532609" y="134330"/>
                      <a:pt x="531648" y="133455"/>
                    </a:cubicBezTo>
                    <a:cubicBezTo>
                      <a:pt x="530527" y="132229"/>
                      <a:pt x="528765" y="131353"/>
                      <a:pt x="527163" y="131353"/>
                    </a:cubicBezTo>
                    <a:lnTo>
                      <a:pt x="509223" y="131353"/>
                    </a:lnTo>
                    <a:cubicBezTo>
                      <a:pt x="508902" y="130477"/>
                      <a:pt x="508422" y="129602"/>
                      <a:pt x="507781" y="128901"/>
                    </a:cubicBezTo>
                    <a:cubicBezTo>
                      <a:pt x="506660" y="127675"/>
                      <a:pt x="504898" y="126799"/>
                      <a:pt x="503296" y="126799"/>
                    </a:cubicBezTo>
                    <a:lnTo>
                      <a:pt x="500412" y="126799"/>
                    </a:lnTo>
                    <a:cubicBezTo>
                      <a:pt x="500092" y="125749"/>
                      <a:pt x="499612" y="124873"/>
                      <a:pt x="498811" y="123997"/>
                    </a:cubicBezTo>
                    <a:cubicBezTo>
                      <a:pt x="497689" y="122771"/>
                      <a:pt x="496088" y="122071"/>
                      <a:pt x="494486" y="121896"/>
                    </a:cubicBezTo>
                    <a:cubicBezTo>
                      <a:pt x="494165" y="120845"/>
                      <a:pt x="493685" y="119794"/>
                      <a:pt x="492884" y="119093"/>
                    </a:cubicBezTo>
                    <a:cubicBezTo>
                      <a:pt x="491763" y="117867"/>
                      <a:pt x="490001" y="116992"/>
                      <a:pt x="488399" y="116992"/>
                    </a:cubicBezTo>
                    <a:lnTo>
                      <a:pt x="479589" y="116992"/>
                    </a:lnTo>
                    <a:cubicBezTo>
                      <a:pt x="479268" y="115941"/>
                      <a:pt x="478788" y="114890"/>
                      <a:pt x="477987" y="114014"/>
                    </a:cubicBezTo>
                    <a:cubicBezTo>
                      <a:pt x="476866" y="112788"/>
                      <a:pt x="475103" y="111913"/>
                      <a:pt x="473502" y="111913"/>
                    </a:cubicBezTo>
                    <a:lnTo>
                      <a:pt x="446911" y="111913"/>
                    </a:lnTo>
                    <a:cubicBezTo>
                      <a:pt x="446591" y="110862"/>
                      <a:pt x="446110" y="109811"/>
                      <a:pt x="445310" y="108935"/>
                    </a:cubicBezTo>
                    <a:cubicBezTo>
                      <a:pt x="444188" y="107709"/>
                      <a:pt x="442426" y="106834"/>
                      <a:pt x="440824" y="106834"/>
                    </a:cubicBezTo>
                    <a:lnTo>
                      <a:pt x="387323" y="106834"/>
                    </a:lnTo>
                    <a:cubicBezTo>
                      <a:pt x="387003" y="105783"/>
                      <a:pt x="386522" y="104732"/>
                      <a:pt x="385721" y="103856"/>
                    </a:cubicBezTo>
                    <a:cubicBezTo>
                      <a:pt x="384600" y="102630"/>
                      <a:pt x="382838" y="101755"/>
                      <a:pt x="381236" y="101755"/>
                    </a:cubicBezTo>
                    <a:lnTo>
                      <a:pt x="339589" y="101755"/>
                    </a:lnTo>
                    <a:cubicBezTo>
                      <a:pt x="339268" y="100704"/>
                      <a:pt x="338788" y="99653"/>
                      <a:pt x="337987" y="98953"/>
                    </a:cubicBezTo>
                    <a:cubicBezTo>
                      <a:pt x="336865" y="97727"/>
                      <a:pt x="335103" y="96851"/>
                      <a:pt x="333502" y="96851"/>
                    </a:cubicBezTo>
                    <a:lnTo>
                      <a:pt x="282884" y="96851"/>
                    </a:lnTo>
                    <a:cubicBezTo>
                      <a:pt x="282563" y="95975"/>
                      <a:pt x="282083" y="95100"/>
                      <a:pt x="281442" y="94399"/>
                    </a:cubicBezTo>
                    <a:cubicBezTo>
                      <a:pt x="280321" y="93173"/>
                      <a:pt x="278879" y="92472"/>
                      <a:pt x="277277" y="92297"/>
                    </a:cubicBezTo>
                    <a:cubicBezTo>
                      <a:pt x="277277" y="90546"/>
                      <a:pt x="276476" y="88970"/>
                      <a:pt x="275515" y="87744"/>
                    </a:cubicBezTo>
                    <a:cubicBezTo>
                      <a:pt x="274394" y="86518"/>
                      <a:pt x="272632" y="85642"/>
                      <a:pt x="271030" y="85642"/>
                    </a:cubicBezTo>
                    <a:lnTo>
                      <a:pt x="271030" y="85642"/>
                    </a:lnTo>
                    <a:cubicBezTo>
                      <a:pt x="271030" y="85642"/>
                      <a:pt x="270229" y="84066"/>
                      <a:pt x="269749" y="83540"/>
                    </a:cubicBezTo>
                    <a:cubicBezTo>
                      <a:pt x="268627" y="82315"/>
                      <a:pt x="266865" y="81439"/>
                      <a:pt x="265264" y="81439"/>
                    </a:cubicBezTo>
                    <a:lnTo>
                      <a:pt x="262540" y="81439"/>
                    </a:lnTo>
                    <a:cubicBezTo>
                      <a:pt x="262220" y="80213"/>
                      <a:pt x="261740" y="78987"/>
                      <a:pt x="260778" y="78111"/>
                    </a:cubicBezTo>
                    <a:cubicBezTo>
                      <a:pt x="259657" y="76885"/>
                      <a:pt x="257895" y="76010"/>
                      <a:pt x="256293" y="76010"/>
                    </a:cubicBezTo>
                    <a:lnTo>
                      <a:pt x="256293" y="76010"/>
                    </a:lnTo>
                    <a:cubicBezTo>
                      <a:pt x="255973" y="75134"/>
                      <a:pt x="255492" y="74258"/>
                      <a:pt x="254852" y="73558"/>
                    </a:cubicBezTo>
                    <a:cubicBezTo>
                      <a:pt x="253730" y="72332"/>
                      <a:pt x="251968" y="71456"/>
                      <a:pt x="250367" y="71456"/>
                    </a:cubicBezTo>
                    <a:lnTo>
                      <a:pt x="214485" y="71456"/>
                    </a:lnTo>
                    <a:cubicBezTo>
                      <a:pt x="214485" y="71456"/>
                      <a:pt x="213685" y="69880"/>
                      <a:pt x="213204" y="69179"/>
                    </a:cubicBezTo>
                    <a:cubicBezTo>
                      <a:pt x="212083" y="67953"/>
                      <a:pt x="210321" y="67078"/>
                      <a:pt x="208719" y="67078"/>
                    </a:cubicBezTo>
                    <a:lnTo>
                      <a:pt x="181808" y="67078"/>
                    </a:lnTo>
                    <a:cubicBezTo>
                      <a:pt x="181488" y="66202"/>
                      <a:pt x="181007" y="65326"/>
                      <a:pt x="180366" y="64626"/>
                    </a:cubicBezTo>
                    <a:cubicBezTo>
                      <a:pt x="179245" y="63400"/>
                      <a:pt x="177483" y="62524"/>
                      <a:pt x="175881" y="62524"/>
                    </a:cubicBezTo>
                    <a:lnTo>
                      <a:pt x="167071" y="62524"/>
                    </a:lnTo>
                    <a:cubicBezTo>
                      <a:pt x="166751" y="61473"/>
                      <a:pt x="166270" y="60422"/>
                      <a:pt x="165469" y="59722"/>
                    </a:cubicBezTo>
                    <a:cubicBezTo>
                      <a:pt x="164348" y="58496"/>
                      <a:pt x="162586" y="57620"/>
                      <a:pt x="160984" y="57620"/>
                    </a:cubicBezTo>
                    <a:lnTo>
                      <a:pt x="89382" y="57620"/>
                    </a:lnTo>
                    <a:cubicBezTo>
                      <a:pt x="89382" y="57620"/>
                      <a:pt x="88581" y="56044"/>
                      <a:pt x="87941" y="55343"/>
                    </a:cubicBezTo>
                    <a:cubicBezTo>
                      <a:pt x="86819" y="54117"/>
                      <a:pt x="85057" y="53242"/>
                      <a:pt x="83455" y="53242"/>
                    </a:cubicBezTo>
                    <a:lnTo>
                      <a:pt x="38764" y="53242"/>
                    </a:lnTo>
                    <a:lnTo>
                      <a:pt x="38764" y="28723"/>
                    </a:lnTo>
                    <a:lnTo>
                      <a:pt x="0" y="28723"/>
                    </a:lnTo>
                    <a:lnTo>
                      <a:pt x="0" y="0"/>
                    </a:lnTo>
                    <a:lnTo>
                      <a:pt x="83455" y="0"/>
                    </a:lnTo>
                    <a:lnTo>
                      <a:pt x="83455" y="3853"/>
                    </a:lnTo>
                    <a:lnTo>
                      <a:pt x="160984" y="3853"/>
                    </a:lnTo>
                    <a:lnTo>
                      <a:pt x="160984" y="8056"/>
                    </a:lnTo>
                    <a:lnTo>
                      <a:pt x="175881" y="8056"/>
                    </a:lnTo>
                    <a:lnTo>
                      <a:pt x="175881" y="12084"/>
                    </a:lnTo>
                    <a:lnTo>
                      <a:pt x="208719" y="12084"/>
                    </a:lnTo>
                    <a:lnTo>
                      <a:pt x="208719" y="15937"/>
                    </a:lnTo>
                    <a:lnTo>
                      <a:pt x="235149" y="15937"/>
                    </a:lnTo>
                    <a:lnTo>
                      <a:pt x="235149" y="17514"/>
                    </a:lnTo>
                    <a:cubicBezTo>
                      <a:pt x="235149" y="19265"/>
                      <a:pt x="235790" y="21192"/>
                      <a:pt x="237071" y="22418"/>
                    </a:cubicBezTo>
                    <a:cubicBezTo>
                      <a:pt x="238193" y="23644"/>
                      <a:pt x="239955" y="24519"/>
                      <a:pt x="241556" y="24519"/>
                    </a:cubicBezTo>
                    <a:lnTo>
                      <a:pt x="256453" y="24519"/>
                    </a:lnTo>
                    <a:cubicBezTo>
                      <a:pt x="256453" y="24519"/>
                      <a:pt x="265424" y="24519"/>
                      <a:pt x="265424" y="24519"/>
                    </a:cubicBezTo>
                    <a:lnTo>
                      <a:pt x="265424" y="28372"/>
                    </a:lnTo>
                    <a:lnTo>
                      <a:pt x="271350" y="28372"/>
                    </a:lnTo>
                    <a:lnTo>
                      <a:pt x="271350" y="33802"/>
                    </a:lnTo>
                    <a:lnTo>
                      <a:pt x="277277" y="33802"/>
                    </a:lnTo>
                    <a:lnTo>
                      <a:pt x="277277" y="37830"/>
                    </a:lnTo>
                    <a:lnTo>
                      <a:pt x="333822" y="37830"/>
                    </a:lnTo>
                    <a:lnTo>
                      <a:pt x="333822" y="42208"/>
                    </a:lnTo>
                    <a:lnTo>
                      <a:pt x="381557" y="42208"/>
                    </a:lnTo>
                    <a:lnTo>
                      <a:pt x="381557" y="46587"/>
                    </a:lnTo>
                    <a:lnTo>
                      <a:pt x="441145" y="46587"/>
                    </a:lnTo>
                    <a:lnTo>
                      <a:pt x="441145" y="50965"/>
                    </a:lnTo>
                    <a:lnTo>
                      <a:pt x="473822" y="50965"/>
                    </a:lnTo>
                    <a:lnTo>
                      <a:pt x="473822" y="55519"/>
                    </a:lnTo>
                    <a:lnTo>
                      <a:pt x="488719" y="55519"/>
                    </a:lnTo>
                    <a:lnTo>
                      <a:pt x="488719" y="59722"/>
                    </a:lnTo>
                    <a:lnTo>
                      <a:pt x="494646" y="59722"/>
                    </a:lnTo>
                    <a:lnTo>
                      <a:pt x="494646" y="64100"/>
                    </a:lnTo>
                    <a:lnTo>
                      <a:pt x="503616" y="64100"/>
                    </a:lnTo>
                    <a:lnTo>
                      <a:pt x="503616" y="68304"/>
                    </a:lnTo>
                    <a:lnTo>
                      <a:pt x="527484" y="68304"/>
                    </a:lnTo>
                    <a:lnTo>
                      <a:pt x="527484" y="73207"/>
                    </a:lnTo>
                    <a:lnTo>
                      <a:pt x="554234" y="73207"/>
                    </a:lnTo>
                    <a:lnTo>
                      <a:pt x="554234" y="77236"/>
                    </a:lnTo>
                    <a:lnTo>
                      <a:pt x="572175" y="77236"/>
                    </a:lnTo>
                    <a:lnTo>
                      <a:pt x="572175" y="81264"/>
                    </a:lnTo>
                    <a:lnTo>
                      <a:pt x="587072" y="81264"/>
                    </a:lnTo>
                    <a:lnTo>
                      <a:pt x="587072" y="85467"/>
                    </a:lnTo>
                    <a:lnTo>
                      <a:pt x="643616" y="85467"/>
                    </a:lnTo>
                    <a:lnTo>
                      <a:pt x="643616" y="89495"/>
                    </a:lnTo>
                    <a:lnTo>
                      <a:pt x="759749" y="89495"/>
                    </a:lnTo>
                    <a:lnTo>
                      <a:pt x="759749" y="94049"/>
                    </a:lnTo>
                    <a:lnTo>
                      <a:pt x="765676" y="94049"/>
                    </a:lnTo>
                    <a:lnTo>
                      <a:pt x="765676" y="98427"/>
                    </a:lnTo>
                    <a:lnTo>
                      <a:pt x="798514" y="98427"/>
                    </a:lnTo>
                    <a:lnTo>
                      <a:pt x="798514" y="103156"/>
                    </a:lnTo>
                    <a:lnTo>
                      <a:pt x="858102" y="103156"/>
                    </a:lnTo>
                    <a:lnTo>
                      <a:pt x="858102" y="108760"/>
                    </a:lnTo>
                    <a:lnTo>
                      <a:pt x="911763" y="108760"/>
                    </a:lnTo>
                    <a:lnTo>
                      <a:pt x="911763" y="116992"/>
                    </a:lnTo>
                    <a:lnTo>
                      <a:pt x="917690" y="116992"/>
                    </a:lnTo>
                    <a:lnTo>
                      <a:pt x="917690" y="121370"/>
                    </a:lnTo>
                    <a:lnTo>
                      <a:pt x="947484" y="121370"/>
                    </a:lnTo>
                    <a:lnTo>
                      <a:pt x="947484" y="125924"/>
                    </a:lnTo>
                    <a:lnTo>
                      <a:pt x="1033823" y="125924"/>
                    </a:lnTo>
                    <a:lnTo>
                      <a:pt x="1033823" y="130127"/>
                    </a:lnTo>
                    <a:lnTo>
                      <a:pt x="1078514" y="130127"/>
                    </a:lnTo>
                    <a:lnTo>
                      <a:pt x="1078514" y="134505"/>
                    </a:lnTo>
                    <a:lnTo>
                      <a:pt x="1158926" y="134505"/>
                    </a:lnTo>
                    <a:lnTo>
                      <a:pt x="1158926" y="139234"/>
                    </a:lnTo>
                    <a:lnTo>
                      <a:pt x="1227484" y="139234"/>
                    </a:lnTo>
                    <a:lnTo>
                      <a:pt x="1227484" y="144138"/>
                    </a:lnTo>
                    <a:lnTo>
                      <a:pt x="1230528" y="144138"/>
                    </a:lnTo>
                    <a:lnTo>
                      <a:pt x="1230528" y="149217"/>
                    </a:lnTo>
                    <a:lnTo>
                      <a:pt x="1260322" y="149217"/>
                    </a:lnTo>
                    <a:lnTo>
                      <a:pt x="1260322" y="153595"/>
                    </a:lnTo>
                    <a:lnTo>
                      <a:pt x="1385425" y="153595"/>
                    </a:lnTo>
                    <a:lnTo>
                      <a:pt x="1385425" y="158149"/>
                    </a:lnTo>
                    <a:lnTo>
                      <a:pt x="1427073" y="158149"/>
                    </a:lnTo>
                    <a:lnTo>
                      <a:pt x="1427073" y="164629"/>
                    </a:lnTo>
                    <a:lnTo>
                      <a:pt x="1531352" y="164629"/>
                    </a:lnTo>
                    <a:lnTo>
                      <a:pt x="1531352" y="169533"/>
                    </a:lnTo>
                    <a:lnTo>
                      <a:pt x="1596867" y="169533"/>
                    </a:lnTo>
                    <a:lnTo>
                      <a:pt x="1596867" y="175312"/>
                    </a:lnTo>
                    <a:lnTo>
                      <a:pt x="1617691" y="175312"/>
                    </a:lnTo>
                    <a:lnTo>
                      <a:pt x="1617691" y="179691"/>
                    </a:lnTo>
                    <a:lnTo>
                      <a:pt x="1641558" y="179691"/>
                    </a:lnTo>
                    <a:lnTo>
                      <a:pt x="1641558" y="184244"/>
                    </a:lnTo>
                    <a:lnTo>
                      <a:pt x="1650528" y="184244"/>
                    </a:lnTo>
                    <a:lnTo>
                      <a:pt x="1650528" y="188973"/>
                    </a:lnTo>
                    <a:lnTo>
                      <a:pt x="1674396" y="188973"/>
                    </a:lnTo>
                    <a:lnTo>
                      <a:pt x="1674396" y="194052"/>
                    </a:lnTo>
                    <a:lnTo>
                      <a:pt x="1689293" y="194052"/>
                    </a:lnTo>
                    <a:lnTo>
                      <a:pt x="1689293" y="199306"/>
                    </a:lnTo>
                    <a:lnTo>
                      <a:pt x="1787485" y="199306"/>
                    </a:lnTo>
                    <a:lnTo>
                      <a:pt x="1787485" y="204210"/>
                    </a:lnTo>
                    <a:lnTo>
                      <a:pt x="1790529" y="204210"/>
                    </a:lnTo>
                    <a:lnTo>
                      <a:pt x="1790529" y="208939"/>
                    </a:lnTo>
                    <a:lnTo>
                      <a:pt x="1850117" y="208939"/>
                    </a:lnTo>
                    <a:lnTo>
                      <a:pt x="1850117" y="214018"/>
                    </a:lnTo>
                    <a:lnTo>
                      <a:pt x="1865014" y="214018"/>
                    </a:lnTo>
                    <a:lnTo>
                      <a:pt x="1865014" y="219097"/>
                    </a:lnTo>
                    <a:moveTo>
                      <a:pt x="2394740" y="259904"/>
                    </a:moveTo>
                    <a:lnTo>
                      <a:pt x="2096799" y="259904"/>
                    </a:lnTo>
                    <a:lnTo>
                      <a:pt x="2096799" y="247294"/>
                    </a:lnTo>
                    <a:lnTo>
                      <a:pt x="2061078" y="247294"/>
                    </a:lnTo>
                    <a:lnTo>
                      <a:pt x="2061078" y="232057"/>
                    </a:lnTo>
                    <a:lnTo>
                      <a:pt x="2090872" y="232057"/>
                    </a:lnTo>
                    <a:lnTo>
                      <a:pt x="2090872" y="237836"/>
                    </a:lnTo>
                    <a:lnTo>
                      <a:pt x="2144534" y="237836"/>
                    </a:lnTo>
                    <a:lnTo>
                      <a:pt x="2144534" y="242565"/>
                    </a:lnTo>
                    <a:lnTo>
                      <a:pt x="2174328" y="242565"/>
                    </a:lnTo>
                    <a:lnTo>
                      <a:pt x="2174328" y="247994"/>
                    </a:lnTo>
                    <a:lnTo>
                      <a:pt x="2373916" y="247994"/>
                    </a:lnTo>
                    <a:lnTo>
                      <a:pt x="2373916" y="253599"/>
                    </a:lnTo>
                    <a:lnTo>
                      <a:pt x="2379843" y="253599"/>
                    </a:lnTo>
                    <a:lnTo>
                      <a:pt x="2379843" y="259378"/>
                    </a:lnTo>
                    <a:lnTo>
                      <a:pt x="2394740" y="259378"/>
                    </a:lnTo>
                    <a:lnTo>
                      <a:pt x="2394740" y="260079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63" name="Freihandform: Form 362">
                <a:extLst>
                  <a:ext uri="{FF2B5EF4-FFF2-40B4-BE49-F238E27FC236}">
                    <a16:creationId xmlns:a16="http://schemas.microsoft.com/office/drawing/2014/main" id="{982F15BA-F757-0300-8990-F2D70AA14DF0}"/>
                  </a:ext>
                </a:extLst>
              </p:cNvPr>
              <p:cNvSpPr/>
              <p:nvPr/>
            </p:nvSpPr>
            <p:spPr>
              <a:xfrm>
                <a:off x="2900643" y="1857049"/>
                <a:ext cx="761511" cy="97726"/>
              </a:xfrm>
              <a:custGeom>
                <a:avLst/>
                <a:gdLst>
                  <a:gd name="connsiteX0" fmla="*/ 61510 w 761511"/>
                  <a:gd name="connsiteY0" fmla="*/ 3328 h 97726"/>
                  <a:gd name="connsiteX1" fmla="*/ 13936 w 761511"/>
                  <a:gd name="connsiteY1" fmla="*/ 3328 h 97726"/>
                  <a:gd name="connsiteX2" fmla="*/ 0 w 761511"/>
                  <a:gd name="connsiteY2" fmla="*/ 0 h 97726"/>
                  <a:gd name="connsiteX3" fmla="*/ 61510 w 761511"/>
                  <a:gd name="connsiteY3" fmla="*/ 0 h 97726"/>
                  <a:gd name="connsiteX4" fmla="*/ 61510 w 761511"/>
                  <a:gd name="connsiteY4" fmla="*/ 3328 h 97726"/>
                  <a:gd name="connsiteX5" fmla="*/ 192701 w 761511"/>
                  <a:gd name="connsiteY5" fmla="*/ 20141 h 97726"/>
                  <a:gd name="connsiteX6" fmla="*/ 124142 w 761511"/>
                  <a:gd name="connsiteY6" fmla="*/ 20141 h 97726"/>
                  <a:gd name="connsiteX7" fmla="*/ 124142 w 761511"/>
                  <a:gd name="connsiteY7" fmla="*/ 6830 h 97726"/>
                  <a:gd name="connsiteX8" fmla="*/ 168833 w 761511"/>
                  <a:gd name="connsiteY8" fmla="*/ 6830 h 97726"/>
                  <a:gd name="connsiteX9" fmla="*/ 168833 w 761511"/>
                  <a:gd name="connsiteY9" fmla="*/ 10333 h 97726"/>
                  <a:gd name="connsiteX10" fmla="*/ 183730 w 761511"/>
                  <a:gd name="connsiteY10" fmla="*/ 10333 h 97726"/>
                  <a:gd name="connsiteX11" fmla="*/ 183730 w 761511"/>
                  <a:gd name="connsiteY11" fmla="*/ 18039 h 97726"/>
                  <a:gd name="connsiteX12" fmla="*/ 192701 w 761511"/>
                  <a:gd name="connsiteY12" fmla="*/ 18039 h 97726"/>
                  <a:gd name="connsiteX13" fmla="*/ 192701 w 761511"/>
                  <a:gd name="connsiteY13" fmla="*/ 20141 h 97726"/>
                  <a:gd name="connsiteX14" fmla="*/ 761511 w 761511"/>
                  <a:gd name="connsiteY14" fmla="*/ 97727 h 97726"/>
                  <a:gd name="connsiteX15" fmla="*/ 740688 w 761511"/>
                  <a:gd name="connsiteY15" fmla="*/ 97727 h 97726"/>
                  <a:gd name="connsiteX16" fmla="*/ 740688 w 761511"/>
                  <a:gd name="connsiteY16" fmla="*/ 94924 h 97726"/>
                  <a:gd name="connsiteX17" fmla="*/ 761511 w 761511"/>
                  <a:gd name="connsiteY17" fmla="*/ 94924 h 97726"/>
                  <a:gd name="connsiteX18" fmla="*/ 761511 w 761511"/>
                  <a:gd name="connsiteY18" fmla="*/ 97727 h 977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761511" h="97726">
                    <a:moveTo>
                      <a:pt x="61510" y="3328"/>
                    </a:moveTo>
                    <a:lnTo>
                      <a:pt x="13936" y="3328"/>
                    </a:lnTo>
                    <a:lnTo>
                      <a:pt x="0" y="0"/>
                    </a:lnTo>
                    <a:lnTo>
                      <a:pt x="61510" y="0"/>
                    </a:lnTo>
                    <a:lnTo>
                      <a:pt x="61510" y="3328"/>
                    </a:lnTo>
                    <a:moveTo>
                      <a:pt x="192701" y="20141"/>
                    </a:moveTo>
                    <a:lnTo>
                      <a:pt x="124142" y="20141"/>
                    </a:lnTo>
                    <a:lnTo>
                      <a:pt x="124142" y="6830"/>
                    </a:lnTo>
                    <a:lnTo>
                      <a:pt x="168833" y="6830"/>
                    </a:lnTo>
                    <a:lnTo>
                      <a:pt x="168833" y="10333"/>
                    </a:lnTo>
                    <a:lnTo>
                      <a:pt x="183730" y="10333"/>
                    </a:lnTo>
                    <a:lnTo>
                      <a:pt x="183730" y="18039"/>
                    </a:lnTo>
                    <a:lnTo>
                      <a:pt x="192701" y="18039"/>
                    </a:lnTo>
                    <a:lnTo>
                      <a:pt x="192701" y="20141"/>
                    </a:lnTo>
                    <a:moveTo>
                      <a:pt x="761511" y="97727"/>
                    </a:moveTo>
                    <a:lnTo>
                      <a:pt x="740688" y="97727"/>
                    </a:lnTo>
                    <a:lnTo>
                      <a:pt x="740688" y="94924"/>
                    </a:lnTo>
                    <a:lnTo>
                      <a:pt x="761511" y="94924"/>
                    </a:lnTo>
                    <a:lnTo>
                      <a:pt x="761511" y="97727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64" name="Grafik 134">
              <a:extLst>
                <a:ext uri="{FF2B5EF4-FFF2-40B4-BE49-F238E27FC236}">
                  <a16:creationId xmlns:a16="http://schemas.microsoft.com/office/drawing/2014/main" id="{C8CBA897-4DA0-F58A-338C-885BAF4E2896}"/>
                </a:ext>
              </a:extLst>
            </p:cNvPr>
            <p:cNvGrpSpPr/>
            <p:nvPr/>
          </p:nvGrpSpPr>
          <p:grpSpPr>
            <a:xfrm>
              <a:off x="2149064" y="1776299"/>
              <a:ext cx="5021104" cy="757351"/>
              <a:chOff x="2149064" y="1787345"/>
              <a:chExt cx="5021104" cy="736802"/>
            </a:xfrm>
            <a:solidFill>
              <a:schemeClr val="accent2">
                <a:alpha val="30000"/>
              </a:schemeClr>
            </a:solidFill>
          </p:grpSpPr>
          <p:grpSp>
            <p:nvGrpSpPr>
              <p:cNvPr id="365" name="Grafik 134">
                <a:extLst>
                  <a:ext uri="{FF2B5EF4-FFF2-40B4-BE49-F238E27FC236}">
                    <a16:creationId xmlns:a16="http://schemas.microsoft.com/office/drawing/2014/main" id="{556405EB-40AF-8238-A0FB-5B3875215BD7}"/>
                  </a:ext>
                </a:extLst>
              </p:cNvPr>
              <p:cNvGrpSpPr/>
              <p:nvPr/>
            </p:nvGrpSpPr>
            <p:grpSpPr>
              <a:xfrm>
                <a:off x="2149064" y="1787345"/>
                <a:ext cx="5021104" cy="736802"/>
                <a:chOff x="2149064" y="1787345"/>
                <a:chExt cx="5021104" cy="736802"/>
              </a:xfrm>
              <a:grpFill/>
            </p:grpSpPr>
            <p:sp>
              <p:nvSpPr>
                <p:cNvPr id="367" name="Freihandform: Form 366">
                  <a:extLst>
                    <a:ext uri="{FF2B5EF4-FFF2-40B4-BE49-F238E27FC236}">
                      <a16:creationId xmlns:a16="http://schemas.microsoft.com/office/drawing/2014/main" id="{71BDA417-4C42-0673-D3D2-D9ED9002DE5C}"/>
                    </a:ext>
                  </a:extLst>
                </p:cNvPr>
                <p:cNvSpPr/>
                <p:nvPr/>
              </p:nvSpPr>
              <p:spPr>
                <a:xfrm>
                  <a:off x="2229475" y="1791898"/>
                  <a:ext cx="1742473" cy="306315"/>
                </a:xfrm>
                <a:custGeom>
                  <a:avLst/>
                  <a:gdLst>
                    <a:gd name="connsiteX0" fmla="*/ 71121 w 1742473"/>
                    <a:gd name="connsiteY0" fmla="*/ 15937 h 306315"/>
                    <a:gd name="connsiteX1" fmla="*/ 0 w 1742473"/>
                    <a:gd name="connsiteY1" fmla="*/ 15937 h 306315"/>
                    <a:gd name="connsiteX2" fmla="*/ 0 w 1742473"/>
                    <a:gd name="connsiteY2" fmla="*/ 11034 h 306315"/>
                    <a:gd name="connsiteX3" fmla="*/ 68719 w 1742473"/>
                    <a:gd name="connsiteY3" fmla="*/ 11034 h 306315"/>
                    <a:gd name="connsiteX4" fmla="*/ 70000 w 1742473"/>
                    <a:gd name="connsiteY4" fmla="*/ 12960 h 306315"/>
                    <a:gd name="connsiteX5" fmla="*/ 71121 w 1742473"/>
                    <a:gd name="connsiteY5" fmla="*/ 14011 h 306315"/>
                    <a:gd name="connsiteX6" fmla="*/ 71121 w 1742473"/>
                    <a:gd name="connsiteY6" fmla="*/ 15937 h 306315"/>
                    <a:gd name="connsiteX7" fmla="*/ 74806 w 1742473"/>
                    <a:gd name="connsiteY7" fmla="*/ 22593 h 306315"/>
                    <a:gd name="connsiteX8" fmla="*/ 74485 w 1742473"/>
                    <a:gd name="connsiteY8" fmla="*/ 22593 h 306315"/>
                    <a:gd name="connsiteX9" fmla="*/ 74806 w 1742473"/>
                    <a:gd name="connsiteY9" fmla="*/ 22593 h 306315"/>
                    <a:gd name="connsiteX10" fmla="*/ 1540002 w 1742473"/>
                    <a:gd name="connsiteY10" fmla="*/ 217871 h 306315"/>
                    <a:gd name="connsiteX11" fmla="*/ 1438926 w 1742473"/>
                    <a:gd name="connsiteY11" fmla="*/ 217871 h 306315"/>
                    <a:gd name="connsiteX12" fmla="*/ 1437324 w 1742473"/>
                    <a:gd name="connsiteY12" fmla="*/ 214718 h 306315"/>
                    <a:gd name="connsiteX13" fmla="*/ 1432839 w 1742473"/>
                    <a:gd name="connsiteY13" fmla="*/ 212617 h 306315"/>
                    <a:gd name="connsiteX14" fmla="*/ 1414899 w 1742473"/>
                    <a:gd name="connsiteY14" fmla="*/ 212617 h 306315"/>
                    <a:gd name="connsiteX15" fmla="*/ 1413617 w 1742473"/>
                    <a:gd name="connsiteY15" fmla="*/ 210340 h 306315"/>
                    <a:gd name="connsiteX16" fmla="*/ 1409132 w 1742473"/>
                    <a:gd name="connsiteY16" fmla="*/ 208238 h 306315"/>
                    <a:gd name="connsiteX17" fmla="*/ 1400162 w 1742473"/>
                    <a:gd name="connsiteY17" fmla="*/ 208238 h 306315"/>
                    <a:gd name="connsiteX18" fmla="*/ 1398720 w 1742473"/>
                    <a:gd name="connsiteY18" fmla="*/ 205786 h 306315"/>
                    <a:gd name="connsiteX19" fmla="*/ 1394235 w 1742473"/>
                    <a:gd name="connsiteY19" fmla="*/ 203685 h 306315"/>
                    <a:gd name="connsiteX20" fmla="*/ 1391352 w 1742473"/>
                    <a:gd name="connsiteY20" fmla="*/ 203685 h 306315"/>
                    <a:gd name="connsiteX21" fmla="*/ 1389750 w 1742473"/>
                    <a:gd name="connsiteY21" fmla="*/ 200707 h 306315"/>
                    <a:gd name="connsiteX22" fmla="*/ 1385265 w 1742473"/>
                    <a:gd name="connsiteY22" fmla="*/ 198606 h 306315"/>
                    <a:gd name="connsiteX23" fmla="*/ 1367485 w 1742473"/>
                    <a:gd name="connsiteY23" fmla="*/ 198606 h 306315"/>
                    <a:gd name="connsiteX24" fmla="*/ 1366043 w 1742473"/>
                    <a:gd name="connsiteY24" fmla="*/ 196154 h 306315"/>
                    <a:gd name="connsiteX25" fmla="*/ 1361558 w 1742473"/>
                    <a:gd name="connsiteY25" fmla="*/ 194052 h 306315"/>
                    <a:gd name="connsiteX26" fmla="*/ 1337690 w 1742473"/>
                    <a:gd name="connsiteY26" fmla="*/ 194052 h 306315"/>
                    <a:gd name="connsiteX27" fmla="*/ 1336089 w 1742473"/>
                    <a:gd name="connsiteY27" fmla="*/ 191425 h 306315"/>
                    <a:gd name="connsiteX28" fmla="*/ 1331604 w 1742473"/>
                    <a:gd name="connsiteY28" fmla="*/ 189323 h 306315"/>
                    <a:gd name="connsiteX29" fmla="*/ 1269132 w 1742473"/>
                    <a:gd name="connsiteY29" fmla="*/ 189323 h 306315"/>
                    <a:gd name="connsiteX30" fmla="*/ 1267530 w 1742473"/>
                    <a:gd name="connsiteY30" fmla="*/ 186521 h 306315"/>
                    <a:gd name="connsiteX31" fmla="*/ 1263045 w 1742473"/>
                    <a:gd name="connsiteY31" fmla="*/ 184420 h 306315"/>
                    <a:gd name="connsiteX32" fmla="*/ 1245105 w 1742473"/>
                    <a:gd name="connsiteY32" fmla="*/ 184420 h 306315"/>
                    <a:gd name="connsiteX33" fmla="*/ 1243663 w 1742473"/>
                    <a:gd name="connsiteY33" fmla="*/ 181793 h 306315"/>
                    <a:gd name="connsiteX34" fmla="*/ 1239178 w 1742473"/>
                    <a:gd name="connsiteY34" fmla="*/ 179691 h 306315"/>
                    <a:gd name="connsiteX35" fmla="*/ 1227324 w 1742473"/>
                    <a:gd name="connsiteY35" fmla="*/ 179691 h 306315"/>
                    <a:gd name="connsiteX36" fmla="*/ 1225883 w 1742473"/>
                    <a:gd name="connsiteY36" fmla="*/ 177239 h 306315"/>
                    <a:gd name="connsiteX37" fmla="*/ 1221397 w 1742473"/>
                    <a:gd name="connsiteY37" fmla="*/ 175137 h 306315"/>
                    <a:gd name="connsiteX38" fmla="*/ 1120162 w 1742473"/>
                    <a:gd name="connsiteY38" fmla="*/ 175137 h 306315"/>
                    <a:gd name="connsiteX39" fmla="*/ 1118560 w 1742473"/>
                    <a:gd name="connsiteY39" fmla="*/ 172335 h 306315"/>
                    <a:gd name="connsiteX40" fmla="*/ 1114075 w 1742473"/>
                    <a:gd name="connsiteY40" fmla="*/ 170233 h 306315"/>
                    <a:gd name="connsiteX41" fmla="*/ 1114075 w 1742473"/>
                    <a:gd name="connsiteY41" fmla="*/ 170233 h 306315"/>
                    <a:gd name="connsiteX42" fmla="*/ 1112633 w 1742473"/>
                    <a:gd name="connsiteY42" fmla="*/ 167957 h 306315"/>
                    <a:gd name="connsiteX43" fmla="*/ 1108148 w 1742473"/>
                    <a:gd name="connsiteY43" fmla="*/ 165855 h 306315"/>
                    <a:gd name="connsiteX44" fmla="*/ 1108148 w 1742473"/>
                    <a:gd name="connsiteY44" fmla="*/ 165855 h 306315"/>
                    <a:gd name="connsiteX45" fmla="*/ 1106706 w 1742473"/>
                    <a:gd name="connsiteY45" fmla="*/ 163578 h 306315"/>
                    <a:gd name="connsiteX46" fmla="*/ 1102221 w 1742473"/>
                    <a:gd name="connsiteY46" fmla="*/ 161477 h 306315"/>
                    <a:gd name="connsiteX47" fmla="*/ 1039589 w 1742473"/>
                    <a:gd name="connsiteY47" fmla="*/ 161477 h 306315"/>
                    <a:gd name="connsiteX48" fmla="*/ 1038308 w 1742473"/>
                    <a:gd name="connsiteY48" fmla="*/ 159375 h 306315"/>
                    <a:gd name="connsiteX49" fmla="*/ 1037187 w 1742473"/>
                    <a:gd name="connsiteY49" fmla="*/ 158324 h 306315"/>
                    <a:gd name="connsiteX50" fmla="*/ 1035425 w 1742473"/>
                    <a:gd name="connsiteY50" fmla="*/ 154296 h 306315"/>
                    <a:gd name="connsiteX51" fmla="*/ 1030939 w 1742473"/>
                    <a:gd name="connsiteY51" fmla="*/ 152194 h 306315"/>
                    <a:gd name="connsiteX52" fmla="*/ 1010116 w 1742473"/>
                    <a:gd name="connsiteY52" fmla="*/ 152194 h 306315"/>
                    <a:gd name="connsiteX53" fmla="*/ 1008674 w 1742473"/>
                    <a:gd name="connsiteY53" fmla="*/ 149742 h 306315"/>
                    <a:gd name="connsiteX54" fmla="*/ 1004189 w 1742473"/>
                    <a:gd name="connsiteY54" fmla="*/ 147641 h 306315"/>
                    <a:gd name="connsiteX55" fmla="*/ 989292 w 1742473"/>
                    <a:gd name="connsiteY55" fmla="*/ 147641 h 306315"/>
                    <a:gd name="connsiteX56" fmla="*/ 987850 w 1742473"/>
                    <a:gd name="connsiteY56" fmla="*/ 145364 h 306315"/>
                    <a:gd name="connsiteX57" fmla="*/ 983365 w 1742473"/>
                    <a:gd name="connsiteY57" fmla="*/ 143262 h 306315"/>
                    <a:gd name="connsiteX58" fmla="*/ 929543 w 1742473"/>
                    <a:gd name="connsiteY58" fmla="*/ 143262 h 306315"/>
                    <a:gd name="connsiteX59" fmla="*/ 928262 w 1742473"/>
                    <a:gd name="connsiteY59" fmla="*/ 141161 h 306315"/>
                    <a:gd name="connsiteX60" fmla="*/ 923777 w 1742473"/>
                    <a:gd name="connsiteY60" fmla="*/ 139059 h 306315"/>
                    <a:gd name="connsiteX61" fmla="*/ 908720 w 1742473"/>
                    <a:gd name="connsiteY61" fmla="*/ 139059 h 306315"/>
                    <a:gd name="connsiteX62" fmla="*/ 907278 w 1742473"/>
                    <a:gd name="connsiteY62" fmla="*/ 136782 h 306315"/>
                    <a:gd name="connsiteX63" fmla="*/ 902793 w 1742473"/>
                    <a:gd name="connsiteY63" fmla="*/ 134681 h 306315"/>
                    <a:gd name="connsiteX64" fmla="*/ 902793 w 1742473"/>
                    <a:gd name="connsiteY64" fmla="*/ 134681 h 306315"/>
                    <a:gd name="connsiteX65" fmla="*/ 901511 w 1742473"/>
                    <a:gd name="connsiteY65" fmla="*/ 132579 h 306315"/>
                    <a:gd name="connsiteX66" fmla="*/ 897026 w 1742473"/>
                    <a:gd name="connsiteY66" fmla="*/ 130477 h 306315"/>
                    <a:gd name="connsiteX67" fmla="*/ 897026 w 1742473"/>
                    <a:gd name="connsiteY67" fmla="*/ 130477 h 306315"/>
                    <a:gd name="connsiteX68" fmla="*/ 895745 w 1742473"/>
                    <a:gd name="connsiteY68" fmla="*/ 128200 h 306315"/>
                    <a:gd name="connsiteX69" fmla="*/ 891260 w 1742473"/>
                    <a:gd name="connsiteY69" fmla="*/ 126099 h 306315"/>
                    <a:gd name="connsiteX70" fmla="*/ 870276 w 1742473"/>
                    <a:gd name="connsiteY70" fmla="*/ 126099 h 306315"/>
                    <a:gd name="connsiteX71" fmla="*/ 868834 w 1742473"/>
                    <a:gd name="connsiteY71" fmla="*/ 123822 h 306315"/>
                    <a:gd name="connsiteX72" fmla="*/ 864349 w 1742473"/>
                    <a:gd name="connsiteY72" fmla="*/ 121720 h 306315"/>
                    <a:gd name="connsiteX73" fmla="*/ 861786 w 1742473"/>
                    <a:gd name="connsiteY73" fmla="*/ 121720 h 306315"/>
                    <a:gd name="connsiteX74" fmla="*/ 861786 w 1742473"/>
                    <a:gd name="connsiteY74" fmla="*/ 119268 h 306315"/>
                    <a:gd name="connsiteX75" fmla="*/ 859864 w 1742473"/>
                    <a:gd name="connsiteY75" fmla="*/ 114365 h 306315"/>
                    <a:gd name="connsiteX76" fmla="*/ 855379 w 1742473"/>
                    <a:gd name="connsiteY76" fmla="*/ 112263 h 306315"/>
                    <a:gd name="connsiteX77" fmla="*/ 846408 w 1742473"/>
                    <a:gd name="connsiteY77" fmla="*/ 112263 h 306315"/>
                    <a:gd name="connsiteX78" fmla="*/ 845127 w 1742473"/>
                    <a:gd name="connsiteY78" fmla="*/ 109986 h 306315"/>
                    <a:gd name="connsiteX79" fmla="*/ 840642 w 1742473"/>
                    <a:gd name="connsiteY79" fmla="*/ 107885 h 306315"/>
                    <a:gd name="connsiteX80" fmla="*/ 786820 w 1742473"/>
                    <a:gd name="connsiteY80" fmla="*/ 107885 h 306315"/>
                    <a:gd name="connsiteX81" fmla="*/ 785539 w 1742473"/>
                    <a:gd name="connsiteY81" fmla="*/ 105783 h 306315"/>
                    <a:gd name="connsiteX82" fmla="*/ 781054 w 1742473"/>
                    <a:gd name="connsiteY82" fmla="*/ 103681 h 306315"/>
                    <a:gd name="connsiteX83" fmla="*/ 739086 w 1742473"/>
                    <a:gd name="connsiteY83" fmla="*/ 103681 h 306315"/>
                    <a:gd name="connsiteX84" fmla="*/ 737804 w 1742473"/>
                    <a:gd name="connsiteY84" fmla="*/ 101580 h 306315"/>
                    <a:gd name="connsiteX85" fmla="*/ 733319 w 1742473"/>
                    <a:gd name="connsiteY85" fmla="*/ 99478 h 306315"/>
                    <a:gd name="connsiteX86" fmla="*/ 646820 w 1742473"/>
                    <a:gd name="connsiteY86" fmla="*/ 99478 h 306315"/>
                    <a:gd name="connsiteX87" fmla="*/ 645539 w 1742473"/>
                    <a:gd name="connsiteY87" fmla="*/ 97376 h 306315"/>
                    <a:gd name="connsiteX88" fmla="*/ 641053 w 1742473"/>
                    <a:gd name="connsiteY88" fmla="*/ 95275 h 306315"/>
                    <a:gd name="connsiteX89" fmla="*/ 629040 w 1742473"/>
                    <a:gd name="connsiteY89" fmla="*/ 95275 h 306315"/>
                    <a:gd name="connsiteX90" fmla="*/ 627758 w 1742473"/>
                    <a:gd name="connsiteY90" fmla="*/ 93173 h 306315"/>
                    <a:gd name="connsiteX91" fmla="*/ 623593 w 1742473"/>
                    <a:gd name="connsiteY91" fmla="*/ 91247 h 306315"/>
                    <a:gd name="connsiteX92" fmla="*/ 621831 w 1742473"/>
                    <a:gd name="connsiteY92" fmla="*/ 87394 h 306315"/>
                    <a:gd name="connsiteX93" fmla="*/ 617346 w 1742473"/>
                    <a:gd name="connsiteY93" fmla="*/ 85292 h 306315"/>
                    <a:gd name="connsiteX94" fmla="*/ 525081 w 1742473"/>
                    <a:gd name="connsiteY94" fmla="*/ 85292 h 306315"/>
                    <a:gd name="connsiteX95" fmla="*/ 523639 w 1742473"/>
                    <a:gd name="connsiteY95" fmla="*/ 82840 h 306315"/>
                    <a:gd name="connsiteX96" fmla="*/ 522358 w 1742473"/>
                    <a:gd name="connsiteY96" fmla="*/ 81614 h 306315"/>
                    <a:gd name="connsiteX97" fmla="*/ 520756 w 1742473"/>
                    <a:gd name="connsiteY97" fmla="*/ 78637 h 306315"/>
                    <a:gd name="connsiteX98" fmla="*/ 516271 w 1742473"/>
                    <a:gd name="connsiteY98" fmla="*/ 76535 h 306315"/>
                    <a:gd name="connsiteX99" fmla="*/ 514829 w 1742473"/>
                    <a:gd name="connsiteY99" fmla="*/ 73908 h 306315"/>
                    <a:gd name="connsiteX100" fmla="*/ 510344 w 1742473"/>
                    <a:gd name="connsiteY100" fmla="*/ 71806 h 306315"/>
                    <a:gd name="connsiteX101" fmla="*/ 501213 w 1742473"/>
                    <a:gd name="connsiteY101" fmla="*/ 71806 h 306315"/>
                    <a:gd name="connsiteX102" fmla="*/ 499932 w 1742473"/>
                    <a:gd name="connsiteY102" fmla="*/ 69705 h 306315"/>
                    <a:gd name="connsiteX103" fmla="*/ 495447 w 1742473"/>
                    <a:gd name="connsiteY103" fmla="*/ 67603 h 306315"/>
                    <a:gd name="connsiteX104" fmla="*/ 441625 w 1742473"/>
                    <a:gd name="connsiteY104" fmla="*/ 67603 h 306315"/>
                    <a:gd name="connsiteX105" fmla="*/ 440344 w 1742473"/>
                    <a:gd name="connsiteY105" fmla="*/ 65501 h 306315"/>
                    <a:gd name="connsiteX106" fmla="*/ 435859 w 1742473"/>
                    <a:gd name="connsiteY106" fmla="*/ 63400 h 306315"/>
                    <a:gd name="connsiteX107" fmla="*/ 426728 w 1742473"/>
                    <a:gd name="connsiteY107" fmla="*/ 63400 h 306315"/>
                    <a:gd name="connsiteX108" fmla="*/ 425447 w 1742473"/>
                    <a:gd name="connsiteY108" fmla="*/ 61298 h 306315"/>
                    <a:gd name="connsiteX109" fmla="*/ 420962 w 1742473"/>
                    <a:gd name="connsiteY109" fmla="*/ 59196 h 306315"/>
                    <a:gd name="connsiteX110" fmla="*/ 379314 w 1742473"/>
                    <a:gd name="connsiteY110" fmla="*/ 59196 h 306315"/>
                    <a:gd name="connsiteX111" fmla="*/ 377872 w 1742473"/>
                    <a:gd name="connsiteY111" fmla="*/ 56744 h 306315"/>
                    <a:gd name="connsiteX112" fmla="*/ 373387 w 1742473"/>
                    <a:gd name="connsiteY112" fmla="*/ 54643 h 306315"/>
                    <a:gd name="connsiteX113" fmla="*/ 370344 w 1742473"/>
                    <a:gd name="connsiteY113" fmla="*/ 54643 h 306315"/>
                    <a:gd name="connsiteX114" fmla="*/ 368902 w 1742473"/>
                    <a:gd name="connsiteY114" fmla="*/ 52191 h 306315"/>
                    <a:gd name="connsiteX115" fmla="*/ 364417 w 1742473"/>
                    <a:gd name="connsiteY115" fmla="*/ 50089 h 306315"/>
                    <a:gd name="connsiteX116" fmla="*/ 349360 w 1742473"/>
                    <a:gd name="connsiteY116" fmla="*/ 50089 h 306315"/>
                    <a:gd name="connsiteX117" fmla="*/ 347918 w 1742473"/>
                    <a:gd name="connsiteY117" fmla="*/ 47812 h 306315"/>
                    <a:gd name="connsiteX118" fmla="*/ 343433 w 1742473"/>
                    <a:gd name="connsiteY118" fmla="*/ 45711 h 306315"/>
                    <a:gd name="connsiteX119" fmla="*/ 301785 w 1742473"/>
                    <a:gd name="connsiteY119" fmla="*/ 45711 h 306315"/>
                    <a:gd name="connsiteX120" fmla="*/ 300344 w 1742473"/>
                    <a:gd name="connsiteY120" fmla="*/ 43259 h 306315"/>
                    <a:gd name="connsiteX121" fmla="*/ 295858 w 1742473"/>
                    <a:gd name="connsiteY121" fmla="*/ 41157 h 306315"/>
                    <a:gd name="connsiteX122" fmla="*/ 295698 w 1742473"/>
                    <a:gd name="connsiteY122" fmla="*/ 41157 h 306315"/>
                    <a:gd name="connsiteX123" fmla="*/ 294417 w 1742473"/>
                    <a:gd name="connsiteY123" fmla="*/ 39231 h 306315"/>
                    <a:gd name="connsiteX124" fmla="*/ 289932 w 1742473"/>
                    <a:gd name="connsiteY124" fmla="*/ 37129 h 306315"/>
                    <a:gd name="connsiteX125" fmla="*/ 239154 w 1742473"/>
                    <a:gd name="connsiteY125" fmla="*/ 37129 h 306315"/>
                    <a:gd name="connsiteX126" fmla="*/ 237872 w 1742473"/>
                    <a:gd name="connsiteY126" fmla="*/ 35027 h 306315"/>
                    <a:gd name="connsiteX127" fmla="*/ 233387 w 1742473"/>
                    <a:gd name="connsiteY127" fmla="*/ 32926 h 306315"/>
                    <a:gd name="connsiteX128" fmla="*/ 230344 w 1742473"/>
                    <a:gd name="connsiteY128" fmla="*/ 32926 h 306315"/>
                    <a:gd name="connsiteX129" fmla="*/ 228902 w 1742473"/>
                    <a:gd name="connsiteY129" fmla="*/ 30649 h 306315"/>
                    <a:gd name="connsiteX130" fmla="*/ 224417 w 1742473"/>
                    <a:gd name="connsiteY130" fmla="*/ 28547 h 306315"/>
                    <a:gd name="connsiteX131" fmla="*/ 221533 w 1742473"/>
                    <a:gd name="connsiteY131" fmla="*/ 28547 h 306315"/>
                    <a:gd name="connsiteX132" fmla="*/ 220092 w 1742473"/>
                    <a:gd name="connsiteY132" fmla="*/ 25920 h 306315"/>
                    <a:gd name="connsiteX133" fmla="*/ 215607 w 1742473"/>
                    <a:gd name="connsiteY133" fmla="*/ 23819 h 306315"/>
                    <a:gd name="connsiteX134" fmla="*/ 200549 w 1742473"/>
                    <a:gd name="connsiteY134" fmla="*/ 23819 h 306315"/>
                    <a:gd name="connsiteX135" fmla="*/ 199268 w 1742473"/>
                    <a:gd name="connsiteY135" fmla="*/ 21717 h 306315"/>
                    <a:gd name="connsiteX136" fmla="*/ 197987 w 1742473"/>
                    <a:gd name="connsiteY136" fmla="*/ 20666 h 306315"/>
                    <a:gd name="connsiteX137" fmla="*/ 196385 w 1742473"/>
                    <a:gd name="connsiteY137" fmla="*/ 17514 h 306315"/>
                    <a:gd name="connsiteX138" fmla="*/ 191900 w 1742473"/>
                    <a:gd name="connsiteY138" fmla="*/ 15412 h 306315"/>
                    <a:gd name="connsiteX139" fmla="*/ 159062 w 1742473"/>
                    <a:gd name="connsiteY139" fmla="*/ 15412 h 306315"/>
                    <a:gd name="connsiteX140" fmla="*/ 157620 w 1742473"/>
                    <a:gd name="connsiteY140" fmla="*/ 13135 h 306315"/>
                    <a:gd name="connsiteX141" fmla="*/ 156179 w 1742473"/>
                    <a:gd name="connsiteY141" fmla="*/ 11909 h 306315"/>
                    <a:gd name="connsiteX142" fmla="*/ 154577 w 1742473"/>
                    <a:gd name="connsiteY142" fmla="*/ 8932 h 306315"/>
                    <a:gd name="connsiteX143" fmla="*/ 150092 w 1742473"/>
                    <a:gd name="connsiteY143" fmla="*/ 6830 h 306315"/>
                    <a:gd name="connsiteX144" fmla="*/ 84897 w 1742473"/>
                    <a:gd name="connsiteY144" fmla="*/ 6830 h 306315"/>
                    <a:gd name="connsiteX145" fmla="*/ 84897 w 1742473"/>
                    <a:gd name="connsiteY145" fmla="*/ 5780 h 306315"/>
                    <a:gd name="connsiteX146" fmla="*/ 82975 w 1742473"/>
                    <a:gd name="connsiteY146" fmla="*/ 876 h 306315"/>
                    <a:gd name="connsiteX147" fmla="*/ 82174 w 1742473"/>
                    <a:gd name="connsiteY147" fmla="*/ 0 h 306315"/>
                    <a:gd name="connsiteX148" fmla="*/ 152975 w 1742473"/>
                    <a:gd name="connsiteY148" fmla="*/ 0 h 306315"/>
                    <a:gd name="connsiteX149" fmla="*/ 152975 w 1742473"/>
                    <a:gd name="connsiteY149" fmla="*/ 525 h 306315"/>
                    <a:gd name="connsiteX150" fmla="*/ 191739 w 1742473"/>
                    <a:gd name="connsiteY150" fmla="*/ 525 h 306315"/>
                    <a:gd name="connsiteX151" fmla="*/ 191739 w 1742473"/>
                    <a:gd name="connsiteY151" fmla="*/ 3152 h 306315"/>
                    <a:gd name="connsiteX152" fmla="*/ 194623 w 1742473"/>
                    <a:gd name="connsiteY152" fmla="*/ 3152 h 306315"/>
                    <a:gd name="connsiteX153" fmla="*/ 194623 w 1742473"/>
                    <a:gd name="connsiteY153" fmla="*/ 5955 h 306315"/>
                    <a:gd name="connsiteX154" fmla="*/ 215446 w 1742473"/>
                    <a:gd name="connsiteY154" fmla="*/ 5955 h 306315"/>
                    <a:gd name="connsiteX155" fmla="*/ 215446 w 1742473"/>
                    <a:gd name="connsiteY155" fmla="*/ 8932 h 306315"/>
                    <a:gd name="connsiteX156" fmla="*/ 224417 w 1742473"/>
                    <a:gd name="connsiteY156" fmla="*/ 8932 h 306315"/>
                    <a:gd name="connsiteX157" fmla="*/ 224417 w 1742473"/>
                    <a:gd name="connsiteY157" fmla="*/ 12084 h 306315"/>
                    <a:gd name="connsiteX158" fmla="*/ 233387 w 1742473"/>
                    <a:gd name="connsiteY158" fmla="*/ 12084 h 306315"/>
                    <a:gd name="connsiteX159" fmla="*/ 233387 w 1742473"/>
                    <a:gd name="connsiteY159" fmla="*/ 15062 h 306315"/>
                    <a:gd name="connsiteX160" fmla="*/ 289932 w 1742473"/>
                    <a:gd name="connsiteY160" fmla="*/ 15062 h 306315"/>
                    <a:gd name="connsiteX161" fmla="*/ 289932 w 1742473"/>
                    <a:gd name="connsiteY161" fmla="*/ 18039 h 306315"/>
                    <a:gd name="connsiteX162" fmla="*/ 295858 w 1742473"/>
                    <a:gd name="connsiteY162" fmla="*/ 18039 h 306315"/>
                    <a:gd name="connsiteX163" fmla="*/ 295858 w 1742473"/>
                    <a:gd name="connsiteY163" fmla="*/ 21192 h 306315"/>
                    <a:gd name="connsiteX164" fmla="*/ 343433 w 1742473"/>
                    <a:gd name="connsiteY164" fmla="*/ 21192 h 306315"/>
                    <a:gd name="connsiteX165" fmla="*/ 343433 w 1742473"/>
                    <a:gd name="connsiteY165" fmla="*/ 24344 h 306315"/>
                    <a:gd name="connsiteX166" fmla="*/ 364257 w 1742473"/>
                    <a:gd name="connsiteY166" fmla="*/ 24344 h 306315"/>
                    <a:gd name="connsiteX167" fmla="*/ 364257 w 1742473"/>
                    <a:gd name="connsiteY167" fmla="*/ 27672 h 306315"/>
                    <a:gd name="connsiteX168" fmla="*/ 373227 w 1742473"/>
                    <a:gd name="connsiteY168" fmla="*/ 27672 h 306315"/>
                    <a:gd name="connsiteX169" fmla="*/ 373227 w 1742473"/>
                    <a:gd name="connsiteY169" fmla="*/ 30999 h 306315"/>
                    <a:gd name="connsiteX170" fmla="*/ 420801 w 1742473"/>
                    <a:gd name="connsiteY170" fmla="*/ 30999 h 306315"/>
                    <a:gd name="connsiteX171" fmla="*/ 420801 w 1742473"/>
                    <a:gd name="connsiteY171" fmla="*/ 34327 h 306315"/>
                    <a:gd name="connsiteX172" fmla="*/ 435698 w 1742473"/>
                    <a:gd name="connsiteY172" fmla="*/ 34327 h 306315"/>
                    <a:gd name="connsiteX173" fmla="*/ 435698 w 1742473"/>
                    <a:gd name="connsiteY173" fmla="*/ 37479 h 306315"/>
                    <a:gd name="connsiteX174" fmla="*/ 495287 w 1742473"/>
                    <a:gd name="connsiteY174" fmla="*/ 37479 h 306315"/>
                    <a:gd name="connsiteX175" fmla="*/ 495287 w 1742473"/>
                    <a:gd name="connsiteY175" fmla="*/ 40807 h 306315"/>
                    <a:gd name="connsiteX176" fmla="*/ 510184 w 1742473"/>
                    <a:gd name="connsiteY176" fmla="*/ 40807 h 306315"/>
                    <a:gd name="connsiteX177" fmla="*/ 510184 w 1742473"/>
                    <a:gd name="connsiteY177" fmla="*/ 44310 h 306315"/>
                    <a:gd name="connsiteX178" fmla="*/ 516111 w 1742473"/>
                    <a:gd name="connsiteY178" fmla="*/ 44310 h 306315"/>
                    <a:gd name="connsiteX179" fmla="*/ 516111 w 1742473"/>
                    <a:gd name="connsiteY179" fmla="*/ 47637 h 306315"/>
                    <a:gd name="connsiteX180" fmla="*/ 519154 w 1742473"/>
                    <a:gd name="connsiteY180" fmla="*/ 47637 h 306315"/>
                    <a:gd name="connsiteX181" fmla="*/ 519154 w 1742473"/>
                    <a:gd name="connsiteY181" fmla="*/ 51315 h 306315"/>
                    <a:gd name="connsiteX182" fmla="*/ 617506 w 1742473"/>
                    <a:gd name="connsiteY182" fmla="*/ 51315 h 306315"/>
                    <a:gd name="connsiteX183" fmla="*/ 617506 w 1742473"/>
                    <a:gd name="connsiteY183" fmla="*/ 55694 h 306315"/>
                    <a:gd name="connsiteX184" fmla="*/ 623433 w 1742473"/>
                    <a:gd name="connsiteY184" fmla="*/ 55694 h 306315"/>
                    <a:gd name="connsiteX185" fmla="*/ 623433 w 1742473"/>
                    <a:gd name="connsiteY185" fmla="*/ 59021 h 306315"/>
                    <a:gd name="connsiteX186" fmla="*/ 641214 w 1742473"/>
                    <a:gd name="connsiteY186" fmla="*/ 59021 h 306315"/>
                    <a:gd name="connsiteX187" fmla="*/ 641214 w 1742473"/>
                    <a:gd name="connsiteY187" fmla="*/ 62349 h 306315"/>
                    <a:gd name="connsiteX188" fmla="*/ 672129 w 1742473"/>
                    <a:gd name="connsiteY188" fmla="*/ 62349 h 306315"/>
                    <a:gd name="connsiteX189" fmla="*/ 686065 w 1742473"/>
                    <a:gd name="connsiteY189" fmla="*/ 65676 h 306315"/>
                    <a:gd name="connsiteX190" fmla="*/ 733639 w 1742473"/>
                    <a:gd name="connsiteY190" fmla="*/ 65676 h 306315"/>
                    <a:gd name="connsiteX191" fmla="*/ 781374 w 1742473"/>
                    <a:gd name="connsiteY191" fmla="*/ 65852 h 306315"/>
                    <a:gd name="connsiteX192" fmla="*/ 781374 w 1742473"/>
                    <a:gd name="connsiteY192" fmla="*/ 69179 h 306315"/>
                    <a:gd name="connsiteX193" fmla="*/ 796271 w 1742473"/>
                    <a:gd name="connsiteY193" fmla="*/ 69179 h 306315"/>
                    <a:gd name="connsiteX194" fmla="*/ 796271 w 1742473"/>
                    <a:gd name="connsiteY194" fmla="*/ 82490 h 306315"/>
                    <a:gd name="connsiteX195" fmla="*/ 864829 w 1742473"/>
                    <a:gd name="connsiteY195" fmla="*/ 82490 h 306315"/>
                    <a:gd name="connsiteX196" fmla="*/ 864829 w 1742473"/>
                    <a:gd name="connsiteY196" fmla="*/ 84066 h 306315"/>
                    <a:gd name="connsiteX197" fmla="*/ 891740 w 1742473"/>
                    <a:gd name="connsiteY197" fmla="*/ 84066 h 306315"/>
                    <a:gd name="connsiteX198" fmla="*/ 891740 w 1742473"/>
                    <a:gd name="connsiteY198" fmla="*/ 87569 h 306315"/>
                    <a:gd name="connsiteX199" fmla="*/ 897667 w 1742473"/>
                    <a:gd name="connsiteY199" fmla="*/ 87569 h 306315"/>
                    <a:gd name="connsiteX200" fmla="*/ 897667 w 1742473"/>
                    <a:gd name="connsiteY200" fmla="*/ 91071 h 306315"/>
                    <a:gd name="connsiteX201" fmla="*/ 903594 w 1742473"/>
                    <a:gd name="connsiteY201" fmla="*/ 91071 h 306315"/>
                    <a:gd name="connsiteX202" fmla="*/ 903594 w 1742473"/>
                    <a:gd name="connsiteY202" fmla="*/ 94749 h 306315"/>
                    <a:gd name="connsiteX203" fmla="*/ 924418 w 1742473"/>
                    <a:gd name="connsiteY203" fmla="*/ 94749 h 306315"/>
                    <a:gd name="connsiteX204" fmla="*/ 924418 w 1742473"/>
                    <a:gd name="connsiteY204" fmla="*/ 98252 h 306315"/>
                    <a:gd name="connsiteX205" fmla="*/ 984006 w 1742473"/>
                    <a:gd name="connsiteY205" fmla="*/ 98252 h 306315"/>
                    <a:gd name="connsiteX206" fmla="*/ 984006 w 1742473"/>
                    <a:gd name="connsiteY206" fmla="*/ 101930 h 306315"/>
                    <a:gd name="connsiteX207" fmla="*/ 1004830 w 1742473"/>
                    <a:gd name="connsiteY207" fmla="*/ 101930 h 306315"/>
                    <a:gd name="connsiteX208" fmla="*/ 1004830 w 1742473"/>
                    <a:gd name="connsiteY208" fmla="*/ 105783 h 306315"/>
                    <a:gd name="connsiteX209" fmla="*/ 1031580 w 1742473"/>
                    <a:gd name="connsiteY209" fmla="*/ 105783 h 306315"/>
                    <a:gd name="connsiteX210" fmla="*/ 1031580 w 1742473"/>
                    <a:gd name="connsiteY210" fmla="*/ 109986 h 306315"/>
                    <a:gd name="connsiteX211" fmla="*/ 1034624 w 1742473"/>
                    <a:gd name="connsiteY211" fmla="*/ 109986 h 306315"/>
                    <a:gd name="connsiteX212" fmla="*/ 1034624 w 1742473"/>
                    <a:gd name="connsiteY212" fmla="*/ 113664 h 306315"/>
                    <a:gd name="connsiteX213" fmla="*/ 1103182 w 1742473"/>
                    <a:gd name="connsiteY213" fmla="*/ 113664 h 306315"/>
                    <a:gd name="connsiteX214" fmla="*/ 1103182 w 1742473"/>
                    <a:gd name="connsiteY214" fmla="*/ 117342 h 306315"/>
                    <a:gd name="connsiteX215" fmla="*/ 1109109 w 1742473"/>
                    <a:gd name="connsiteY215" fmla="*/ 117342 h 306315"/>
                    <a:gd name="connsiteX216" fmla="*/ 1109109 w 1742473"/>
                    <a:gd name="connsiteY216" fmla="*/ 121020 h 306315"/>
                    <a:gd name="connsiteX217" fmla="*/ 1115036 w 1742473"/>
                    <a:gd name="connsiteY217" fmla="*/ 121020 h 306315"/>
                    <a:gd name="connsiteX218" fmla="*/ 1115036 w 1742473"/>
                    <a:gd name="connsiteY218" fmla="*/ 125223 h 306315"/>
                    <a:gd name="connsiteX219" fmla="*/ 1222359 w 1742473"/>
                    <a:gd name="connsiteY219" fmla="*/ 125223 h 306315"/>
                    <a:gd name="connsiteX220" fmla="*/ 1222359 w 1742473"/>
                    <a:gd name="connsiteY220" fmla="*/ 129076 h 306315"/>
                    <a:gd name="connsiteX221" fmla="*/ 1240139 w 1742473"/>
                    <a:gd name="connsiteY221" fmla="*/ 129076 h 306315"/>
                    <a:gd name="connsiteX222" fmla="*/ 1240139 w 1742473"/>
                    <a:gd name="connsiteY222" fmla="*/ 133104 h 306315"/>
                    <a:gd name="connsiteX223" fmla="*/ 1264006 w 1742473"/>
                    <a:gd name="connsiteY223" fmla="*/ 133104 h 306315"/>
                    <a:gd name="connsiteX224" fmla="*/ 1264006 w 1742473"/>
                    <a:gd name="connsiteY224" fmla="*/ 137132 h 306315"/>
                    <a:gd name="connsiteX225" fmla="*/ 1332565 w 1742473"/>
                    <a:gd name="connsiteY225" fmla="*/ 137132 h 306315"/>
                    <a:gd name="connsiteX226" fmla="*/ 1332565 w 1742473"/>
                    <a:gd name="connsiteY226" fmla="*/ 141161 h 306315"/>
                    <a:gd name="connsiteX227" fmla="*/ 1362359 w 1742473"/>
                    <a:gd name="connsiteY227" fmla="*/ 141161 h 306315"/>
                    <a:gd name="connsiteX228" fmla="*/ 1362359 w 1742473"/>
                    <a:gd name="connsiteY228" fmla="*/ 145189 h 306315"/>
                    <a:gd name="connsiteX229" fmla="*/ 1386226 w 1742473"/>
                    <a:gd name="connsiteY229" fmla="*/ 145189 h 306315"/>
                    <a:gd name="connsiteX230" fmla="*/ 1386226 w 1742473"/>
                    <a:gd name="connsiteY230" fmla="*/ 149567 h 306315"/>
                    <a:gd name="connsiteX231" fmla="*/ 1395196 w 1742473"/>
                    <a:gd name="connsiteY231" fmla="*/ 149567 h 306315"/>
                    <a:gd name="connsiteX232" fmla="*/ 1395196 w 1742473"/>
                    <a:gd name="connsiteY232" fmla="*/ 153595 h 306315"/>
                    <a:gd name="connsiteX233" fmla="*/ 1410093 w 1742473"/>
                    <a:gd name="connsiteY233" fmla="*/ 153595 h 306315"/>
                    <a:gd name="connsiteX234" fmla="*/ 1410093 w 1742473"/>
                    <a:gd name="connsiteY234" fmla="*/ 157273 h 306315"/>
                    <a:gd name="connsiteX235" fmla="*/ 1413137 w 1742473"/>
                    <a:gd name="connsiteY235" fmla="*/ 157273 h 306315"/>
                    <a:gd name="connsiteX236" fmla="*/ 1413137 w 1742473"/>
                    <a:gd name="connsiteY236" fmla="*/ 160075 h 306315"/>
                    <a:gd name="connsiteX237" fmla="*/ 1433961 w 1742473"/>
                    <a:gd name="connsiteY237" fmla="*/ 160075 h 306315"/>
                    <a:gd name="connsiteX238" fmla="*/ 1433961 w 1742473"/>
                    <a:gd name="connsiteY238" fmla="*/ 161827 h 306315"/>
                    <a:gd name="connsiteX239" fmla="*/ 1502519 w 1742473"/>
                    <a:gd name="connsiteY239" fmla="*/ 161827 h 306315"/>
                    <a:gd name="connsiteX240" fmla="*/ 1502519 w 1742473"/>
                    <a:gd name="connsiteY240" fmla="*/ 190549 h 306315"/>
                    <a:gd name="connsiteX241" fmla="*/ 1541283 w 1742473"/>
                    <a:gd name="connsiteY241" fmla="*/ 190549 h 306315"/>
                    <a:gd name="connsiteX242" fmla="*/ 1541283 w 1742473"/>
                    <a:gd name="connsiteY242" fmla="*/ 215069 h 306315"/>
                    <a:gd name="connsiteX243" fmla="*/ 1742474 w 1742473"/>
                    <a:gd name="connsiteY243" fmla="*/ 303338 h 306315"/>
                    <a:gd name="connsiteX244" fmla="*/ 1709796 w 1742473"/>
                    <a:gd name="connsiteY244" fmla="*/ 303338 h 306315"/>
                    <a:gd name="connsiteX245" fmla="*/ 1709796 w 1742473"/>
                    <a:gd name="connsiteY245" fmla="*/ 298609 h 306315"/>
                    <a:gd name="connsiteX246" fmla="*/ 1676959 w 1742473"/>
                    <a:gd name="connsiteY246" fmla="*/ 298609 h 306315"/>
                    <a:gd name="connsiteX247" fmla="*/ 1676959 w 1742473"/>
                    <a:gd name="connsiteY247" fmla="*/ 293530 h 306315"/>
                    <a:gd name="connsiteX248" fmla="*/ 1662062 w 1742473"/>
                    <a:gd name="connsiteY248" fmla="*/ 293530 h 306315"/>
                    <a:gd name="connsiteX249" fmla="*/ 1662062 w 1742473"/>
                    <a:gd name="connsiteY249" fmla="*/ 288101 h 306315"/>
                    <a:gd name="connsiteX250" fmla="*/ 1584533 w 1742473"/>
                    <a:gd name="connsiteY250" fmla="*/ 288101 h 306315"/>
                    <a:gd name="connsiteX251" fmla="*/ 1584533 w 1742473"/>
                    <a:gd name="connsiteY251" fmla="*/ 283372 h 306315"/>
                    <a:gd name="connsiteX252" fmla="*/ 1432679 w 1742473"/>
                    <a:gd name="connsiteY252" fmla="*/ 283372 h 306315"/>
                    <a:gd name="connsiteX253" fmla="*/ 1432679 w 1742473"/>
                    <a:gd name="connsiteY253" fmla="*/ 277593 h 306315"/>
                    <a:gd name="connsiteX254" fmla="*/ 1408812 w 1742473"/>
                    <a:gd name="connsiteY254" fmla="*/ 277593 h 306315"/>
                    <a:gd name="connsiteX255" fmla="*/ 1408812 w 1742473"/>
                    <a:gd name="connsiteY255" fmla="*/ 272864 h 306315"/>
                    <a:gd name="connsiteX256" fmla="*/ 1393915 w 1742473"/>
                    <a:gd name="connsiteY256" fmla="*/ 272864 h 306315"/>
                    <a:gd name="connsiteX257" fmla="*/ 1393915 w 1742473"/>
                    <a:gd name="connsiteY257" fmla="*/ 267785 h 306315"/>
                    <a:gd name="connsiteX258" fmla="*/ 1384945 w 1742473"/>
                    <a:gd name="connsiteY258" fmla="*/ 267785 h 306315"/>
                    <a:gd name="connsiteX259" fmla="*/ 1384945 w 1742473"/>
                    <a:gd name="connsiteY259" fmla="*/ 262005 h 306315"/>
                    <a:gd name="connsiteX260" fmla="*/ 1361077 w 1742473"/>
                    <a:gd name="connsiteY260" fmla="*/ 262005 h 306315"/>
                    <a:gd name="connsiteX261" fmla="*/ 1361077 w 1742473"/>
                    <a:gd name="connsiteY261" fmla="*/ 256926 h 306315"/>
                    <a:gd name="connsiteX262" fmla="*/ 1331283 w 1742473"/>
                    <a:gd name="connsiteY262" fmla="*/ 256926 h 306315"/>
                    <a:gd name="connsiteX263" fmla="*/ 1331283 w 1742473"/>
                    <a:gd name="connsiteY263" fmla="*/ 251672 h 306315"/>
                    <a:gd name="connsiteX264" fmla="*/ 1262725 w 1742473"/>
                    <a:gd name="connsiteY264" fmla="*/ 251672 h 306315"/>
                    <a:gd name="connsiteX265" fmla="*/ 1262725 w 1742473"/>
                    <a:gd name="connsiteY265" fmla="*/ 246243 h 306315"/>
                    <a:gd name="connsiteX266" fmla="*/ 1238857 w 1742473"/>
                    <a:gd name="connsiteY266" fmla="*/ 246243 h 306315"/>
                    <a:gd name="connsiteX267" fmla="*/ 1238857 w 1742473"/>
                    <a:gd name="connsiteY267" fmla="*/ 240814 h 306315"/>
                    <a:gd name="connsiteX268" fmla="*/ 1221077 w 1742473"/>
                    <a:gd name="connsiteY268" fmla="*/ 240814 h 306315"/>
                    <a:gd name="connsiteX269" fmla="*/ 1221077 w 1742473"/>
                    <a:gd name="connsiteY269" fmla="*/ 235735 h 306315"/>
                    <a:gd name="connsiteX270" fmla="*/ 1113754 w 1742473"/>
                    <a:gd name="connsiteY270" fmla="*/ 235735 h 306315"/>
                    <a:gd name="connsiteX271" fmla="*/ 1113754 w 1742473"/>
                    <a:gd name="connsiteY271" fmla="*/ 230130 h 306315"/>
                    <a:gd name="connsiteX272" fmla="*/ 1107827 w 1742473"/>
                    <a:gd name="connsiteY272" fmla="*/ 230130 h 306315"/>
                    <a:gd name="connsiteX273" fmla="*/ 1107827 w 1742473"/>
                    <a:gd name="connsiteY273" fmla="*/ 225227 h 306315"/>
                    <a:gd name="connsiteX274" fmla="*/ 1101901 w 1742473"/>
                    <a:gd name="connsiteY274" fmla="*/ 225227 h 306315"/>
                    <a:gd name="connsiteX275" fmla="*/ 1101901 w 1742473"/>
                    <a:gd name="connsiteY275" fmla="*/ 220323 h 306315"/>
                    <a:gd name="connsiteX276" fmla="*/ 1033342 w 1742473"/>
                    <a:gd name="connsiteY276" fmla="*/ 220323 h 306315"/>
                    <a:gd name="connsiteX277" fmla="*/ 1033342 w 1742473"/>
                    <a:gd name="connsiteY277" fmla="*/ 215594 h 306315"/>
                    <a:gd name="connsiteX278" fmla="*/ 1030299 w 1742473"/>
                    <a:gd name="connsiteY278" fmla="*/ 215594 h 306315"/>
                    <a:gd name="connsiteX279" fmla="*/ 1030299 w 1742473"/>
                    <a:gd name="connsiteY279" fmla="*/ 209814 h 306315"/>
                    <a:gd name="connsiteX280" fmla="*/ 1003548 w 1742473"/>
                    <a:gd name="connsiteY280" fmla="*/ 209814 h 306315"/>
                    <a:gd name="connsiteX281" fmla="*/ 1003548 w 1742473"/>
                    <a:gd name="connsiteY281" fmla="*/ 204735 h 306315"/>
                    <a:gd name="connsiteX282" fmla="*/ 982724 w 1742473"/>
                    <a:gd name="connsiteY282" fmla="*/ 204735 h 306315"/>
                    <a:gd name="connsiteX283" fmla="*/ 982724 w 1742473"/>
                    <a:gd name="connsiteY283" fmla="*/ 199656 h 306315"/>
                    <a:gd name="connsiteX284" fmla="*/ 923136 w 1742473"/>
                    <a:gd name="connsiteY284" fmla="*/ 199656 h 306315"/>
                    <a:gd name="connsiteX285" fmla="*/ 923136 w 1742473"/>
                    <a:gd name="connsiteY285" fmla="*/ 195103 h 306315"/>
                    <a:gd name="connsiteX286" fmla="*/ 902312 w 1742473"/>
                    <a:gd name="connsiteY286" fmla="*/ 195103 h 306315"/>
                    <a:gd name="connsiteX287" fmla="*/ 902312 w 1742473"/>
                    <a:gd name="connsiteY287" fmla="*/ 190024 h 306315"/>
                    <a:gd name="connsiteX288" fmla="*/ 896386 w 1742473"/>
                    <a:gd name="connsiteY288" fmla="*/ 190024 h 306315"/>
                    <a:gd name="connsiteX289" fmla="*/ 896386 w 1742473"/>
                    <a:gd name="connsiteY289" fmla="*/ 185295 h 306315"/>
                    <a:gd name="connsiteX290" fmla="*/ 890459 w 1742473"/>
                    <a:gd name="connsiteY290" fmla="*/ 185295 h 306315"/>
                    <a:gd name="connsiteX291" fmla="*/ 890459 w 1742473"/>
                    <a:gd name="connsiteY291" fmla="*/ 180391 h 306315"/>
                    <a:gd name="connsiteX292" fmla="*/ 863548 w 1742473"/>
                    <a:gd name="connsiteY292" fmla="*/ 180391 h 306315"/>
                    <a:gd name="connsiteX293" fmla="*/ 863548 w 1742473"/>
                    <a:gd name="connsiteY293" fmla="*/ 175312 h 306315"/>
                    <a:gd name="connsiteX294" fmla="*/ 854578 w 1742473"/>
                    <a:gd name="connsiteY294" fmla="*/ 175312 h 306315"/>
                    <a:gd name="connsiteX295" fmla="*/ 854578 w 1742473"/>
                    <a:gd name="connsiteY295" fmla="*/ 164279 h 306315"/>
                    <a:gd name="connsiteX296" fmla="*/ 839681 w 1742473"/>
                    <a:gd name="connsiteY296" fmla="*/ 164279 h 306315"/>
                    <a:gd name="connsiteX297" fmla="*/ 839681 w 1742473"/>
                    <a:gd name="connsiteY297" fmla="*/ 159375 h 306315"/>
                    <a:gd name="connsiteX298" fmla="*/ 780093 w 1742473"/>
                    <a:gd name="connsiteY298" fmla="*/ 159375 h 306315"/>
                    <a:gd name="connsiteX299" fmla="*/ 780093 w 1742473"/>
                    <a:gd name="connsiteY299" fmla="*/ 154646 h 306315"/>
                    <a:gd name="connsiteX300" fmla="*/ 732358 w 1742473"/>
                    <a:gd name="connsiteY300" fmla="*/ 154646 h 306315"/>
                    <a:gd name="connsiteX301" fmla="*/ 732358 w 1742473"/>
                    <a:gd name="connsiteY301" fmla="*/ 149918 h 306315"/>
                    <a:gd name="connsiteX302" fmla="*/ 639932 w 1742473"/>
                    <a:gd name="connsiteY302" fmla="*/ 149918 h 306315"/>
                    <a:gd name="connsiteX303" fmla="*/ 639932 w 1742473"/>
                    <a:gd name="connsiteY303" fmla="*/ 145189 h 306315"/>
                    <a:gd name="connsiteX304" fmla="*/ 622152 w 1742473"/>
                    <a:gd name="connsiteY304" fmla="*/ 145189 h 306315"/>
                    <a:gd name="connsiteX305" fmla="*/ 622152 w 1742473"/>
                    <a:gd name="connsiteY305" fmla="*/ 140285 h 306315"/>
                    <a:gd name="connsiteX306" fmla="*/ 616225 w 1742473"/>
                    <a:gd name="connsiteY306" fmla="*/ 140285 h 306315"/>
                    <a:gd name="connsiteX307" fmla="*/ 616225 w 1742473"/>
                    <a:gd name="connsiteY307" fmla="*/ 132929 h 306315"/>
                    <a:gd name="connsiteX308" fmla="*/ 517872 w 1742473"/>
                    <a:gd name="connsiteY308" fmla="*/ 132929 h 306315"/>
                    <a:gd name="connsiteX309" fmla="*/ 517872 w 1742473"/>
                    <a:gd name="connsiteY309" fmla="*/ 127500 h 306315"/>
                    <a:gd name="connsiteX310" fmla="*/ 514829 w 1742473"/>
                    <a:gd name="connsiteY310" fmla="*/ 127500 h 306315"/>
                    <a:gd name="connsiteX311" fmla="*/ 514829 w 1742473"/>
                    <a:gd name="connsiteY311" fmla="*/ 122596 h 306315"/>
                    <a:gd name="connsiteX312" fmla="*/ 508902 w 1742473"/>
                    <a:gd name="connsiteY312" fmla="*/ 122596 h 306315"/>
                    <a:gd name="connsiteX313" fmla="*/ 508902 w 1742473"/>
                    <a:gd name="connsiteY313" fmla="*/ 116992 h 306315"/>
                    <a:gd name="connsiteX314" fmla="*/ 494005 w 1742473"/>
                    <a:gd name="connsiteY314" fmla="*/ 116992 h 306315"/>
                    <a:gd name="connsiteX315" fmla="*/ 494005 w 1742473"/>
                    <a:gd name="connsiteY315" fmla="*/ 111913 h 306315"/>
                    <a:gd name="connsiteX316" fmla="*/ 434417 w 1742473"/>
                    <a:gd name="connsiteY316" fmla="*/ 111913 h 306315"/>
                    <a:gd name="connsiteX317" fmla="*/ 434417 w 1742473"/>
                    <a:gd name="connsiteY317" fmla="*/ 107009 h 306315"/>
                    <a:gd name="connsiteX318" fmla="*/ 419520 w 1742473"/>
                    <a:gd name="connsiteY318" fmla="*/ 107009 h 306315"/>
                    <a:gd name="connsiteX319" fmla="*/ 419520 w 1742473"/>
                    <a:gd name="connsiteY319" fmla="*/ 102105 h 306315"/>
                    <a:gd name="connsiteX320" fmla="*/ 371946 w 1742473"/>
                    <a:gd name="connsiteY320" fmla="*/ 102105 h 306315"/>
                    <a:gd name="connsiteX321" fmla="*/ 371946 w 1742473"/>
                    <a:gd name="connsiteY321" fmla="*/ 96501 h 306315"/>
                    <a:gd name="connsiteX322" fmla="*/ 362975 w 1742473"/>
                    <a:gd name="connsiteY322" fmla="*/ 96501 h 306315"/>
                    <a:gd name="connsiteX323" fmla="*/ 362975 w 1742473"/>
                    <a:gd name="connsiteY323" fmla="*/ 90896 h 306315"/>
                    <a:gd name="connsiteX324" fmla="*/ 342151 w 1742473"/>
                    <a:gd name="connsiteY324" fmla="*/ 90896 h 306315"/>
                    <a:gd name="connsiteX325" fmla="*/ 342151 w 1742473"/>
                    <a:gd name="connsiteY325" fmla="*/ 85467 h 306315"/>
                    <a:gd name="connsiteX326" fmla="*/ 294577 w 1742473"/>
                    <a:gd name="connsiteY326" fmla="*/ 85467 h 306315"/>
                    <a:gd name="connsiteX327" fmla="*/ 294577 w 1742473"/>
                    <a:gd name="connsiteY327" fmla="*/ 79863 h 306315"/>
                    <a:gd name="connsiteX328" fmla="*/ 288650 w 1742473"/>
                    <a:gd name="connsiteY328" fmla="*/ 79863 h 306315"/>
                    <a:gd name="connsiteX329" fmla="*/ 288650 w 1742473"/>
                    <a:gd name="connsiteY329" fmla="*/ 74784 h 306315"/>
                    <a:gd name="connsiteX330" fmla="*/ 232106 w 1742473"/>
                    <a:gd name="connsiteY330" fmla="*/ 74784 h 306315"/>
                    <a:gd name="connsiteX331" fmla="*/ 232106 w 1742473"/>
                    <a:gd name="connsiteY331" fmla="*/ 69530 h 306315"/>
                    <a:gd name="connsiteX332" fmla="*/ 223135 w 1742473"/>
                    <a:gd name="connsiteY332" fmla="*/ 69530 h 306315"/>
                    <a:gd name="connsiteX333" fmla="*/ 223135 w 1742473"/>
                    <a:gd name="connsiteY333" fmla="*/ 63925 h 306315"/>
                    <a:gd name="connsiteX334" fmla="*/ 214165 w 1742473"/>
                    <a:gd name="connsiteY334" fmla="*/ 63925 h 306315"/>
                    <a:gd name="connsiteX335" fmla="*/ 214165 w 1742473"/>
                    <a:gd name="connsiteY335" fmla="*/ 57620 h 306315"/>
                    <a:gd name="connsiteX336" fmla="*/ 193341 w 1742473"/>
                    <a:gd name="connsiteY336" fmla="*/ 57620 h 306315"/>
                    <a:gd name="connsiteX337" fmla="*/ 193341 w 1742473"/>
                    <a:gd name="connsiteY337" fmla="*/ 52016 h 306315"/>
                    <a:gd name="connsiteX338" fmla="*/ 190458 w 1742473"/>
                    <a:gd name="connsiteY338" fmla="*/ 52016 h 306315"/>
                    <a:gd name="connsiteX339" fmla="*/ 190458 w 1742473"/>
                    <a:gd name="connsiteY339" fmla="*/ 46236 h 306315"/>
                    <a:gd name="connsiteX340" fmla="*/ 151694 w 1742473"/>
                    <a:gd name="connsiteY340" fmla="*/ 46236 h 306315"/>
                    <a:gd name="connsiteX341" fmla="*/ 151694 w 1742473"/>
                    <a:gd name="connsiteY341" fmla="*/ 40106 h 306315"/>
                    <a:gd name="connsiteX342" fmla="*/ 148650 w 1742473"/>
                    <a:gd name="connsiteY342" fmla="*/ 40106 h 306315"/>
                    <a:gd name="connsiteX343" fmla="*/ 148650 w 1742473"/>
                    <a:gd name="connsiteY343" fmla="*/ 34327 h 306315"/>
                    <a:gd name="connsiteX344" fmla="*/ 77208 w 1742473"/>
                    <a:gd name="connsiteY344" fmla="*/ 34327 h 306315"/>
                    <a:gd name="connsiteX345" fmla="*/ 77208 w 1742473"/>
                    <a:gd name="connsiteY345" fmla="*/ 23293 h 306315"/>
                    <a:gd name="connsiteX346" fmla="*/ 142883 w 1742473"/>
                    <a:gd name="connsiteY346" fmla="*/ 23293 h 306315"/>
                    <a:gd name="connsiteX347" fmla="*/ 144165 w 1742473"/>
                    <a:gd name="connsiteY347" fmla="*/ 25395 h 306315"/>
                    <a:gd name="connsiteX348" fmla="*/ 145446 w 1742473"/>
                    <a:gd name="connsiteY348" fmla="*/ 26446 h 306315"/>
                    <a:gd name="connsiteX349" fmla="*/ 147208 w 1742473"/>
                    <a:gd name="connsiteY349" fmla="*/ 29773 h 306315"/>
                    <a:gd name="connsiteX350" fmla="*/ 151694 w 1742473"/>
                    <a:gd name="connsiteY350" fmla="*/ 31875 h 306315"/>
                    <a:gd name="connsiteX351" fmla="*/ 184531 w 1742473"/>
                    <a:gd name="connsiteY351" fmla="*/ 31875 h 306315"/>
                    <a:gd name="connsiteX352" fmla="*/ 185813 w 1742473"/>
                    <a:gd name="connsiteY352" fmla="*/ 34152 h 306315"/>
                    <a:gd name="connsiteX353" fmla="*/ 187094 w 1742473"/>
                    <a:gd name="connsiteY353" fmla="*/ 35203 h 306315"/>
                    <a:gd name="connsiteX354" fmla="*/ 188696 w 1742473"/>
                    <a:gd name="connsiteY354" fmla="*/ 38355 h 306315"/>
                    <a:gd name="connsiteX355" fmla="*/ 193181 w 1742473"/>
                    <a:gd name="connsiteY355" fmla="*/ 40457 h 306315"/>
                    <a:gd name="connsiteX356" fmla="*/ 208078 w 1742473"/>
                    <a:gd name="connsiteY356" fmla="*/ 40457 h 306315"/>
                    <a:gd name="connsiteX357" fmla="*/ 209680 w 1742473"/>
                    <a:gd name="connsiteY357" fmla="*/ 43084 h 306315"/>
                    <a:gd name="connsiteX358" fmla="*/ 214165 w 1742473"/>
                    <a:gd name="connsiteY358" fmla="*/ 45185 h 306315"/>
                    <a:gd name="connsiteX359" fmla="*/ 217209 w 1742473"/>
                    <a:gd name="connsiteY359" fmla="*/ 45185 h 306315"/>
                    <a:gd name="connsiteX360" fmla="*/ 218650 w 1742473"/>
                    <a:gd name="connsiteY360" fmla="*/ 47462 h 306315"/>
                    <a:gd name="connsiteX361" fmla="*/ 223135 w 1742473"/>
                    <a:gd name="connsiteY361" fmla="*/ 49564 h 306315"/>
                    <a:gd name="connsiteX362" fmla="*/ 226339 w 1742473"/>
                    <a:gd name="connsiteY362" fmla="*/ 49564 h 306315"/>
                    <a:gd name="connsiteX363" fmla="*/ 227620 w 1742473"/>
                    <a:gd name="connsiteY363" fmla="*/ 51665 h 306315"/>
                    <a:gd name="connsiteX364" fmla="*/ 232106 w 1742473"/>
                    <a:gd name="connsiteY364" fmla="*/ 53767 h 306315"/>
                    <a:gd name="connsiteX365" fmla="*/ 282884 w 1742473"/>
                    <a:gd name="connsiteY365" fmla="*/ 53767 h 306315"/>
                    <a:gd name="connsiteX366" fmla="*/ 284165 w 1742473"/>
                    <a:gd name="connsiteY366" fmla="*/ 55694 h 306315"/>
                    <a:gd name="connsiteX367" fmla="*/ 288650 w 1742473"/>
                    <a:gd name="connsiteY367" fmla="*/ 57795 h 306315"/>
                    <a:gd name="connsiteX368" fmla="*/ 288650 w 1742473"/>
                    <a:gd name="connsiteY368" fmla="*/ 57795 h 306315"/>
                    <a:gd name="connsiteX369" fmla="*/ 290092 w 1742473"/>
                    <a:gd name="connsiteY369" fmla="*/ 60247 h 306315"/>
                    <a:gd name="connsiteX370" fmla="*/ 294577 w 1742473"/>
                    <a:gd name="connsiteY370" fmla="*/ 62349 h 306315"/>
                    <a:gd name="connsiteX371" fmla="*/ 336385 w 1742473"/>
                    <a:gd name="connsiteY371" fmla="*/ 62349 h 306315"/>
                    <a:gd name="connsiteX372" fmla="*/ 337827 w 1742473"/>
                    <a:gd name="connsiteY372" fmla="*/ 64626 h 306315"/>
                    <a:gd name="connsiteX373" fmla="*/ 342312 w 1742473"/>
                    <a:gd name="connsiteY373" fmla="*/ 66727 h 306315"/>
                    <a:gd name="connsiteX374" fmla="*/ 357209 w 1742473"/>
                    <a:gd name="connsiteY374" fmla="*/ 66727 h 306315"/>
                    <a:gd name="connsiteX375" fmla="*/ 358650 w 1742473"/>
                    <a:gd name="connsiteY375" fmla="*/ 69179 h 306315"/>
                    <a:gd name="connsiteX376" fmla="*/ 363135 w 1742473"/>
                    <a:gd name="connsiteY376" fmla="*/ 71281 h 306315"/>
                    <a:gd name="connsiteX377" fmla="*/ 366179 w 1742473"/>
                    <a:gd name="connsiteY377" fmla="*/ 71281 h 306315"/>
                    <a:gd name="connsiteX378" fmla="*/ 367621 w 1742473"/>
                    <a:gd name="connsiteY378" fmla="*/ 73733 h 306315"/>
                    <a:gd name="connsiteX379" fmla="*/ 372106 w 1742473"/>
                    <a:gd name="connsiteY379" fmla="*/ 75834 h 306315"/>
                    <a:gd name="connsiteX380" fmla="*/ 413914 w 1742473"/>
                    <a:gd name="connsiteY380" fmla="*/ 75834 h 306315"/>
                    <a:gd name="connsiteX381" fmla="*/ 415195 w 1742473"/>
                    <a:gd name="connsiteY381" fmla="*/ 77936 h 306315"/>
                    <a:gd name="connsiteX382" fmla="*/ 419680 w 1742473"/>
                    <a:gd name="connsiteY382" fmla="*/ 80038 h 306315"/>
                    <a:gd name="connsiteX383" fmla="*/ 428811 w 1742473"/>
                    <a:gd name="connsiteY383" fmla="*/ 80038 h 306315"/>
                    <a:gd name="connsiteX384" fmla="*/ 430092 w 1742473"/>
                    <a:gd name="connsiteY384" fmla="*/ 82139 h 306315"/>
                    <a:gd name="connsiteX385" fmla="*/ 434577 w 1742473"/>
                    <a:gd name="connsiteY385" fmla="*/ 84241 h 306315"/>
                    <a:gd name="connsiteX386" fmla="*/ 488399 w 1742473"/>
                    <a:gd name="connsiteY386" fmla="*/ 84241 h 306315"/>
                    <a:gd name="connsiteX387" fmla="*/ 489680 w 1742473"/>
                    <a:gd name="connsiteY387" fmla="*/ 86343 h 306315"/>
                    <a:gd name="connsiteX388" fmla="*/ 494165 w 1742473"/>
                    <a:gd name="connsiteY388" fmla="*/ 88444 h 306315"/>
                    <a:gd name="connsiteX389" fmla="*/ 503136 w 1742473"/>
                    <a:gd name="connsiteY389" fmla="*/ 88444 h 306315"/>
                    <a:gd name="connsiteX390" fmla="*/ 504577 w 1742473"/>
                    <a:gd name="connsiteY390" fmla="*/ 91071 h 306315"/>
                    <a:gd name="connsiteX391" fmla="*/ 509062 w 1742473"/>
                    <a:gd name="connsiteY391" fmla="*/ 93173 h 306315"/>
                    <a:gd name="connsiteX392" fmla="*/ 509062 w 1742473"/>
                    <a:gd name="connsiteY392" fmla="*/ 93173 h 306315"/>
                    <a:gd name="connsiteX393" fmla="*/ 510344 w 1742473"/>
                    <a:gd name="connsiteY393" fmla="*/ 95275 h 306315"/>
                    <a:gd name="connsiteX394" fmla="*/ 511625 w 1742473"/>
                    <a:gd name="connsiteY394" fmla="*/ 96326 h 306315"/>
                    <a:gd name="connsiteX395" fmla="*/ 513387 w 1742473"/>
                    <a:gd name="connsiteY395" fmla="*/ 99828 h 306315"/>
                    <a:gd name="connsiteX396" fmla="*/ 517872 w 1742473"/>
                    <a:gd name="connsiteY396" fmla="*/ 101930 h 306315"/>
                    <a:gd name="connsiteX397" fmla="*/ 609978 w 1742473"/>
                    <a:gd name="connsiteY397" fmla="*/ 101930 h 306315"/>
                    <a:gd name="connsiteX398" fmla="*/ 611740 w 1742473"/>
                    <a:gd name="connsiteY398" fmla="*/ 105783 h 306315"/>
                    <a:gd name="connsiteX399" fmla="*/ 616225 w 1742473"/>
                    <a:gd name="connsiteY399" fmla="*/ 107885 h 306315"/>
                    <a:gd name="connsiteX400" fmla="*/ 616385 w 1742473"/>
                    <a:gd name="connsiteY400" fmla="*/ 107885 h 306315"/>
                    <a:gd name="connsiteX401" fmla="*/ 617667 w 1742473"/>
                    <a:gd name="connsiteY401" fmla="*/ 109986 h 306315"/>
                    <a:gd name="connsiteX402" fmla="*/ 622152 w 1742473"/>
                    <a:gd name="connsiteY402" fmla="*/ 112088 h 306315"/>
                    <a:gd name="connsiteX403" fmla="*/ 634166 w 1742473"/>
                    <a:gd name="connsiteY403" fmla="*/ 112088 h 306315"/>
                    <a:gd name="connsiteX404" fmla="*/ 635447 w 1742473"/>
                    <a:gd name="connsiteY404" fmla="*/ 114190 h 306315"/>
                    <a:gd name="connsiteX405" fmla="*/ 639932 w 1742473"/>
                    <a:gd name="connsiteY405" fmla="*/ 116291 h 306315"/>
                    <a:gd name="connsiteX406" fmla="*/ 726431 w 1742473"/>
                    <a:gd name="connsiteY406" fmla="*/ 116291 h 306315"/>
                    <a:gd name="connsiteX407" fmla="*/ 727713 w 1742473"/>
                    <a:gd name="connsiteY407" fmla="*/ 118393 h 306315"/>
                    <a:gd name="connsiteX408" fmla="*/ 732198 w 1742473"/>
                    <a:gd name="connsiteY408" fmla="*/ 120494 h 306315"/>
                    <a:gd name="connsiteX409" fmla="*/ 774166 w 1742473"/>
                    <a:gd name="connsiteY409" fmla="*/ 120494 h 306315"/>
                    <a:gd name="connsiteX410" fmla="*/ 775447 w 1742473"/>
                    <a:gd name="connsiteY410" fmla="*/ 122596 h 306315"/>
                    <a:gd name="connsiteX411" fmla="*/ 779932 w 1742473"/>
                    <a:gd name="connsiteY411" fmla="*/ 124698 h 306315"/>
                    <a:gd name="connsiteX412" fmla="*/ 833594 w 1742473"/>
                    <a:gd name="connsiteY412" fmla="*/ 124698 h 306315"/>
                    <a:gd name="connsiteX413" fmla="*/ 834875 w 1742473"/>
                    <a:gd name="connsiteY413" fmla="*/ 126975 h 306315"/>
                    <a:gd name="connsiteX414" fmla="*/ 839360 w 1742473"/>
                    <a:gd name="connsiteY414" fmla="*/ 129076 h 306315"/>
                    <a:gd name="connsiteX415" fmla="*/ 847850 w 1742473"/>
                    <a:gd name="connsiteY415" fmla="*/ 129076 h 306315"/>
                    <a:gd name="connsiteX416" fmla="*/ 847850 w 1742473"/>
                    <a:gd name="connsiteY416" fmla="*/ 131528 h 306315"/>
                    <a:gd name="connsiteX417" fmla="*/ 849772 w 1742473"/>
                    <a:gd name="connsiteY417" fmla="*/ 136432 h 306315"/>
                    <a:gd name="connsiteX418" fmla="*/ 854257 w 1742473"/>
                    <a:gd name="connsiteY418" fmla="*/ 138534 h 306315"/>
                    <a:gd name="connsiteX419" fmla="*/ 857301 w 1742473"/>
                    <a:gd name="connsiteY419" fmla="*/ 138534 h 306315"/>
                    <a:gd name="connsiteX420" fmla="*/ 858742 w 1742473"/>
                    <a:gd name="connsiteY420" fmla="*/ 140810 h 306315"/>
                    <a:gd name="connsiteX421" fmla="*/ 863228 w 1742473"/>
                    <a:gd name="connsiteY421" fmla="*/ 142912 h 306315"/>
                    <a:gd name="connsiteX422" fmla="*/ 884212 w 1742473"/>
                    <a:gd name="connsiteY422" fmla="*/ 142912 h 306315"/>
                    <a:gd name="connsiteX423" fmla="*/ 885493 w 1742473"/>
                    <a:gd name="connsiteY423" fmla="*/ 145189 h 306315"/>
                    <a:gd name="connsiteX424" fmla="*/ 889978 w 1742473"/>
                    <a:gd name="connsiteY424" fmla="*/ 147290 h 306315"/>
                    <a:gd name="connsiteX425" fmla="*/ 889978 w 1742473"/>
                    <a:gd name="connsiteY425" fmla="*/ 147290 h 306315"/>
                    <a:gd name="connsiteX426" fmla="*/ 891260 w 1742473"/>
                    <a:gd name="connsiteY426" fmla="*/ 149392 h 306315"/>
                    <a:gd name="connsiteX427" fmla="*/ 895745 w 1742473"/>
                    <a:gd name="connsiteY427" fmla="*/ 151494 h 306315"/>
                    <a:gd name="connsiteX428" fmla="*/ 895745 w 1742473"/>
                    <a:gd name="connsiteY428" fmla="*/ 151494 h 306315"/>
                    <a:gd name="connsiteX429" fmla="*/ 897186 w 1742473"/>
                    <a:gd name="connsiteY429" fmla="*/ 153771 h 306315"/>
                    <a:gd name="connsiteX430" fmla="*/ 901672 w 1742473"/>
                    <a:gd name="connsiteY430" fmla="*/ 155872 h 306315"/>
                    <a:gd name="connsiteX431" fmla="*/ 916729 w 1742473"/>
                    <a:gd name="connsiteY431" fmla="*/ 155872 h 306315"/>
                    <a:gd name="connsiteX432" fmla="*/ 918010 w 1742473"/>
                    <a:gd name="connsiteY432" fmla="*/ 157974 h 306315"/>
                    <a:gd name="connsiteX433" fmla="*/ 922495 w 1742473"/>
                    <a:gd name="connsiteY433" fmla="*/ 160075 h 306315"/>
                    <a:gd name="connsiteX434" fmla="*/ 976157 w 1742473"/>
                    <a:gd name="connsiteY434" fmla="*/ 160075 h 306315"/>
                    <a:gd name="connsiteX435" fmla="*/ 977599 w 1742473"/>
                    <a:gd name="connsiteY435" fmla="*/ 162352 h 306315"/>
                    <a:gd name="connsiteX436" fmla="*/ 982084 w 1742473"/>
                    <a:gd name="connsiteY436" fmla="*/ 164454 h 306315"/>
                    <a:gd name="connsiteX437" fmla="*/ 996981 w 1742473"/>
                    <a:gd name="connsiteY437" fmla="*/ 164454 h 306315"/>
                    <a:gd name="connsiteX438" fmla="*/ 998422 w 1742473"/>
                    <a:gd name="connsiteY438" fmla="*/ 166906 h 306315"/>
                    <a:gd name="connsiteX439" fmla="*/ 1002907 w 1742473"/>
                    <a:gd name="connsiteY439" fmla="*/ 169007 h 306315"/>
                    <a:gd name="connsiteX440" fmla="*/ 1023571 w 1742473"/>
                    <a:gd name="connsiteY440" fmla="*/ 169007 h 306315"/>
                    <a:gd name="connsiteX441" fmla="*/ 1025173 w 1742473"/>
                    <a:gd name="connsiteY441" fmla="*/ 171985 h 306315"/>
                    <a:gd name="connsiteX442" fmla="*/ 1026615 w 1742473"/>
                    <a:gd name="connsiteY442" fmla="*/ 173211 h 306315"/>
                    <a:gd name="connsiteX443" fmla="*/ 1028216 w 1742473"/>
                    <a:gd name="connsiteY443" fmla="*/ 176188 h 306315"/>
                    <a:gd name="connsiteX444" fmla="*/ 1032701 w 1742473"/>
                    <a:gd name="connsiteY444" fmla="*/ 178290 h 306315"/>
                    <a:gd name="connsiteX445" fmla="*/ 1095333 w 1742473"/>
                    <a:gd name="connsiteY445" fmla="*/ 178290 h 306315"/>
                    <a:gd name="connsiteX446" fmla="*/ 1096775 w 1742473"/>
                    <a:gd name="connsiteY446" fmla="*/ 180567 h 306315"/>
                    <a:gd name="connsiteX447" fmla="*/ 1101260 w 1742473"/>
                    <a:gd name="connsiteY447" fmla="*/ 182668 h 306315"/>
                    <a:gd name="connsiteX448" fmla="*/ 1101260 w 1742473"/>
                    <a:gd name="connsiteY448" fmla="*/ 182668 h 306315"/>
                    <a:gd name="connsiteX449" fmla="*/ 1102702 w 1742473"/>
                    <a:gd name="connsiteY449" fmla="*/ 184945 h 306315"/>
                    <a:gd name="connsiteX450" fmla="*/ 1107187 w 1742473"/>
                    <a:gd name="connsiteY450" fmla="*/ 187047 h 306315"/>
                    <a:gd name="connsiteX451" fmla="*/ 1108789 w 1742473"/>
                    <a:gd name="connsiteY451" fmla="*/ 189849 h 306315"/>
                    <a:gd name="connsiteX452" fmla="*/ 1113274 w 1742473"/>
                    <a:gd name="connsiteY452" fmla="*/ 191950 h 306315"/>
                    <a:gd name="connsiteX453" fmla="*/ 1214509 w 1742473"/>
                    <a:gd name="connsiteY453" fmla="*/ 191950 h 306315"/>
                    <a:gd name="connsiteX454" fmla="*/ 1215951 w 1742473"/>
                    <a:gd name="connsiteY454" fmla="*/ 194578 h 306315"/>
                    <a:gd name="connsiteX455" fmla="*/ 1220436 w 1742473"/>
                    <a:gd name="connsiteY455" fmla="*/ 196679 h 306315"/>
                    <a:gd name="connsiteX456" fmla="*/ 1232290 w 1742473"/>
                    <a:gd name="connsiteY456" fmla="*/ 196679 h 306315"/>
                    <a:gd name="connsiteX457" fmla="*/ 1233732 w 1742473"/>
                    <a:gd name="connsiteY457" fmla="*/ 199306 h 306315"/>
                    <a:gd name="connsiteX458" fmla="*/ 1238217 w 1742473"/>
                    <a:gd name="connsiteY458" fmla="*/ 201408 h 306315"/>
                    <a:gd name="connsiteX459" fmla="*/ 1255997 w 1742473"/>
                    <a:gd name="connsiteY459" fmla="*/ 201408 h 306315"/>
                    <a:gd name="connsiteX460" fmla="*/ 1257599 w 1742473"/>
                    <a:gd name="connsiteY460" fmla="*/ 204210 h 306315"/>
                    <a:gd name="connsiteX461" fmla="*/ 1262084 w 1742473"/>
                    <a:gd name="connsiteY461" fmla="*/ 206312 h 306315"/>
                    <a:gd name="connsiteX462" fmla="*/ 1324555 w 1742473"/>
                    <a:gd name="connsiteY462" fmla="*/ 206312 h 306315"/>
                    <a:gd name="connsiteX463" fmla="*/ 1326157 w 1742473"/>
                    <a:gd name="connsiteY463" fmla="*/ 208939 h 306315"/>
                    <a:gd name="connsiteX464" fmla="*/ 1330642 w 1742473"/>
                    <a:gd name="connsiteY464" fmla="*/ 211040 h 306315"/>
                    <a:gd name="connsiteX465" fmla="*/ 1354510 w 1742473"/>
                    <a:gd name="connsiteY465" fmla="*/ 211040 h 306315"/>
                    <a:gd name="connsiteX466" fmla="*/ 1355951 w 1742473"/>
                    <a:gd name="connsiteY466" fmla="*/ 213492 h 306315"/>
                    <a:gd name="connsiteX467" fmla="*/ 1360436 w 1742473"/>
                    <a:gd name="connsiteY467" fmla="*/ 215594 h 306315"/>
                    <a:gd name="connsiteX468" fmla="*/ 1378057 w 1742473"/>
                    <a:gd name="connsiteY468" fmla="*/ 215594 h 306315"/>
                    <a:gd name="connsiteX469" fmla="*/ 1379658 w 1742473"/>
                    <a:gd name="connsiteY469" fmla="*/ 218571 h 306315"/>
                    <a:gd name="connsiteX470" fmla="*/ 1384144 w 1742473"/>
                    <a:gd name="connsiteY470" fmla="*/ 220673 h 306315"/>
                    <a:gd name="connsiteX471" fmla="*/ 1387187 w 1742473"/>
                    <a:gd name="connsiteY471" fmla="*/ 220673 h 306315"/>
                    <a:gd name="connsiteX472" fmla="*/ 1388629 w 1742473"/>
                    <a:gd name="connsiteY472" fmla="*/ 223125 h 306315"/>
                    <a:gd name="connsiteX473" fmla="*/ 1393114 w 1742473"/>
                    <a:gd name="connsiteY473" fmla="*/ 225227 h 306315"/>
                    <a:gd name="connsiteX474" fmla="*/ 1402244 w 1742473"/>
                    <a:gd name="connsiteY474" fmla="*/ 225227 h 306315"/>
                    <a:gd name="connsiteX475" fmla="*/ 1403526 w 1742473"/>
                    <a:gd name="connsiteY475" fmla="*/ 227503 h 306315"/>
                    <a:gd name="connsiteX476" fmla="*/ 1408011 w 1742473"/>
                    <a:gd name="connsiteY476" fmla="*/ 229605 h 306315"/>
                    <a:gd name="connsiteX477" fmla="*/ 1425631 w 1742473"/>
                    <a:gd name="connsiteY477" fmla="*/ 229605 h 306315"/>
                    <a:gd name="connsiteX478" fmla="*/ 1427233 w 1742473"/>
                    <a:gd name="connsiteY478" fmla="*/ 232757 h 306315"/>
                    <a:gd name="connsiteX479" fmla="*/ 1431718 w 1742473"/>
                    <a:gd name="connsiteY479" fmla="*/ 234859 h 306315"/>
                    <a:gd name="connsiteX480" fmla="*/ 1538881 w 1742473"/>
                    <a:gd name="connsiteY480" fmla="*/ 234859 h 306315"/>
                    <a:gd name="connsiteX481" fmla="*/ 1538881 w 1742473"/>
                    <a:gd name="connsiteY481" fmla="*/ 242740 h 306315"/>
                    <a:gd name="connsiteX482" fmla="*/ 1657416 w 1742473"/>
                    <a:gd name="connsiteY482" fmla="*/ 242740 h 306315"/>
                    <a:gd name="connsiteX483" fmla="*/ 1661100 w 1742473"/>
                    <a:gd name="connsiteY483" fmla="*/ 243966 h 306315"/>
                    <a:gd name="connsiteX484" fmla="*/ 1669910 w 1742473"/>
                    <a:gd name="connsiteY484" fmla="*/ 243966 h 306315"/>
                    <a:gd name="connsiteX485" fmla="*/ 1671352 w 1742473"/>
                    <a:gd name="connsiteY485" fmla="*/ 246418 h 306315"/>
                    <a:gd name="connsiteX486" fmla="*/ 1675837 w 1742473"/>
                    <a:gd name="connsiteY486" fmla="*/ 248520 h 306315"/>
                    <a:gd name="connsiteX487" fmla="*/ 1702748 w 1742473"/>
                    <a:gd name="connsiteY487" fmla="*/ 248520 h 306315"/>
                    <a:gd name="connsiteX488" fmla="*/ 1704190 w 1742473"/>
                    <a:gd name="connsiteY488" fmla="*/ 250797 h 306315"/>
                    <a:gd name="connsiteX489" fmla="*/ 1708675 w 1742473"/>
                    <a:gd name="connsiteY489" fmla="*/ 252898 h 306315"/>
                    <a:gd name="connsiteX490" fmla="*/ 1741352 w 1742473"/>
                    <a:gd name="connsiteY490" fmla="*/ 252898 h 306315"/>
                    <a:gd name="connsiteX491" fmla="*/ 1741352 w 1742473"/>
                    <a:gd name="connsiteY491" fmla="*/ 306315 h 3063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  <a:cxn ang="0">
                      <a:pos x="connsiteX328" y="connsiteY328"/>
                    </a:cxn>
                    <a:cxn ang="0">
                      <a:pos x="connsiteX329" y="connsiteY329"/>
                    </a:cxn>
                    <a:cxn ang="0">
                      <a:pos x="connsiteX330" y="connsiteY330"/>
                    </a:cxn>
                    <a:cxn ang="0">
                      <a:pos x="connsiteX331" y="connsiteY331"/>
                    </a:cxn>
                    <a:cxn ang="0">
                      <a:pos x="connsiteX332" y="connsiteY332"/>
                    </a:cxn>
                    <a:cxn ang="0">
                      <a:pos x="connsiteX333" y="connsiteY333"/>
                    </a:cxn>
                    <a:cxn ang="0">
                      <a:pos x="connsiteX334" y="connsiteY334"/>
                    </a:cxn>
                    <a:cxn ang="0">
                      <a:pos x="connsiteX335" y="connsiteY335"/>
                    </a:cxn>
                    <a:cxn ang="0">
                      <a:pos x="connsiteX336" y="connsiteY336"/>
                    </a:cxn>
                    <a:cxn ang="0">
                      <a:pos x="connsiteX337" y="connsiteY337"/>
                    </a:cxn>
                    <a:cxn ang="0">
                      <a:pos x="connsiteX338" y="connsiteY338"/>
                    </a:cxn>
                    <a:cxn ang="0">
                      <a:pos x="connsiteX339" y="connsiteY339"/>
                    </a:cxn>
                    <a:cxn ang="0">
                      <a:pos x="connsiteX340" y="connsiteY340"/>
                    </a:cxn>
                    <a:cxn ang="0">
                      <a:pos x="connsiteX341" y="connsiteY341"/>
                    </a:cxn>
                    <a:cxn ang="0">
                      <a:pos x="connsiteX342" y="connsiteY342"/>
                    </a:cxn>
                    <a:cxn ang="0">
                      <a:pos x="connsiteX343" y="connsiteY343"/>
                    </a:cxn>
                    <a:cxn ang="0">
                      <a:pos x="connsiteX344" y="connsiteY344"/>
                    </a:cxn>
                    <a:cxn ang="0">
                      <a:pos x="connsiteX345" y="connsiteY345"/>
                    </a:cxn>
                    <a:cxn ang="0">
                      <a:pos x="connsiteX346" y="connsiteY346"/>
                    </a:cxn>
                    <a:cxn ang="0">
                      <a:pos x="connsiteX347" y="connsiteY347"/>
                    </a:cxn>
                    <a:cxn ang="0">
                      <a:pos x="connsiteX348" y="connsiteY348"/>
                    </a:cxn>
                    <a:cxn ang="0">
                      <a:pos x="connsiteX349" y="connsiteY349"/>
                    </a:cxn>
                    <a:cxn ang="0">
                      <a:pos x="connsiteX350" y="connsiteY350"/>
                    </a:cxn>
                    <a:cxn ang="0">
                      <a:pos x="connsiteX351" y="connsiteY351"/>
                    </a:cxn>
                    <a:cxn ang="0">
                      <a:pos x="connsiteX352" y="connsiteY352"/>
                    </a:cxn>
                    <a:cxn ang="0">
                      <a:pos x="connsiteX353" y="connsiteY353"/>
                    </a:cxn>
                    <a:cxn ang="0">
                      <a:pos x="connsiteX354" y="connsiteY354"/>
                    </a:cxn>
                    <a:cxn ang="0">
                      <a:pos x="connsiteX355" y="connsiteY355"/>
                    </a:cxn>
                    <a:cxn ang="0">
                      <a:pos x="connsiteX356" y="connsiteY356"/>
                    </a:cxn>
                    <a:cxn ang="0">
                      <a:pos x="connsiteX357" y="connsiteY357"/>
                    </a:cxn>
                    <a:cxn ang="0">
                      <a:pos x="connsiteX358" y="connsiteY358"/>
                    </a:cxn>
                    <a:cxn ang="0">
                      <a:pos x="connsiteX359" y="connsiteY359"/>
                    </a:cxn>
                    <a:cxn ang="0">
                      <a:pos x="connsiteX360" y="connsiteY360"/>
                    </a:cxn>
                    <a:cxn ang="0">
                      <a:pos x="connsiteX361" y="connsiteY361"/>
                    </a:cxn>
                    <a:cxn ang="0">
                      <a:pos x="connsiteX362" y="connsiteY362"/>
                    </a:cxn>
                    <a:cxn ang="0">
                      <a:pos x="connsiteX363" y="connsiteY363"/>
                    </a:cxn>
                    <a:cxn ang="0">
                      <a:pos x="connsiteX364" y="connsiteY364"/>
                    </a:cxn>
                    <a:cxn ang="0">
                      <a:pos x="connsiteX365" y="connsiteY365"/>
                    </a:cxn>
                    <a:cxn ang="0">
                      <a:pos x="connsiteX366" y="connsiteY366"/>
                    </a:cxn>
                    <a:cxn ang="0">
                      <a:pos x="connsiteX367" y="connsiteY367"/>
                    </a:cxn>
                    <a:cxn ang="0">
                      <a:pos x="connsiteX368" y="connsiteY368"/>
                    </a:cxn>
                    <a:cxn ang="0">
                      <a:pos x="connsiteX369" y="connsiteY369"/>
                    </a:cxn>
                    <a:cxn ang="0">
                      <a:pos x="connsiteX370" y="connsiteY370"/>
                    </a:cxn>
                    <a:cxn ang="0">
                      <a:pos x="connsiteX371" y="connsiteY371"/>
                    </a:cxn>
                    <a:cxn ang="0">
                      <a:pos x="connsiteX372" y="connsiteY372"/>
                    </a:cxn>
                    <a:cxn ang="0">
                      <a:pos x="connsiteX373" y="connsiteY373"/>
                    </a:cxn>
                    <a:cxn ang="0">
                      <a:pos x="connsiteX374" y="connsiteY374"/>
                    </a:cxn>
                    <a:cxn ang="0">
                      <a:pos x="connsiteX375" y="connsiteY375"/>
                    </a:cxn>
                    <a:cxn ang="0">
                      <a:pos x="connsiteX376" y="connsiteY376"/>
                    </a:cxn>
                    <a:cxn ang="0">
                      <a:pos x="connsiteX377" y="connsiteY377"/>
                    </a:cxn>
                    <a:cxn ang="0">
                      <a:pos x="connsiteX378" y="connsiteY378"/>
                    </a:cxn>
                    <a:cxn ang="0">
                      <a:pos x="connsiteX379" y="connsiteY379"/>
                    </a:cxn>
                    <a:cxn ang="0">
                      <a:pos x="connsiteX380" y="connsiteY380"/>
                    </a:cxn>
                    <a:cxn ang="0">
                      <a:pos x="connsiteX381" y="connsiteY381"/>
                    </a:cxn>
                    <a:cxn ang="0">
                      <a:pos x="connsiteX382" y="connsiteY382"/>
                    </a:cxn>
                    <a:cxn ang="0">
                      <a:pos x="connsiteX383" y="connsiteY383"/>
                    </a:cxn>
                    <a:cxn ang="0">
                      <a:pos x="connsiteX384" y="connsiteY384"/>
                    </a:cxn>
                    <a:cxn ang="0">
                      <a:pos x="connsiteX385" y="connsiteY385"/>
                    </a:cxn>
                    <a:cxn ang="0">
                      <a:pos x="connsiteX386" y="connsiteY386"/>
                    </a:cxn>
                    <a:cxn ang="0">
                      <a:pos x="connsiteX387" y="connsiteY387"/>
                    </a:cxn>
                    <a:cxn ang="0">
                      <a:pos x="connsiteX388" y="connsiteY388"/>
                    </a:cxn>
                    <a:cxn ang="0">
                      <a:pos x="connsiteX389" y="connsiteY389"/>
                    </a:cxn>
                    <a:cxn ang="0">
                      <a:pos x="connsiteX390" y="connsiteY390"/>
                    </a:cxn>
                    <a:cxn ang="0">
                      <a:pos x="connsiteX391" y="connsiteY391"/>
                    </a:cxn>
                    <a:cxn ang="0">
                      <a:pos x="connsiteX392" y="connsiteY392"/>
                    </a:cxn>
                    <a:cxn ang="0">
                      <a:pos x="connsiteX393" y="connsiteY393"/>
                    </a:cxn>
                    <a:cxn ang="0">
                      <a:pos x="connsiteX394" y="connsiteY394"/>
                    </a:cxn>
                    <a:cxn ang="0">
                      <a:pos x="connsiteX395" y="connsiteY395"/>
                    </a:cxn>
                    <a:cxn ang="0">
                      <a:pos x="connsiteX396" y="connsiteY396"/>
                    </a:cxn>
                    <a:cxn ang="0">
                      <a:pos x="connsiteX397" y="connsiteY397"/>
                    </a:cxn>
                    <a:cxn ang="0">
                      <a:pos x="connsiteX398" y="connsiteY398"/>
                    </a:cxn>
                    <a:cxn ang="0">
                      <a:pos x="connsiteX399" y="connsiteY399"/>
                    </a:cxn>
                    <a:cxn ang="0">
                      <a:pos x="connsiteX400" y="connsiteY400"/>
                    </a:cxn>
                    <a:cxn ang="0">
                      <a:pos x="connsiteX401" y="connsiteY401"/>
                    </a:cxn>
                    <a:cxn ang="0">
                      <a:pos x="connsiteX402" y="connsiteY402"/>
                    </a:cxn>
                    <a:cxn ang="0">
                      <a:pos x="connsiteX403" y="connsiteY403"/>
                    </a:cxn>
                    <a:cxn ang="0">
                      <a:pos x="connsiteX404" y="connsiteY404"/>
                    </a:cxn>
                    <a:cxn ang="0">
                      <a:pos x="connsiteX405" y="connsiteY405"/>
                    </a:cxn>
                    <a:cxn ang="0">
                      <a:pos x="connsiteX406" y="connsiteY406"/>
                    </a:cxn>
                    <a:cxn ang="0">
                      <a:pos x="connsiteX407" y="connsiteY407"/>
                    </a:cxn>
                    <a:cxn ang="0">
                      <a:pos x="connsiteX408" y="connsiteY408"/>
                    </a:cxn>
                    <a:cxn ang="0">
                      <a:pos x="connsiteX409" y="connsiteY409"/>
                    </a:cxn>
                    <a:cxn ang="0">
                      <a:pos x="connsiteX410" y="connsiteY410"/>
                    </a:cxn>
                    <a:cxn ang="0">
                      <a:pos x="connsiteX411" y="connsiteY411"/>
                    </a:cxn>
                    <a:cxn ang="0">
                      <a:pos x="connsiteX412" y="connsiteY412"/>
                    </a:cxn>
                    <a:cxn ang="0">
                      <a:pos x="connsiteX413" y="connsiteY413"/>
                    </a:cxn>
                    <a:cxn ang="0">
                      <a:pos x="connsiteX414" y="connsiteY414"/>
                    </a:cxn>
                    <a:cxn ang="0">
                      <a:pos x="connsiteX415" y="connsiteY415"/>
                    </a:cxn>
                    <a:cxn ang="0">
                      <a:pos x="connsiteX416" y="connsiteY416"/>
                    </a:cxn>
                    <a:cxn ang="0">
                      <a:pos x="connsiteX417" y="connsiteY417"/>
                    </a:cxn>
                    <a:cxn ang="0">
                      <a:pos x="connsiteX418" y="connsiteY418"/>
                    </a:cxn>
                    <a:cxn ang="0">
                      <a:pos x="connsiteX419" y="connsiteY419"/>
                    </a:cxn>
                    <a:cxn ang="0">
                      <a:pos x="connsiteX420" y="connsiteY420"/>
                    </a:cxn>
                    <a:cxn ang="0">
                      <a:pos x="connsiteX421" y="connsiteY421"/>
                    </a:cxn>
                    <a:cxn ang="0">
                      <a:pos x="connsiteX422" y="connsiteY422"/>
                    </a:cxn>
                    <a:cxn ang="0">
                      <a:pos x="connsiteX423" y="connsiteY423"/>
                    </a:cxn>
                    <a:cxn ang="0">
                      <a:pos x="connsiteX424" y="connsiteY424"/>
                    </a:cxn>
                    <a:cxn ang="0">
                      <a:pos x="connsiteX425" y="connsiteY425"/>
                    </a:cxn>
                    <a:cxn ang="0">
                      <a:pos x="connsiteX426" y="connsiteY426"/>
                    </a:cxn>
                    <a:cxn ang="0">
                      <a:pos x="connsiteX427" y="connsiteY427"/>
                    </a:cxn>
                    <a:cxn ang="0">
                      <a:pos x="connsiteX428" y="connsiteY428"/>
                    </a:cxn>
                    <a:cxn ang="0">
                      <a:pos x="connsiteX429" y="connsiteY429"/>
                    </a:cxn>
                    <a:cxn ang="0">
                      <a:pos x="connsiteX430" y="connsiteY430"/>
                    </a:cxn>
                    <a:cxn ang="0">
                      <a:pos x="connsiteX431" y="connsiteY431"/>
                    </a:cxn>
                    <a:cxn ang="0">
                      <a:pos x="connsiteX432" y="connsiteY432"/>
                    </a:cxn>
                    <a:cxn ang="0">
                      <a:pos x="connsiteX433" y="connsiteY433"/>
                    </a:cxn>
                    <a:cxn ang="0">
                      <a:pos x="connsiteX434" y="connsiteY434"/>
                    </a:cxn>
                    <a:cxn ang="0">
                      <a:pos x="connsiteX435" y="connsiteY435"/>
                    </a:cxn>
                    <a:cxn ang="0">
                      <a:pos x="connsiteX436" y="connsiteY436"/>
                    </a:cxn>
                    <a:cxn ang="0">
                      <a:pos x="connsiteX437" y="connsiteY437"/>
                    </a:cxn>
                    <a:cxn ang="0">
                      <a:pos x="connsiteX438" y="connsiteY438"/>
                    </a:cxn>
                    <a:cxn ang="0">
                      <a:pos x="connsiteX439" y="connsiteY439"/>
                    </a:cxn>
                    <a:cxn ang="0">
                      <a:pos x="connsiteX440" y="connsiteY440"/>
                    </a:cxn>
                    <a:cxn ang="0">
                      <a:pos x="connsiteX441" y="connsiteY441"/>
                    </a:cxn>
                    <a:cxn ang="0">
                      <a:pos x="connsiteX442" y="connsiteY442"/>
                    </a:cxn>
                    <a:cxn ang="0">
                      <a:pos x="connsiteX443" y="connsiteY443"/>
                    </a:cxn>
                    <a:cxn ang="0">
                      <a:pos x="connsiteX444" y="connsiteY444"/>
                    </a:cxn>
                    <a:cxn ang="0">
                      <a:pos x="connsiteX445" y="connsiteY445"/>
                    </a:cxn>
                    <a:cxn ang="0">
                      <a:pos x="connsiteX446" y="connsiteY446"/>
                    </a:cxn>
                    <a:cxn ang="0">
                      <a:pos x="connsiteX447" y="connsiteY447"/>
                    </a:cxn>
                    <a:cxn ang="0">
                      <a:pos x="connsiteX448" y="connsiteY448"/>
                    </a:cxn>
                    <a:cxn ang="0">
                      <a:pos x="connsiteX449" y="connsiteY449"/>
                    </a:cxn>
                    <a:cxn ang="0">
                      <a:pos x="connsiteX450" y="connsiteY450"/>
                    </a:cxn>
                    <a:cxn ang="0">
                      <a:pos x="connsiteX451" y="connsiteY451"/>
                    </a:cxn>
                    <a:cxn ang="0">
                      <a:pos x="connsiteX452" y="connsiteY452"/>
                    </a:cxn>
                    <a:cxn ang="0">
                      <a:pos x="connsiteX453" y="connsiteY453"/>
                    </a:cxn>
                    <a:cxn ang="0">
                      <a:pos x="connsiteX454" y="connsiteY454"/>
                    </a:cxn>
                    <a:cxn ang="0">
                      <a:pos x="connsiteX455" y="connsiteY455"/>
                    </a:cxn>
                    <a:cxn ang="0">
                      <a:pos x="connsiteX456" y="connsiteY456"/>
                    </a:cxn>
                    <a:cxn ang="0">
                      <a:pos x="connsiteX457" y="connsiteY457"/>
                    </a:cxn>
                    <a:cxn ang="0">
                      <a:pos x="connsiteX458" y="connsiteY458"/>
                    </a:cxn>
                    <a:cxn ang="0">
                      <a:pos x="connsiteX459" y="connsiteY459"/>
                    </a:cxn>
                    <a:cxn ang="0">
                      <a:pos x="connsiteX460" y="connsiteY460"/>
                    </a:cxn>
                    <a:cxn ang="0">
                      <a:pos x="connsiteX461" y="connsiteY461"/>
                    </a:cxn>
                    <a:cxn ang="0">
                      <a:pos x="connsiteX462" y="connsiteY462"/>
                    </a:cxn>
                    <a:cxn ang="0">
                      <a:pos x="connsiteX463" y="connsiteY463"/>
                    </a:cxn>
                    <a:cxn ang="0">
                      <a:pos x="connsiteX464" y="connsiteY464"/>
                    </a:cxn>
                    <a:cxn ang="0">
                      <a:pos x="connsiteX465" y="connsiteY465"/>
                    </a:cxn>
                    <a:cxn ang="0">
                      <a:pos x="connsiteX466" y="connsiteY466"/>
                    </a:cxn>
                    <a:cxn ang="0">
                      <a:pos x="connsiteX467" y="connsiteY467"/>
                    </a:cxn>
                    <a:cxn ang="0">
                      <a:pos x="connsiteX468" y="connsiteY468"/>
                    </a:cxn>
                    <a:cxn ang="0">
                      <a:pos x="connsiteX469" y="connsiteY469"/>
                    </a:cxn>
                    <a:cxn ang="0">
                      <a:pos x="connsiteX470" y="connsiteY470"/>
                    </a:cxn>
                    <a:cxn ang="0">
                      <a:pos x="connsiteX471" y="connsiteY471"/>
                    </a:cxn>
                    <a:cxn ang="0">
                      <a:pos x="connsiteX472" y="connsiteY472"/>
                    </a:cxn>
                    <a:cxn ang="0">
                      <a:pos x="connsiteX473" y="connsiteY473"/>
                    </a:cxn>
                    <a:cxn ang="0">
                      <a:pos x="connsiteX474" y="connsiteY474"/>
                    </a:cxn>
                    <a:cxn ang="0">
                      <a:pos x="connsiteX475" y="connsiteY475"/>
                    </a:cxn>
                    <a:cxn ang="0">
                      <a:pos x="connsiteX476" y="connsiteY476"/>
                    </a:cxn>
                    <a:cxn ang="0">
                      <a:pos x="connsiteX477" y="connsiteY477"/>
                    </a:cxn>
                    <a:cxn ang="0">
                      <a:pos x="connsiteX478" y="connsiteY478"/>
                    </a:cxn>
                    <a:cxn ang="0">
                      <a:pos x="connsiteX479" y="connsiteY479"/>
                    </a:cxn>
                    <a:cxn ang="0">
                      <a:pos x="connsiteX480" y="connsiteY480"/>
                    </a:cxn>
                    <a:cxn ang="0">
                      <a:pos x="connsiteX481" y="connsiteY481"/>
                    </a:cxn>
                    <a:cxn ang="0">
                      <a:pos x="connsiteX482" y="connsiteY482"/>
                    </a:cxn>
                    <a:cxn ang="0">
                      <a:pos x="connsiteX483" y="connsiteY483"/>
                    </a:cxn>
                    <a:cxn ang="0">
                      <a:pos x="connsiteX484" y="connsiteY484"/>
                    </a:cxn>
                    <a:cxn ang="0">
                      <a:pos x="connsiteX485" y="connsiteY485"/>
                    </a:cxn>
                    <a:cxn ang="0">
                      <a:pos x="connsiteX486" y="connsiteY486"/>
                    </a:cxn>
                    <a:cxn ang="0">
                      <a:pos x="connsiteX487" y="connsiteY487"/>
                    </a:cxn>
                    <a:cxn ang="0">
                      <a:pos x="connsiteX488" y="connsiteY488"/>
                    </a:cxn>
                    <a:cxn ang="0">
                      <a:pos x="connsiteX489" y="connsiteY489"/>
                    </a:cxn>
                    <a:cxn ang="0">
                      <a:pos x="connsiteX490" y="connsiteY490"/>
                    </a:cxn>
                    <a:cxn ang="0">
                      <a:pos x="connsiteX491" y="connsiteY491"/>
                    </a:cxn>
                  </a:cxnLst>
                  <a:rect l="l" t="t" r="r" b="b"/>
                  <a:pathLst>
                    <a:path w="1742473" h="306315">
                      <a:moveTo>
                        <a:pt x="71121" y="15937"/>
                      </a:moveTo>
                      <a:lnTo>
                        <a:pt x="0" y="15937"/>
                      </a:lnTo>
                      <a:lnTo>
                        <a:pt x="0" y="11034"/>
                      </a:lnTo>
                      <a:lnTo>
                        <a:pt x="68719" y="11034"/>
                      </a:lnTo>
                      <a:cubicBezTo>
                        <a:pt x="68719" y="11034"/>
                        <a:pt x="69520" y="12435"/>
                        <a:pt x="70000" y="12960"/>
                      </a:cubicBezTo>
                      <a:cubicBezTo>
                        <a:pt x="70320" y="13310"/>
                        <a:pt x="70641" y="13661"/>
                        <a:pt x="71121" y="14011"/>
                      </a:cubicBezTo>
                      <a:lnTo>
                        <a:pt x="71121" y="15937"/>
                      </a:lnTo>
                      <a:moveTo>
                        <a:pt x="74806" y="22593"/>
                      </a:moveTo>
                      <a:lnTo>
                        <a:pt x="74485" y="22593"/>
                      </a:lnTo>
                      <a:cubicBezTo>
                        <a:pt x="74485" y="22593"/>
                        <a:pt x="74645" y="22593"/>
                        <a:pt x="74806" y="22593"/>
                      </a:cubicBezTo>
                      <a:moveTo>
                        <a:pt x="1540002" y="217871"/>
                      </a:moveTo>
                      <a:lnTo>
                        <a:pt x="1438926" y="217871"/>
                      </a:lnTo>
                      <a:cubicBezTo>
                        <a:pt x="1438606" y="216645"/>
                        <a:pt x="1438125" y="215594"/>
                        <a:pt x="1437324" y="214718"/>
                      </a:cubicBezTo>
                      <a:cubicBezTo>
                        <a:pt x="1436203" y="213492"/>
                        <a:pt x="1434441" y="212617"/>
                        <a:pt x="1432839" y="212617"/>
                      </a:cubicBezTo>
                      <a:lnTo>
                        <a:pt x="1414899" y="212617"/>
                      </a:lnTo>
                      <a:cubicBezTo>
                        <a:pt x="1414899" y="212617"/>
                        <a:pt x="1414098" y="211040"/>
                        <a:pt x="1413617" y="210340"/>
                      </a:cubicBezTo>
                      <a:cubicBezTo>
                        <a:pt x="1412496" y="209114"/>
                        <a:pt x="1410734" y="208238"/>
                        <a:pt x="1409132" y="208238"/>
                      </a:cubicBezTo>
                      <a:lnTo>
                        <a:pt x="1400162" y="208238"/>
                      </a:lnTo>
                      <a:cubicBezTo>
                        <a:pt x="1399842" y="207363"/>
                        <a:pt x="1399361" y="206487"/>
                        <a:pt x="1398720" y="205786"/>
                      </a:cubicBezTo>
                      <a:cubicBezTo>
                        <a:pt x="1397599" y="204560"/>
                        <a:pt x="1395837" y="203685"/>
                        <a:pt x="1394235" y="203685"/>
                      </a:cubicBezTo>
                      <a:lnTo>
                        <a:pt x="1391352" y="203685"/>
                      </a:lnTo>
                      <a:cubicBezTo>
                        <a:pt x="1391031" y="202459"/>
                        <a:pt x="1390551" y="201408"/>
                        <a:pt x="1389750" y="200707"/>
                      </a:cubicBezTo>
                      <a:cubicBezTo>
                        <a:pt x="1388629" y="199481"/>
                        <a:pt x="1386867" y="198606"/>
                        <a:pt x="1385265" y="198606"/>
                      </a:cubicBezTo>
                      <a:lnTo>
                        <a:pt x="1367485" y="198606"/>
                      </a:lnTo>
                      <a:cubicBezTo>
                        <a:pt x="1367164" y="197730"/>
                        <a:pt x="1366684" y="196854"/>
                        <a:pt x="1366043" y="196154"/>
                      </a:cubicBezTo>
                      <a:cubicBezTo>
                        <a:pt x="1364922" y="194928"/>
                        <a:pt x="1363160" y="194052"/>
                        <a:pt x="1361558" y="194052"/>
                      </a:cubicBezTo>
                      <a:lnTo>
                        <a:pt x="1337690" y="194052"/>
                      </a:lnTo>
                      <a:cubicBezTo>
                        <a:pt x="1337370" y="193001"/>
                        <a:pt x="1336890" y="192126"/>
                        <a:pt x="1336089" y="191425"/>
                      </a:cubicBezTo>
                      <a:cubicBezTo>
                        <a:pt x="1334967" y="190199"/>
                        <a:pt x="1333205" y="189323"/>
                        <a:pt x="1331604" y="189323"/>
                      </a:cubicBezTo>
                      <a:lnTo>
                        <a:pt x="1269132" y="189323"/>
                      </a:lnTo>
                      <a:cubicBezTo>
                        <a:pt x="1268812" y="188273"/>
                        <a:pt x="1268331" y="187397"/>
                        <a:pt x="1267530" y="186521"/>
                      </a:cubicBezTo>
                      <a:cubicBezTo>
                        <a:pt x="1266409" y="185295"/>
                        <a:pt x="1264647" y="184420"/>
                        <a:pt x="1263045" y="184420"/>
                      </a:cubicBezTo>
                      <a:lnTo>
                        <a:pt x="1245105" y="184420"/>
                      </a:lnTo>
                      <a:cubicBezTo>
                        <a:pt x="1244784" y="183369"/>
                        <a:pt x="1244304" y="182493"/>
                        <a:pt x="1243663" y="181793"/>
                      </a:cubicBezTo>
                      <a:cubicBezTo>
                        <a:pt x="1242542" y="180567"/>
                        <a:pt x="1240780" y="179691"/>
                        <a:pt x="1239178" y="179691"/>
                      </a:cubicBezTo>
                      <a:lnTo>
                        <a:pt x="1227324" y="179691"/>
                      </a:lnTo>
                      <a:cubicBezTo>
                        <a:pt x="1227004" y="178815"/>
                        <a:pt x="1226523" y="177939"/>
                        <a:pt x="1225883" y="177239"/>
                      </a:cubicBezTo>
                      <a:cubicBezTo>
                        <a:pt x="1224761" y="176013"/>
                        <a:pt x="1222999" y="175137"/>
                        <a:pt x="1221397" y="175137"/>
                      </a:cubicBezTo>
                      <a:lnTo>
                        <a:pt x="1120162" y="175137"/>
                      </a:lnTo>
                      <a:cubicBezTo>
                        <a:pt x="1119841" y="174086"/>
                        <a:pt x="1119361" y="173211"/>
                        <a:pt x="1118560" y="172335"/>
                      </a:cubicBezTo>
                      <a:cubicBezTo>
                        <a:pt x="1117438" y="171109"/>
                        <a:pt x="1115676" y="170233"/>
                        <a:pt x="1114075" y="170233"/>
                      </a:cubicBezTo>
                      <a:lnTo>
                        <a:pt x="1114075" y="170233"/>
                      </a:lnTo>
                      <a:cubicBezTo>
                        <a:pt x="1114075" y="170233"/>
                        <a:pt x="1113274" y="168657"/>
                        <a:pt x="1112633" y="167957"/>
                      </a:cubicBezTo>
                      <a:cubicBezTo>
                        <a:pt x="1111512" y="166731"/>
                        <a:pt x="1109750" y="165855"/>
                        <a:pt x="1108148" y="165855"/>
                      </a:cubicBezTo>
                      <a:lnTo>
                        <a:pt x="1108148" y="165855"/>
                      </a:lnTo>
                      <a:cubicBezTo>
                        <a:pt x="1108148" y="165855"/>
                        <a:pt x="1107347" y="164279"/>
                        <a:pt x="1106706" y="163578"/>
                      </a:cubicBezTo>
                      <a:cubicBezTo>
                        <a:pt x="1105585" y="162352"/>
                        <a:pt x="1103823" y="161477"/>
                        <a:pt x="1102221" y="161477"/>
                      </a:cubicBezTo>
                      <a:lnTo>
                        <a:pt x="1039589" y="161477"/>
                      </a:lnTo>
                      <a:cubicBezTo>
                        <a:pt x="1039589" y="161477"/>
                        <a:pt x="1038789" y="159900"/>
                        <a:pt x="1038308" y="159375"/>
                      </a:cubicBezTo>
                      <a:cubicBezTo>
                        <a:pt x="1037988" y="159025"/>
                        <a:pt x="1037507" y="158674"/>
                        <a:pt x="1037187" y="158324"/>
                      </a:cubicBezTo>
                      <a:cubicBezTo>
                        <a:pt x="1037187" y="156748"/>
                        <a:pt x="1036386" y="155347"/>
                        <a:pt x="1035425" y="154296"/>
                      </a:cubicBezTo>
                      <a:cubicBezTo>
                        <a:pt x="1034303" y="153070"/>
                        <a:pt x="1032701" y="152194"/>
                        <a:pt x="1030939" y="152194"/>
                      </a:cubicBezTo>
                      <a:lnTo>
                        <a:pt x="1010116" y="152194"/>
                      </a:lnTo>
                      <a:cubicBezTo>
                        <a:pt x="1009795" y="151319"/>
                        <a:pt x="1009315" y="150443"/>
                        <a:pt x="1008674" y="149742"/>
                      </a:cubicBezTo>
                      <a:cubicBezTo>
                        <a:pt x="1007553" y="148516"/>
                        <a:pt x="1005791" y="147641"/>
                        <a:pt x="1004189" y="147641"/>
                      </a:cubicBezTo>
                      <a:lnTo>
                        <a:pt x="989292" y="147641"/>
                      </a:lnTo>
                      <a:cubicBezTo>
                        <a:pt x="988972" y="146765"/>
                        <a:pt x="988491" y="145889"/>
                        <a:pt x="987850" y="145364"/>
                      </a:cubicBezTo>
                      <a:cubicBezTo>
                        <a:pt x="986729" y="144138"/>
                        <a:pt x="985127" y="143262"/>
                        <a:pt x="983365" y="143262"/>
                      </a:cubicBezTo>
                      <a:lnTo>
                        <a:pt x="929543" y="143262"/>
                      </a:lnTo>
                      <a:cubicBezTo>
                        <a:pt x="929543" y="143262"/>
                        <a:pt x="928743" y="141861"/>
                        <a:pt x="928262" y="141161"/>
                      </a:cubicBezTo>
                      <a:cubicBezTo>
                        <a:pt x="927141" y="139935"/>
                        <a:pt x="925379" y="139059"/>
                        <a:pt x="923777" y="139059"/>
                      </a:cubicBezTo>
                      <a:lnTo>
                        <a:pt x="908720" y="139059"/>
                      </a:lnTo>
                      <a:cubicBezTo>
                        <a:pt x="908720" y="139059"/>
                        <a:pt x="907919" y="137483"/>
                        <a:pt x="907278" y="136782"/>
                      </a:cubicBezTo>
                      <a:cubicBezTo>
                        <a:pt x="906157" y="135556"/>
                        <a:pt x="904395" y="134681"/>
                        <a:pt x="902793" y="134681"/>
                      </a:cubicBezTo>
                      <a:lnTo>
                        <a:pt x="902793" y="134681"/>
                      </a:lnTo>
                      <a:cubicBezTo>
                        <a:pt x="902793" y="134681"/>
                        <a:pt x="901992" y="133104"/>
                        <a:pt x="901511" y="132579"/>
                      </a:cubicBezTo>
                      <a:cubicBezTo>
                        <a:pt x="900390" y="131353"/>
                        <a:pt x="898628" y="130477"/>
                        <a:pt x="897026" y="130477"/>
                      </a:cubicBezTo>
                      <a:lnTo>
                        <a:pt x="897026" y="130477"/>
                      </a:lnTo>
                      <a:cubicBezTo>
                        <a:pt x="897026" y="130477"/>
                        <a:pt x="896225" y="128901"/>
                        <a:pt x="895745" y="128200"/>
                      </a:cubicBezTo>
                      <a:cubicBezTo>
                        <a:pt x="894624" y="126975"/>
                        <a:pt x="892861" y="126099"/>
                        <a:pt x="891260" y="126099"/>
                      </a:cubicBezTo>
                      <a:lnTo>
                        <a:pt x="870276" y="126099"/>
                      </a:lnTo>
                      <a:cubicBezTo>
                        <a:pt x="870276" y="126099"/>
                        <a:pt x="869475" y="124347"/>
                        <a:pt x="868834" y="123822"/>
                      </a:cubicBezTo>
                      <a:cubicBezTo>
                        <a:pt x="867713" y="122596"/>
                        <a:pt x="865951" y="121720"/>
                        <a:pt x="864349" y="121720"/>
                      </a:cubicBezTo>
                      <a:lnTo>
                        <a:pt x="861786" y="121720"/>
                      </a:lnTo>
                      <a:lnTo>
                        <a:pt x="861786" y="119268"/>
                      </a:lnTo>
                      <a:cubicBezTo>
                        <a:pt x="861786" y="117517"/>
                        <a:pt x="861145" y="115591"/>
                        <a:pt x="859864" y="114365"/>
                      </a:cubicBezTo>
                      <a:cubicBezTo>
                        <a:pt x="858742" y="113139"/>
                        <a:pt x="856980" y="112263"/>
                        <a:pt x="855379" y="112263"/>
                      </a:cubicBezTo>
                      <a:lnTo>
                        <a:pt x="846408" y="112263"/>
                      </a:lnTo>
                      <a:cubicBezTo>
                        <a:pt x="846408" y="112263"/>
                        <a:pt x="845607" y="110687"/>
                        <a:pt x="845127" y="109986"/>
                      </a:cubicBezTo>
                      <a:cubicBezTo>
                        <a:pt x="844006" y="108760"/>
                        <a:pt x="842244" y="107885"/>
                        <a:pt x="840642" y="107885"/>
                      </a:cubicBezTo>
                      <a:lnTo>
                        <a:pt x="786820" y="107885"/>
                      </a:lnTo>
                      <a:cubicBezTo>
                        <a:pt x="786820" y="107885"/>
                        <a:pt x="786019" y="106483"/>
                        <a:pt x="785539" y="105783"/>
                      </a:cubicBezTo>
                      <a:cubicBezTo>
                        <a:pt x="784417" y="104557"/>
                        <a:pt x="782655" y="103681"/>
                        <a:pt x="781054" y="103681"/>
                      </a:cubicBezTo>
                      <a:lnTo>
                        <a:pt x="739086" y="103681"/>
                      </a:lnTo>
                      <a:cubicBezTo>
                        <a:pt x="739086" y="103681"/>
                        <a:pt x="738285" y="102280"/>
                        <a:pt x="737804" y="101580"/>
                      </a:cubicBezTo>
                      <a:cubicBezTo>
                        <a:pt x="736683" y="100354"/>
                        <a:pt x="734921" y="99478"/>
                        <a:pt x="733319" y="99478"/>
                      </a:cubicBezTo>
                      <a:lnTo>
                        <a:pt x="646820" y="99478"/>
                      </a:lnTo>
                      <a:cubicBezTo>
                        <a:pt x="646820" y="99478"/>
                        <a:pt x="646019" y="97902"/>
                        <a:pt x="645539" y="97376"/>
                      </a:cubicBezTo>
                      <a:cubicBezTo>
                        <a:pt x="644417" y="96150"/>
                        <a:pt x="642655" y="95275"/>
                        <a:pt x="641053" y="95275"/>
                      </a:cubicBezTo>
                      <a:lnTo>
                        <a:pt x="629040" y="95275"/>
                      </a:lnTo>
                      <a:cubicBezTo>
                        <a:pt x="629040" y="95275"/>
                        <a:pt x="628239" y="93874"/>
                        <a:pt x="627758" y="93173"/>
                      </a:cubicBezTo>
                      <a:cubicBezTo>
                        <a:pt x="626637" y="91947"/>
                        <a:pt x="625195" y="91247"/>
                        <a:pt x="623593" y="91247"/>
                      </a:cubicBezTo>
                      <a:cubicBezTo>
                        <a:pt x="623433" y="89845"/>
                        <a:pt x="622793" y="88444"/>
                        <a:pt x="621831" y="87394"/>
                      </a:cubicBezTo>
                      <a:cubicBezTo>
                        <a:pt x="620710" y="86168"/>
                        <a:pt x="618948" y="85292"/>
                        <a:pt x="617346" y="85292"/>
                      </a:cubicBezTo>
                      <a:lnTo>
                        <a:pt x="525081" y="85292"/>
                      </a:lnTo>
                      <a:cubicBezTo>
                        <a:pt x="524760" y="84416"/>
                        <a:pt x="524280" y="83540"/>
                        <a:pt x="523639" y="82840"/>
                      </a:cubicBezTo>
                      <a:cubicBezTo>
                        <a:pt x="523319" y="82315"/>
                        <a:pt x="522838" y="81964"/>
                        <a:pt x="522358" y="81614"/>
                      </a:cubicBezTo>
                      <a:cubicBezTo>
                        <a:pt x="522037" y="80388"/>
                        <a:pt x="521557" y="79512"/>
                        <a:pt x="520756" y="78637"/>
                      </a:cubicBezTo>
                      <a:cubicBezTo>
                        <a:pt x="519634" y="77411"/>
                        <a:pt x="518033" y="76535"/>
                        <a:pt x="516271" y="76535"/>
                      </a:cubicBezTo>
                      <a:cubicBezTo>
                        <a:pt x="515950" y="75484"/>
                        <a:pt x="515470" y="74608"/>
                        <a:pt x="514829" y="73908"/>
                      </a:cubicBezTo>
                      <a:cubicBezTo>
                        <a:pt x="513708" y="72682"/>
                        <a:pt x="511946" y="71806"/>
                        <a:pt x="510344" y="71806"/>
                      </a:cubicBezTo>
                      <a:lnTo>
                        <a:pt x="501213" y="71806"/>
                      </a:lnTo>
                      <a:cubicBezTo>
                        <a:pt x="501213" y="71806"/>
                        <a:pt x="500412" y="70230"/>
                        <a:pt x="499932" y="69705"/>
                      </a:cubicBezTo>
                      <a:cubicBezTo>
                        <a:pt x="498811" y="68479"/>
                        <a:pt x="497049" y="67603"/>
                        <a:pt x="495447" y="67603"/>
                      </a:cubicBezTo>
                      <a:lnTo>
                        <a:pt x="441625" y="67603"/>
                      </a:lnTo>
                      <a:cubicBezTo>
                        <a:pt x="441625" y="67603"/>
                        <a:pt x="440824" y="66202"/>
                        <a:pt x="440344" y="65501"/>
                      </a:cubicBezTo>
                      <a:cubicBezTo>
                        <a:pt x="439222" y="64275"/>
                        <a:pt x="437461" y="63400"/>
                        <a:pt x="435859" y="63400"/>
                      </a:cubicBezTo>
                      <a:lnTo>
                        <a:pt x="426728" y="63400"/>
                      </a:lnTo>
                      <a:cubicBezTo>
                        <a:pt x="426728" y="63400"/>
                        <a:pt x="425927" y="61999"/>
                        <a:pt x="425447" y="61298"/>
                      </a:cubicBezTo>
                      <a:cubicBezTo>
                        <a:pt x="424325" y="60072"/>
                        <a:pt x="422563" y="59196"/>
                        <a:pt x="420962" y="59196"/>
                      </a:cubicBezTo>
                      <a:lnTo>
                        <a:pt x="379314" y="59196"/>
                      </a:lnTo>
                      <a:cubicBezTo>
                        <a:pt x="378994" y="58321"/>
                        <a:pt x="378513" y="57445"/>
                        <a:pt x="377872" y="56744"/>
                      </a:cubicBezTo>
                      <a:cubicBezTo>
                        <a:pt x="376751" y="55519"/>
                        <a:pt x="374989" y="54643"/>
                        <a:pt x="373387" y="54643"/>
                      </a:cubicBezTo>
                      <a:lnTo>
                        <a:pt x="370344" y="54643"/>
                      </a:lnTo>
                      <a:cubicBezTo>
                        <a:pt x="370023" y="53767"/>
                        <a:pt x="369543" y="52891"/>
                        <a:pt x="368902" y="52191"/>
                      </a:cubicBezTo>
                      <a:cubicBezTo>
                        <a:pt x="367781" y="50965"/>
                        <a:pt x="366019" y="50089"/>
                        <a:pt x="364417" y="50089"/>
                      </a:cubicBezTo>
                      <a:lnTo>
                        <a:pt x="349360" y="50089"/>
                      </a:lnTo>
                      <a:cubicBezTo>
                        <a:pt x="349360" y="50089"/>
                        <a:pt x="348559" y="48513"/>
                        <a:pt x="347918" y="47812"/>
                      </a:cubicBezTo>
                      <a:cubicBezTo>
                        <a:pt x="346797" y="46587"/>
                        <a:pt x="345035" y="45711"/>
                        <a:pt x="343433" y="45711"/>
                      </a:cubicBezTo>
                      <a:lnTo>
                        <a:pt x="301785" y="45711"/>
                      </a:lnTo>
                      <a:cubicBezTo>
                        <a:pt x="301465" y="44835"/>
                        <a:pt x="300984" y="43959"/>
                        <a:pt x="300344" y="43259"/>
                      </a:cubicBezTo>
                      <a:cubicBezTo>
                        <a:pt x="299222" y="42033"/>
                        <a:pt x="297460" y="41157"/>
                        <a:pt x="295858" y="41157"/>
                      </a:cubicBezTo>
                      <a:lnTo>
                        <a:pt x="295698" y="41157"/>
                      </a:lnTo>
                      <a:cubicBezTo>
                        <a:pt x="295698" y="41157"/>
                        <a:pt x="295058" y="39756"/>
                        <a:pt x="294417" y="39231"/>
                      </a:cubicBezTo>
                      <a:cubicBezTo>
                        <a:pt x="293296" y="38005"/>
                        <a:pt x="291534" y="37129"/>
                        <a:pt x="289932" y="37129"/>
                      </a:cubicBezTo>
                      <a:lnTo>
                        <a:pt x="239154" y="37129"/>
                      </a:lnTo>
                      <a:cubicBezTo>
                        <a:pt x="239154" y="37129"/>
                        <a:pt x="238353" y="35728"/>
                        <a:pt x="237872" y="35027"/>
                      </a:cubicBezTo>
                      <a:cubicBezTo>
                        <a:pt x="236751" y="33801"/>
                        <a:pt x="234989" y="32926"/>
                        <a:pt x="233387" y="32926"/>
                      </a:cubicBezTo>
                      <a:lnTo>
                        <a:pt x="230344" y="32926"/>
                      </a:lnTo>
                      <a:cubicBezTo>
                        <a:pt x="230023" y="32050"/>
                        <a:pt x="229543" y="31174"/>
                        <a:pt x="228902" y="30649"/>
                      </a:cubicBezTo>
                      <a:cubicBezTo>
                        <a:pt x="227781" y="29423"/>
                        <a:pt x="226019" y="28547"/>
                        <a:pt x="224417" y="28547"/>
                      </a:cubicBezTo>
                      <a:lnTo>
                        <a:pt x="221533" y="28547"/>
                      </a:lnTo>
                      <a:cubicBezTo>
                        <a:pt x="221213" y="27497"/>
                        <a:pt x="220733" y="26621"/>
                        <a:pt x="220092" y="25920"/>
                      </a:cubicBezTo>
                      <a:cubicBezTo>
                        <a:pt x="218971" y="24694"/>
                        <a:pt x="217209" y="23819"/>
                        <a:pt x="215607" y="23819"/>
                      </a:cubicBezTo>
                      <a:lnTo>
                        <a:pt x="200549" y="23819"/>
                      </a:lnTo>
                      <a:cubicBezTo>
                        <a:pt x="200549" y="23819"/>
                        <a:pt x="199749" y="22242"/>
                        <a:pt x="199268" y="21717"/>
                      </a:cubicBezTo>
                      <a:cubicBezTo>
                        <a:pt x="198948" y="21367"/>
                        <a:pt x="198467" y="21016"/>
                        <a:pt x="197987" y="20666"/>
                      </a:cubicBezTo>
                      <a:cubicBezTo>
                        <a:pt x="197666" y="19440"/>
                        <a:pt x="197186" y="18389"/>
                        <a:pt x="196385" y="17514"/>
                      </a:cubicBezTo>
                      <a:cubicBezTo>
                        <a:pt x="195263" y="16288"/>
                        <a:pt x="193501" y="15412"/>
                        <a:pt x="191900" y="15412"/>
                      </a:cubicBezTo>
                      <a:lnTo>
                        <a:pt x="159062" y="15412"/>
                      </a:lnTo>
                      <a:cubicBezTo>
                        <a:pt x="159062" y="15412"/>
                        <a:pt x="158261" y="13661"/>
                        <a:pt x="157620" y="13135"/>
                      </a:cubicBezTo>
                      <a:cubicBezTo>
                        <a:pt x="157140" y="12610"/>
                        <a:pt x="156819" y="12260"/>
                        <a:pt x="156179" y="11909"/>
                      </a:cubicBezTo>
                      <a:cubicBezTo>
                        <a:pt x="155858" y="10859"/>
                        <a:pt x="155378" y="9808"/>
                        <a:pt x="154577" y="8932"/>
                      </a:cubicBezTo>
                      <a:cubicBezTo>
                        <a:pt x="153456" y="7706"/>
                        <a:pt x="151694" y="6830"/>
                        <a:pt x="150092" y="6830"/>
                      </a:cubicBezTo>
                      <a:lnTo>
                        <a:pt x="84897" y="6830"/>
                      </a:lnTo>
                      <a:lnTo>
                        <a:pt x="84897" y="5780"/>
                      </a:lnTo>
                      <a:cubicBezTo>
                        <a:pt x="84897" y="4028"/>
                        <a:pt x="84256" y="2102"/>
                        <a:pt x="82975" y="876"/>
                      </a:cubicBezTo>
                      <a:cubicBezTo>
                        <a:pt x="82655" y="525"/>
                        <a:pt x="82334" y="350"/>
                        <a:pt x="82174" y="0"/>
                      </a:cubicBezTo>
                      <a:lnTo>
                        <a:pt x="152975" y="0"/>
                      </a:lnTo>
                      <a:lnTo>
                        <a:pt x="152975" y="525"/>
                      </a:lnTo>
                      <a:lnTo>
                        <a:pt x="191739" y="525"/>
                      </a:lnTo>
                      <a:lnTo>
                        <a:pt x="191739" y="3152"/>
                      </a:lnTo>
                      <a:lnTo>
                        <a:pt x="194623" y="3152"/>
                      </a:lnTo>
                      <a:lnTo>
                        <a:pt x="194623" y="5955"/>
                      </a:lnTo>
                      <a:lnTo>
                        <a:pt x="215446" y="5955"/>
                      </a:lnTo>
                      <a:lnTo>
                        <a:pt x="215446" y="8932"/>
                      </a:lnTo>
                      <a:lnTo>
                        <a:pt x="224417" y="8932"/>
                      </a:lnTo>
                      <a:lnTo>
                        <a:pt x="224417" y="12084"/>
                      </a:lnTo>
                      <a:lnTo>
                        <a:pt x="233387" y="12084"/>
                      </a:lnTo>
                      <a:lnTo>
                        <a:pt x="233387" y="15062"/>
                      </a:lnTo>
                      <a:lnTo>
                        <a:pt x="289932" y="15062"/>
                      </a:lnTo>
                      <a:lnTo>
                        <a:pt x="289932" y="18039"/>
                      </a:lnTo>
                      <a:lnTo>
                        <a:pt x="295858" y="18039"/>
                      </a:lnTo>
                      <a:lnTo>
                        <a:pt x="295858" y="21192"/>
                      </a:lnTo>
                      <a:lnTo>
                        <a:pt x="343433" y="21192"/>
                      </a:lnTo>
                      <a:lnTo>
                        <a:pt x="343433" y="24344"/>
                      </a:lnTo>
                      <a:lnTo>
                        <a:pt x="364257" y="24344"/>
                      </a:lnTo>
                      <a:lnTo>
                        <a:pt x="364257" y="27672"/>
                      </a:lnTo>
                      <a:lnTo>
                        <a:pt x="373227" y="27672"/>
                      </a:lnTo>
                      <a:lnTo>
                        <a:pt x="373227" y="30999"/>
                      </a:lnTo>
                      <a:lnTo>
                        <a:pt x="420801" y="30999"/>
                      </a:lnTo>
                      <a:lnTo>
                        <a:pt x="420801" y="34327"/>
                      </a:lnTo>
                      <a:lnTo>
                        <a:pt x="435698" y="34327"/>
                      </a:lnTo>
                      <a:lnTo>
                        <a:pt x="435698" y="37479"/>
                      </a:lnTo>
                      <a:lnTo>
                        <a:pt x="495287" y="37479"/>
                      </a:lnTo>
                      <a:lnTo>
                        <a:pt x="495287" y="40807"/>
                      </a:lnTo>
                      <a:lnTo>
                        <a:pt x="510184" y="40807"/>
                      </a:lnTo>
                      <a:lnTo>
                        <a:pt x="510184" y="44310"/>
                      </a:lnTo>
                      <a:lnTo>
                        <a:pt x="516111" y="44310"/>
                      </a:lnTo>
                      <a:lnTo>
                        <a:pt x="516111" y="47637"/>
                      </a:lnTo>
                      <a:lnTo>
                        <a:pt x="519154" y="47637"/>
                      </a:lnTo>
                      <a:lnTo>
                        <a:pt x="519154" y="51315"/>
                      </a:lnTo>
                      <a:lnTo>
                        <a:pt x="617506" y="51315"/>
                      </a:lnTo>
                      <a:lnTo>
                        <a:pt x="617506" y="55694"/>
                      </a:lnTo>
                      <a:lnTo>
                        <a:pt x="623433" y="55694"/>
                      </a:lnTo>
                      <a:lnTo>
                        <a:pt x="623433" y="59021"/>
                      </a:lnTo>
                      <a:lnTo>
                        <a:pt x="641214" y="59021"/>
                      </a:lnTo>
                      <a:lnTo>
                        <a:pt x="641214" y="62349"/>
                      </a:lnTo>
                      <a:lnTo>
                        <a:pt x="672129" y="62349"/>
                      </a:lnTo>
                      <a:lnTo>
                        <a:pt x="686065" y="65676"/>
                      </a:lnTo>
                      <a:lnTo>
                        <a:pt x="733639" y="65676"/>
                      </a:lnTo>
                      <a:cubicBezTo>
                        <a:pt x="733639" y="65676"/>
                        <a:pt x="781374" y="65852"/>
                        <a:pt x="781374" y="65852"/>
                      </a:cubicBezTo>
                      <a:lnTo>
                        <a:pt x="781374" y="69179"/>
                      </a:lnTo>
                      <a:lnTo>
                        <a:pt x="796271" y="69179"/>
                      </a:lnTo>
                      <a:lnTo>
                        <a:pt x="796271" y="82490"/>
                      </a:lnTo>
                      <a:lnTo>
                        <a:pt x="864829" y="82490"/>
                      </a:lnTo>
                      <a:lnTo>
                        <a:pt x="864829" y="84066"/>
                      </a:lnTo>
                      <a:lnTo>
                        <a:pt x="891740" y="84066"/>
                      </a:lnTo>
                      <a:lnTo>
                        <a:pt x="891740" y="87569"/>
                      </a:lnTo>
                      <a:lnTo>
                        <a:pt x="897667" y="87569"/>
                      </a:lnTo>
                      <a:lnTo>
                        <a:pt x="897667" y="91071"/>
                      </a:lnTo>
                      <a:lnTo>
                        <a:pt x="903594" y="91071"/>
                      </a:lnTo>
                      <a:lnTo>
                        <a:pt x="903594" y="94749"/>
                      </a:lnTo>
                      <a:lnTo>
                        <a:pt x="924418" y="94749"/>
                      </a:lnTo>
                      <a:lnTo>
                        <a:pt x="924418" y="98252"/>
                      </a:lnTo>
                      <a:lnTo>
                        <a:pt x="984006" y="98252"/>
                      </a:lnTo>
                      <a:lnTo>
                        <a:pt x="984006" y="101930"/>
                      </a:lnTo>
                      <a:lnTo>
                        <a:pt x="1004830" y="101930"/>
                      </a:lnTo>
                      <a:lnTo>
                        <a:pt x="1004830" y="105783"/>
                      </a:lnTo>
                      <a:lnTo>
                        <a:pt x="1031580" y="105783"/>
                      </a:lnTo>
                      <a:lnTo>
                        <a:pt x="1031580" y="109986"/>
                      </a:lnTo>
                      <a:lnTo>
                        <a:pt x="1034624" y="109986"/>
                      </a:lnTo>
                      <a:lnTo>
                        <a:pt x="1034624" y="113664"/>
                      </a:lnTo>
                      <a:lnTo>
                        <a:pt x="1103182" y="113664"/>
                      </a:lnTo>
                      <a:lnTo>
                        <a:pt x="1103182" y="117342"/>
                      </a:lnTo>
                      <a:lnTo>
                        <a:pt x="1109109" y="117342"/>
                      </a:lnTo>
                      <a:lnTo>
                        <a:pt x="1109109" y="121020"/>
                      </a:lnTo>
                      <a:lnTo>
                        <a:pt x="1115036" y="121020"/>
                      </a:lnTo>
                      <a:lnTo>
                        <a:pt x="1115036" y="125223"/>
                      </a:lnTo>
                      <a:lnTo>
                        <a:pt x="1222359" y="125223"/>
                      </a:lnTo>
                      <a:lnTo>
                        <a:pt x="1222359" y="129076"/>
                      </a:lnTo>
                      <a:lnTo>
                        <a:pt x="1240139" y="129076"/>
                      </a:lnTo>
                      <a:lnTo>
                        <a:pt x="1240139" y="133104"/>
                      </a:lnTo>
                      <a:lnTo>
                        <a:pt x="1264006" y="133104"/>
                      </a:lnTo>
                      <a:lnTo>
                        <a:pt x="1264006" y="137132"/>
                      </a:lnTo>
                      <a:lnTo>
                        <a:pt x="1332565" y="137132"/>
                      </a:lnTo>
                      <a:lnTo>
                        <a:pt x="1332565" y="141161"/>
                      </a:lnTo>
                      <a:lnTo>
                        <a:pt x="1362359" y="141161"/>
                      </a:lnTo>
                      <a:lnTo>
                        <a:pt x="1362359" y="145189"/>
                      </a:lnTo>
                      <a:lnTo>
                        <a:pt x="1386226" y="145189"/>
                      </a:lnTo>
                      <a:lnTo>
                        <a:pt x="1386226" y="149567"/>
                      </a:lnTo>
                      <a:lnTo>
                        <a:pt x="1395196" y="149567"/>
                      </a:lnTo>
                      <a:lnTo>
                        <a:pt x="1395196" y="153595"/>
                      </a:lnTo>
                      <a:lnTo>
                        <a:pt x="1410093" y="153595"/>
                      </a:lnTo>
                      <a:lnTo>
                        <a:pt x="1410093" y="157273"/>
                      </a:lnTo>
                      <a:lnTo>
                        <a:pt x="1413137" y="157273"/>
                      </a:lnTo>
                      <a:lnTo>
                        <a:pt x="1413137" y="160075"/>
                      </a:lnTo>
                      <a:lnTo>
                        <a:pt x="1433961" y="160075"/>
                      </a:lnTo>
                      <a:lnTo>
                        <a:pt x="1433961" y="161827"/>
                      </a:lnTo>
                      <a:lnTo>
                        <a:pt x="1502519" y="161827"/>
                      </a:lnTo>
                      <a:lnTo>
                        <a:pt x="1502519" y="190549"/>
                      </a:lnTo>
                      <a:lnTo>
                        <a:pt x="1541283" y="190549"/>
                      </a:lnTo>
                      <a:lnTo>
                        <a:pt x="1541283" y="215069"/>
                      </a:lnTo>
                      <a:moveTo>
                        <a:pt x="1742474" y="303338"/>
                      </a:moveTo>
                      <a:lnTo>
                        <a:pt x="1709796" y="303338"/>
                      </a:lnTo>
                      <a:lnTo>
                        <a:pt x="1709796" y="298609"/>
                      </a:lnTo>
                      <a:lnTo>
                        <a:pt x="1676959" y="298609"/>
                      </a:lnTo>
                      <a:lnTo>
                        <a:pt x="1676959" y="293530"/>
                      </a:lnTo>
                      <a:lnTo>
                        <a:pt x="1662062" y="293530"/>
                      </a:lnTo>
                      <a:lnTo>
                        <a:pt x="1662062" y="288101"/>
                      </a:lnTo>
                      <a:lnTo>
                        <a:pt x="1584533" y="288101"/>
                      </a:lnTo>
                      <a:lnTo>
                        <a:pt x="1584533" y="283372"/>
                      </a:lnTo>
                      <a:lnTo>
                        <a:pt x="1432679" y="283372"/>
                      </a:lnTo>
                      <a:lnTo>
                        <a:pt x="1432679" y="277593"/>
                      </a:lnTo>
                      <a:lnTo>
                        <a:pt x="1408812" y="277593"/>
                      </a:lnTo>
                      <a:lnTo>
                        <a:pt x="1408812" y="272864"/>
                      </a:lnTo>
                      <a:lnTo>
                        <a:pt x="1393915" y="272864"/>
                      </a:lnTo>
                      <a:lnTo>
                        <a:pt x="1393915" y="267785"/>
                      </a:lnTo>
                      <a:lnTo>
                        <a:pt x="1384945" y="267785"/>
                      </a:lnTo>
                      <a:lnTo>
                        <a:pt x="1384945" y="262005"/>
                      </a:lnTo>
                      <a:lnTo>
                        <a:pt x="1361077" y="262005"/>
                      </a:lnTo>
                      <a:lnTo>
                        <a:pt x="1361077" y="256926"/>
                      </a:lnTo>
                      <a:lnTo>
                        <a:pt x="1331283" y="256926"/>
                      </a:lnTo>
                      <a:lnTo>
                        <a:pt x="1331283" y="251672"/>
                      </a:lnTo>
                      <a:lnTo>
                        <a:pt x="1262725" y="251672"/>
                      </a:lnTo>
                      <a:lnTo>
                        <a:pt x="1262725" y="246243"/>
                      </a:lnTo>
                      <a:lnTo>
                        <a:pt x="1238857" y="246243"/>
                      </a:lnTo>
                      <a:lnTo>
                        <a:pt x="1238857" y="240814"/>
                      </a:lnTo>
                      <a:lnTo>
                        <a:pt x="1221077" y="240814"/>
                      </a:lnTo>
                      <a:lnTo>
                        <a:pt x="1221077" y="235735"/>
                      </a:lnTo>
                      <a:lnTo>
                        <a:pt x="1113754" y="235735"/>
                      </a:lnTo>
                      <a:lnTo>
                        <a:pt x="1113754" y="230130"/>
                      </a:lnTo>
                      <a:lnTo>
                        <a:pt x="1107827" y="230130"/>
                      </a:lnTo>
                      <a:lnTo>
                        <a:pt x="1107827" y="225227"/>
                      </a:lnTo>
                      <a:lnTo>
                        <a:pt x="1101901" y="225227"/>
                      </a:lnTo>
                      <a:lnTo>
                        <a:pt x="1101901" y="220323"/>
                      </a:lnTo>
                      <a:lnTo>
                        <a:pt x="1033342" y="220323"/>
                      </a:lnTo>
                      <a:lnTo>
                        <a:pt x="1033342" y="215594"/>
                      </a:lnTo>
                      <a:lnTo>
                        <a:pt x="1030299" y="215594"/>
                      </a:lnTo>
                      <a:lnTo>
                        <a:pt x="1030299" y="209814"/>
                      </a:lnTo>
                      <a:lnTo>
                        <a:pt x="1003548" y="209814"/>
                      </a:lnTo>
                      <a:lnTo>
                        <a:pt x="1003548" y="204735"/>
                      </a:lnTo>
                      <a:lnTo>
                        <a:pt x="982724" y="204735"/>
                      </a:lnTo>
                      <a:lnTo>
                        <a:pt x="982724" y="199656"/>
                      </a:lnTo>
                      <a:lnTo>
                        <a:pt x="923136" y="199656"/>
                      </a:lnTo>
                      <a:lnTo>
                        <a:pt x="923136" y="195103"/>
                      </a:lnTo>
                      <a:lnTo>
                        <a:pt x="902312" y="195103"/>
                      </a:lnTo>
                      <a:lnTo>
                        <a:pt x="902312" y="190024"/>
                      </a:lnTo>
                      <a:lnTo>
                        <a:pt x="896386" y="190024"/>
                      </a:lnTo>
                      <a:lnTo>
                        <a:pt x="896386" y="185295"/>
                      </a:lnTo>
                      <a:lnTo>
                        <a:pt x="890459" y="185295"/>
                      </a:lnTo>
                      <a:lnTo>
                        <a:pt x="890459" y="180391"/>
                      </a:lnTo>
                      <a:lnTo>
                        <a:pt x="863548" y="180391"/>
                      </a:lnTo>
                      <a:lnTo>
                        <a:pt x="863548" y="175312"/>
                      </a:lnTo>
                      <a:lnTo>
                        <a:pt x="854578" y="175312"/>
                      </a:lnTo>
                      <a:lnTo>
                        <a:pt x="854578" y="164279"/>
                      </a:lnTo>
                      <a:lnTo>
                        <a:pt x="839681" y="164279"/>
                      </a:lnTo>
                      <a:lnTo>
                        <a:pt x="839681" y="159375"/>
                      </a:lnTo>
                      <a:lnTo>
                        <a:pt x="780093" y="159375"/>
                      </a:lnTo>
                      <a:lnTo>
                        <a:pt x="780093" y="154646"/>
                      </a:lnTo>
                      <a:lnTo>
                        <a:pt x="732358" y="154646"/>
                      </a:lnTo>
                      <a:lnTo>
                        <a:pt x="732358" y="149918"/>
                      </a:lnTo>
                      <a:lnTo>
                        <a:pt x="639932" y="149918"/>
                      </a:lnTo>
                      <a:lnTo>
                        <a:pt x="639932" y="145189"/>
                      </a:lnTo>
                      <a:lnTo>
                        <a:pt x="622152" y="145189"/>
                      </a:lnTo>
                      <a:lnTo>
                        <a:pt x="622152" y="140285"/>
                      </a:lnTo>
                      <a:lnTo>
                        <a:pt x="616225" y="140285"/>
                      </a:lnTo>
                      <a:lnTo>
                        <a:pt x="616225" y="132929"/>
                      </a:lnTo>
                      <a:lnTo>
                        <a:pt x="517872" y="132929"/>
                      </a:lnTo>
                      <a:lnTo>
                        <a:pt x="517872" y="127500"/>
                      </a:lnTo>
                      <a:lnTo>
                        <a:pt x="514829" y="127500"/>
                      </a:lnTo>
                      <a:lnTo>
                        <a:pt x="514829" y="122596"/>
                      </a:lnTo>
                      <a:lnTo>
                        <a:pt x="508902" y="122596"/>
                      </a:lnTo>
                      <a:lnTo>
                        <a:pt x="508902" y="116992"/>
                      </a:lnTo>
                      <a:lnTo>
                        <a:pt x="494005" y="116992"/>
                      </a:lnTo>
                      <a:lnTo>
                        <a:pt x="494005" y="111913"/>
                      </a:lnTo>
                      <a:lnTo>
                        <a:pt x="434417" y="111913"/>
                      </a:lnTo>
                      <a:lnTo>
                        <a:pt x="434417" y="107009"/>
                      </a:lnTo>
                      <a:lnTo>
                        <a:pt x="419520" y="107009"/>
                      </a:lnTo>
                      <a:lnTo>
                        <a:pt x="419520" y="102105"/>
                      </a:lnTo>
                      <a:lnTo>
                        <a:pt x="371946" y="102105"/>
                      </a:lnTo>
                      <a:lnTo>
                        <a:pt x="371946" y="96501"/>
                      </a:lnTo>
                      <a:lnTo>
                        <a:pt x="362975" y="96501"/>
                      </a:lnTo>
                      <a:lnTo>
                        <a:pt x="362975" y="90896"/>
                      </a:lnTo>
                      <a:lnTo>
                        <a:pt x="342151" y="90896"/>
                      </a:lnTo>
                      <a:lnTo>
                        <a:pt x="342151" y="85467"/>
                      </a:lnTo>
                      <a:lnTo>
                        <a:pt x="294577" y="85467"/>
                      </a:lnTo>
                      <a:lnTo>
                        <a:pt x="294577" y="79863"/>
                      </a:lnTo>
                      <a:lnTo>
                        <a:pt x="288650" y="79863"/>
                      </a:lnTo>
                      <a:lnTo>
                        <a:pt x="288650" y="74784"/>
                      </a:lnTo>
                      <a:lnTo>
                        <a:pt x="232106" y="74784"/>
                      </a:lnTo>
                      <a:lnTo>
                        <a:pt x="232106" y="69530"/>
                      </a:lnTo>
                      <a:lnTo>
                        <a:pt x="223135" y="69530"/>
                      </a:lnTo>
                      <a:lnTo>
                        <a:pt x="223135" y="63925"/>
                      </a:lnTo>
                      <a:lnTo>
                        <a:pt x="214165" y="63925"/>
                      </a:lnTo>
                      <a:lnTo>
                        <a:pt x="214165" y="57620"/>
                      </a:lnTo>
                      <a:lnTo>
                        <a:pt x="193341" y="57620"/>
                      </a:lnTo>
                      <a:lnTo>
                        <a:pt x="193341" y="52016"/>
                      </a:lnTo>
                      <a:lnTo>
                        <a:pt x="190458" y="52016"/>
                      </a:lnTo>
                      <a:lnTo>
                        <a:pt x="190458" y="46236"/>
                      </a:lnTo>
                      <a:lnTo>
                        <a:pt x="151694" y="46236"/>
                      </a:lnTo>
                      <a:lnTo>
                        <a:pt x="151694" y="40106"/>
                      </a:lnTo>
                      <a:lnTo>
                        <a:pt x="148650" y="40106"/>
                      </a:lnTo>
                      <a:lnTo>
                        <a:pt x="148650" y="34327"/>
                      </a:lnTo>
                      <a:lnTo>
                        <a:pt x="77208" y="34327"/>
                      </a:lnTo>
                      <a:lnTo>
                        <a:pt x="77208" y="23293"/>
                      </a:lnTo>
                      <a:lnTo>
                        <a:pt x="142883" y="23293"/>
                      </a:lnTo>
                      <a:cubicBezTo>
                        <a:pt x="142883" y="23293"/>
                        <a:pt x="143684" y="24694"/>
                        <a:pt x="144165" y="25395"/>
                      </a:cubicBezTo>
                      <a:cubicBezTo>
                        <a:pt x="144485" y="25745"/>
                        <a:pt x="144966" y="26095"/>
                        <a:pt x="145446" y="26446"/>
                      </a:cubicBezTo>
                      <a:cubicBezTo>
                        <a:pt x="145767" y="27672"/>
                        <a:pt x="146247" y="28898"/>
                        <a:pt x="147208" y="29773"/>
                      </a:cubicBezTo>
                      <a:cubicBezTo>
                        <a:pt x="148330" y="30999"/>
                        <a:pt x="150092" y="31875"/>
                        <a:pt x="151694" y="31875"/>
                      </a:cubicBezTo>
                      <a:lnTo>
                        <a:pt x="184531" y="31875"/>
                      </a:lnTo>
                      <a:cubicBezTo>
                        <a:pt x="184531" y="31875"/>
                        <a:pt x="185332" y="33451"/>
                        <a:pt x="185813" y="34152"/>
                      </a:cubicBezTo>
                      <a:cubicBezTo>
                        <a:pt x="186133" y="34502"/>
                        <a:pt x="186614" y="34852"/>
                        <a:pt x="187094" y="35203"/>
                      </a:cubicBezTo>
                      <a:cubicBezTo>
                        <a:pt x="187414" y="36429"/>
                        <a:pt x="187895" y="37479"/>
                        <a:pt x="188696" y="38355"/>
                      </a:cubicBezTo>
                      <a:cubicBezTo>
                        <a:pt x="189817" y="39581"/>
                        <a:pt x="191579" y="40457"/>
                        <a:pt x="193181" y="40457"/>
                      </a:cubicBezTo>
                      <a:lnTo>
                        <a:pt x="208078" y="40457"/>
                      </a:lnTo>
                      <a:cubicBezTo>
                        <a:pt x="208398" y="41508"/>
                        <a:pt x="208879" y="42383"/>
                        <a:pt x="209680" y="43084"/>
                      </a:cubicBezTo>
                      <a:cubicBezTo>
                        <a:pt x="210801" y="44310"/>
                        <a:pt x="212403" y="45185"/>
                        <a:pt x="214165" y="45185"/>
                      </a:cubicBezTo>
                      <a:lnTo>
                        <a:pt x="217209" y="45185"/>
                      </a:lnTo>
                      <a:cubicBezTo>
                        <a:pt x="217209" y="45185"/>
                        <a:pt x="218009" y="46937"/>
                        <a:pt x="218650" y="47462"/>
                      </a:cubicBezTo>
                      <a:cubicBezTo>
                        <a:pt x="219771" y="48688"/>
                        <a:pt x="221533" y="49564"/>
                        <a:pt x="223135" y="49564"/>
                      </a:cubicBezTo>
                      <a:lnTo>
                        <a:pt x="226339" y="49564"/>
                      </a:lnTo>
                      <a:cubicBezTo>
                        <a:pt x="226339" y="49564"/>
                        <a:pt x="227140" y="50965"/>
                        <a:pt x="227620" y="51665"/>
                      </a:cubicBezTo>
                      <a:cubicBezTo>
                        <a:pt x="228742" y="52891"/>
                        <a:pt x="230504" y="53767"/>
                        <a:pt x="232106" y="53767"/>
                      </a:cubicBezTo>
                      <a:lnTo>
                        <a:pt x="282884" y="53767"/>
                      </a:lnTo>
                      <a:cubicBezTo>
                        <a:pt x="282884" y="53767"/>
                        <a:pt x="283685" y="55168"/>
                        <a:pt x="284165" y="55694"/>
                      </a:cubicBezTo>
                      <a:cubicBezTo>
                        <a:pt x="285286" y="56920"/>
                        <a:pt x="287048" y="57795"/>
                        <a:pt x="288650" y="57795"/>
                      </a:cubicBezTo>
                      <a:lnTo>
                        <a:pt x="288650" y="57795"/>
                      </a:lnTo>
                      <a:cubicBezTo>
                        <a:pt x="288971" y="58671"/>
                        <a:pt x="289451" y="59547"/>
                        <a:pt x="290092" y="60247"/>
                      </a:cubicBezTo>
                      <a:cubicBezTo>
                        <a:pt x="291213" y="61473"/>
                        <a:pt x="292975" y="62349"/>
                        <a:pt x="294577" y="62349"/>
                      </a:cubicBezTo>
                      <a:lnTo>
                        <a:pt x="336385" y="62349"/>
                      </a:lnTo>
                      <a:cubicBezTo>
                        <a:pt x="336385" y="62349"/>
                        <a:pt x="337186" y="63925"/>
                        <a:pt x="337827" y="64626"/>
                      </a:cubicBezTo>
                      <a:cubicBezTo>
                        <a:pt x="338948" y="65852"/>
                        <a:pt x="340710" y="66727"/>
                        <a:pt x="342312" y="66727"/>
                      </a:cubicBezTo>
                      <a:lnTo>
                        <a:pt x="357209" y="66727"/>
                      </a:lnTo>
                      <a:cubicBezTo>
                        <a:pt x="357529" y="67603"/>
                        <a:pt x="358010" y="68479"/>
                        <a:pt x="358650" y="69179"/>
                      </a:cubicBezTo>
                      <a:cubicBezTo>
                        <a:pt x="359772" y="70405"/>
                        <a:pt x="361534" y="71281"/>
                        <a:pt x="363135" y="71281"/>
                      </a:cubicBezTo>
                      <a:lnTo>
                        <a:pt x="366179" y="71281"/>
                      </a:lnTo>
                      <a:cubicBezTo>
                        <a:pt x="366499" y="72157"/>
                        <a:pt x="366980" y="73032"/>
                        <a:pt x="367621" y="73733"/>
                      </a:cubicBezTo>
                      <a:cubicBezTo>
                        <a:pt x="368742" y="74959"/>
                        <a:pt x="370504" y="75834"/>
                        <a:pt x="372106" y="75834"/>
                      </a:cubicBezTo>
                      <a:lnTo>
                        <a:pt x="413914" y="75834"/>
                      </a:lnTo>
                      <a:cubicBezTo>
                        <a:pt x="413914" y="75834"/>
                        <a:pt x="414714" y="77236"/>
                        <a:pt x="415195" y="77936"/>
                      </a:cubicBezTo>
                      <a:cubicBezTo>
                        <a:pt x="416316" y="79162"/>
                        <a:pt x="418078" y="80038"/>
                        <a:pt x="419680" y="80038"/>
                      </a:cubicBezTo>
                      <a:lnTo>
                        <a:pt x="428811" y="80038"/>
                      </a:lnTo>
                      <a:cubicBezTo>
                        <a:pt x="428811" y="80038"/>
                        <a:pt x="429612" y="81439"/>
                        <a:pt x="430092" y="82139"/>
                      </a:cubicBezTo>
                      <a:cubicBezTo>
                        <a:pt x="431213" y="83365"/>
                        <a:pt x="432975" y="84241"/>
                        <a:pt x="434577" y="84241"/>
                      </a:cubicBezTo>
                      <a:lnTo>
                        <a:pt x="488399" y="84241"/>
                      </a:lnTo>
                      <a:cubicBezTo>
                        <a:pt x="488399" y="84241"/>
                        <a:pt x="489200" y="85817"/>
                        <a:pt x="489680" y="86343"/>
                      </a:cubicBezTo>
                      <a:cubicBezTo>
                        <a:pt x="490802" y="87569"/>
                        <a:pt x="492564" y="88444"/>
                        <a:pt x="494165" y="88444"/>
                      </a:cubicBezTo>
                      <a:lnTo>
                        <a:pt x="503136" y="88444"/>
                      </a:lnTo>
                      <a:cubicBezTo>
                        <a:pt x="503456" y="89495"/>
                        <a:pt x="503937" y="90371"/>
                        <a:pt x="504577" y="91071"/>
                      </a:cubicBezTo>
                      <a:cubicBezTo>
                        <a:pt x="505699" y="92297"/>
                        <a:pt x="507461" y="93173"/>
                        <a:pt x="509062" y="93173"/>
                      </a:cubicBezTo>
                      <a:lnTo>
                        <a:pt x="509062" y="93173"/>
                      </a:lnTo>
                      <a:cubicBezTo>
                        <a:pt x="509062" y="93173"/>
                        <a:pt x="509863" y="94749"/>
                        <a:pt x="510344" y="95275"/>
                      </a:cubicBezTo>
                      <a:cubicBezTo>
                        <a:pt x="510664" y="95625"/>
                        <a:pt x="511145" y="95975"/>
                        <a:pt x="511625" y="96326"/>
                      </a:cubicBezTo>
                      <a:cubicBezTo>
                        <a:pt x="511946" y="97727"/>
                        <a:pt x="512426" y="98777"/>
                        <a:pt x="513387" y="99828"/>
                      </a:cubicBezTo>
                      <a:cubicBezTo>
                        <a:pt x="514509" y="101054"/>
                        <a:pt x="516271" y="101930"/>
                        <a:pt x="517872" y="101930"/>
                      </a:cubicBezTo>
                      <a:lnTo>
                        <a:pt x="609978" y="101930"/>
                      </a:lnTo>
                      <a:cubicBezTo>
                        <a:pt x="610138" y="103331"/>
                        <a:pt x="610779" y="104732"/>
                        <a:pt x="611740" y="105783"/>
                      </a:cubicBezTo>
                      <a:cubicBezTo>
                        <a:pt x="612861" y="107009"/>
                        <a:pt x="614623" y="107885"/>
                        <a:pt x="616225" y="107885"/>
                      </a:cubicBezTo>
                      <a:lnTo>
                        <a:pt x="616385" y="107885"/>
                      </a:lnTo>
                      <a:cubicBezTo>
                        <a:pt x="616385" y="107885"/>
                        <a:pt x="617186" y="109286"/>
                        <a:pt x="617667" y="109986"/>
                      </a:cubicBezTo>
                      <a:cubicBezTo>
                        <a:pt x="618788" y="111212"/>
                        <a:pt x="620550" y="112088"/>
                        <a:pt x="622152" y="112088"/>
                      </a:cubicBezTo>
                      <a:lnTo>
                        <a:pt x="634166" y="112088"/>
                      </a:lnTo>
                      <a:cubicBezTo>
                        <a:pt x="634166" y="112088"/>
                        <a:pt x="634966" y="113664"/>
                        <a:pt x="635447" y="114190"/>
                      </a:cubicBezTo>
                      <a:cubicBezTo>
                        <a:pt x="636568" y="115415"/>
                        <a:pt x="638330" y="116291"/>
                        <a:pt x="639932" y="116291"/>
                      </a:cubicBezTo>
                      <a:lnTo>
                        <a:pt x="726431" y="116291"/>
                      </a:lnTo>
                      <a:cubicBezTo>
                        <a:pt x="726431" y="116291"/>
                        <a:pt x="727232" y="117692"/>
                        <a:pt x="727713" y="118393"/>
                      </a:cubicBezTo>
                      <a:cubicBezTo>
                        <a:pt x="728834" y="119619"/>
                        <a:pt x="730596" y="120494"/>
                        <a:pt x="732198" y="120494"/>
                      </a:cubicBezTo>
                      <a:lnTo>
                        <a:pt x="774166" y="120494"/>
                      </a:lnTo>
                      <a:cubicBezTo>
                        <a:pt x="774166" y="120494"/>
                        <a:pt x="774967" y="121896"/>
                        <a:pt x="775447" y="122596"/>
                      </a:cubicBezTo>
                      <a:cubicBezTo>
                        <a:pt x="776568" y="123822"/>
                        <a:pt x="778330" y="124698"/>
                        <a:pt x="779932" y="124698"/>
                      </a:cubicBezTo>
                      <a:lnTo>
                        <a:pt x="833594" y="124698"/>
                      </a:lnTo>
                      <a:cubicBezTo>
                        <a:pt x="833594" y="124698"/>
                        <a:pt x="834395" y="126274"/>
                        <a:pt x="834875" y="126975"/>
                      </a:cubicBezTo>
                      <a:cubicBezTo>
                        <a:pt x="835996" y="128200"/>
                        <a:pt x="837758" y="129076"/>
                        <a:pt x="839360" y="129076"/>
                      </a:cubicBezTo>
                      <a:lnTo>
                        <a:pt x="847850" y="129076"/>
                      </a:lnTo>
                      <a:lnTo>
                        <a:pt x="847850" y="131528"/>
                      </a:lnTo>
                      <a:cubicBezTo>
                        <a:pt x="847850" y="133455"/>
                        <a:pt x="848491" y="135206"/>
                        <a:pt x="849772" y="136432"/>
                      </a:cubicBezTo>
                      <a:cubicBezTo>
                        <a:pt x="850893" y="137658"/>
                        <a:pt x="852656" y="138534"/>
                        <a:pt x="854257" y="138534"/>
                      </a:cubicBezTo>
                      <a:lnTo>
                        <a:pt x="857301" y="138534"/>
                      </a:lnTo>
                      <a:cubicBezTo>
                        <a:pt x="857301" y="138534"/>
                        <a:pt x="858102" y="140285"/>
                        <a:pt x="858742" y="140810"/>
                      </a:cubicBezTo>
                      <a:cubicBezTo>
                        <a:pt x="859864" y="142036"/>
                        <a:pt x="861626" y="142912"/>
                        <a:pt x="863228" y="142912"/>
                      </a:cubicBezTo>
                      <a:lnTo>
                        <a:pt x="884212" y="142912"/>
                      </a:lnTo>
                      <a:cubicBezTo>
                        <a:pt x="884212" y="142912"/>
                        <a:pt x="885013" y="144488"/>
                        <a:pt x="885493" y="145189"/>
                      </a:cubicBezTo>
                      <a:cubicBezTo>
                        <a:pt x="886614" y="146415"/>
                        <a:pt x="888376" y="147290"/>
                        <a:pt x="889978" y="147290"/>
                      </a:cubicBezTo>
                      <a:lnTo>
                        <a:pt x="889978" y="147290"/>
                      </a:lnTo>
                      <a:cubicBezTo>
                        <a:pt x="889978" y="147290"/>
                        <a:pt x="890779" y="148867"/>
                        <a:pt x="891260" y="149392"/>
                      </a:cubicBezTo>
                      <a:cubicBezTo>
                        <a:pt x="892381" y="150618"/>
                        <a:pt x="894143" y="151494"/>
                        <a:pt x="895745" y="151494"/>
                      </a:cubicBezTo>
                      <a:lnTo>
                        <a:pt x="895745" y="151494"/>
                      </a:lnTo>
                      <a:cubicBezTo>
                        <a:pt x="895745" y="151494"/>
                        <a:pt x="896546" y="153070"/>
                        <a:pt x="897186" y="153771"/>
                      </a:cubicBezTo>
                      <a:cubicBezTo>
                        <a:pt x="898308" y="154996"/>
                        <a:pt x="900070" y="155872"/>
                        <a:pt x="901672" y="155872"/>
                      </a:cubicBezTo>
                      <a:lnTo>
                        <a:pt x="916729" y="155872"/>
                      </a:lnTo>
                      <a:cubicBezTo>
                        <a:pt x="916729" y="155872"/>
                        <a:pt x="917530" y="157273"/>
                        <a:pt x="918010" y="157974"/>
                      </a:cubicBezTo>
                      <a:cubicBezTo>
                        <a:pt x="919132" y="159200"/>
                        <a:pt x="920894" y="160075"/>
                        <a:pt x="922495" y="160075"/>
                      </a:cubicBezTo>
                      <a:lnTo>
                        <a:pt x="976157" y="160075"/>
                      </a:lnTo>
                      <a:cubicBezTo>
                        <a:pt x="976157" y="160075"/>
                        <a:pt x="976958" y="161827"/>
                        <a:pt x="977599" y="162352"/>
                      </a:cubicBezTo>
                      <a:cubicBezTo>
                        <a:pt x="978720" y="163578"/>
                        <a:pt x="980482" y="164454"/>
                        <a:pt x="982084" y="164454"/>
                      </a:cubicBezTo>
                      <a:lnTo>
                        <a:pt x="996981" y="164454"/>
                      </a:lnTo>
                      <a:cubicBezTo>
                        <a:pt x="997301" y="165330"/>
                        <a:pt x="997782" y="166205"/>
                        <a:pt x="998422" y="166906"/>
                      </a:cubicBezTo>
                      <a:cubicBezTo>
                        <a:pt x="999544" y="168132"/>
                        <a:pt x="1001306" y="169007"/>
                        <a:pt x="1002907" y="169007"/>
                      </a:cubicBezTo>
                      <a:lnTo>
                        <a:pt x="1023571" y="169007"/>
                      </a:lnTo>
                      <a:cubicBezTo>
                        <a:pt x="1023891" y="170233"/>
                        <a:pt x="1024372" y="171284"/>
                        <a:pt x="1025173" y="171985"/>
                      </a:cubicBezTo>
                      <a:cubicBezTo>
                        <a:pt x="1025653" y="172510"/>
                        <a:pt x="1025974" y="172860"/>
                        <a:pt x="1026615" y="173211"/>
                      </a:cubicBezTo>
                      <a:cubicBezTo>
                        <a:pt x="1026935" y="174437"/>
                        <a:pt x="1027416" y="175488"/>
                        <a:pt x="1028216" y="176188"/>
                      </a:cubicBezTo>
                      <a:cubicBezTo>
                        <a:pt x="1029338" y="177414"/>
                        <a:pt x="1031100" y="178290"/>
                        <a:pt x="1032701" y="178290"/>
                      </a:cubicBezTo>
                      <a:lnTo>
                        <a:pt x="1095333" y="178290"/>
                      </a:lnTo>
                      <a:cubicBezTo>
                        <a:pt x="1095333" y="178290"/>
                        <a:pt x="1096134" y="179866"/>
                        <a:pt x="1096775" y="180567"/>
                      </a:cubicBezTo>
                      <a:cubicBezTo>
                        <a:pt x="1097896" y="181793"/>
                        <a:pt x="1099658" y="182668"/>
                        <a:pt x="1101260" y="182668"/>
                      </a:cubicBezTo>
                      <a:lnTo>
                        <a:pt x="1101260" y="182668"/>
                      </a:lnTo>
                      <a:cubicBezTo>
                        <a:pt x="1101260" y="182668"/>
                        <a:pt x="1102061" y="184244"/>
                        <a:pt x="1102702" y="184945"/>
                      </a:cubicBezTo>
                      <a:cubicBezTo>
                        <a:pt x="1103823" y="186171"/>
                        <a:pt x="1105425" y="187047"/>
                        <a:pt x="1107187" y="187047"/>
                      </a:cubicBezTo>
                      <a:cubicBezTo>
                        <a:pt x="1107507" y="188097"/>
                        <a:pt x="1107988" y="188973"/>
                        <a:pt x="1108789" y="189849"/>
                      </a:cubicBezTo>
                      <a:cubicBezTo>
                        <a:pt x="1109910" y="191075"/>
                        <a:pt x="1111672" y="191950"/>
                        <a:pt x="1113274" y="191950"/>
                      </a:cubicBezTo>
                      <a:lnTo>
                        <a:pt x="1214509" y="191950"/>
                      </a:lnTo>
                      <a:cubicBezTo>
                        <a:pt x="1214830" y="192826"/>
                        <a:pt x="1215310" y="193877"/>
                        <a:pt x="1215951" y="194578"/>
                      </a:cubicBezTo>
                      <a:cubicBezTo>
                        <a:pt x="1217072" y="195803"/>
                        <a:pt x="1218834" y="196679"/>
                        <a:pt x="1220436" y="196679"/>
                      </a:cubicBezTo>
                      <a:lnTo>
                        <a:pt x="1232290" y="196679"/>
                      </a:lnTo>
                      <a:cubicBezTo>
                        <a:pt x="1232610" y="197730"/>
                        <a:pt x="1233091" y="198606"/>
                        <a:pt x="1233732" y="199306"/>
                      </a:cubicBezTo>
                      <a:cubicBezTo>
                        <a:pt x="1234853" y="200532"/>
                        <a:pt x="1236615" y="201408"/>
                        <a:pt x="1238217" y="201408"/>
                      </a:cubicBezTo>
                      <a:lnTo>
                        <a:pt x="1255997" y="201408"/>
                      </a:lnTo>
                      <a:cubicBezTo>
                        <a:pt x="1256317" y="202459"/>
                        <a:pt x="1256798" y="203334"/>
                        <a:pt x="1257599" y="204210"/>
                      </a:cubicBezTo>
                      <a:cubicBezTo>
                        <a:pt x="1258720" y="205436"/>
                        <a:pt x="1260482" y="206312"/>
                        <a:pt x="1262084" y="206312"/>
                      </a:cubicBezTo>
                      <a:lnTo>
                        <a:pt x="1324555" y="206312"/>
                      </a:lnTo>
                      <a:cubicBezTo>
                        <a:pt x="1324876" y="207363"/>
                        <a:pt x="1325356" y="208238"/>
                        <a:pt x="1326157" y="208939"/>
                      </a:cubicBezTo>
                      <a:cubicBezTo>
                        <a:pt x="1327279" y="210165"/>
                        <a:pt x="1329041" y="211040"/>
                        <a:pt x="1330642" y="211040"/>
                      </a:cubicBezTo>
                      <a:lnTo>
                        <a:pt x="1354510" y="211040"/>
                      </a:lnTo>
                      <a:cubicBezTo>
                        <a:pt x="1354830" y="211916"/>
                        <a:pt x="1355311" y="212792"/>
                        <a:pt x="1355951" y="213492"/>
                      </a:cubicBezTo>
                      <a:cubicBezTo>
                        <a:pt x="1357073" y="214718"/>
                        <a:pt x="1358835" y="215594"/>
                        <a:pt x="1360436" y="215594"/>
                      </a:cubicBezTo>
                      <a:lnTo>
                        <a:pt x="1378057" y="215594"/>
                      </a:lnTo>
                      <a:cubicBezTo>
                        <a:pt x="1378377" y="216820"/>
                        <a:pt x="1378858" y="217871"/>
                        <a:pt x="1379658" y="218571"/>
                      </a:cubicBezTo>
                      <a:cubicBezTo>
                        <a:pt x="1380780" y="219797"/>
                        <a:pt x="1382542" y="220673"/>
                        <a:pt x="1384144" y="220673"/>
                      </a:cubicBezTo>
                      <a:lnTo>
                        <a:pt x="1387187" y="220673"/>
                      </a:lnTo>
                      <a:cubicBezTo>
                        <a:pt x="1387507" y="221549"/>
                        <a:pt x="1387988" y="222424"/>
                        <a:pt x="1388629" y="223125"/>
                      </a:cubicBezTo>
                      <a:cubicBezTo>
                        <a:pt x="1389750" y="224351"/>
                        <a:pt x="1391512" y="225227"/>
                        <a:pt x="1393114" y="225227"/>
                      </a:cubicBezTo>
                      <a:lnTo>
                        <a:pt x="1402244" y="225227"/>
                      </a:lnTo>
                      <a:cubicBezTo>
                        <a:pt x="1402244" y="225227"/>
                        <a:pt x="1403045" y="226803"/>
                        <a:pt x="1403526" y="227503"/>
                      </a:cubicBezTo>
                      <a:cubicBezTo>
                        <a:pt x="1404647" y="228729"/>
                        <a:pt x="1406409" y="229605"/>
                        <a:pt x="1408011" y="229605"/>
                      </a:cubicBezTo>
                      <a:lnTo>
                        <a:pt x="1425631" y="229605"/>
                      </a:lnTo>
                      <a:cubicBezTo>
                        <a:pt x="1425951" y="230831"/>
                        <a:pt x="1426432" y="231882"/>
                        <a:pt x="1427233" y="232757"/>
                      </a:cubicBezTo>
                      <a:cubicBezTo>
                        <a:pt x="1428354" y="233983"/>
                        <a:pt x="1430116" y="234859"/>
                        <a:pt x="1431718" y="234859"/>
                      </a:cubicBezTo>
                      <a:lnTo>
                        <a:pt x="1538881" y="234859"/>
                      </a:lnTo>
                      <a:lnTo>
                        <a:pt x="1538881" y="242740"/>
                      </a:lnTo>
                      <a:lnTo>
                        <a:pt x="1657416" y="242740"/>
                      </a:lnTo>
                      <a:cubicBezTo>
                        <a:pt x="1658537" y="243616"/>
                        <a:pt x="1659819" y="243966"/>
                        <a:pt x="1661100" y="243966"/>
                      </a:cubicBezTo>
                      <a:lnTo>
                        <a:pt x="1669910" y="243966"/>
                      </a:lnTo>
                      <a:cubicBezTo>
                        <a:pt x="1670231" y="244842"/>
                        <a:pt x="1670711" y="245718"/>
                        <a:pt x="1671352" y="246418"/>
                      </a:cubicBezTo>
                      <a:cubicBezTo>
                        <a:pt x="1672473" y="247644"/>
                        <a:pt x="1674235" y="248520"/>
                        <a:pt x="1675837" y="248520"/>
                      </a:cubicBezTo>
                      <a:lnTo>
                        <a:pt x="1702748" y="248520"/>
                      </a:lnTo>
                      <a:cubicBezTo>
                        <a:pt x="1702748" y="248520"/>
                        <a:pt x="1703549" y="250096"/>
                        <a:pt x="1704190" y="250797"/>
                      </a:cubicBezTo>
                      <a:cubicBezTo>
                        <a:pt x="1705311" y="252023"/>
                        <a:pt x="1707073" y="252898"/>
                        <a:pt x="1708675" y="252898"/>
                      </a:cubicBezTo>
                      <a:lnTo>
                        <a:pt x="1741352" y="252898"/>
                      </a:lnTo>
                      <a:lnTo>
                        <a:pt x="1741352" y="306315"/>
                      </a:lnTo>
                    </a:path>
                  </a:pathLst>
                </a:custGeom>
                <a:grpFill/>
                <a:ln w="1600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368" name="Grafik 134">
                  <a:extLst>
                    <a:ext uri="{FF2B5EF4-FFF2-40B4-BE49-F238E27FC236}">
                      <a16:creationId xmlns:a16="http://schemas.microsoft.com/office/drawing/2014/main" id="{F0A4D7EF-4AB9-CAC6-C047-54D246C0E16B}"/>
                    </a:ext>
                  </a:extLst>
                </p:cNvPr>
                <p:cNvGrpSpPr/>
                <p:nvPr/>
              </p:nvGrpSpPr>
              <p:grpSpPr>
                <a:xfrm>
                  <a:off x="2149064" y="1787345"/>
                  <a:ext cx="5021104" cy="736802"/>
                  <a:chOff x="2149064" y="1787345"/>
                  <a:chExt cx="5021104" cy="736802"/>
                </a:xfrm>
                <a:grpFill/>
              </p:grpSpPr>
              <p:sp>
                <p:nvSpPr>
                  <p:cNvPr id="369" name="Freihandform: Form 368">
                    <a:extLst>
                      <a:ext uri="{FF2B5EF4-FFF2-40B4-BE49-F238E27FC236}">
                        <a16:creationId xmlns:a16="http://schemas.microsoft.com/office/drawing/2014/main" id="{3A904192-CDF2-6BAC-87EF-837E8A2A0FB1}"/>
                      </a:ext>
                    </a:extLst>
                  </p:cNvPr>
                  <p:cNvSpPr/>
                  <p:nvPr/>
                </p:nvSpPr>
                <p:spPr>
                  <a:xfrm>
                    <a:off x="3986526" y="2104343"/>
                    <a:ext cx="3183642" cy="419804"/>
                  </a:xfrm>
                  <a:custGeom>
                    <a:avLst/>
                    <a:gdLst>
                      <a:gd name="connsiteX0" fmla="*/ 393570 w 3183642"/>
                      <a:gd name="connsiteY0" fmla="*/ 6305 h 419804"/>
                      <a:gd name="connsiteX1" fmla="*/ 393570 w 3183642"/>
                      <a:gd name="connsiteY1" fmla="*/ 6305 h 419804"/>
                      <a:gd name="connsiteX2" fmla="*/ 392129 w 3183642"/>
                      <a:gd name="connsiteY2" fmla="*/ 3853 h 419804"/>
                      <a:gd name="connsiteX3" fmla="*/ 387644 w 3183642"/>
                      <a:gd name="connsiteY3" fmla="*/ 1751 h 419804"/>
                      <a:gd name="connsiteX4" fmla="*/ 337026 w 3183642"/>
                      <a:gd name="connsiteY4" fmla="*/ 1751 h 419804"/>
                      <a:gd name="connsiteX5" fmla="*/ 336065 w 3183642"/>
                      <a:gd name="connsiteY5" fmla="*/ 0 h 419804"/>
                      <a:gd name="connsiteX6" fmla="*/ 393570 w 3183642"/>
                      <a:gd name="connsiteY6" fmla="*/ 0 h 419804"/>
                      <a:gd name="connsiteX7" fmla="*/ 393570 w 3183642"/>
                      <a:gd name="connsiteY7" fmla="*/ 6305 h 419804"/>
                      <a:gd name="connsiteX8" fmla="*/ 881969 w 3183642"/>
                      <a:gd name="connsiteY8" fmla="*/ 56219 h 419804"/>
                      <a:gd name="connsiteX9" fmla="*/ 828468 w 3183642"/>
                      <a:gd name="connsiteY9" fmla="*/ 56219 h 419804"/>
                      <a:gd name="connsiteX10" fmla="*/ 826866 w 3183642"/>
                      <a:gd name="connsiteY10" fmla="*/ 53417 h 419804"/>
                      <a:gd name="connsiteX11" fmla="*/ 822381 w 3183642"/>
                      <a:gd name="connsiteY11" fmla="*/ 51315 h 419804"/>
                      <a:gd name="connsiteX12" fmla="*/ 783777 w 3183642"/>
                      <a:gd name="connsiteY12" fmla="*/ 51315 h 419804"/>
                      <a:gd name="connsiteX13" fmla="*/ 782335 w 3183642"/>
                      <a:gd name="connsiteY13" fmla="*/ 48688 h 419804"/>
                      <a:gd name="connsiteX14" fmla="*/ 777850 w 3183642"/>
                      <a:gd name="connsiteY14" fmla="*/ 46587 h 419804"/>
                      <a:gd name="connsiteX15" fmla="*/ 697598 w 3183642"/>
                      <a:gd name="connsiteY15" fmla="*/ 46587 h 419804"/>
                      <a:gd name="connsiteX16" fmla="*/ 695996 w 3183642"/>
                      <a:gd name="connsiteY16" fmla="*/ 43609 h 419804"/>
                      <a:gd name="connsiteX17" fmla="*/ 691511 w 3183642"/>
                      <a:gd name="connsiteY17" fmla="*/ 41508 h 419804"/>
                      <a:gd name="connsiteX18" fmla="*/ 667644 w 3183642"/>
                      <a:gd name="connsiteY18" fmla="*/ 41508 h 419804"/>
                      <a:gd name="connsiteX19" fmla="*/ 666042 w 3183642"/>
                      <a:gd name="connsiteY19" fmla="*/ 38880 h 419804"/>
                      <a:gd name="connsiteX20" fmla="*/ 661877 w 3183642"/>
                      <a:gd name="connsiteY20" fmla="*/ 36954 h 419804"/>
                      <a:gd name="connsiteX21" fmla="*/ 661877 w 3183642"/>
                      <a:gd name="connsiteY21" fmla="*/ 34852 h 419804"/>
                      <a:gd name="connsiteX22" fmla="*/ 659955 w 3183642"/>
                      <a:gd name="connsiteY22" fmla="*/ 29948 h 419804"/>
                      <a:gd name="connsiteX23" fmla="*/ 655470 w 3183642"/>
                      <a:gd name="connsiteY23" fmla="*/ 27847 h 419804"/>
                      <a:gd name="connsiteX24" fmla="*/ 608216 w 3183642"/>
                      <a:gd name="connsiteY24" fmla="*/ 27847 h 419804"/>
                      <a:gd name="connsiteX25" fmla="*/ 606454 w 3183642"/>
                      <a:gd name="connsiteY25" fmla="*/ 23644 h 419804"/>
                      <a:gd name="connsiteX26" fmla="*/ 601969 w 3183642"/>
                      <a:gd name="connsiteY26" fmla="*/ 21542 h 419804"/>
                      <a:gd name="connsiteX27" fmla="*/ 548628 w 3183642"/>
                      <a:gd name="connsiteY27" fmla="*/ 21542 h 419804"/>
                      <a:gd name="connsiteX28" fmla="*/ 547026 w 3183642"/>
                      <a:gd name="connsiteY28" fmla="*/ 18214 h 419804"/>
                      <a:gd name="connsiteX29" fmla="*/ 542541 w 3183642"/>
                      <a:gd name="connsiteY29" fmla="*/ 16113 h 419804"/>
                      <a:gd name="connsiteX30" fmla="*/ 515790 w 3183642"/>
                      <a:gd name="connsiteY30" fmla="*/ 16113 h 419804"/>
                      <a:gd name="connsiteX31" fmla="*/ 515470 w 3183642"/>
                      <a:gd name="connsiteY31" fmla="*/ 15237 h 419804"/>
                      <a:gd name="connsiteX32" fmla="*/ 882129 w 3183642"/>
                      <a:gd name="connsiteY32" fmla="*/ 15237 h 419804"/>
                      <a:gd name="connsiteX33" fmla="*/ 882129 w 3183642"/>
                      <a:gd name="connsiteY33" fmla="*/ 56044 h 419804"/>
                      <a:gd name="connsiteX34" fmla="*/ 3183642 w 3183642"/>
                      <a:gd name="connsiteY34" fmla="*/ 419103 h 419804"/>
                      <a:gd name="connsiteX35" fmla="*/ 3151606 w 3183642"/>
                      <a:gd name="connsiteY35" fmla="*/ 419103 h 419804"/>
                      <a:gd name="connsiteX36" fmla="*/ 3151606 w 3183642"/>
                      <a:gd name="connsiteY36" fmla="*/ 393884 h 419804"/>
                      <a:gd name="connsiteX37" fmla="*/ 2996709 w 3183642"/>
                      <a:gd name="connsiteY37" fmla="*/ 393884 h 419804"/>
                      <a:gd name="connsiteX38" fmla="*/ 2996709 w 3183642"/>
                      <a:gd name="connsiteY38" fmla="*/ 378472 h 419804"/>
                      <a:gd name="connsiteX39" fmla="*/ 2972841 w 3183642"/>
                      <a:gd name="connsiteY39" fmla="*/ 378472 h 419804"/>
                      <a:gd name="connsiteX40" fmla="*/ 2972841 w 3183642"/>
                      <a:gd name="connsiteY40" fmla="*/ 364286 h 419804"/>
                      <a:gd name="connsiteX41" fmla="*/ 2817944 w 3183642"/>
                      <a:gd name="connsiteY41" fmla="*/ 364286 h 419804"/>
                      <a:gd name="connsiteX42" fmla="*/ 2817944 w 3183642"/>
                      <a:gd name="connsiteY42" fmla="*/ 353252 h 419804"/>
                      <a:gd name="connsiteX43" fmla="*/ 2689958 w 3183642"/>
                      <a:gd name="connsiteY43" fmla="*/ 353252 h 419804"/>
                      <a:gd name="connsiteX44" fmla="*/ 2689958 w 3183642"/>
                      <a:gd name="connsiteY44" fmla="*/ 343444 h 419804"/>
                      <a:gd name="connsiteX45" fmla="*/ 2594649 w 3183642"/>
                      <a:gd name="connsiteY45" fmla="*/ 343444 h 419804"/>
                      <a:gd name="connsiteX46" fmla="*/ 2594649 w 3183642"/>
                      <a:gd name="connsiteY46" fmla="*/ 334862 h 419804"/>
                      <a:gd name="connsiteX47" fmla="*/ 2478516 w 3183642"/>
                      <a:gd name="connsiteY47" fmla="*/ 334862 h 419804"/>
                      <a:gd name="connsiteX48" fmla="*/ 2478516 w 3183642"/>
                      <a:gd name="connsiteY48" fmla="*/ 326631 h 419804"/>
                      <a:gd name="connsiteX49" fmla="*/ 2460575 w 3183642"/>
                      <a:gd name="connsiteY49" fmla="*/ 326631 h 419804"/>
                      <a:gd name="connsiteX50" fmla="*/ 2460575 w 3183642"/>
                      <a:gd name="connsiteY50" fmla="*/ 319100 h 419804"/>
                      <a:gd name="connsiteX51" fmla="*/ 2427737 w 3183642"/>
                      <a:gd name="connsiteY51" fmla="*/ 319100 h 419804"/>
                      <a:gd name="connsiteX52" fmla="*/ 2427737 w 3183642"/>
                      <a:gd name="connsiteY52" fmla="*/ 312095 h 419804"/>
                      <a:gd name="connsiteX53" fmla="*/ 2395060 w 3183642"/>
                      <a:gd name="connsiteY53" fmla="*/ 312095 h 419804"/>
                      <a:gd name="connsiteX54" fmla="*/ 2395060 w 3183642"/>
                      <a:gd name="connsiteY54" fmla="*/ 305089 h 419804"/>
                      <a:gd name="connsiteX55" fmla="*/ 2371193 w 3183642"/>
                      <a:gd name="connsiteY55" fmla="*/ 305089 h 419804"/>
                      <a:gd name="connsiteX56" fmla="*/ 2371193 w 3183642"/>
                      <a:gd name="connsiteY56" fmla="*/ 297909 h 419804"/>
                      <a:gd name="connsiteX57" fmla="*/ 2201399 w 3183642"/>
                      <a:gd name="connsiteY57" fmla="*/ 297909 h 419804"/>
                      <a:gd name="connsiteX58" fmla="*/ 2201399 w 3183642"/>
                      <a:gd name="connsiteY58" fmla="*/ 290202 h 419804"/>
                      <a:gd name="connsiteX59" fmla="*/ 2138927 w 3183642"/>
                      <a:gd name="connsiteY59" fmla="*/ 290202 h 419804"/>
                      <a:gd name="connsiteX60" fmla="*/ 2138927 w 3183642"/>
                      <a:gd name="connsiteY60" fmla="*/ 283547 h 419804"/>
                      <a:gd name="connsiteX61" fmla="*/ 2124030 w 3183642"/>
                      <a:gd name="connsiteY61" fmla="*/ 283547 h 419804"/>
                      <a:gd name="connsiteX62" fmla="*/ 2124030 w 3183642"/>
                      <a:gd name="connsiteY62" fmla="*/ 276717 h 419804"/>
                      <a:gd name="connsiteX63" fmla="*/ 2118103 w 3183642"/>
                      <a:gd name="connsiteY63" fmla="*/ 276717 h 419804"/>
                      <a:gd name="connsiteX64" fmla="*/ 2118103 w 3183642"/>
                      <a:gd name="connsiteY64" fmla="*/ 270062 h 419804"/>
                      <a:gd name="connsiteX65" fmla="*/ 1918515 w 3183642"/>
                      <a:gd name="connsiteY65" fmla="*/ 270062 h 419804"/>
                      <a:gd name="connsiteX66" fmla="*/ 1918515 w 3183642"/>
                      <a:gd name="connsiteY66" fmla="*/ 263757 h 419804"/>
                      <a:gd name="connsiteX67" fmla="*/ 1888721 w 3183642"/>
                      <a:gd name="connsiteY67" fmla="*/ 263757 h 419804"/>
                      <a:gd name="connsiteX68" fmla="*/ 1888721 w 3183642"/>
                      <a:gd name="connsiteY68" fmla="*/ 258327 h 419804"/>
                      <a:gd name="connsiteX69" fmla="*/ 1835060 w 3183642"/>
                      <a:gd name="connsiteY69" fmla="*/ 258327 h 419804"/>
                      <a:gd name="connsiteX70" fmla="*/ 1835060 w 3183642"/>
                      <a:gd name="connsiteY70" fmla="*/ 251322 h 419804"/>
                      <a:gd name="connsiteX71" fmla="*/ 1692016 w 3183642"/>
                      <a:gd name="connsiteY71" fmla="*/ 251322 h 419804"/>
                      <a:gd name="connsiteX72" fmla="*/ 1692016 w 3183642"/>
                      <a:gd name="connsiteY72" fmla="*/ 245367 h 419804"/>
                      <a:gd name="connsiteX73" fmla="*/ 1608560 w 3183642"/>
                      <a:gd name="connsiteY73" fmla="*/ 245367 h 419804"/>
                      <a:gd name="connsiteX74" fmla="*/ 1608560 w 3183642"/>
                      <a:gd name="connsiteY74" fmla="*/ 231707 h 419804"/>
                      <a:gd name="connsiteX75" fmla="*/ 1593663 w 3183642"/>
                      <a:gd name="connsiteY75" fmla="*/ 231707 h 419804"/>
                      <a:gd name="connsiteX76" fmla="*/ 1593663 w 3183642"/>
                      <a:gd name="connsiteY76" fmla="*/ 225752 h 419804"/>
                      <a:gd name="connsiteX77" fmla="*/ 1534075 w 3183642"/>
                      <a:gd name="connsiteY77" fmla="*/ 225752 h 419804"/>
                      <a:gd name="connsiteX78" fmla="*/ 1534075 w 3183642"/>
                      <a:gd name="connsiteY78" fmla="*/ 220323 h 419804"/>
                      <a:gd name="connsiteX79" fmla="*/ 1531032 w 3183642"/>
                      <a:gd name="connsiteY79" fmla="*/ 220323 h 419804"/>
                      <a:gd name="connsiteX80" fmla="*/ 1531032 w 3183642"/>
                      <a:gd name="connsiteY80" fmla="*/ 214368 h 419804"/>
                      <a:gd name="connsiteX81" fmla="*/ 1432839 w 3183642"/>
                      <a:gd name="connsiteY81" fmla="*/ 214368 h 419804"/>
                      <a:gd name="connsiteX82" fmla="*/ 1432839 w 3183642"/>
                      <a:gd name="connsiteY82" fmla="*/ 208063 h 419804"/>
                      <a:gd name="connsiteX83" fmla="*/ 1417942 w 3183642"/>
                      <a:gd name="connsiteY83" fmla="*/ 208063 h 419804"/>
                      <a:gd name="connsiteX84" fmla="*/ 1417942 w 3183642"/>
                      <a:gd name="connsiteY84" fmla="*/ 202108 h 419804"/>
                      <a:gd name="connsiteX85" fmla="*/ 1394075 w 3183642"/>
                      <a:gd name="connsiteY85" fmla="*/ 202108 h 419804"/>
                      <a:gd name="connsiteX86" fmla="*/ 1394075 w 3183642"/>
                      <a:gd name="connsiteY86" fmla="*/ 196504 h 419804"/>
                      <a:gd name="connsiteX87" fmla="*/ 1385105 w 3183642"/>
                      <a:gd name="connsiteY87" fmla="*/ 196504 h 419804"/>
                      <a:gd name="connsiteX88" fmla="*/ 1385105 w 3183642"/>
                      <a:gd name="connsiteY88" fmla="*/ 191075 h 419804"/>
                      <a:gd name="connsiteX89" fmla="*/ 1361237 w 3183642"/>
                      <a:gd name="connsiteY89" fmla="*/ 191075 h 419804"/>
                      <a:gd name="connsiteX90" fmla="*/ 1361237 w 3183642"/>
                      <a:gd name="connsiteY90" fmla="*/ 185996 h 419804"/>
                      <a:gd name="connsiteX91" fmla="*/ 1340414 w 3183642"/>
                      <a:gd name="connsiteY91" fmla="*/ 185996 h 419804"/>
                      <a:gd name="connsiteX92" fmla="*/ 1340414 w 3183642"/>
                      <a:gd name="connsiteY92" fmla="*/ 178815 h 419804"/>
                      <a:gd name="connsiteX93" fmla="*/ 1274899 w 3183642"/>
                      <a:gd name="connsiteY93" fmla="*/ 178815 h 419804"/>
                      <a:gd name="connsiteX94" fmla="*/ 1274899 w 3183642"/>
                      <a:gd name="connsiteY94" fmla="*/ 173036 h 419804"/>
                      <a:gd name="connsiteX95" fmla="*/ 1170619 w 3183642"/>
                      <a:gd name="connsiteY95" fmla="*/ 173036 h 419804"/>
                      <a:gd name="connsiteX96" fmla="*/ 1170619 w 3183642"/>
                      <a:gd name="connsiteY96" fmla="*/ 164629 h 419804"/>
                      <a:gd name="connsiteX97" fmla="*/ 1128972 w 3183642"/>
                      <a:gd name="connsiteY97" fmla="*/ 164629 h 419804"/>
                      <a:gd name="connsiteX98" fmla="*/ 1128972 w 3183642"/>
                      <a:gd name="connsiteY98" fmla="*/ 159375 h 419804"/>
                      <a:gd name="connsiteX99" fmla="*/ 1003869 w 3183642"/>
                      <a:gd name="connsiteY99" fmla="*/ 159375 h 419804"/>
                      <a:gd name="connsiteX100" fmla="*/ 1003869 w 3183642"/>
                      <a:gd name="connsiteY100" fmla="*/ 154121 h 419804"/>
                      <a:gd name="connsiteX101" fmla="*/ 974075 w 3183642"/>
                      <a:gd name="connsiteY101" fmla="*/ 154121 h 419804"/>
                      <a:gd name="connsiteX102" fmla="*/ 974075 w 3183642"/>
                      <a:gd name="connsiteY102" fmla="*/ 147991 h 419804"/>
                      <a:gd name="connsiteX103" fmla="*/ 971031 w 3183642"/>
                      <a:gd name="connsiteY103" fmla="*/ 147991 h 419804"/>
                      <a:gd name="connsiteX104" fmla="*/ 971031 w 3183642"/>
                      <a:gd name="connsiteY104" fmla="*/ 142211 h 419804"/>
                      <a:gd name="connsiteX105" fmla="*/ 902473 w 3183642"/>
                      <a:gd name="connsiteY105" fmla="*/ 142211 h 419804"/>
                      <a:gd name="connsiteX106" fmla="*/ 902473 w 3183642"/>
                      <a:gd name="connsiteY106" fmla="*/ 136432 h 419804"/>
                      <a:gd name="connsiteX107" fmla="*/ 822061 w 3183642"/>
                      <a:gd name="connsiteY107" fmla="*/ 136432 h 419804"/>
                      <a:gd name="connsiteX108" fmla="*/ 822061 w 3183642"/>
                      <a:gd name="connsiteY108" fmla="*/ 131178 h 419804"/>
                      <a:gd name="connsiteX109" fmla="*/ 777369 w 3183642"/>
                      <a:gd name="connsiteY109" fmla="*/ 131178 h 419804"/>
                      <a:gd name="connsiteX110" fmla="*/ 777369 w 3183642"/>
                      <a:gd name="connsiteY110" fmla="*/ 126274 h 419804"/>
                      <a:gd name="connsiteX111" fmla="*/ 691031 w 3183642"/>
                      <a:gd name="connsiteY111" fmla="*/ 126274 h 419804"/>
                      <a:gd name="connsiteX112" fmla="*/ 691031 w 3183642"/>
                      <a:gd name="connsiteY112" fmla="*/ 120670 h 419804"/>
                      <a:gd name="connsiteX113" fmla="*/ 661237 w 3183642"/>
                      <a:gd name="connsiteY113" fmla="*/ 120670 h 419804"/>
                      <a:gd name="connsiteX114" fmla="*/ 661237 w 3183642"/>
                      <a:gd name="connsiteY114" fmla="*/ 115591 h 419804"/>
                      <a:gd name="connsiteX115" fmla="*/ 655310 w 3183642"/>
                      <a:gd name="connsiteY115" fmla="*/ 115591 h 419804"/>
                      <a:gd name="connsiteX116" fmla="*/ 655310 w 3183642"/>
                      <a:gd name="connsiteY116" fmla="*/ 105783 h 419804"/>
                      <a:gd name="connsiteX117" fmla="*/ 601648 w 3183642"/>
                      <a:gd name="connsiteY117" fmla="*/ 105783 h 419804"/>
                      <a:gd name="connsiteX118" fmla="*/ 601648 w 3183642"/>
                      <a:gd name="connsiteY118" fmla="*/ 98602 h 419804"/>
                      <a:gd name="connsiteX119" fmla="*/ 542060 w 3183642"/>
                      <a:gd name="connsiteY119" fmla="*/ 98602 h 419804"/>
                      <a:gd name="connsiteX120" fmla="*/ 542060 w 3183642"/>
                      <a:gd name="connsiteY120" fmla="*/ 92823 h 419804"/>
                      <a:gd name="connsiteX121" fmla="*/ 509223 w 3183642"/>
                      <a:gd name="connsiteY121" fmla="*/ 92823 h 419804"/>
                      <a:gd name="connsiteX122" fmla="*/ 509223 w 3183642"/>
                      <a:gd name="connsiteY122" fmla="*/ 87569 h 419804"/>
                      <a:gd name="connsiteX123" fmla="*/ 503296 w 3183642"/>
                      <a:gd name="connsiteY123" fmla="*/ 87569 h 419804"/>
                      <a:gd name="connsiteX124" fmla="*/ 503296 w 3183642"/>
                      <a:gd name="connsiteY124" fmla="*/ 81964 h 419804"/>
                      <a:gd name="connsiteX125" fmla="*/ 387163 w 3183642"/>
                      <a:gd name="connsiteY125" fmla="*/ 81964 h 419804"/>
                      <a:gd name="connsiteX126" fmla="*/ 387163 w 3183642"/>
                      <a:gd name="connsiteY126" fmla="*/ 77060 h 419804"/>
                      <a:gd name="connsiteX127" fmla="*/ 330618 w 3183642"/>
                      <a:gd name="connsiteY127" fmla="*/ 77060 h 419804"/>
                      <a:gd name="connsiteX128" fmla="*/ 330618 w 3183642"/>
                      <a:gd name="connsiteY128" fmla="*/ 72157 h 419804"/>
                      <a:gd name="connsiteX129" fmla="*/ 315721 w 3183642"/>
                      <a:gd name="connsiteY129" fmla="*/ 72157 h 419804"/>
                      <a:gd name="connsiteX130" fmla="*/ 315721 w 3183642"/>
                      <a:gd name="connsiteY130" fmla="*/ 67253 h 419804"/>
                      <a:gd name="connsiteX131" fmla="*/ 297781 w 3183642"/>
                      <a:gd name="connsiteY131" fmla="*/ 67253 h 419804"/>
                      <a:gd name="connsiteX132" fmla="*/ 297781 w 3183642"/>
                      <a:gd name="connsiteY132" fmla="*/ 62349 h 419804"/>
                      <a:gd name="connsiteX133" fmla="*/ 271030 w 3183642"/>
                      <a:gd name="connsiteY133" fmla="*/ 62349 h 419804"/>
                      <a:gd name="connsiteX134" fmla="*/ 271030 w 3183642"/>
                      <a:gd name="connsiteY134" fmla="*/ 56219 h 419804"/>
                      <a:gd name="connsiteX135" fmla="*/ 247163 w 3183642"/>
                      <a:gd name="connsiteY135" fmla="*/ 56219 h 419804"/>
                      <a:gd name="connsiteX136" fmla="*/ 247163 w 3183642"/>
                      <a:gd name="connsiteY136" fmla="*/ 51140 h 419804"/>
                      <a:gd name="connsiteX137" fmla="*/ 238193 w 3183642"/>
                      <a:gd name="connsiteY137" fmla="*/ 51140 h 419804"/>
                      <a:gd name="connsiteX138" fmla="*/ 238193 w 3183642"/>
                      <a:gd name="connsiteY138" fmla="*/ 45886 h 419804"/>
                      <a:gd name="connsiteX139" fmla="*/ 232266 w 3183642"/>
                      <a:gd name="connsiteY139" fmla="*/ 45886 h 419804"/>
                      <a:gd name="connsiteX140" fmla="*/ 232266 w 3183642"/>
                      <a:gd name="connsiteY140" fmla="*/ 40632 h 419804"/>
                      <a:gd name="connsiteX141" fmla="*/ 217369 w 3183642"/>
                      <a:gd name="connsiteY141" fmla="*/ 40632 h 419804"/>
                      <a:gd name="connsiteX142" fmla="*/ 217369 w 3183642"/>
                      <a:gd name="connsiteY142" fmla="*/ 35027 h 419804"/>
                      <a:gd name="connsiteX143" fmla="*/ 184691 w 3183642"/>
                      <a:gd name="connsiteY143" fmla="*/ 35027 h 419804"/>
                      <a:gd name="connsiteX144" fmla="*/ 184691 w 3183642"/>
                      <a:gd name="connsiteY144" fmla="*/ 29598 h 419804"/>
                      <a:gd name="connsiteX145" fmla="*/ 125103 w 3183642"/>
                      <a:gd name="connsiteY145" fmla="*/ 29598 h 419804"/>
                      <a:gd name="connsiteX146" fmla="*/ 125103 w 3183642"/>
                      <a:gd name="connsiteY146" fmla="*/ 24169 h 419804"/>
                      <a:gd name="connsiteX147" fmla="*/ 77369 w 3183642"/>
                      <a:gd name="connsiteY147" fmla="*/ 24169 h 419804"/>
                      <a:gd name="connsiteX148" fmla="*/ 77369 w 3183642"/>
                      <a:gd name="connsiteY148" fmla="*/ 18740 h 419804"/>
                      <a:gd name="connsiteX149" fmla="*/ 20824 w 3183642"/>
                      <a:gd name="connsiteY149" fmla="*/ 18740 h 419804"/>
                      <a:gd name="connsiteX150" fmla="*/ 20824 w 3183642"/>
                      <a:gd name="connsiteY150" fmla="*/ 13836 h 419804"/>
                      <a:gd name="connsiteX151" fmla="*/ 14897 w 3183642"/>
                      <a:gd name="connsiteY151" fmla="*/ 13836 h 419804"/>
                      <a:gd name="connsiteX152" fmla="*/ 14897 w 3183642"/>
                      <a:gd name="connsiteY152" fmla="*/ 6305 h 419804"/>
                      <a:gd name="connsiteX153" fmla="*/ 8970 w 3183642"/>
                      <a:gd name="connsiteY153" fmla="*/ 6305 h 419804"/>
                      <a:gd name="connsiteX154" fmla="*/ 8970 w 3183642"/>
                      <a:gd name="connsiteY154" fmla="*/ 1751 h 419804"/>
                      <a:gd name="connsiteX155" fmla="*/ 0 w 3183642"/>
                      <a:gd name="connsiteY155" fmla="*/ 1751 h 419804"/>
                      <a:gd name="connsiteX156" fmla="*/ 0 w 3183642"/>
                      <a:gd name="connsiteY156" fmla="*/ 0 h 419804"/>
                      <a:gd name="connsiteX157" fmla="*/ 266545 w 3183642"/>
                      <a:gd name="connsiteY157" fmla="*/ 0 h 419804"/>
                      <a:gd name="connsiteX158" fmla="*/ 266545 w 3183642"/>
                      <a:gd name="connsiteY158" fmla="*/ 0 h 419804"/>
                      <a:gd name="connsiteX159" fmla="*/ 271030 w 3183642"/>
                      <a:gd name="connsiteY159" fmla="*/ 2102 h 419804"/>
                      <a:gd name="connsiteX160" fmla="*/ 291854 w 3183642"/>
                      <a:gd name="connsiteY160" fmla="*/ 2102 h 419804"/>
                      <a:gd name="connsiteX161" fmla="*/ 293296 w 3183642"/>
                      <a:gd name="connsiteY161" fmla="*/ 4554 h 419804"/>
                      <a:gd name="connsiteX162" fmla="*/ 297781 w 3183642"/>
                      <a:gd name="connsiteY162" fmla="*/ 6655 h 419804"/>
                      <a:gd name="connsiteX163" fmla="*/ 309634 w 3183642"/>
                      <a:gd name="connsiteY163" fmla="*/ 6655 h 419804"/>
                      <a:gd name="connsiteX164" fmla="*/ 311076 w 3183642"/>
                      <a:gd name="connsiteY164" fmla="*/ 9107 h 419804"/>
                      <a:gd name="connsiteX165" fmla="*/ 315561 w 3183642"/>
                      <a:gd name="connsiteY165" fmla="*/ 11209 h 419804"/>
                      <a:gd name="connsiteX166" fmla="*/ 324531 w 3183642"/>
                      <a:gd name="connsiteY166" fmla="*/ 11209 h 419804"/>
                      <a:gd name="connsiteX167" fmla="*/ 325973 w 3183642"/>
                      <a:gd name="connsiteY167" fmla="*/ 13661 h 419804"/>
                      <a:gd name="connsiteX168" fmla="*/ 330458 w 3183642"/>
                      <a:gd name="connsiteY168" fmla="*/ 15762 h 419804"/>
                      <a:gd name="connsiteX169" fmla="*/ 381076 w 3183642"/>
                      <a:gd name="connsiteY169" fmla="*/ 15762 h 419804"/>
                      <a:gd name="connsiteX170" fmla="*/ 382518 w 3183642"/>
                      <a:gd name="connsiteY170" fmla="*/ 18214 h 419804"/>
                      <a:gd name="connsiteX171" fmla="*/ 387003 w 3183642"/>
                      <a:gd name="connsiteY171" fmla="*/ 20141 h 419804"/>
                      <a:gd name="connsiteX172" fmla="*/ 497049 w 3183642"/>
                      <a:gd name="connsiteY172" fmla="*/ 20141 h 419804"/>
                      <a:gd name="connsiteX173" fmla="*/ 498650 w 3183642"/>
                      <a:gd name="connsiteY173" fmla="*/ 23293 h 419804"/>
                      <a:gd name="connsiteX174" fmla="*/ 503136 w 3183642"/>
                      <a:gd name="connsiteY174" fmla="*/ 25395 h 419804"/>
                      <a:gd name="connsiteX175" fmla="*/ 504737 w 3183642"/>
                      <a:gd name="connsiteY175" fmla="*/ 28197 h 419804"/>
                      <a:gd name="connsiteX176" fmla="*/ 509223 w 3183642"/>
                      <a:gd name="connsiteY176" fmla="*/ 30299 h 419804"/>
                      <a:gd name="connsiteX177" fmla="*/ 535813 w 3183642"/>
                      <a:gd name="connsiteY177" fmla="*/ 30299 h 419804"/>
                      <a:gd name="connsiteX178" fmla="*/ 537415 w 3183642"/>
                      <a:gd name="connsiteY178" fmla="*/ 33451 h 419804"/>
                      <a:gd name="connsiteX179" fmla="*/ 541900 w 3183642"/>
                      <a:gd name="connsiteY179" fmla="*/ 35553 h 419804"/>
                      <a:gd name="connsiteX180" fmla="*/ 595081 w 3183642"/>
                      <a:gd name="connsiteY180" fmla="*/ 35553 h 419804"/>
                      <a:gd name="connsiteX181" fmla="*/ 596843 w 3183642"/>
                      <a:gd name="connsiteY181" fmla="*/ 39931 h 419804"/>
                      <a:gd name="connsiteX182" fmla="*/ 601328 w 3183642"/>
                      <a:gd name="connsiteY182" fmla="*/ 42033 h 419804"/>
                      <a:gd name="connsiteX183" fmla="*/ 648582 w 3183642"/>
                      <a:gd name="connsiteY183" fmla="*/ 42033 h 419804"/>
                      <a:gd name="connsiteX184" fmla="*/ 648582 w 3183642"/>
                      <a:gd name="connsiteY184" fmla="*/ 44135 h 419804"/>
                      <a:gd name="connsiteX185" fmla="*/ 650504 w 3183642"/>
                      <a:gd name="connsiteY185" fmla="*/ 49038 h 419804"/>
                      <a:gd name="connsiteX186" fmla="*/ 654989 w 3183642"/>
                      <a:gd name="connsiteY186" fmla="*/ 51140 h 419804"/>
                      <a:gd name="connsiteX187" fmla="*/ 656591 w 3183642"/>
                      <a:gd name="connsiteY187" fmla="*/ 53767 h 419804"/>
                      <a:gd name="connsiteX188" fmla="*/ 661076 w 3183642"/>
                      <a:gd name="connsiteY188" fmla="*/ 55869 h 419804"/>
                      <a:gd name="connsiteX189" fmla="*/ 684784 w 3183642"/>
                      <a:gd name="connsiteY189" fmla="*/ 55869 h 419804"/>
                      <a:gd name="connsiteX190" fmla="*/ 686385 w 3183642"/>
                      <a:gd name="connsiteY190" fmla="*/ 58846 h 419804"/>
                      <a:gd name="connsiteX191" fmla="*/ 690870 w 3183642"/>
                      <a:gd name="connsiteY191" fmla="*/ 60948 h 419804"/>
                      <a:gd name="connsiteX192" fmla="*/ 771282 w 3183642"/>
                      <a:gd name="connsiteY192" fmla="*/ 60948 h 419804"/>
                      <a:gd name="connsiteX193" fmla="*/ 772724 w 3183642"/>
                      <a:gd name="connsiteY193" fmla="*/ 63575 h 419804"/>
                      <a:gd name="connsiteX194" fmla="*/ 777209 w 3183642"/>
                      <a:gd name="connsiteY194" fmla="*/ 65676 h 419804"/>
                      <a:gd name="connsiteX195" fmla="*/ 815813 w 3183642"/>
                      <a:gd name="connsiteY195" fmla="*/ 65676 h 419804"/>
                      <a:gd name="connsiteX196" fmla="*/ 817415 w 3183642"/>
                      <a:gd name="connsiteY196" fmla="*/ 68479 h 419804"/>
                      <a:gd name="connsiteX197" fmla="*/ 821900 w 3183642"/>
                      <a:gd name="connsiteY197" fmla="*/ 70580 h 419804"/>
                      <a:gd name="connsiteX198" fmla="*/ 896225 w 3183642"/>
                      <a:gd name="connsiteY198" fmla="*/ 70580 h 419804"/>
                      <a:gd name="connsiteX199" fmla="*/ 897827 w 3183642"/>
                      <a:gd name="connsiteY199" fmla="*/ 73908 h 419804"/>
                      <a:gd name="connsiteX200" fmla="*/ 902312 w 3183642"/>
                      <a:gd name="connsiteY200" fmla="*/ 76010 h 419804"/>
                      <a:gd name="connsiteX201" fmla="*/ 964624 w 3183642"/>
                      <a:gd name="connsiteY201" fmla="*/ 76010 h 419804"/>
                      <a:gd name="connsiteX202" fmla="*/ 966386 w 3183642"/>
                      <a:gd name="connsiteY202" fmla="*/ 79162 h 419804"/>
                      <a:gd name="connsiteX203" fmla="*/ 967507 w 3183642"/>
                      <a:gd name="connsiteY203" fmla="*/ 80213 h 419804"/>
                      <a:gd name="connsiteX204" fmla="*/ 969429 w 3183642"/>
                      <a:gd name="connsiteY204" fmla="*/ 84942 h 419804"/>
                      <a:gd name="connsiteX205" fmla="*/ 973914 w 3183642"/>
                      <a:gd name="connsiteY205" fmla="*/ 87043 h 419804"/>
                      <a:gd name="connsiteX206" fmla="*/ 997621 w 3183642"/>
                      <a:gd name="connsiteY206" fmla="*/ 87043 h 419804"/>
                      <a:gd name="connsiteX207" fmla="*/ 999223 w 3183642"/>
                      <a:gd name="connsiteY207" fmla="*/ 89845 h 419804"/>
                      <a:gd name="connsiteX208" fmla="*/ 1003708 w 3183642"/>
                      <a:gd name="connsiteY208" fmla="*/ 91947 h 419804"/>
                      <a:gd name="connsiteX209" fmla="*/ 1122725 w 3183642"/>
                      <a:gd name="connsiteY209" fmla="*/ 91947 h 419804"/>
                      <a:gd name="connsiteX210" fmla="*/ 1124326 w 3183642"/>
                      <a:gd name="connsiteY210" fmla="*/ 94749 h 419804"/>
                      <a:gd name="connsiteX211" fmla="*/ 1128811 w 3183642"/>
                      <a:gd name="connsiteY211" fmla="*/ 96851 h 419804"/>
                      <a:gd name="connsiteX212" fmla="*/ 1164212 w 3183642"/>
                      <a:gd name="connsiteY212" fmla="*/ 96851 h 419804"/>
                      <a:gd name="connsiteX213" fmla="*/ 1164212 w 3183642"/>
                      <a:gd name="connsiteY213" fmla="*/ 97376 h 419804"/>
                      <a:gd name="connsiteX214" fmla="*/ 1166134 w 3183642"/>
                      <a:gd name="connsiteY214" fmla="*/ 102280 h 419804"/>
                      <a:gd name="connsiteX215" fmla="*/ 1170619 w 3183642"/>
                      <a:gd name="connsiteY215" fmla="*/ 104207 h 419804"/>
                      <a:gd name="connsiteX216" fmla="*/ 1268652 w 3183642"/>
                      <a:gd name="connsiteY216" fmla="*/ 104207 h 419804"/>
                      <a:gd name="connsiteX217" fmla="*/ 1270414 w 3183642"/>
                      <a:gd name="connsiteY217" fmla="*/ 107534 h 419804"/>
                      <a:gd name="connsiteX218" fmla="*/ 1274899 w 3183642"/>
                      <a:gd name="connsiteY218" fmla="*/ 109636 h 419804"/>
                      <a:gd name="connsiteX219" fmla="*/ 1334166 w 3183642"/>
                      <a:gd name="connsiteY219" fmla="*/ 109636 h 419804"/>
                      <a:gd name="connsiteX220" fmla="*/ 1335928 w 3183642"/>
                      <a:gd name="connsiteY220" fmla="*/ 114014 h 419804"/>
                      <a:gd name="connsiteX221" fmla="*/ 1340414 w 3183642"/>
                      <a:gd name="connsiteY221" fmla="*/ 115941 h 419804"/>
                      <a:gd name="connsiteX222" fmla="*/ 1355150 w 3183642"/>
                      <a:gd name="connsiteY222" fmla="*/ 115941 h 419804"/>
                      <a:gd name="connsiteX223" fmla="*/ 1356752 w 3183642"/>
                      <a:gd name="connsiteY223" fmla="*/ 118743 h 419804"/>
                      <a:gd name="connsiteX224" fmla="*/ 1361237 w 3183642"/>
                      <a:gd name="connsiteY224" fmla="*/ 120845 h 419804"/>
                      <a:gd name="connsiteX225" fmla="*/ 1378857 w 3183642"/>
                      <a:gd name="connsiteY225" fmla="*/ 120845 h 419804"/>
                      <a:gd name="connsiteX226" fmla="*/ 1380459 w 3183642"/>
                      <a:gd name="connsiteY226" fmla="*/ 123997 h 419804"/>
                      <a:gd name="connsiteX227" fmla="*/ 1384945 w 3183642"/>
                      <a:gd name="connsiteY227" fmla="*/ 126099 h 419804"/>
                      <a:gd name="connsiteX228" fmla="*/ 1387668 w 3183642"/>
                      <a:gd name="connsiteY228" fmla="*/ 126099 h 419804"/>
                      <a:gd name="connsiteX229" fmla="*/ 1389270 w 3183642"/>
                      <a:gd name="connsiteY229" fmla="*/ 129251 h 419804"/>
                      <a:gd name="connsiteX230" fmla="*/ 1393755 w 3183642"/>
                      <a:gd name="connsiteY230" fmla="*/ 131353 h 419804"/>
                      <a:gd name="connsiteX231" fmla="*/ 1411375 w 3183642"/>
                      <a:gd name="connsiteY231" fmla="*/ 131353 h 419804"/>
                      <a:gd name="connsiteX232" fmla="*/ 1413137 w 3183642"/>
                      <a:gd name="connsiteY232" fmla="*/ 134856 h 419804"/>
                      <a:gd name="connsiteX233" fmla="*/ 1417622 w 3183642"/>
                      <a:gd name="connsiteY233" fmla="*/ 136957 h 419804"/>
                      <a:gd name="connsiteX234" fmla="*/ 1426272 w 3183642"/>
                      <a:gd name="connsiteY234" fmla="*/ 136957 h 419804"/>
                      <a:gd name="connsiteX235" fmla="*/ 1428034 w 3183642"/>
                      <a:gd name="connsiteY235" fmla="*/ 140810 h 419804"/>
                      <a:gd name="connsiteX236" fmla="*/ 1432519 w 3183642"/>
                      <a:gd name="connsiteY236" fmla="*/ 142912 h 419804"/>
                      <a:gd name="connsiteX237" fmla="*/ 1524624 w 3183642"/>
                      <a:gd name="connsiteY237" fmla="*/ 142912 h 419804"/>
                      <a:gd name="connsiteX238" fmla="*/ 1526386 w 3183642"/>
                      <a:gd name="connsiteY238" fmla="*/ 146240 h 419804"/>
                      <a:gd name="connsiteX239" fmla="*/ 1527508 w 3183642"/>
                      <a:gd name="connsiteY239" fmla="*/ 147290 h 419804"/>
                      <a:gd name="connsiteX240" fmla="*/ 1529270 w 3183642"/>
                      <a:gd name="connsiteY240" fmla="*/ 151319 h 419804"/>
                      <a:gd name="connsiteX241" fmla="*/ 1533755 w 3183642"/>
                      <a:gd name="connsiteY241" fmla="*/ 153420 h 419804"/>
                      <a:gd name="connsiteX242" fmla="*/ 1587096 w 3183642"/>
                      <a:gd name="connsiteY242" fmla="*/ 153420 h 419804"/>
                      <a:gd name="connsiteX243" fmla="*/ 1588858 w 3183642"/>
                      <a:gd name="connsiteY243" fmla="*/ 156923 h 419804"/>
                      <a:gd name="connsiteX244" fmla="*/ 1593343 w 3183642"/>
                      <a:gd name="connsiteY244" fmla="*/ 159025 h 419804"/>
                      <a:gd name="connsiteX245" fmla="*/ 1601833 w 3183642"/>
                      <a:gd name="connsiteY245" fmla="*/ 159025 h 419804"/>
                      <a:gd name="connsiteX246" fmla="*/ 1601833 w 3183642"/>
                      <a:gd name="connsiteY246" fmla="*/ 164804 h 419804"/>
                      <a:gd name="connsiteX247" fmla="*/ 1603755 w 3183642"/>
                      <a:gd name="connsiteY247" fmla="*/ 169708 h 419804"/>
                      <a:gd name="connsiteX248" fmla="*/ 1608240 w 3183642"/>
                      <a:gd name="connsiteY248" fmla="*/ 171810 h 419804"/>
                      <a:gd name="connsiteX249" fmla="*/ 1685448 w 3183642"/>
                      <a:gd name="connsiteY249" fmla="*/ 171810 h 419804"/>
                      <a:gd name="connsiteX250" fmla="*/ 1687210 w 3183642"/>
                      <a:gd name="connsiteY250" fmla="*/ 175312 h 419804"/>
                      <a:gd name="connsiteX251" fmla="*/ 1691696 w 3183642"/>
                      <a:gd name="connsiteY251" fmla="*/ 177414 h 419804"/>
                      <a:gd name="connsiteX252" fmla="*/ 1828332 w 3183642"/>
                      <a:gd name="connsiteY252" fmla="*/ 177414 h 419804"/>
                      <a:gd name="connsiteX253" fmla="*/ 1830254 w 3183642"/>
                      <a:gd name="connsiteY253" fmla="*/ 181792 h 419804"/>
                      <a:gd name="connsiteX254" fmla="*/ 1834739 w 3183642"/>
                      <a:gd name="connsiteY254" fmla="*/ 183894 h 419804"/>
                      <a:gd name="connsiteX255" fmla="*/ 1882314 w 3183642"/>
                      <a:gd name="connsiteY255" fmla="*/ 183894 h 419804"/>
                      <a:gd name="connsiteX256" fmla="*/ 1883916 w 3183642"/>
                      <a:gd name="connsiteY256" fmla="*/ 187047 h 419804"/>
                      <a:gd name="connsiteX257" fmla="*/ 1888401 w 3183642"/>
                      <a:gd name="connsiteY257" fmla="*/ 189148 h 419804"/>
                      <a:gd name="connsiteX258" fmla="*/ 1911948 w 3183642"/>
                      <a:gd name="connsiteY258" fmla="*/ 189148 h 419804"/>
                      <a:gd name="connsiteX259" fmla="*/ 1913709 w 3183642"/>
                      <a:gd name="connsiteY259" fmla="*/ 193001 h 419804"/>
                      <a:gd name="connsiteX260" fmla="*/ 1918195 w 3183642"/>
                      <a:gd name="connsiteY260" fmla="*/ 195103 h 419804"/>
                      <a:gd name="connsiteX261" fmla="*/ 2111376 w 3183642"/>
                      <a:gd name="connsiteY261" fmla="*/ 195103 h 419804"/>
                      <a:gd name="connsiteX262" fmla="*/ 2113138 w 3183642"/>
                      <a:gd name="connsiteY262" fmla="*/ 199306 h 419804"/>
                      <a:gd name="connsiteX263" fmla="*/ 2117302 w 3183642"/>
                      <a:gd name="connsiteY263" fmla="*/ 201408 h 419804"/>
                      <a:gd name="connsiteX264" fmla="*/ 2119064 w 3183642"/>
                      <a:gd name="connsiteY264" fmla="*/ 205611 h 419804"/>
                      <a:gd name="connsiteX265" fmla="*/ 2123550 w 3183642"/>
                      <a:gd name="connsiteY265" fmla="*/ 207713 h 419804"/>
                      <a:gd name="connsiteX266" fmla="*/ 2132200 w 3183642"/>
                      <a:gd name="connsiteY266" fmla="*/ 207713 h 419804"/>
                      <a:gd name="connsiteX267" fmla="*/ 2133961 w 3183642"/>
                      <a:gd name="connsiteY267" fmla="*/ 211741 h 419804"/>
                      <a:gd name="connsiteX268" fmla="*/ 2138447 w 3183642"/>
                      <a:gd name="connsiteY268" fmla="*/ 213843 h 419804"/>
                      <a:gd name="connsiteX269" fmla="*/ 2194671 w 3183642"/>
                      <a:gd name="connsiteY269" fmla="*/ 213843 h 419804"/>
                      <a:gd name="connsiteX270" fmla="*/ 2196593 w 3183642"/>
                      <a:gd name="connsiteY270" fmla="*/ 218922 h 419804"/>
                      <a:gd name="connsiteX271" fmla="*/ 2201078 w 3183642"/>
                      <a:gd name="connsiteY271" fmla="*/ 221023 h 419804"/>
                      <a:gd name="connsiteX272" fmla="*/ 2364465 w 3183642"/>
                      <a:gd name="connsiteY272" fmla="*/ 221023 h 419804"/>
                      <a:gd name="connsiteX273" fmla="*/ 2366387 w 3183642"/>
                      <a:gd name="connsiteY273" fmla="*/ 225577 h 419804"/>
                      <a:gd name="connsiteX274" fmla="*/ 2370873 w 3183642"/>
                      <a:gd name="connsiteY274" fmla="*/ 227678 h 419804"/>
                      <a:gd name="connsiteX275" fmla="*/ 2388332 w 3183642"/>
                      <a:gd name="connsiteY275" fmla="*/ 227678 h 419804"/>
                      <a:gd name="connsiteX276" fmla="*/ 2390095 w 3183642"/>
                      <a:gd name="connsiteY276" fmla="*/ 232057 h 419804"/>
                      <a:gd name="connsiteX277" fmla="*/ 2394580 w 3183642"/>
                      <a:gd name="connsiteY277" fmla="*/ 234159 h 419804"/>
                      <a:gd name="connsiteX278" fmla="*/ 2421010 w 3183642"/>
                      <a:gd name="connsiteY278" fmla="*/ 234159 h 419804"/>
                      <a:gd name="connsiteX279" fmla="*/ 2422772 w 3183642"/>
                      <a:gd name="connsiteY279" fmla="*/ 238537 h 419804"/>
                      <a:gd name="connsiteX280" fmla="*/ 2427257 w 3183642"/>
                      <a:gd name="connsiteY280" fmla="*/ 240639 h 419804"/>
                      <a:gd name="connsiteX281" fmla="*/ 2453688 w 3183642"/>
                      <a:gd name="connsiteY281" fmla="*/ 240639 h 419804"/>
                      <a:gd name="connsiteX282" fmla="*/ 2455610 w 3183642"/>
                      <a:gd name="connsiteY282" fmla="*/ 245542 h 419804"/>
                      <a:gd name="connsiteX283" fmla="*/ 2460095 w 3183642"/>
                      <a:gd name="connsiteY283" fmla="*/ 247644 h 419804"/>
                      <a:gd name="connsiteX284" fmla="*/ 2471628 w 3183642"/>
                      <a:gd name="connsiteY284" fmla="*/ 247644 h 419804"/>
                      <a:gd name="connsiteX285" fmla="*/ 2471628 w 3183642"/>
                      <a:gd name="connsiteY285" fmla="*/ 248345 h 419804"/>
                      <a:gd name="connsiteX286" fmla="*/ 2473550 w 3183642"/>
                      <a:gd name="connsiteY286" fmla="*/ 253249 h 419804"/>
                      <a:gd name="connsiteX287" fmla="*/ 2478035 w 3183642"/>
                      <a:gd name="connsiteY287" fmla="*/ 255350 h 419804"/>
                      <a:gd name="connsiteX288" fmla="*/ 2587761 w 3183642"/>
                      <a:gd name="connsiteY288" fmla="*/ 255350 h 419804"/>
                      <a:gd name="connsiteX289" fmla="*/ 2587761 w 3183642"/>
                      <a:gd name="connsiteY289" fmla="*/ 256226 h 419804"/>
                      <a:gd name="connsiteX290" fmla="*/ 2589683 w 3183642"/>
                      <a:gd name="connsiteY290" fmla="*/ 261130 h 419804"/>
                      <a:gd name="connsiteX291" fmla="*/ 2594168 w 3183642"/>
                      <a:gd name="connsiteY291" fmla="*/ 263231 h 419804"/>
                      <a:gd name="connsiteX292" fmla="*/ 2683070 w 3183642"/>
                      <a:gd name="connsiteY292" fmla="*/ 263231 h 419804"/>
                      <a:gd name="connsiteX293" fmla="*/ 2683070 w 3183642"/>
                      <a:gd name="connsiteY293" fmla="*/ 264983 h 419804"/>
                      <a:gd name="connsiteX294" fmla="*/ 2684992 w 3183642"/>
                      <a:gd name="connsiteY294" fmla="*/ 269887 h 419804"/>
                      <a:gd name="connsiteX295" fmla="*/ 2689477 w 3183642"/>
                      <a:gd name="connsiteY295" fmla="*/ 271988 h 419804"/>
                      <a:gd name="connsiteX296" fmla="*/ 2811216 w 3183642"/>
                      <a:gd name="connsiteY296" fmla="*/ 271988 h 419804"/>
                      <a:gd name="connsiteX297" fmla="*/ 2811216 w 3183642"/>
                      <a:gd name="connsiteY297" fmla="*/ 274966 h 419804"/>
                      <a:gd name="connsiteX298" fmla="*/ 2813138 w 3183642"/>
                      <a:gd name="connsiteY298" fmla="*/ 279869 h 419804"/>
                      <a:gd name="connsiteX299" fmla="*/ 2817623 w 3183642"/>
                      <a:gd name="connsiteY299" fmla="*/ 281971 h 419804"/>
                      <a:gd name="connsiteX300" fmla="*/ 2966114 w 3183642"/>
                      <a:gd name="connsiteY300" fmla="*/ 281971 h 419804"/>
                      <a:gd name="connsiteX301" fmla="*/ 2966114 w 3183642"/>
                      <a:gd name="connsiteY301" fmla="*/ 287050 h 419804"/>
                      <a:gd name="connsiteX302" fmla="*/ 2968036 w 3183642"/>
                      <a:gd name="connsiteY302" fmla="*/ 291954 h 419804"/>
                      <a:gd name="connsiteX303" fmla="*/ 2972521 w 3183642"/>
                      <a:gd name="connsiteY303" fmla="*/ 294055 h 419804"/>
                      <a:gd name="connsiteX304" fmla="*/ 2989981 w 3183642"/>
                      <a:gd name="connsiteY304" fmla="*/ 294055 h 419804"/>
                      <a:gd name="connsiteX305" fmla="*/ 2989981 w 3183642"/>
                      <a:gd name="connsiteY305" fmla="*/ 300185 h 419804"/>
                      <a:gd name="connsiteX306" fmla="*/ 2991903 w 3183642"/>
                      <a:gd name="connsiteY306" fmla="*/ 305089 h 419804"/>
                      <a:gd name="connsiteX307" fmla="*/ 2996388 w 3183642"/>
                      <a:gd name="connsiteY307" fmla="*/ 307191 h 419804"/>
                      <a:gd name="connsiteX308" fmla="*/ 3144878 w 3183642"/>
                      <a:gd name="connsiteY308" fmla="*/ 307191 h 419804"/>
                      <a:gd name="connsiteX309" fmla="*/ 3144878 w 3183642"/>
                      <a:gd name="connsiteY309" fmla="*/ 319976 h 419804"/>
                      <a:gd name="connsiteX310" fmla="*/ 3146800 w 3183642"/>
                      <a:gd name="connsiteY310" fmla="*/ 324880 h 419804"/>
                      <a:gd name="connsiteX311" fmla="*/ 3151285 w 3183642"/>
                      <a:gd name="connsiteY311" fmla="*/ 326981 h 419804"/>
                      <a:gd name="connsiteX312" fmla="*/ 3183322 w 3183642"/>
                      <a:gd name="connsiteY312" fmla="*/ 326981 h 419804"/>
                      <a:gd name="connsiteX313" fmla="*/ 3183322 w 3183642"/>
                      <a:gd name="connsiteY313" fmla="*/ 313145 h 419804"/>
                      <a:gd name="connsiteX314" fmla="*/ 3157693 w 3183642"/>
                      <a:gd name="connsiteY314" fmla="*/ 313145 h 419804"/>
                      <a:gd name="connsiteX315" fmla="*/ 3157693 w 3183642"/>
                      <a:gd name="connsiteY315" fmla="*/ 300360 h 419804"/>
                      <a:gd name="connsiteX316" fmla="*/ 3155771 w 3183642"/>
                      <a:gd name="connsiteY316" fmla="*/ 295457 h 419804"/>
                      <a:gd name="connsiteX317" fmla="*/ 3151285 w 3183642"/>
                      <a:gd name="connsiteY317" fmla="*/ 293355 h 419804"/>
                      <a:gd name="connsiteX318" fmla="*/ 3002796 w 3183642"/>
                      <a:gd name="connsiteY318" fmla="*/ 293355 h 419804"/>
                      <a:gd name="connsiteX319" fmla="*/ 3002796 w 3183642"/>
                      <a:gd name="connsiteY319" fmla="*/ 287225 h 419804"/>
                      <a:gd name="connsiteX320" fmla="*/ 3000873 w 3183642"/>
                      <a:gd name="connsiteY320" fmla="*/ 282321 h 419804"/>
                      <a:gd name="connsiteX321" fmla="*/ 2996388 w 3183642"/>
                      <a:gd name="connsiteY321" fmla="*/ 280220 h 419804"/>
                      <a:gd name="connsiteX322" fmla="*/ 2978928 w 3183642"/>
                      <a:gd name="connsiteY322" fmla="*/ 280220 h 419804"/>
                      <a:gd name="connsiteX323" fmla="*/ 2978928 w 3183642"/>
                      <a:gd name="connsiteY323" fmla="*/ 275141 h 419804"/>
                      <a:gd name="connsiteX324" fmla="*/ 2977006 w 3183642"/>
                      <a:gd name="connsiteY324" fmla="*/ 270237 h 419804"/>
                      <a:gd name="connsiteX325" fmla="*/ 2972521 w 3183642"/>
                      <a:gd name="connsiteY325" fmla="*/ 268135 h 419804"/>
                      <a:gd name="connsiteX326" fmla="*/ 2824031 w 3183642"/>
                      <a:gd name="connsiteY326" fmla="*/ 268135 h 419804"/>
                      <a:gd name="connsiteX327" fmla="*/ 2824031 w 3183642"/>
                      <a:gd name="connsiteY327" fmla="*/ 265158 h 419804"/>
                      <a:gd name="connsiteX328" fmla="*/ 2822109 w 3183642"/>
                      <a:gd name="connsiteY328" fmla="*/ 260254 h 419804"/>
                      <a:gd name="connsiteX329" fmla="*/ 2817623 w 3183642"/>
                      <a:gd name="connsiteY329" fmla="*/ 258152 h 419804"/>
                      <a:gd name="connsiteX330" fmla="*/ 2695885 w 3183642"/>
                      <a:gd name="connsiteY330" fmla="*/ 258152 h 419804"/>
                      <a:gd name="connsiteX331" fmla="*/ 2695885 w 3183642"/>
                      <a:gd name="connsiteY331" fmla="*/ 256401 h 419804"/>
                      <a:gd name="connsiteX332" fmla="*/ 2693962 w 3183642"/>
                      <a:gd name="connsiteY332" fmla="*/ 251497 h 419804"/>
                      <a:gd name="connsiteX333" fmla="*/ 2689477 w 3183642"/>
                      <a:gd name="connsiteY333" fmla="*/ 249395 h 419804"/>
                      <a:gd name="connsiteX334" fmla="*/ 2600575 w 3183642"/>
                      <a:gd name="connsiteY334" fmla="*/ 249395 h 419804"/>
                      <a:gd name="connsiteX335" fmla="*/ 2600575 w 3183642"/>
                      <a:gd name="connsiteY335" fmla="*/ 248520 h 419804"/>
                      <a:gd name="connsiteX336" fmla="*/ 2598653 w 3183642"/>
                      <a:gd name="connsiteY336" fmla="*/ 243616 h 419804"/>
                      <a:gd name="connsiteX337" fmla="*/ 2594168 w 3183642"/>
                      <a:gd name="connsiteY337" fmla="*/ 241514 h 419804"/>
                      <a:gd name="connsiteX338" fmla="*/ 2484442 w 3183642"/>
                      <a:gd name="connsiteY338" fmla="*/ 241514 h 419804"/>
                      <a:gd name="connsiteX339" fmla="*/ 2484442 w 3183642"/>
                      <a:gd name="connsiteY339" fmla="*/ 240814 h 419804"/>
                      <a:gd name="connsiteX340" fmla="*/ 2482520 w 3183642"/>
                      <a:gd name="connsiteY340" fmla="*/ 235910 h 419804"/>
                      <a:gd name="connsiteX341" fmla="*/ 2478035 w 3183642"/>
                      <a:gd name="connsiteY341" fmla="*/ 233808 h 419804"/>
                      <a:gd name="connsiteX342" fmla="*/ 2466502 w 3183642"/>
                      <a:gd name="connsiteY342" fmla="*/ 233808 h 419804"/>
                      <a:gd name="connsiteX343" fmla="*/ 2464580 w 3183642"/>
                      <a:gd name="connsiteY343" fmla="*/ 228904 h 419804"/>
                      <a:gd name="connsiteX344" fmla="*/ 2460095 w 3183642"/>
                      <a:gd name="connsiteY344" fmla="*/ 226803 h 419804"/>
                      <a:gd name="connsiteX345" fmla="*/ 2433665 w 3183642"/>
                      <a:gd name="connsiteY345" fmla="*/ 226803 h 419804"/>
                      <a:gd name="connsiteX346" fmla="*/ 2431902 w 3183642"/>
                      <a:gd name="connsiteY346" fmla="*/ 222424 h 419804"/>
                      <a:gd name="connsiteX347" fmla="*/ 2427417 w 3183642"/>
                      <a:gd name="connsiteY347" fmla="*/ 220323 h 419804"/>
                      <a:gd name="connsiteX348" fmla="*/ 2400987 w 3183642"/>
                      <a:gd name="connsiteY348" fmla="*/ 220323 h 419804"/>
                      <a:gd name="connsiteX349" fmla="*/ 2399225 w 3183642"/>
                      <a:gd name="connsiteY349" fmla="*/ 215944 h 419804"/>
                      <a:gd name="connsiteX350" fmla="*/ 2394740 w 3183642"/>
                      <a:gd name="connsiteY350" fmla="*/ 213843 h 419804"/>
                      <a:gd name="connsiteX351" fmla="*/ 2377280 w 3183642"/>
                      <a:gd name="connsiteY351" fmla="*/ 213843 h 419804"/>
                      <a:gd name="connsiteX352" fmla="*/ 2375358 w 3183642"/>
                      <a:gd name="connsiteY352" fmla="*/ 209289 h 419804"/>
                      <a:gd name="connsiteX353" fmla="*/ 2370873 w 3183642"/>
                      <a:gd name="connsiteY353" fmla="*/ 207187 h 419804"/>
                      <a:gd name="connsiteX354" fmla="*/ 2207486 w 3183642"/>
                      <a:gd name="connsiteY354" fmla="*/ 207187 h 419804"/>
                      <a:gd name="connsiteX355" fmla="*/ 2205563 w 3183642"/>
                      <a:gd name="connsiteY355" fmla="*/ 202108 h 419804"/>
                      <a:gd name="connsiteX356" fmla="*/ 2201078 w 3183642"/>
                      <a:gd name="connsiteY356" fmla="*/ 200007 h 419804"/>
                      <a:gd name="connsiteX357" fmla="*/ 2144854 w 3183642"/>
                      <a:gd name="connsiteY357" fmla="*/ 200007 h 419804"/>
                      <a:gd name="connsiteX358" fmla="*/ 2143092 w 3183642"/>
                      <a:gd name="connsiteY358" fmla="*/ 195979 h 419804"/>
                      <a:gd name="connsiteX359" fmla="*/ 2138607 w 3183642"/>
                      <a:gd name="connsiteY359" fmla="*/ 193877 h 419804"/>
                      <a:gd name="connsiteX360" fmla="*/ 2129957 w 3183642"/>
                      <a:gd name="connsiteY360" fmla="*/ 193877 h 419804"/>
                      <a:gd name="connsiteX361" fmla="*/ 2128195 w 3183642"/>
                      <a:gd name="connsiteY361" fmla="*/ 189674 h 419804"/>
                      <a:gd name="connsiteX362" fmla="*/ 2124030 w 3183642"/>
                      <a:gd name="connsiteY362" fmla="*/ 187572 h 419804"/>
                      <a:gd name="connsiteX363" fmla="*/ 2122268 w 3183642"/>
                      <a:gd name="connsiteY363" fmla="*/ 183369 h 419804"/>
                      <a:gd name="connsiteX364" fmla="*/ 2117783 w 3183642"/>
                      <a:gd name="connsiteY364" fmla="*/ 181267 h 419804"/>
                      <a:gd name="connsiteX365" fmla="*/ 1924442 w 3183642"/>
                      <a:gd name="connsiteY365" fmla="*/ 181267 h 419804"/>
                      <a:gd name="connsiteX366" fmla="*/ 1922680 w 3183642"/>
                      <a:gd name="connsiteY366" fmla="*/ 177414 h 419804"/>
                      <a:gd name="connsiteX367" fmla="*/ 1918195 w 3183642"/>
                      <a:gd name="connsiteY367" fmla="*/ 175312 h 419804"/>
                      <a:gd name="connsiteX368" fmla="*/ 1894648 w 3183642"/>
                      <a:gd name="connsiteY368" fmla="*/ 175312 h 419804"/>
                      <a:gd name="connsiteX369" fmla="*/ 1893046 w 3183642"/>
                      <a:gd name="connsiteY369" fmla="*/ 172160 h 419804"/>
                      <a:gd name="connsiteX370" fmla="*/ 1888561 w 3183642"/>
                      <a:gd name="connsiteY370" fmla="*/ 170058 h 419804"/>
                      <a:gd name="connsiteX371" fmla="*/ 1841307 w 3183642"/>
                      <a:gd name="connsiteY371" fmla="*/ 170058 h 419804"/>
                      <a:gd name="connsiteX372" fmla="*/ 1839384 w 3183642"/>
                      <a:gd name="connsiteY372" fmla="*/ 165680 h 419804"/>
                      <a:gd name="connsiteX373" fmla="*/ 1834899 w 3183642"/>
                      <a:gd name="connsiteY373" fmla="*/ 163578 h 419804"/>
                      <a:gd name="connsiteX374" fmla="*/ 1698103 w 3183642"/>
                      <a:gd name="connsiteY374" fmla="*/ 163578 h 419804"/>
                      <a:gd name="connsiteX375" fmla="*/ 1696341 w 3183642"/>
                      <a:gd name="connsiteY375" fmla="*/ 160075 h 419804"/>
                      <a:gd name="connsiteX376" fmla="*/ 1691856 w 3183642"/>
                      <a:gd name="connsiteY376" fmla="*/ 157974 h 419804"/>
                      <a:gd name="connsiteX377" fmla="*/ 1614808 w 3183642"/>
                      <a:gd name="connsiteY377" fmla="*/ 157974 h 419804"/>
                      <a:gd name="connsiteX378" fmla="*/ 1614808 w 3183642"/>
                      <a:gd name="connsiteY378" fmla="*/ 152194 h 419804"/>
                      <a:gd name="connsiteX379" fmla="*/ 1612885 w 3183642"/>
                      <a:gd name="connsiteY379" fmla="*/ 147290 h 419804"/>
                      <a:gd name="connsiteX380" fmla="*/ 1608400 w 3183642"/>
                      <a:gd name="connsiteY380" fmla="*/ 145189 h 419804"/>
                      <a:gd name="connsiteX381" fmla="*/ 1599750 w 3183642"/>
                      <a:gd name="connsiteY381" fmla="*/ 145189 h 419804"/>
                      <a:gd name="connsiteX382" fmla="*/ 1597988 w 3183642"/>
                      <a:gd name="connsiteY382" fmla="*/ 141686 h 419804"/>
                      <a:gd name="connsiteX383" fmla="*/ 1593503 w 3183642"/>
                      <a:gd name="connsiteY383" fmla="*/ 139584 h 419804"/>
                      <a:gd name="connsiteX384" fmla="*/ 1540002 w 3183642"/>
                      <a:gd name="connsiteY384" fmla="*/ 139584 h 419804"/>
                      <a:gd name="connsiteX385" fmla="*/ 1538400 w 3183642"/>
                      <a:gd name="connsiteY385" fmla="*/ 136607 h 419804"/>
                      <a:gd name="connsiteX386" fmla="*/ 1537279 w 3183642"/>
                      <a:gd name="connsiteY386" fmla="*/ 135556 h 419804"/>
                      <a:gd name="connsiteX387" fmla="*/ 1535357 w 3183642"/>
                      <a:gd name="connsiteY387" fmla="*/ 131178 h 419804"/>
                      <a:gd name="connsiteX388" fmla="*/ 1530871 w 3183642"/>
                      <a:gd name="connsiteY388" fmla="*/ 129076 h 419804"/>
                      <a:gd name="connsiteX389" fmla="*/ 1438926 w 3183642"/>
                      <a:gd name="connsiteY389" fmla="*/ 129076 h 419804"/>
                      <a:gd name="connsiteX390" fmla="*/ 1437164 w 3183642"/>
                      <a:gd name="connsiteY390" fmla="*/ 125223 h 419804"/>
                      <a:gd name="connsiteX391" fmla="*/ 1432679 w 3183642"/>
                      <a:gd name="connsiteY391" fmla="*/ 123121 h 419804"/>
                      <a:gd name="connsiteX392" fmla="*/ 1424029 w 3183642"/>
                      <a:gd name="connsiteY392" fmla="*/ 123121 h 419804"/>
                      <a:gd name="connsiteX393" fmla="*/ 1422267 w 3183642"/>
                      <a:gd name="connsiteY393" fmla="*/ 119619 h 419804"/>
                      <a:gd name="connsiteX394" fmla="*/ 1417782 w 3183642"/>
                      <a:gd name="connsiteY394" fmla="*/ 117517 h 419804"/>
                      <a:gd name="connsiteX395" fmla="*/ 1400002 w 3183642"/>
                      <a:gd name="connsiteY395" fmla="*/ 117517 h 419804"/>
                      <a:gd name="connsiteX396" fmla="*/ 1398400 w 3183642"/>
                      <a:gd name="connsiteY396" fmla="*/ 114365 h 419804"/>
                      <a:gd name="connsiteX397" fmla="*/ 1393915 w 3183642"/>
                      <a:gd name="connsiteY397" fmla="*/ 112263 h 419804"/>
                      <a:gd name="connsiteX398" fmla="*/ 1391192 w 3183642"/>
                      <a:gd name="connsiteY398" fmla="*/ 112263 h 419804"/>
                      <a:gd name="connsiteX399" fmla="*/ 1389590 w 3183642"/>
                      <a:gd name="connsiteY399" fmla="*/ 109111 h 419804"/>
                      <a:gd name="connsiteX400" fmla="*/ 1385105 w 3183642"/>
                      <a:gd name="connsiteY400" fmla="*/ 107184 h 419804"/>
                      <a:gd name="connsiteX401" fmla="*/ 1367324 w 3183642"/>
                      <a:gd name="connsiteY401" fmla="*/ 107184 h 419804"/>
                      <a:gd name="connsiteX402" fmla="*/ 1365723 w 3183642"/>
                      <a:gd name="connsiteY402" fmla="*/ 104382 h 419804"/>
                      <a:gd name="connsiteX403" fmla="*/ 1361237 w 3183642"/>
                      <a:gd name="connsiteY403" fmla="*/ 102280 h 419804"/>
                      <a:gd name="connsiteX404" fmla="*/ 1346661 w 3183642"/>
                      <a:gd name="connsiteY404" fmla="*/ 102280 h 419804"/>
                      <a:gd name="connsiteX405" fmla="*/ 1344899 w 3183642"/>
                      <a:gd name="connsiteY405" fmla="*/ 97902 h 419804"/>
                      <a:gd name="connsiteX406" fmla="*/ 1340414 w 3183642"/>
                      <a:gd name="connsiteY406" fmla="*/ 95800 h 419804"/>
                      <a:gd name="connsiteX407" fmla="*/ 1280985 w 3183642"/>
                      <a:gd name="connsiteY407" fmla="*/ 95800 h 419804"/>
                      <a:gd name="connsiteX408" fmla="*/ 1279224 w 3183642"/>
                      <a:gd name="connsiteY408" fmla="*/ 92472 h 419804"/>
                      <a:gd name="connsiteX409" fmla="*/ 1274738 w 3183642"/>
                      <a:gd name="connsiteY409" fmla="*/ 90546 h 419804"/>
                      <a:gd name="connsiteX410" fmla="*/ 1176866 w 3183642"/>
                      <a:gd name="connsiteY410" fmla="*/ 90546 h 419804"/>
                      <a:gd name="connsiteX411" fmla="*/ 1176866 w 3183642"/>
                      <a:gd name="connsiteY411" fmla="*/ 90021 h 419804"/>
                      <a:gd name="connsiteX412" fmla="*/ 1174944 w 3183642"/>
                      <a:gd name="connsiteY412" fmla="*/ 85117 h 419804"/>
                      <a:gd name="connsiteX413" fmla="*/ 1170459 w 3183642"/>
                      <a:gd name="connsiteY413" fmla="*/ 83015 h 419804"/>
                      <a:gd name="connsiteX414" fmla="*/ 1134898 w 3183642"/>
                      <a:gd name="connsiteY414" fmla="*/ 83015 h 419804"/>
                      <a:gd name="connsiteX415" fmla="*/ 1133297 w 3183642"/>
                      <a:gd name="connsiteY415" fmla="*/ 80213 h 419804"/>
                      <a:gd name="connsiteX416" fmla="*/ 1128811 w 3183642"/>
                      <a:gd name="connsiteY416" fmla="*/ 78111 h 419804"/>
                      <a:gd name="connsiteX417" fmla="*/ 1009795 w 3183642"/>
                      <a:gd name="connsiteY417" fmla="*/ 78111 h 419804"/>
                      <a:gd name="connsiteX418" fmla="*/ 1008193 w 3183642"/>
                      <a:gd name="connsiteY418" fmla="*/ 75309 h 419804"/>
                      <a:gd name="connsiteX419" fmla="*/ 1003708 w 3183642"/>
                      <a:gd name="connsiteY419" fmla="*/ 73207 h 419804"/>
                      <a:gd name="connsiteX420" fmla="*/ 980161 w 3183642"/>
                      <a:gd name="connsiteY420" fmla="*/ 73207 h 419804"/>
                      <a:gd name="connsiteX421" fmla="*/ 978399 w 3183642"/>
                      <a:gd name="connsiteY421" fmla="*/ 69529 h 419804"/>
                      <a:gd name="connsiteX422" fmla="*/ 977278 w 3183642"/>
                      <a:gd name="connsiteY422" fmla="*/ 68479 h 419804"/>
                      <a:gd name="connsiteX423" fmla="*/ 975516 w 3183642"/>
                      <a:gd name="connsiteY423" fmla="*/ 64275 h 419804"/>
                      <a:gd name="connsiteX424" fmla="*/ 971031 w 3183642"/>
                      <a:gd name="connsiteY424" fmla="*/ 62174 h 419804"/>
                      <a:gd name="connsiteX425" fmla="*/ 908720 w 3183642"/>
                      <a:gd name="connsiteY425" fmla="*/ 62174 h 419804"/>
                      <a:gd name="connsiteX426" fmla="*/ 907118 w 3183642"/>
                      <a:gd name="connsiteY426" fmla="*/ 59021 h 419804"/>
                      <a:gd name="connsiteX427" fmla="*/ 904395 w 3183642"/>
                      <a:gd name="connsiteY427" fmla="*/ 57270 h 419804"/>
                      <a:gd name="connsiteX428" fmla="*/ 1099178 w 3183642"/>
                      <a:gd name="connsiteY428" fmla="*/ 57270 h 419804"/>
                      <a:gd name="connsiteX429" fmla="*/ 1099178 w 3183642"/>
                      <a:gd name="connsiteY429" fmla="*/ 71981 h 419804"/>
                      <a:gd name="connsiteX430" fmla="*/ 1608560 w 3183642"/>
                      <a:gd name="connsiteY430" fmla="*/ 71981 h 419804"/>
                      <a:gd name="connsiteX431" fmla="*/ 1608560 w 3183642"/>
                      <a:gd name="connsiteY431" fmla="*/ 78286 h 419804"/>
                      <a:gd name="connsiteX432" fmla="*/ 1692016 w 3183642"/>
                      <a:gd name="connsiteY432" fmla="*/ 78286 h 419804"/>
                      <a:gd name="connsiteX433" fmla="*/ 1692016 w 3183642"/>
                      <a:gd name="connsiteY433" fmla="*/ 83365 h 419804"/>
                      <a:gd name="connsiteX434" fmla="*/ 1805265 w 3183642"/>
                      <a:gd name="connsiteY434" fmla="*/ 83365 h 419804"/>
                      <a:gd name="connsiteX435" fmla="*/ 1805265 w 3183642"/>
                      <a:gd name="connsiteY435" fmla="*/ 98602 h 419804"/>
                      <a:gd name="connsiteX436" fmla="*/ 1840986 w 3183642"/>
                      <a:gd name="connsiteY436" fmla="*/ 98602 h 419804"/>
                      <a:gd name="connsiteX437" fmla="*/ 1840986 w 3183642"/>
                      <a:gd name="connsiteY437" fmla="*/ 111212 h 419804"/>
                      <a:gd name="connsiteX438" fmla="*/ 2138927 w 3183642"/>
                      <a:gd name="connsiteY438" fmla="*/ 111212 h 419804"/>
                      <a:gd name="connsiteX439" fmla="*/ 2138927 w 3183642"/>
                      <a:gd name="connsiteY439" fmla="*/ 116291 h 419804"/>
                      <a:gd name="connsiteX440" fmla="*/ 2201399 w 3183642"/>
                      <a:gd name="connsiteY440" fmla="*/ 116291 h 419804"/>
                      <a:gd name="connsiteX441" fmla="*/ 2201399 w 3183642"/>
                      <a:gd name="connsiteY441" fmla="*/ 122596 h 419804"/>
                      <a:gd name="connsiteX442" fmla="*/ 2371193 w 3183642"/>
                      <a:gd name="connsiteY442" fmla="*/ 122596 h 419804"/>
                      <a:gd name="connsiteX443" fmla="*/ 2371193 w 3183642"/>
                      <a:gd name="connsiteY443" fmla="*/ 128551 h 419804"/>
                      <a:gd name="connsiteX444" fmla="*/ 2395060 w 3183642"/>
                      <a:gd name="connsiteY444" fmla="*/ 128551 h 419804"/>
                      <a:gd name="connsiteX445" fmla="*/ 2395060 w 3183642"/>
                      <a:gd name="connsiteY445" fmla="*/ 134330 h 419804"/>
                      <a:gd name="connsiteX446" fmla="*/ 2427737 w 3183642"/>
                      <a:gd name="connsiteY446" fmla="*/ 134330 h 419804"/>
                      <a:gd name="connsiteX447" fmla="*/ 2427737 w 3183642"/>
                      <a:gd name="connsiteY447" fmla="*/ 140110 h 419804"/>
                      <a:gd name="connsiteX448" fmla="*/ 2460575 w 3183642"/>
                      <a:gd name="connsiteY448" fmla="*/ 140110 h 419804"/>
                      <a:gd name="connsiteX449" fmla="*/ 2460575 w 3183642"/>
                      <a:gd name="connsiteY449" fmla="*/ 146240 h 419804"/>
                      <a:gd name="connsiteX450" fmla="*/ 2478516 w 3183642"/>
                      <a:gd name="connsiteY450" fmla="*/ 146240 h 419804"/>
                      <a:gd name="connsiteX451" fmla="*/ 2478516 w 3183642"/>
                      <a:gd name="connsiteY451" fmla="*/ 152895 h 419804"/>
                      <a:gd name="connsiteX452" fmla="*/ 2594649 w 3183642"/>
                      <a:gd name="connsiteY452" fmla="*/ 152895 h 419804"/>
                      <a:gd name="connsiteX453" fmla="*/ 2594649 w 3183642"/>
                      <a:gd name="connsiteY453" fmla="*/ 159900 h 419804"/>
                      <a:gd name="connsiteX454" fmla="*/ 2689958 w 3183642"/>
                      <a:gd name="connsiteY454" fmla="*/ 159900 h 419804"/>
                      <a:gd name="connsiteX455" fmla="*/ 2689958 w 3183642"/>
                      <a:gd name="connsiteY455" fmla="*/ 167431 h 419804"/>
                      <a:gd name="connsiteX456" fmla="*/ 2817944 w 3183642"/>
                      <a:gd name="connsiteY456" fmla="*/ 167431 h 419804"/>
                      <a:gd name="connsiteX457" fmla="*/ 2817944 w 3183642"/>
                      <a:gd name="connsiteY457" fmla="*/ 175663 h 419804"/>
                      <a:gd name="connsiteX458" fmla="*/ 2972841 w 3183642"/>
                      <a:gd name="connsiteY458" fmla="*/ 175663 h 419804"/>
                      <a:gd name="connsiteX459" fmla="*/ 2972841 w 3183642"/>
                      <a:gd name="connsiteY459" fmla="*/ 185295 h 419804"/>
                      <a:gd name="connsiteX460" fmla="*/ 2996709 w 3183642"/>
                      <a:gd name="connsiteY460" fmla="*/ 185295 h 419804"/>
                      <a:gd name="connsiteX461" fmla="*/ 2996709 w 3183642"/>
                      <a:gd name="connsiteY461" fmla="*/ 195453 h 419804"/>
                      <a:gd name="connsiteX462" fmla="*/ 3151606 w 3183642"/>
                      <a:gd name="connsiteY462" fmla="*/ 195453 h 419804"/>
                      <a:gd name="connsiteX463" fmla="*/ 3151606 w 3183642"/>
                      <a:gd name="connsiteY463" fmla="*/ 208764 h 419804"/>
                      <a:gd name="connsiteX464" fmla="*/ 3183642 w 3183642"/>
                      <a:gd name="connsiteY464" fmla="*/ 208764 h 419804"/>
                      <a:gd name="connsiteX465" fmla="*/ 3183642 w 3183642"/>
                      <a:gd name="connsiteY465" fmla="*/ 419804 h 41980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  <a:cxn ang="0">
                        <a:pos x="connsiteX81" y="connsiteY81"/>
                      </a:cxn>
                      <a:cxn ang="0">
                        <a:pos x="connsiteX82" y="connsiteY82"/>
                      </a:cxn>
                      <a:cxn ang="0">
                        <a:pos x="connsiteX83" y="connsiteY83"/>
                      </a:cxn>
                      <a:cxn ang="0">
                        <a:pos x="connsiteX84" y="connsiteY84"/>
                      </a:cxn>
                      <a:cxn ang="0">
                        <a:pos x="connsiteX85" y="connsiteY85"/>
                      </a:cxn>
                      <a:cxn ang="0">
                        <a:pos x="connsiteX86" y="connsiteY86"/>
                      </a:cxn>
                      <a:cxn ang="0">
                        <a:pos x="connsiteX87" y="connsiteY87"/>
                      </a:cxn>
                      <a:cxn ang="0">
                        <a:pos x="connsiteX88" y="connsiteY88"/>
                      </a:cxn>
                      <a:cxn ang="0">
                        <a:pos x="connsiteX89" y="connsiteY89"/>
                      </a:cxn>
                      <a:cxn ang="0">
                        <a:pos x="connsiteX90" y="connsiteY90"/>
                      </a:cxn>
                      <a:cxn ang="0">
                        <a:pos x="connsiteX91" y="connsiteY91"/>
                      </a:cxn>
                      <a:cxn ang="0">
                        <a:pos x="connsiteX92" y="connsiteY92"/>
                      </a:cxn>
                      <a:cxn ang="0">
                        <a:pos x="connsiteX93" y="connsiteY93"/>
                      </a:cxn>
                      <a:cxn ang="0">
                        <a:pos x="connsiteX94" y="connsiteY94"/>
                      </a:cxn>
                      <a:cxn ang="0">
                        <a:pos x="connsiteX95" y="connsiteY95"/>
                      </a:cxn>
                      <a:cxn ang="0">
                        <a:pos x="connsiteX96" y="connsiteY96"/>
                      </a:cxn>
                      <a:cxn ang="0">
                        <a:pos x="connsiteX97" y="connsiteY97"/>
                      </a:cxn>
                      <a:cxn ang="0">
                        <a:pos x="connsiteX98" y="connsiteY98"/>
                      </a:cxn>
                      <a:cxn ang="0">
                        <a:pos x="connsiteX99" y="connsiteY99"/>
                      </a:cxn>
                      <a:cxn ang="0">
                        <a:pos x="connsiteX100" y="connsiteY100"/>
                      </a:cxn>
                      <a:cxn ang="0">
                        <a:pos x="connsiteX101" y="connsiteY101"/>
                      </a:cxn>
                      <a:cxn ang="0">
                        <a:pos x="connsiteX102" y="connsiteY102"/>
                      </a:cxn>
                      <a:cxn ang="0">
                        <a:pos x="connsiteX103" y="connsiteY103"/>
                      </a:cxn>
                      <a:cxn ang="0">
                        <a:pos x="connsiteX104" y="connsiteY104"/>
                      </a:cxn>
                      <a:cxn ang="0">
                        <a:pos x="connsiteX105" y="connsiteY105"/>
                      </a:cxn>
                      <a:cxn ang="0">
                        <a:pos x="connsiteX106" y="connsiteY106"/>
                      </a:cxn>
                      <a:cxn ang="0">
                        <a:pos x="connsiteX107" y="connsiteY107"/>
                      </a:cxn>
                      <a:cxn ang="0">
                        <a:pos x="connsiteX108" y="connsiteY108"/>
                      </a:cxn>
                      <a:cxn ang="0">
                        <a:pos x="connsiteX109" y="connsiteY109"/>
                      </a:cxn>
                      <a:cxn ang="0">
                        <a:pos x="connsiteX110" y="connsiteY110"/>
                      </a:cxn>
                      <a:cxn ang="0">
                        <a:pos x="connsiteX111" y="connsiteY111"/>
                      </a:cxn>
                      <a:cxn ang="0">
                        <a:pos x="connsiteX112" y="connsiteY112"/>
                      </a:cxn>
                      <a:cxn ang="0">
                        <a:pos x="connsiteX113" y="connsiteY113"/>
                      </a:cxn>
                      <a:cxn ang="0">
                        <a:pos x="connsiteX114" y="connsiteY114"/>
                      </a:cxn>
                      <a:cxn ang="0">
                        <a:pos x="connsiteX115" y="connsiteY115"/>
                      </a:cxn>
                      <a:cxn ang="0">
                        <a:pos x="connsiteX116" y="connsiteY116"/>
                      </a:cxn>
                      <a:cxn ang="0">
                        <a:pos x="connsiteX117" y="connsiteY117"/>
                      </a:cxn>
                      <a:cxn ang="0">
                        <a:pos x="connsiteX118" y="connsiteY118"/>
                      </a:cxn>
                      <a:cxn ang="0">
                        <a:pos x="connsiteX119" y="connsiteY119"/>
                      </a:cxn>
                      <a:cxn ang="0">
                        <a:pos x="connsiteX120" y="connsiteY120"/>
                      </a:cxn>
                      <a:cxn ang="0">
                        <a:pos x="connsiteX121" y="connsiteY121"/>
                      </a:cxn>
                      <a:cxn ang="0">
                        <a:pos x="connsiteX122" y="connsiteY122"/>
                      </a:cxn>
                      <a:cxn ang="0">
                        <a:pos x="connsiteX123" y="connsiteY123"/>
                      </a:cxn>
                      <a:cxn ang="0">
                        <a:pos x="connsiteX124" y="connsiteY124"/>
                      </a:cxn>
                      <a:cxn ang="0">
                        <a:pos x="connsiteX125" y="connsiteY125"/>
                      </a:cxn>
                      <a:cxn ang="0">
                        <a:pos x="connsiteX126" y="connsiteY126"/>
                      </a:cxn>
                      <a:cxn ang="0">
                        <a:pos x="connsiteX127" y="connsiteY127"/>
                      </a:cxn>
                      <a:cxn ang="0">
                        <a:pos x="connsiteX128" y="connsiteY128"/>
                      </a:cxn>
                      <a:cxn ang="0">
                        <a:pos x="connsiteX129" y="connsiteY129"/>
                      </a:cxn>
                      <a:cxn ang="0">
                        <a:pos x="connsiteX130" y="connsiteY130"/>
                      </a:cxn>
                      <a:cxn ang="0">
                        <a:pos x="connsiteX131" y="connsiteY131"/>
                      </a:cxn>
                      <a:cxn ang="0">
                        <a:pos x="connsiteX132" y="connsiteY132"/>
                      </a:cxn>
                      <a:cxn ang="0">
                        <a:pos x="connsiteX133" y="connsiteY133"/>
                      </a:cxn>
                      <a:cxn ang="0">
                        <a:pos x="connsiteX134" y="connsiteY134"/>
                      </a:cxn>
                      <a:cxn ang="0">
                        <a:pos x="connsiteX135" y="connsiteY135"/>
                      </a:cxn>
                      <a:cxn ang="0">
                        <a:pos x="connsiteX136" y="connsiteY136"/>
                      </a:cxn>
                      <a:cxn ang="0">
                        <a:pos x="connsiteX137" y="connsiteY137"/>
                      </a:cxn>
                      <a:cxn ang="0">
                        <a:pos x="connsiteX138" y="connsiteY138"/>
                      </a:cxn>
                      <a:cxn ang="0">
                        <a:pos x="connsiteX139" y="connsiteY139"/>
                      </a:cxn>
                      <a:cxn ang="0">
                        <a:pos x="connsiteX140" y="connsiteY140"/>
                      </a:cxn>
                      <a:cxn ang="0">
                        <a:pos x="connsiteX141" y="connsiteY141"/>
                      </a:cxn>
                      <a:cxn ang="0">
                        <a:pos x="connsiteX142" y="connsiteY142"/>
                      </a:cxn>
                      <a:cxn ang="0">
                        <a:pos x="connsiteX143" y="connsiteY143"/>
                      </a:cxn>
                      <a:cxn ang="0">
                        <a:pos x="connsiteX144" y="connsiteY144"/>
                      </a:cxn>
                      <a:cxn ang="0">
                        <a:pos x="connsiteX145" y="connsiteY145"/>
                      </a:cxn>
                      <a:cxn ang="0">
                        <a:pos x="connsiteX146" y="connsiteY146"/>
                      </a:cxn>
                      <a:cxn ang="0">
                        <a:pos x="connsiteX147" y="connsiteY147"/>
                      </a:cxn>
                      <a:cxn ang="0">
                        <a:pos x="connsiteX148" y="connsiteY148"/>
                      </a:cxn>
                      <a:cxn ang="0">
                        <a:pos x="connsiteX149" y="connsiteY149"/>
                      </a:cxn>
                      <a:cxn ang="0">
                        <a:pos x="connsiteX150" y="connsiteY150"/>
                      </a:cxn>
                      <a:cxn ang="0">
                        <a:pos x="connsiteX151" y="connsiteY151"/>
                      </a:cxn>
                      <a:cxn ang="0">
                        <a:pos x="connsiteX152" y="connsiteY152"/>
                      </a:cxn>
                      <a:cxn ang="0">
                        <a:pos x="connsiteX153" y="connsiteY153"/>
                      </a:cxn>
                      <a:cxn ang="0">
                        <a:pos x="connsiteX154" y="connsiteY154"/>
                      </a:cxn>
                      <a:cxn ang="0">
                        <a:pos x="connsiteX155" y="connsiteY155"/>
                      </a:cxn>
                      <a:cxn ang="0">
                        <a:pos x="connsiteX156" y="connsiteY156"/>
                      </a:cxn>
                      <a:cxn ang="0">
                        <a:pos x="connsiteX157" y="connsiteY157"/>
                      </a:cxn>
                      <a:cxn ang="0">
                        <a:pos x="connsiteX158" y="connsiteY158"/>
                      </a:cxn>
                      <a:cxn ang="0">
                        <a:pos x="connsiteX159" y="connsiteY159"/>
                      </a:cxn>
                      <a:cxn ang="0">
                        <a:pos x="connsiteX160" y="connsiteY160"/>
                      </a:cxn>
                      <a:cxn ang="0">
                        <a:pos x="connsiteX161" y="connsiteY161"/>
                      </a:cxn>
                      <a:cxn ang="0">
                        <a:pos x="connsiteX162" y="connsiteY162"/>
                      </a:cxn>
                      <a:cxn ang="0">
                        <a:pos x="connsiteX163" y="connsiteY163"/>
                      </a:cxn>
                      <a:cxn ang="0">
                        <a:pos x="connsiteX164" y="connsiteY164"/>
                      </a:cxn>
                      <a:cxn ang="0">
                        <a:pos x="connsiteX165" y="connsiteY165"/>
                      </a:cxn>
                      <a:cxn ang="0">
                        <a:pos x="connsiteX166" y="connsiteY166"/>
                      </a:cxn>
                      <a:cxn ang="0">
                        <a:pos x="connsiteX167" y="connsiteY167"/>
                      </a:cxn>
                      <a:cxn ang="0">
                        <a:pos x="connsiteX168" y="connsiteY168"/>
                      </a:cxn>
                      <a:cxn ang="0">
                        <a:pos x="connsiteX169" y="connsiteY169"/>
                      </a:cxn>
                      <a:cxn ang="0">
                        <a:pos x="connsiteX170" y="connsiteY170"/>
                      </a:cxn>
                      <a:cxn ang="0">
                        <a:pos x="connsiteX171" y="connsiteY171"/>
                      </a:cxn>
                      <a:cxn ang="0">
                        <a:pos x="connsiteX172" y="connsiteY172"/>
                      </a:cxn>
                      <a:cxn ang="0">
                        <a:pos x="connsiteX173" y="connsiteY173"/>
                      </a:cxn>
                      <a:cxn ang="0">
                        <a:pos x="connsiteX174" y="connsiteY174"/>
                      </a:cxn>
                      <a:cxn ang="0">
                        <a:pos x="connsiteX175" y="connsiteY175"/>
                      </a:cxn>
                      <a:cxn ang="0">
                        <a:pos x="connsiteX176" y="connsiteY176"/>
                      </a:cxn>
                      <a:cxn ang="0">
                        <a:pos x="connsiteX177" y="connsiteY177"/>
                      </a:cxn>
                      <a:cxn ang="0">
                        <a:pos x="connsiteX178" y="connsiteY178"/>
                      </a:cxn>
                      <a:cxn ang="0">
                        <a:pos x="connsiteX179" y="connsiteY179"/>
                      </a:cxn>
                      <a:cxn ang="0">
                        <a:pos x="connsiteX180" y="connsiteY180"/>
                      </a:cxn>
                      <a:cxn ang="0">
                        <a:pos x="connsiteX181" y="connsiteY181"/>
                      </a:cxn>
                      <a:cxn ang="0">
                        <a:pos x="connsiteX182" y="connsiteY182"/>
                      </a:cxn>
                      <a:cxn ang="0">
                        <a:pos x="connsiteX183" y="connsiteY183"/>
                      </a:cxn>
                      <a:cxn ang="0">
                        <a:pos x="connsiteX184" y="connsiteY184"/>
                      </a:cxn>
                      <a:cxn ang="0">
                        <a:pos x="connsiteX185" y="connsiteY185"/>
                      </a:cxn>
                      <a:cxn ang="0">
                        <a:pos x="connsiteX186" y="connsiteY186"/>
                      </a:cxn>
                      <a:cxn ang="0">
                        <a:pos x="connsiteX187" y="connsiteY187"/>
                      </a:cxn>
                      <a:cxn ang="0">
                        <a:pos x="connsiteX188" y="connsiteY188"/>
                      </a:cxn>
                      <a:cxn ang="0">
                        <a:pos x="connsiteX189" y="connsiteY189"/>
                      </a:cxn>
                      <a:cxn ang="0">
                        <a:pos x="connsiteX190" y="connsiteY190"/>
                      </a:cxn>
                      <a:cxn ang="0">
                        <a:pos x="connsiteX191" y="connsiteY191"/>
                      </a:cxn>
                      <a:cxn ang="0">
                        <a:pos x="connsiteX192" y="connsiteY192"/>
                      </a:cxn>
                      <a:cxn ang="0">
                        <a:pos x="connsiteX193" y="connsiteY193"/>
                      </a:cxn>
                      <a:cxn ang="0">
                        <a:pos x="connsiteX194" y="connsiteY194"/>
                      </a:cxn>
                      <a:cxn ang="0">
                        <a:pos x="connsiteX195" y="connsiteY195"/>
                      </a:cxn>
                      <a:cxn ang="0">
                        <a:pos x="connsiteX196" y="connsiteY196"/>
                      </a:cxn>
                      <a:cxn ang="0">
                        <a:pos x="connsiteX197" y="connsiteY197"/>
                      </a:cxn>
                      <a:cxn ang="0">
                        <a:pos x="connsiteX198" y="connsiteY198"/>
                      </a:cxn>
                      <a:cxn ang="0">
                        <a:pos x="connsiteX199" y="connsiteY199"/>
                      </a:cxn>
                      <a:cxn ang="0">
                        <a:pos x="connsiteX200" y="connsiteY200"/>
                      </a:cxn>
                      <a:cxn ang="0">
                        <a:pos x="connsiteX201" y="connsiteY201"/>
                      </a:cxn>
                      <a:cxn ang="0">
                        <a:pos x="connsiteX202" y="connsiteY202"/>
                      </a:cxn>
                      <a:cxn ang="0">
                        <a:pos x="connsiteX203" y="connsiteY203"/>
                      </a:cxn>
                      <a:cxn ang="0">
                        <a:pos x="connsiteX204" y="connsiteY204"/>
                      </a:cxn>
                      <a:cxn ang="0">
                        <a:pos x="connsiteX205" y="connsiteY205"/>
                      </a:cxn>
                      <a:cxn ang="0">
                        <a:pos x="connsiteX206" y="connsiteY206"/>
                      </a:cxn>
                      <a:cxn ang="0">
                        <a:pos x="connsiteX207" y="connsiteY207"/>
                      </a:cxn>
                      <a:cxn ang="0">
                        <a:pos x="connsiteX208" y="connsiteY208"/>
                      </a:cxn>
                      <a:cxn ang="0">
                        <a:pos x="connsiteX209" y="connsiteY209"/>
                      </a:cxn>
                      <a:cxn ang="0">
                        <a:pos x="connsiteX210" y="connsiteY210"/>
                      </a:cxn>
                      <a:cxn ang="0">
                        <a:pos x="connsiteX211" y="connsiteY211"/>
                      </a:cxn>
                      <a:cxn ang="0">
                        <a:pos x="connsiteX212" y="connsiteY212"/>
                      </a:cxn>
                      <a:cxn ang="0">
                        <a:pos x="connsiteX213" y="connsiteY213"/>
                      </a:cxn>
                      <a:cxn ang="0">
                        <a:pos x="connsiteX214" y="connsiteY214"/>
                      </a:cxn>
                      <a:cxn ang="0">
                        <a:pos x="connsiteX215" y="connsiteY215"/>
                      </a:cxn>
                      <a:cxn ang="0">
                        <a:pos x="connsiteX216" y="connsiteY216"/>
                      </a:cxn>
                      <a:cxn ang="0">
                        <a:pos x="connsiteX217" y="connsiteY217"/>
                      </a:cxn>
                      <a:cxn ang="0">
                        <a:pos x="connsiteX218" y="connsiteY218"/>
                      </a:cxn>
                      <a:cxn ang="0">
                        <a:pos x="connsiteX219" y="connsiteY219"/>
                      </a:cxn>
                      <a:cxn ang="0">
                        <a:pos x="connsiteX220" y="connsiteY220"/>
                      </a:cxn>
                      <a:cxn ang="0">
                        <a:pos x="connsiteX221" y="connsiteY221"/>
                      </a:cxn>
                      <a:cxn ang="0">
                        <a:pos x="connsiteX222" y="connsiteY222"/>
                      </a:cxn>
                      <a:cxn ang="0">
                        <a:pos x="connsiteX223" y="connsiteY223"/>
                      </a:cxn>
                      <a:cxn ang="0">
                        <a:pos x="connsiteX224" y="connsiteY224"/>
                      </a:cxn>
                      <a:cxn ang="0">
                        <a:pos x="connsiteX225" y="connsiteY225"/>
                      </a:cxn>
                      <a:cxn ang="0">
                        <a:pos x="connsiteX226" y="connsiteY226"/>
                      </a:cxn>
                      <a:cxn ang="0">
                        <a:pos x="connsiteX227" y="connsiteY227"/>
                      </a:cxn>
                      <a:cxn ang="0">
                        <a:pos x="connsiteX228" y="connsiteY228"/>
                      </a:cxn>
                      <a:cxn ang="0">
                        <a:pos x="connsiteX229" y="connsiteY229"/>
                      </a:cxn>
                      <a:cxn ang="0">
                        <a:pos x="connsiteX230" y="connsiteY230"/>
                      </a:cxn>
                      <a:cxn ang="0">
                        <a:pos x="connsiteX231" y="connsiteY231"/>
                      </a:cxn>
                      <a:cxn ang="0">
                        <a:pos x="connsiteX232" y="connsiteY232"/>
                      </a:cxn>
                      <a:cxn ang="0">
                        <a:pos x="connsiteX233" y="connsiteY233"/>
                      </a:cxn>
                      <a:cxn ang="0">
                        <a:pos x="connsiteX234" y="connsiteY234"/>
                      </a:cxn>
                      <a:cxn ang="0">
                        <a:pos x="connsiteX235" y="connsiteY235"/>
                      </a:cxn>
                      <a:cxn ang="0">
                        <a:pos x="connsiteX236" y="connsiteY236"/>
                      </a:cxn>
                      <a:cxn ang="0">
                        <a:pos x="connsiteX237" y="connsiteY237"/>
                      </a:cxn>
                      <a:cxn ang="0">
                        <a:pos x="connsiteX238" y="connsiteY238"/>
                      </a:cxn>
                      <a:cxn ang="0">
                        <a:pos x="connsiteX239" y="connsiteY239"/>
                      </a:cxn>
                      <a:cxn ang="0">
                        <a:pos x="connsiteX240" y="connsiteY240"/>
                      </a:cxn>
                      <a:cxn ang="0">
                        <a:pos x="connsiteX241" y="connsiteY241"/>
                      </a:cxn>
                      <a:cxn ang="0">
                        <a:pos x="connsiteX242" y="connsiteY242"/>
                      </a:cxn>
                      <a:cxn ang="0">
                        <a:pos x="connsiteX243" y="connsiteY243"/>
                      </a:cxn>
                      <a:cxn ang="0">
                        <a:pos x="connsiteX244" y="connsiteY244"/>
                      </a:cxn>
                      <a:cxn ang="0">
                        <a:pos x="connsiteX245" y="connsiteY245"/>
                      </a:cxn>
                      <a:cxn ang="0">
                        <a:pos x="connsiteX246" y="connsiteY246"/>
                      </a:cxn>
                      <a:cxn ang="0">
                        <a:pos x="connsiteX247" y="connsiteY247"/>
                      </a:cxn>
                      <a:cxn ang="0">
                        <a:pos x="connsiteX248" y="connsiteY248"/>
                      </a:cxn>
                      <a:cxn ang="0">
                        <a:pos x="connsiteX249" y="connsiteY249"/>
                      </a:cxn>
                      <a:cxn ang="0">
                        <a:pos x="connsiteX250" y="connsiteY250"/>
                      </a:cxn>
                      <a:cxn ang="0">
                        <a:pos x="connsiteX251" y="connsiteY251"/>
                      </a:cxn>
                      <a:cxn ang="0">
                        <a:pos x="connsiteX252" y="connsiteY252"/>
                      </a:cxn>
                      <a:cxn ang="0">
                        <a:pos x="connsiteX253" y="connsiteY253"/>
                      </a:cxn>
                      <a:cxn ang="0">
                        <a:pos x="connsiteX254" y="connsiteY254"/>
                      </a:cxn>
                      <a:cxn ang="0">
                        <a:pos x="connsiteX255" y="connsiteY255"/>
                      </a:cxn>
                      <a:cxn ang="0">
                        <a:pos x="connsiteX256" y="connsiteY256"/>
                      </a:cxn>
                      <a:cxn ang="0">
                        <a:pos x="connsiteX257" y="connsiteY257"/>
                      </a:cxn>
                      <a:cxn ang="0">
                        <a:pos x="connsiteX258" y="connsiteY258"/>
                      </a:cxn>
                      <a:cxn ang="0">
                        <a:pos x="connsiteX259" y="connsiteY259"/>
                      </a:cxn>
                      <a:cxn ang="0">
                        <a:pos x="connsiteX260" y="connsiteY260"/>
                      </a:cxn>
                      <a:cxn ang="0">
                        <a:pos x="connsiteX261" y="connsiteY261"/>
                      </a:cxn>
                      <a:cxn ang="0">
                        <a:pos x="connsiteX262" y="connsiteY262"/>
                      </a:cxn>
                      <a:cxn ang="0">
                        <a:pos x="connsiteX263" y="connsiteY263"/>
                      </a:cxn>
                      <a:cxn ang="0">
                        <a:pos x="connsiteX264" y="connsiteY264"/>
                      </a:cxn>
                      <a:cxn ang="0">
                        <a:pos x="connsiteX265" y="connsiteY265"/>
                      </a:cxn>
                      <a:cxn ang="0">
                        <a:pos x="connsiteX266" y="connsiteY266"/>
                      </a:cxn>
                      <a:cxn ang="0">
                        <a:pos x="connsiteX267" y="connsiteY267"/>
                      </a:cxn>
                      <a:cxn ang="0">
                        <a:pos x="connsiteX268" y="connsiteY268"/>
                      </a:cxn>
                      <a:cxn ang="0">
                        <a:pos x="connsiteX269" y="connsiteY269"/>
                      </a:cxn>
                      <a:cxn ang="0">
                        <a:pos x="connsiteX270" y="connsiteY270"/>
                      </a:cxn>
                      <a:cxn ang="0">
                        <a:pos x="connsiteX271" y="connsiteY271"/>
                      </a:cxn>
                      <a:cxn ang="0">
                        <a:pos x="connsiteX272" y="connsiteY272"/>
                      </a:cxn>
                      <a:cxn ang="0">
                        <a:pos x="connsiteX273" y="connsiteY273"/>
                      </a:cxn>
                      <a:cxn ang="0">
                        <a:pos x="connsiteX274" y="connsiteY274"/>
                      </a:cxn>
                      <a:cxn ang="0">
                        <a:pos x="connsiteX275" y="connsiteY275"/>
                      </a:cxn>
                      <a:cxn ang="0">
                        <a:pos x="connsiteX276" y="connsiteY276"/>
                      </a:cxn>
                      <a:cxn ang="0">
                        <a:pos x="connsiteX277" y="connsiteY277"/>
                      </a:cxn>
                      <a:cxn ang="0">
                        <a:pos x="connsiteX278" y="connsiteY278"/>
                      </a:cxn>
                      <a:cxn ang="0">
                        <a:pos x="connsiteX279" y="connsiteY279"/>
                      </a:cxn>
                      <a:cxn ang="0">
                        <a:pos x="connsiteX280" y="connsiteY280"/>
                      </a:cxn>
                      <a:cxn ang="0">
                        <a:pos x="connsiteX281" y="connsiteY281"/>
                      </a:cxn>
                      <a:cxn ang="0">
                        <a:pos x="connsiteX282" y="connsiteY282"/>
                      </a:cxn>
                      <a:cxn ang="0">
                        <a:pos x="connsiteX283" y="connsiteY283"/>
                      </a:cxn>
                      <a:cxn ang="0">
                        <a:pos x="connsiteX284" y="connsiteY284"/>
                      </a:cxn>
                      <a:cxn ang="0">
                        <a:pos x="connsiteX285" y="connsiteY285"/>
                      </a:cxn>
                      <a:cxn ang="0">
                        <a:pos x="connsiteX286" y="connsiteY286"/>
                      </a:cxn>
                      <a:cxn ang="0">
                        <a:pos x="connsiteX287" y="connsiteY287"/>
                      </a:cxn>
                      <a:cxn ang="0">
                        <a:pos x="connsiteX288" y="connsiteY288"/>
                      </a:cxn>
                      <a:cxn ang="0">
                        <a:pos x="connsiteX289" y="connsiteY289"/>
                      </a:cxn>
                      <a:cxn ang="0">
                        <a:pos x="connsiteX290" y="connsiteY290"/>
                      </a:cxn>
                      <a:cxn ang="0">
                        <a:pos x="connsiteX291" y="connsiteY291"/>
                      </a:cxn>
                      <a:cxn ang="0">
                        <a:pos x="connsiteX292" y="connsiteY292"/>
                      </a:cxn>
                      <a:cxn ang="0">
                        <a:pos x="connsiteX293" y="connsiteY293"/>
                      </a:cxn>
                      <a:cxn ang="0">
                        <a:pos x="connsiteX294" y="connsiteY294"/>
                      </a:cxn>
                      <a:cxn ang="0">
                        <a:pos x="connsiteX295" y="connsiteY295"/>
                      </a:cxn>
                      <a:cxn ang="0">
                        <a:pos x="connsiteX296" y="connsiteY296"/>
                      </a:cxn>
                      <a:cxn ang="0">
                        <a:pos x="connsiteX297" y="connsiteY297"/>
                      </a:cxn>
                      <a:cxn ang="0">
                        <a:pos x="connsiteX298" y="connsiteY298"/>
                      </a:cxn>
                      <a:cxn ang="0">
                        <a:pos x="connsiteX299" y="connsiteY299"/>
                      </a:cxn>
                      <a:cxn ang="0">
                        <a:pos x="connsiteX300" y="connsiteY300"/>
                      </a:cxn>
                      <a:cxn ang="0">
                        <a:pos x="connsiteX301" y="connsiteY301"/>
                      </a:cxn>
                      <a:cxn ang="0">
                        <a:pos x="connsiteX302" y="connsiteY302"/>
                      </a:cxn>
                      <a:cxn ang="0">
                        <a:pos x="connsiteX303" y="connsiteY303"/>
                      </a:cxn>
                      <a:cxn ang="0">
                        <a:pos x="connsiteX304" y="connsiteY304"/>
                      </a:cxn>
                      <a:cxn ang="0">
                        <a:pos x="connsiteX305" y="connsiteY305"/>
                      </a:cxn>
                      <a:cxn ang="0">
                        <a:pos x="connsiteX306" y="connsiteY306"/>
                      </a:cxn>
                      <a:cxn ang="0">
                        <a:pos x="connsiteX307" y="connsiteY307"/>
                      </a:cxn>
                      <a:cxn ang="0">
                        <a:pos x="connsiteX308" y="connsiteY308"/>
                      </a:cxn>
                      <a:cxn ang="0">
                        <a:pos x="connsiteX309" y="connsiteY309"/>
                      </a:cxn>
                      <a:cxn ang="0">
                        <a:pos x="connsiteX310" y="connsiteY310"/>
                      </a:cxn>
                      <a:cxn ang="0">
                        <a:pos x="connsiteX311" y="connsiteY311"/>
                      </a:cxn>
                      <a:cxn ang="0">
                        <a:pos x="connsiteX312" y="connsiteY312"/>
                      </a:cxn>
                      <a:cxn ang="0">
                        <a:pos x="connsiteX313" y="connsiteY313"/>
                      </a:cxn>
                      <a:cxn ang="0">
                        <a:pos x="connsiteX314" y="connsiteY314"/>
                      </a:cxn>
                      <a:cxn ang="0">
                        <a:pos x="connsiteX315" y="connsiteY315"/>
                      </a:cxn>
                      <a:cxn ang="0">
                        <a:pos x="connsiteX316" y="connsiteY316"/>
                      </a:cxn>
                      <a:cxn ang="0">
                        <a:pos x="connsiteX317" y="connsiteY317"/>
                      </a:cxn>
                      <a:cxn ang="0">
                        <a:pos x="connsiteX318" y="connsiteY318"/>
                      </a:cxn>
                      <a:cxn ang="0">
                        <a:pos x="connsiteX319" y="connsiteY319"/>
                      </a:cxn>
                      <a:cxn ang="0">
                        <a:pos x="connsiteX320" y="connsiteY320"/>
                      </a:cxn>
                      <a:cxn ang="0">
                        <a:pos x="connsiteX321" y="connsiteY321"/>
                      </a:cxn>
                      <a:cxn ang="0">
                        <a:pos x="connsiteX322" y="connsiteY322"/>
                      </a:cxn>
                      <a:cxn ang="0">
                        <a:pos x="connsiteX323" y="connsiteY323"/>
                      </a:cxn>
                      <a:cxn ang="0">
                        <a:pos x="connsiteX324" y="connsiteY324"/>
                      </a:cxn>
                      <a:cxn ang="0">
                        <a:pos x="connsiteX325" y="connsiteY325"/>
                      </a:cxn>
                      <a:cxn ang="0">
                        <a:pos x="connsiteX326" y="connsiteY326"/>
                      </a:cxn>
                      <a:cxn ang="0">
                        <a:pos x="connsiteX327" y="connsiteY327"/>
                      </a:cxn>
                      <a:cxn ang="0">
                        <a:pos x="connsiteX328" y="connsiteY328"/>
                      </a:cxn>
                      <a:cxn ang="0">
                        <a:pos x="connsiteX329" y="connsiteY329"/>
                      </a:cxn>
                      <a:cxn ang="0">
                        <a:pos x="connsiteX330" y="connsiteY330"/>
                      </a:cxn>
                      <a:cxn ang="0">
                        <a:pos x="connsiteX331" y="connsiteY331"/>
                      </a:cxn>
                      <a:cxn ang="0">
                        <a:pos x="connsiteX332" y="connsiteY332"/>
                      </a:cxn>
                      <a:cxn ang="0">
                        <a:pos x="connsiteX333" y="connsiteY333"/>
                      </a:cxn>
                      <a:cxn ang="0">
                        <a:pos x="connsiteX334" y="connsiteY334"/>
                      </a:cxn>
                      <a:cxn ang="0">
                        <a:pos x="connsiteX335" y="connsiteY335"/>
                      </a:cxn>
                      <a:cxn ang="0">
                        <a:pos x="connsiteX336" y="connsiteY336"/>
                      </a:cxn>
                      <a:cxn ang="0">
                        <a:pos x="connsiteX337" y="connsiteY337"/>
                      </a:cxn>
                      <a:cxn ang="0">
                        <a:pos x="connsiteX338" y="connsiteY338"/>
                      </a:cxn>
                      <a:cxn ang="0">
                        <a:pos x="connsiteX339" y="connsiteY339"/>
                      </a:cxn>
                      <a:cxn ang="0">
                        <a:pos x="connsiteX340" y="connsiteY340"/>
                      </a:cxn>
                      <a:cxn ang="0">
                        <a:pos x="connsiteX341" y="connsiteY341"/>
                      </a:cxn>
                      <a:cxn ang="0">
                        <a:pos x="connsiteX342" y="connsiteY342"/>
                      </a:cxn>
                      <a:cxn ang="0">
                        <a:pos x="connsiteX343" y="connsiteY343"/>
                      </a:cxn>
                      <a:cxn ang="0">
                        <a:pos x="connsiteX344" y="connsiteY344"/>
                      </a:cxn>
                      <a:cxn ang="0">
                        <a:pos x="connsiteX345" y="connsiteY345"/>
                      </a:cxn>
                      <a:cxn ang="0">
                        <a:pos x="connsiteX346" y="connsiteY346"/>
                      </a:cxn>
                      <a:cxn ang="0">
                        <a:pos x="connsiteX347" y="connsiteY347"/>
                      </a:cxn>
                      <a:cxn ang="0">
                        <a:pos x="connsiteX348" y="connsiteY348"/>
                      </a:cxn>
                      <a:cxn ang="0">
                        <a:pos x="connsiteX349" y="connsiteY349"/>
                      </a:cxn>
                      <a:cxn ang="0">
                        <a:pos x="connsiteX350" y="connsiteY350"/>
                      </a:cxn>
                      <a:cxn ang="0">
                        <a:pos x="connsiteX351" y="connsiteY351"/>
                      </a:cxn>
                      <a:cxn ang="0">
                        <a:pos x="connsiteX352" y="connsiteY352"/>
                      </a:cxn>
                      <a:cxn ang="0">
                        <a:pos x="connsiteX353" y="connsiteY353"/>
                      </a:cxn>
                      <a:cxn ang="0">
                        <a:pos x="connsiteX354" y="connsiteY354"/>
                      </a:cxn>
                      <a:cxn ang="0">
                        <a:pos x="connsiteX355" y="connsiteY355"/>
                      </a:cxn>
                      <a:cxn ang="0">
                        <a:pos x="connsiteX356" y="connsiteY356"/>
                      </a:cxn>
                      <a:cxn ang="0">
                        <a:pos x="connsiteX357" y="connsiteY357"/>
                      </a:cxn>
                      <a:cxn ang="0">
                        <a:pos x="connsiteX358" y="connsiteY358"/>
                      </a:cxn>
                      <a:cxn ang="0">
                        <a:pos x="connsiteX359" y="connsiteY359"/>
                      </a:cxn>
                      <a:cxn ang="0">
                        <a:pos x="connsiteX360" y="connsiteY360"/>
                      </a:cxn>
                      <a:cxn ang="0">
                        <a:pos x="connsiteX361" y="connsiteY361"/>
                      </a:cxn>
                      <a:cxn ang="0">
                        <a:pos x="connsiteX362" y="connsiteY362"/>
                      </a:cxn>
                      <a:cxn ang="0">
                        <a:pos x="connsiteX363" y="connsiteY363"/>
                      </a:cxn>
                      <a:cxn ang="0">
                        <a:pos x="connsiteX364" y="connsiteY364"/>
                      </a:cxn>
                      <a:cxn ang="0">
                        <a:pos x="connsiteX365" y="connsiteY365"/>
                      </a:cxn>
                      <a:cxn ang="0">
                        <a:pos x="connsiteX366" y="connsiteY366"/>
                      </a:cxn>
                      <a:cxn ang="0">
                        <a:pos x="connsiteX367" y="connsiteY367"/>
                      </a:cxn>
                      <a:cxn ang="0">
                        <a:pos x="connsiteX368" y="connsiteY368"/>
                      </a:cxn>
                      <a:cxn ang="0">
                        <a:pos x="connsiteX369" y="connsiteY369"/>
                      </a:cxn>
                      <a:cxn ang="0">
                        <a:pos x="connsiteX370" y="connsiteY370"/>
                      </a:cxn>
                      <a:cxn ang="0">
                        <a:pos x="connsiteX371" y="connsiteY371"/>
                      </a:cxn>
                      <a:cxn ang="0">
                        <a:pos x="connsiteX372" y="connsiteY372"/>
                      </a:cxn>
                      <a:cxn ang="0">
                        <a:pos x="connsiteX373" y="connsiteY373"/>
                      </a:cxn>
                      <a:cxn ang="0">
                        <a:pos x="connsiteX374" y="connsiteY374"/>
                      </a:cxn>
                      <a:cxn ang="0">
                        <a:pos x="connsiteX375" y="connsiteY375"/>
                      </a:cxn>
                      <a:cxn ang="0">
                        <a:pos x="connsiteX376" y="connsiteY376"/>
                      </a:cxn>
                      <a:cxn ang="0">
                        <a:pos x="connsiteX377" y="connsiteY377"/>
                      </a:cxn>
                      <a:cxn ang="0">
                        <a:pos x="connsiteX378" y="connsiteY378"/>
                      </a:cxn>
                      <a:cxn ang="0">
                        <a:pos x="connsiteX379" y="connsiteY379"/>
                      </a:cxn>
                      <a:cxn ang="0">
                        <a:pos x="connsiteX380" y="connsiteY380"/>
                      </a:cxn>
                      <a:cxn ang="0">
                        <a:pos x="connsiteX381" y="connsiteY381"/>
                      </a:cxn>
                      <a:cxn ang="0">
                        <a:pos x="connsiteX382" y="connsiteY382"/>
                      </a:cxn>
                      <a:cxn ang="0">
                        <a:pos x="connsiteX383" y="connsiteY383"/>
                      </a:cxn>
                      <a:cxn ang="0">
                        <a:pos x="connsiteX384" y="connsiteY384"/>
                      </a:cxn>
                      <a:cxn ang="0">
                        <a:pos x="connsiteX385" y="connsiteY385"/>
                      </a:cxn>
                      <a:cxn ang="0">
                        <a:pos x="connsiteX386" y="connsiteY386"/>
                      </a:cxn>
                      <a:cxn ang="0">
                        <a:pos x="connsiteX387" y="connsiteY387"/>
                      </a:cxn>
                      <a:cxn ang="0">
                        <a:pos x="connsiteX388" y="connsiteY388"/>
                      </a:cxn>
                      <a:cxn ang="0">
                        <a:pos x="connsiteX389" y="connsiteY389"/>
                      </a:cxn>
                      <a:cxn ang="0">
                        <a:pos x="connsiteX390" y="connsiteY390"/>
                      </a:cxn>
                      <a:cxn ang="0">
                        <a:pos x="connsiteX391" y="connsiteY391"/>
                      </a:cxn>
                      <a:cxn ang="0">
                        <a:pos x="connsiteX392" y="connsiteY392"/>
                      </a:cxn>
                      <a:cxn ang="0">
                        <a:pos x="connsiteX393" y="connsiteY393"/>
                      </a:cxn>
                      <a:cxn ang="0">
                        <a:pos x="connsiteX394" y="connsiteY394"/>
                      </a:cxn>
                      <a:cxn ang="0">
                        <a:pos x="connsiteX395" y="connsiteY395"/>
                      </a:cxn>
                      <a:cxn ang="0">
                        <a:pos x="connsiteX396" y="connsiteY396"/>
                      </a:cxn>
                      <a:cxn ang="0">
                        <a:pos x="connsiteX397" y="connsiteY397"/>
                      </a:cxn>
                      <a:cxn ang="0">
                        <a:pos x="connsiteX398" y="connsiteY398"/>
                      </a:cxn>
                      <a:cxn ang="0">
                        <a:pos x="connsiteX399" y="connsiteY399"/>
                      </a:cxn>
                      <a:cxn ang="0">
                        <a:pos x="connsiteX400" y="connsiteY400"/>
                      </a:cxn>
                      <a:cxn ang="0">
                        <a:pos x="connsiteX401" y="connsiteY401"/>
                      </a:cxn>
                      <a:cxn ang="0">
                        <a:pos x="connsiteX402" y="connsiteY402"/>
                      </a:cxn>
                      <a:cxn ang="0">
                        <a:pos x="connsiteX403" y="connsiteY403"/>
                      </a:cxn>
                      <a:cxn ang="0">
                        <a:pos x="connsiteX404" y="connsiteY404"/>
                      </a:cxn>
                      <a:cxn ang="0">
                        <a:pos x="connsiteX405" y="connsiteY405"/>
                      </a:cxn>
                      <a:cxn ang="0">
                        <a:pos x="connsiteX406" y="connsiteY406"/>
                      </a:cxn>
                      <a:cxn ang="0">
                        <a:pos x="connsiteX407" y="connsiteY407"/>
                      </a:cxn>
                      <a:cxn ang="0">
                        <a:pos x="connsiteX408" y="connsiteY408"/>
                      </a:cxn>
                      <a:cxn ang="0">
                        <a:pos x="connsiteX409" y="connsiteY409"/>
                      </a:cxn>
                      <a:cxn ang="0">
                        <a:pos x="connsiteX410" y="connsiteY410"/>
                      </a:cxn>
                      <a:cxn ang="0">
                        <a:pos x="connsiteX411" y="connsiteY411"/>
                      </a:cxn>
                      <a:cxn ang="0">
                        <a:pos x="connsiteX412" y="connsiteY412"/>
                      </a:cxn>
                      <a:cxn ang="0">
                        <a:pos x="connsiteX413" y="connsiteY413"/>
                      </a:cxn>
                      <a:cxn ang="0">
                        <a:pos x="connsiteX414" y="connsiteY414"/>
                      </a:cxn>
                      <a:cxn ang="0">
                        <a:pos x="connsiteX415" y="connsiteY415"/>
                      </a:cxn>
                      <a:cxn ang="0">
                        <a:pos x="connsiteX416" y="connsiteY416"/>
                      </a:cxn>
                      <a:cxn ang="0">
                        <a:pos x="connsiteX417" y="connsiteY417"/>
                      </a:cxn>
                      <a:cxn ang="0">
                        <a:pos x="connsiteX418" y="connsiteY418"/>
                      </a:cxn>
                      <a:cxn ang="0">
                        <a:pos x="connsiteX419" y="connsiteY419"/>
                      </a:cxn>
                      <a:cxn ang="0">
                        <a:pos x="connsiteX420" y="connsiteY420"/>
                      </a:cxn>
                      <a:cxn ang="0">
                        <a:pos x="connsiteX421" y="connsiteY421"/>
                      </a:cxn>
                      <a:cxn ang="0">
                        <a:pos x="connsiteX422" y="connsiteY422"/>
                      </a:cxn>
                      <a:cxn ang="0">
                        <a:pos x="connsiteX423" y="connsiteY423"/>
                      </a:cxn>
                      <a:cxn ang="0">
                        <a:pos x="connsiteX424" y="connsiteY424"/>
                      </a:cxn>
                      <a:cxn ang="0">
                        <a:pos x="connsiteX425" y="connsiteY425"/>
                      </a:cxn>
                      <a:cxn ang="0">
                        <a:pos x="connsiteX426" y="connsiteY426"/>
                      </a:cxn>
                      <a:cxn ang="0">
                        <a:pos x="connsiteX427" y="connsiteY427"/>
                      </a:cxn>
                      <a:cxn ang="0">
                        <a:pos x="connsiteX428" y="connsiteY428"/>
                      </a:cxn>
                      <a:cxn ang="0">
                        <a:pos x="connsiteX429" y="connsiteY429"/>
                      </a:cxn>
                      <a:cxn ang="0">
                        <a:pos x="connsiteX430" y="connsiteY430"/>
                      </a:cxn>
                      <a:cxn ang="0">
                        <a:pos x="connsiteX431" y="connsiteY431"/>
                      </a:cxn>
                      <a:cxn ang="0">
                        <a:pos x="connsiteX432" y="connsiteY432"/>
                      </a:cxn>
                      <a:cxn ang="0">
                        <a:pos x="connsiteX433" y="connsiteY433"/>
                      </a:cxn>
                      <a:cxn ang="0">
                        <a:pos x="connsiteX434" y="connsiteY434"/>
                      </a:cxn>
                      <a:cxn ang="0">
                        <a:pos x="connsiteX435" y="connsiteY435"/>
                      </a:cxn>
                      <a:cxn ang="0">
                        <a:pos x="connsiteX436" y="connsiteY436"/>
                      </a:cxn>
                      <a:cxn ang="0">
                        <a:pos x="connsiteX437" y="connsiteY437"/>
                      </a:cxn>
                      <a:cxn ang="0">
                        <a:pos x="connsiteX438" y="connsiteY438"/>
                      </a:cxn>
                      <a:cxn ang="0">
                        <a:pos x="connsiteX439" y="connsiteY439"/>
                      </a:cxn>
                      <a:cxn ang="0">
                        <a:pos x="connsiteX440" y="connsiteY440"/>
                      </a:cxn>
                      <a:cxn ang="0">
                        <a:pos x="connsiteX441" y="connsiteY441"/>
                      </a:cxn>
                      <a:cxn ang="0">
                        <a:pos x="connsiteX442" y="connsiteY442"/>
                      </a:cxn>
                      <a:cxn ang="0">
                        <a:pos x="connsiteX443" y="connsiteY443"/>
                      </a:cxn>
                      <a:cxn ang="0">
                        <a:pos x="connsiteX444" y="connsiteY444"/>
                      </a:cxn>
                      <a:cxn ang="0">
                        <a:pos x="connsiteX445" y="connsiteY445"/>
                      </a:cxn>
                      <a:cxn ang="0">
                        <a:pos x="connsiteX446" y="connsiteY446"/>
                      </a:cxn>
                      <a:cxn ang="0">
                        <a:pos x="connsiteX447" y="connsiteY447"/>
                      </a:cxn>
                      <a:cxn ang="0">
                        <a:pos x="connsiteX448" y="connsiteY448"/>
                      </a:cxn>
                      <a:cxn ang="0">
                        <a:pos x="connsiteX449" y="connsiteY449"/>
                      </a:cxn>
                      <a:cxn ang="0">
                        <a:pos x="connsiteX450" y="connsiteY450"/>
                      </a:cxn>
                      <a:cxn ang="0">
                        <a:pos x="connsiteX451" y="connsiteY451"/>
                      </a:cxn>
                      <a:cxn ang="0">
                        <a:pos x="connsiteX452" y="connsiteY452"/>
                      </a:cxn>
                      <a:cxn ang="0">
                        <a:pos x="connsiteX453" y="connsiteY453"/>
                      </a:cxn>
                      <a:cxn ang="0">
                        <a:pos x="connsiteX454" y="connsiteY454"/>
                      </a:cxn>
                      <a:cxn ang="0">
                        <a:pos x="connsiteX455" y="connsiteY455"/>
                      </a:cxn>
                      <a:cxn ang="0">
                        <a:pos x="connsiteX456" y="connsiteY456"/>
                      </a:cxn>
                      <a:cxn ang="0">
                        <a:pos x="connsiteX457" y="connsiteY457"/>
                      </a:cxn>
                      <a:cxn ang="0">
                        <a:pos x="connsiteX458" y="connsiteY458"/>
                      </a:cxn>
                      <a:cxn ang="0">
                        <a:pos x="connsiteX459" y="connsiteY459"/>
                      </a:cxn>
                      <a:cxn ang="0">
                        <a:pos x="connsiteX460" y="connsiteY460"/>
                      </a:cxn>
                      <a:cxn ang="0">
                        <a:pos x="connsiteX461" y="connsiteY461"/>
                      </a:cxn>
                      <a:cxn ang="0">
                        <a:pos x="connsiteX462" y="connsiteY462"/>
                      </a:cxn>
                      <a:cxn ang="0">
                        <a:pos x="connsiteX463" y="connsiteY463"/>
                      </a:cxn>
                      <a:cxn ang="0">
                        <a:pos x="connsiteX464" y="connsiteY464"/>
                      </a:cxn>
                      <a:cxn ang="0">
                        <a:pos x="connsiteX465" y="connsiteY465"/>
                      </a:cxn>
                    </a:cxnLst>
                    <a:rect l="l" t="t" r="r" b="b"/>
                    <a:pathLst>
                      <a:path w="3183642" h="419804">
                        <a:moveTo>
                          <a:pt x="393570" y="6305"/>
                        </a:moveTo>
                        <a:lnTo>
                          <a:pt x="393570" y="6305"/>
                        </a:lnTo>
                        <a:cubicBezTo>
                          <a:pt x="393250" y="5429"/>
                          <a:pt x="392769" y="4554"/>
                          <a:pt x="392129" y="3853"/>
                        </a:cubicBezTo>
                        <a:cubicBezTo>
                          <a:pt x="391007" y="2627"/>
                          <a:pt x="389245" y="1751"/>
                          <a:pt x="387644" y="1751"/>
                        </a:cubicBezTo>
                        <a:lnTo>
                          <a:pt x="337026" y="1751"/>
                        </a:lnTo>
                        <a:cubicBezTo>
                          <a:pt x="337026" y="1751"/>
                          <a:pt x="336545" y="525"/>
                          <a:pt x="336065" y="0"/>
                        </a:cubicBezTo>
                        <a:lnTo>
                          <a:pt x="393570" y="0"/>
                        </a:lnTo>
                        <a:lnTo>
                          <a:pt x="393570" y="6305"/>
                        </a:lnTo>
                        <a:moveTo>
                          <a:pt x="881969" y="56219"/>
                        </a:moveTo>
                        <a:lnTo>
                          <a:pt x="828468" y="56219"/>
                        </a:lnTo>
                        <a:cubicBezTo>
                          <a:pt x="828148" y="55168"/>
                          <a:pt x="827667" y="54293"/>
                          <a:pt x="826866" y="53417"/>
                        </a:cubicBezTo>
                        <a:cubicBezTo>
                          <a:pt x="825745" y="52191"/>
                          <a:pt x="823983" y="51315"/>
                          <a:pt x="822381" y="51315"/>
                        </a:cubicBezTo>
                        <a:lnTo>
                          <a:pt x="783777" y="51315"/>
                        </a:lnTo>
                        <a:cubicBezTo>
                          <a:pt x="783456" y="50440"/>
                          <a:pt x="782976" y="49389"/>
                          <a:pt x="782335" y="48688"/>
                        </a:cubicBezTo>
                        <a:cubicBezTo>
                          <a:pt x="781214" y="47462"/>
                          <a:pt x="779452" y="46587"/>
                          <a:pt x="777850" y="46587"/>
                        </a:cubicBezTo>
                        <a:lnTo>
                          <a:pt x="697598" y="46587"/>
                        </a:lnTo>
                        <a:cubicBezTo>
                          <a:pt x="697278" y="45361"/>
                          <a:pt x="696797" y="44310"/>
                          <a:pt x="695996" y="43609"/>
                        </a:cubicBezTo>
                        <a:cubicBezTo>
                          <a:pt x="694875" y="42383"/>
                          <a:pt x="693113" y="41508"/>
                          <a:pt x="691511" y="41508"/>
                        </a:cubicBezTo>
                        <a:lnTo>
                          <a:pt x="667644" y="41508"/>
                        </a:lnTo>
                        <a:cubicBezTo>
                          <a:pt x="667323" y="40457"/>
                          <a:pt x="666843" y="39581"/>
                          <a:pt x="666042" y="38880"/>
                        </a:cubicBezTo>
                        <a:cubicBezTo>
                          <a:pt x="664921" y="37655"/>
                          <a:pt x="663479" y="36954"/>
                          <a:pt x="661877" y="36954"/>
                        </a:cubicBezTo>
                        <a:lnTo>
                          <a:pt x="661877" y="34852"/>
                        </a:lnTo>
                        <a:cubicBezTo>
                          <a:pt x="661877" y="33101"/>
                          <a:pt x="661237" y="31174"/>
                          <a:pt x="659955" y="29948"/>
                        </a:cubicBezTo>
                        <a:cubicBezTo>
                          <a:pt x="658834" y="28723"/>
                          <a:pt x="657072" y="27847"/>
                          <a:pt x="655470" y="27847"/>
                        </a:cubicBezTo>
                        <a:lnTo>
                          <a:pt x="608216" y="27847"/>
                        </a:lnTo>
                        <a:cubicBezTo>
                          <a:pt x="608216" y="26271"/>
                          <a:pt x="607415" y="24694"/>
                          <a:pt x="606454" y="23644"/>
                        </a:cubicBezTo>
                        <a:cubicBezTo>
                          <a:pt x="605333" y="22418"/>
                          <a:pt x="603571" y="21542"/>
                          <a:pt x="601969" y="21542"/>
                        </a:cubicBezTo>
                        <a:lnTo>
                          <a:pt x="548628" y="21542"/>
                        </a:lnTo>
                        <a:cubicBezTo>
                          <a:pt x="548307" y="20316"/>
                          <a:pt x="547827" y="19090"/>
                          <a:pt x="547026" y="18214"/>
                        </a:cubicBezTo>
                        <a:cubicBezTo>
                          <a:pt x="545904" y="16988"/>
                          <a:pt x="544142" y="16113"/>
                          <a:pt x="542541" y="16113"/>
                        </a:cubicBezTo>
                        <a:lnTo>
                          <a:pt x="515790" y="16113"/>
                        </a:lnTo>
                        <a:cubicBezTo>
                          <a:pt x="515790" y="16113"/>
                          <a:pt x="515630" y="15587"/>
                          <a:pt x="515470" y="15237"/>
                        </a:cubicBezTo>
                        <a:lnTo>
                          <a:pt x="882129" y="15237"/>
                        </a:lnTo>
                        <a:lnTo>
                          <a:pt x="882129" y="56044"/>
                        </a:lnTo>
                        <a:moveTo>
                          <a:pt x="3183642" y="419103"/>
                        </a:moveTo>
                        <a:lnTo>
                          <a:pt x="3151606" y="419103"/>
                        </a:lnTo>
                        <a:lnTo>
                          <a:pt x="3151606" y="393884"/>
                        </a:lnTo>
                        <a:lnTo>
                          <a:pt x="2996709" y="393884"/>
                        </a:lnTo>
                        <a:lnTo>
                          <a:pt x="2996709" y="378472"/>
                        </a:lnTo>
                        <a:lnTo>
                          <a:pt x="2972841" y="378472"/>
                        </a:lnTo>
                        <a:lnTo>
                          <a:pt x="2972841" y="364286"/>
                        </a:lnTo>
                        <a:lnTo>
                          <a:pt x="2817944" y="364286"/>
                        </a:lnTo>
                        <a:lnTo>
                          <a:pt x="2817944" y="353252"/>
                        </a:lnTo>
                        <a:lnTo>
                          <a:pt x="2689958" y="353252"/>
                        </a:lnTo>
                        <a:lnTo>
                          <a:pt x="2689958" y="343444"/>
                        </a:lnTo>
                        <a:lnTo>
                          <a:pt x="2594649" y="343444"/>
                        </a:lnTo>
                        <a:lnTo>
                          <a:pt x="2594649" y="334862"/>
                        </a:lnTo>
                        <a:lnTo>
                          <a:pt x="2478516" y="334862"/>
                        </a:lnTo>
                        <a:lnTo>
                          <a:pt x="2478516" y="326631"/>
                        </a:lnTo>
                        <a:lnTo>
                          <a:pt x="2460575" y="326631"/>
                        </a:lnTo>
                        <a:lnTo>
                          <a:pt x="2460575" y="319100"/>
                        </a:lnTo>
                        <a:lnTo>
                          <a:pt x="2427737" y="319100"/>
                        </a:lnTo>
                        <a:lnTo>
                          <a:pt x="2427737" y="312095"/>
                        </a:lnTo>
                        <a:lnTo>
                          <a:pt x="2395060" y="312095"/>
                        </a:lnTo>
                        <a:lnTo>
                          <a:pt x="2395060" y="305089"/>
                        </a:lnTo>
                        <a:lnTo>
                          <a:pt x="2371193" y="305089"/>
                        </a:lnTo>
                        <a:lnTo>
                          <a:pt x="2371193" y="297909"/>
                        </a:lnTo>
                        <a:lnTo>
                          <a:pt x="2201399" y="297909"/>
                        </a:lnTo>
                        <a:lnTo>
                          <a:pt x="2201399" y="290202"/>
                        </a:lnTo>
                        <a:lnTo>
                          <a:pt x="2138927" y="290202"/>
                        </a:lnTo>
                        <a:lnTo>
                          <a:pt x="2138927" y="283547"/>
                        </a:lnTo>
                        <a:lnTo>
                          <a:pt x="2124030" y="283547"/>
                        </a:lnTo>
                        <a:lnTo>
                          <a:pt x="2124030" y="276717"/>
                        </a:lnTo>
                        <a:lnTo>
                          <a:pt x="2118103" y="276717"/>
                        </a:lnTo>
                        <a:lnTo>
                          <a:pt x="2118103" y="270062"/>
                        </a:lnTo>
                        <a:lnTo>
                          <a:pt x="1918515" y="270062"/>
                        </a:lnTo>
                        <a:lnTo>
                          <a:pt x="1918515" y="263757"/>
                        </a:lnTo>
                        <a:lnTo>
                          <a:pt x="1888721" y="263757"/>
                        </a:lnTo>
                        <a:lnTo>
                          <a:pt x="1888721" y="258327"/>
                        </a:lnTo>
                        <a:lnTo>
                          <a:pt x="1835060" y="258327"/>
                        </a:lnTo>
                        <a:lnTo>
                          <a:pt x="1835060" y="251322"/>
                        </a:lnTo>
                        <a:lnTo>
                          <a:pt x="1692016" y="251322"/>
                        </a:lnTo>
                        <a:lnTo>
                          <a:pt x="1692016" y="245367"/>
                        </a:lnTo>
                        <a:lnTo>
                          <a:pt x="1608560" y="245367"/>
                        </a:lnTo>
                        <a:lnTo>
                          <a:pt x="1608560" y="231707"/>
                        </a:lnTo>
                        <a:lnTo>
                          <a:pt x="1593663" y="231707"/>
                        </a:lnTo>
                        <a:lnTo>
                          <a:pt x="1593663" y="225752"/>
                        </a:lnTo>
                        <a:lnTo>
                          <a:pt x="1534075" y="225752"/>
                        </a:lnTo>
                        <a:lnTo>
                          <a:pt x="1534075" y="220323"/>
                        </a:lnTo>
                        <a:lnTo>
                          <a:pt x="1531032" y="220323"/>
                        </a:lnTo>
                        <a:lnTo>
                          <a:pt x="1531032" y="214368"/>
                        </a:lnTo>
                        <a:lnTo>
                          <a:pt x="1432839" y="214368"/>
                        </a:lnTo>
                        <a:lnTo>
                          <a:pt x="1432839" y="208063"/>
                        </a:lnTo>
                        <a:lnTo>
                          <a:pt x="1417942" y="208063"/>
                        </a:lnTo>
                        <a:lnTo>
                          <a:pt x="1417942" y="202108"/>
                        </a:lnTo>
                        <a:lnTo>
                          <a:pt x="1394075" y="202108"/>
                        </a:lnTo>
                        <a:lnTo>
                          <a:pt x="1394075" y="196504"/>
                        </a:lnTo>
                        <a:lnTo>
                          <a:pt x="1385105" y="196504"/>
                        </a:lnTo>
                        <a:lnTo>
                          <a:pt x="1385105" y="191075"/>
                        </a:lnTo>
                        <a:lnTo>
                          <a:pt x="1361237" y="191075"/>
                        </a:lnTo>
                        <a:lnTo>
                          <a:pt x="1361237" y="185996"/>
                        </a:lnTo>
                        <a:lnTo>
                          <a:pt x="1340414" y="185996"/>
                        </a:lnTo>
                        <a:lnTo>
                          <a:pt x="1340414" y="178815"/>
                        </a:lnTo>
                        <a:lnTo>
                          <a:pt x="1274899" y="178815"/>
                        </a:lnTo>
                        <a:lnTo>
                          <a:pt x="1274899" y="173036"/>
                        </a:lnTo>
                        <a:lnTo>
                          <a:pt x="1170619" y="173036"/>
                        </a:lnTo>
                        <a:lnTo>
                          <a:pt x="1170619" y="164629"/>
                        </a:lnTo>
                        <a:lnTo>
                          <a:pt x="1128972" y="164629"/>
                        </a:lnTo>
                        <a:lnTo>
                          <a:pt x="1128972" y="159375"/>
                        </a:lnTo>
                        <a:lnTo>
                          <a:pt x="1003869" y="159375"/>
                        </a:lnTo>
                        <a:lnTo>
                          <a:pt x="1003869" y="154121"/>
                        </a:lnTo>
                        <a:lnTo>
                          <a:pt x="974075" y="154121"/>
                        </a:lnTo>
                        <a:lnTo>
                          <a:pt x="974075" y="147991"/>
                        </a:lnTo>
                        <a:lnTo>
                          <a:pt x="971031" y="147991"/>
                        </a:lnTo>
                        <a:lnTo>
                          <a:pt x="971031" y="142211"/>
                        </a:lnTo>
                        <a:lnTo>
                          <a:pt x="902473" y="142211"/>
                        </a:lnTo>
                        <a:lnTo>
                          <a:pt x="902473" y="136432"/>
                        </a:lnTo>
                        <a:lnTo>
                          <a:pt x="822061" y="136432"/>
                        </a:lnTo>
                        <a:lnTo>
                          <a:pt x="822061" y="131178"/>
                        </a:lnTo>
                        <a:lnTo>
                          <a:pt x="777369" y="131178"/>
                        </a:lnTo>
                        <a:lnTo>
                          <a:pt x="777369" y="126274"/>
                        </a:lnTo>
                        <a:lnTo>
                          <a:pt x="691031" y="126274"/>
                        </a:lnTo>
                        <a:lnTo>
                          <a:pt x="691031" y="120670"/>
                        </a:lnTo>
                        <a:lnTo>
                          <a:pt x="661237" y="120670"/>
                        </a:lnTo>
                        <a:lnTo>
                          <a:pt x="661237" y="115591"/>
                        </a:lnTo>
                        <a:lnTo>
                          <a:pt x="655310" y="115591"/>
                        </a:lnTo>
                        <a:lnTo>
                          <a:pt x="655310" y="105783"/>
                        </a:lnTo>
                        <a:lnTo>
                          <a:pt x="601648" y="105783"/>
                        </a:lnTo>
                        <a:lnTo>
                          <a:pt x="601648" y="98602"/>
                        </a:lnTo>
                        <a:lnTo>
                          <a:pt x="542060" y="98602"/>
                        </a:lnTo>
                        <a:lnTo>
                          <a:pt x="542060" y="92823"/>
                        </a:lnTo>
                        <a:lnTo>
                          <a:pt x="509223" y="92823"/>
                        </a:lnTo>
                        <a:lnTo>
                          <a:pt x="509223" y="87569"/>
                        </a:lnTo>
                        <a:lnTo>
                          <a:pt x="503296" y="87569"/>
                        </a:lnTo>
                        <a:lnTo>
                          <a:pt x="503296" y="81964"/>
                        </a:lnTo>
                        <a:lnTo>
                          <a:pt x="387163" y="81964"/>
                        </a:lnTo>
                        <a:lnTo>
                          <a:pt x="387163" y="77060"/>
                        </a:lnTo>
                        <a:lnTo>
                          <a:pt x="330618" y="77060"/>
                        </a:lnTo>
                        <a:lnTo>
                          <a:pt x="330618" y="72157"/>
                        </a:lnTo>
                        <a:lnTo>
                          <a:pt x="315721" y="72157"/>
                        </a:lnTo>
                        <a:lnTo>
                          <a:pt x="315721" y="67253"/>
                        </a:lnTo>
                        <a:lnTo>
                          <a:pt x="297781" y="67253"/>
                        </a:lnTo>
                        <a:lnTo>
                          <a:pt x="297781" y="62349"/>
                        </a:lnTo>
                        <a:lnTo>
                          <a:pt x="271030" y="62349"/>
                        </a:lnTo>
                        <a:lnTo>
                          <a:pt x="271030" y="56219"/>
                        </a:lnTo>
                        <a:lnTo>
                          <a:pt x="247163" y="56219"/>
                        </a:lnTo>
                        <a:lnTo>
                          <a:pt x="247163" y="51140"/>
                        </a:lnTo>
                        <a:lnTo>
                          <a:pt x="238193" y="51140"/>
                        </a:lnTo>
                        <a:lnTo>
                          <a:pt x="238193" y="45886"/>
                        </a:lnTo>
                        <a:lnTo>
                          <a:pt x="232266" y="45886"/>
                        </a:lnTo>
                        <a:lnTo>
                          <a:pt x="232266" y="40632"/>
                        </a:lnTo>
                        <a:lnTo>
                          <a:pt x="217369" y="40632"/>
                        </a:lnTo>
                        <a:lnTo>
                          <a:pt x="217369" y="35027"/>
                        </a:lnTo>
                        <a:lnTo>
                          <a:pt x="184691" y="35027"/>
                        </a:lnTo>
                        <a:lnTo>
                          <a:pt x="184691" y="29598"/>
                        </a:lnTo>
                        <a:lnTo>
                          <a:pt x="125103" y="29598"/>
                        </a:lnTo>
                        <a:lnTo>
                          <a:pt x="125103" y="24169"/>
                        </a:lnTo>
                        <a:lnTo>
                          <a:pt x="77369" y="24169"/>
                        </a:lnTo>
                        <a:lnTo>
                          <a:pt x="77369" y="18740"/>
                        </a:lnTo>
                        <a:lnTo>
                          <a:pt x="20824" y="18740"/>
                        </a:lnTo>
                        <a:lnTo>
                          <a:pt x="20824" y="13836"/>
                        </a:lnTo>
                        <a:lnTo>
                          <a:pt x="14897" y="13836"/>
                        </a:lnTo>
                        <a:lnTo>
                          <a:pt x="14897" y="6305"/>
                        </a:lnTo>
                        <a:lnTo>
                          <a:pt x="8970" y="6305"/>
                        </a:lnTo>
                        <a:lnTo>
                          <a:pt x="8970" y="1751"/>
                        </a:lnTo>
                        <a:lnTo>
                          <a:pt x="0" y="1751"/>
                        </a:lnTo>
                        <a:lnTo>
                          <a:pt x="0" y="0"/>
                        </a:lnTo>
                        <a:lnTo>
                          <a:pt x="266545" y="0"/>
                        </a:lnTo>
                        <a:cubicBezTo>
                          <a:pt x="266545" y="0"/>
                          <a:pt x="266545" y="0"/>
                          <a:pt x="266545" y="0"/>
                        </a:cubicBezTo>
                        <a:cubicBezTo>
                          <a:pt x="267666" y="1226"/>
                          <a:pt x="269428" y="2102"/>
                          <a:pt x="271030" y="2102"/>
                        </a:cubicBezTo>
                        <a:lnTo>
                          <a:pt x="291854" y="2102"/>
                        </a:lnTo>
                        <a:cubicBezTo>
                          <a:pt x="292174" y="2977"/>
                          <a:pt x="292655" y="3853"/>
                          <a:pt x="293296" y="4554"/>
                        </a:cubicBezTo>
                        <a:cubicBezTo>
                          <a:pt x="294417" y="5780"/>
                          <a:pt x="296179" y="6655"/>
                          <a:pt x="297781" y="6655"/>
                        </a:cubicBezTo>
                        <a:lnTo>
                          <a:pt x="309634" y="6655"/>
                        </a:lnTo>
                        <a:cubicBezTo>
                          <a:pt x="309955" y="7531"/>
                          <a:pt x="310435" y="8407"/>
                          <a:pt x="311076" y="9107"/>
                        </a:cubicBezTo>
                        <a:cubicBezTo>
                          <a:pt x="312197" y="10333"/>
                          <a:pt x="313799" y="11209"/>
                          <a:pt x="315561" y="11209"/>
                        </a:cubicBezTo>
                        <a:lnTo>
                          <a:pt x="324531" y="11209"/>
                        </a:lnTo>
                        <a:cubicBezTo>
                          <a:pt x="324852" y="12084"/>
                          <a:pt x="325332" y="12960"/>
                          <a:pt x="325973" y="13661"/>
                        </a:cubicBezTo>
                        <a:cubicBezTo>
                          <a:pt x="327094" y="14887"/>
                          <a:pt x="328856" y="15762"/>
                          <a:pt x="330458" y="15762"/>
                        </a:cubicBezTo>
                        <a:lnTo>
                          <a:pt x="381076" y="15762"/>
                        </a:lnTo>
                        <a:cubicBezTo>
                          <a:pt x="381396" y="16638"/>
                          <a:pt x="381877" y="17514"/>
                          <a:pt x="382518" y="18214"/>
                        </a:cubicBezTo>
                        <a:cubicBezTo>
                          <a:pt x="383639" y="19440"/>
                          <a:pt x="385401" y="20141"/>
                          <a:pt x="387003" y="20141"/>
                        </a:cubicBezTo>
                        <a:lnTo>
                          <a:pt x="497049" y="20141"/>
                        </a:lnTo>
                        <a:cubicBezTo>
                          <a:pt x="497369" y="21367"/>
                          <a:pt x="497849" y="22418"/>
                          <a:pt x="498650" y="23293"/>
                        </a:cubicBezTo>
                        <a:cubicBezTo>
                          <a:pt x="499772" y="24519"/>
                          <a:pt x="501374" y="25395"/>
                          <a:pt x="503136" y="25395"/>
                        </a:cubicBezTo>
                        <a:cubicBezTo>
                          <a:pt x="503456" y="26446"/>
                          <a:pt x="503937" y="27321"/>
                          <a:pt x="504737" y="28197"/>
                        </a:cubicBezTo>
                        <a:cubicBezTo>
                          <a:pt x="505859" y="29423"/>
                          <a:pt x="507621" y="30299"/>
                          <a:pt x="509223" y="30299"/>
                        </a:cubicBezTo>
                        <a:lnTo>
                          <a:pt x="535813" y="30299"/>
                        </a:lnTo>
                        <a:cubicBezTo>
                          <a:pt x="536133" y="31525"/>
                          <a:pt x="536614" y="32576"/>
                          <a:pt x="537415" y="33451"/>
                        </a:cubicBezTo>
                        <a:cubicBezTo>
                          <a:pt x="538536" y="34677"/>
                          <a:pt x="540298" y="35553"/>
                          <a:pt x="541900" y="35553"/>
                        </a:cubicBezTo>
                        <a:lnTo>
                          <a:pt x="595081" y="35553"/>
                        </a:lnTo>
                        <a:cubicBezTo>
                          <a:pt x="595081" y="37129"/>
                          <a:pt x="595882" y="38705"/>
                          <a:pt x="596843" y="39931"/>
                        </a:cubicBezTo>
                        <a:cubicBezTo>
                          <a:pt x="597964" y="41157"/>
                          <a:pt x="599726" y="42033"/>
                          <a:pt x="601328" y="42033"/>
                        </a:cubicBezTo>
                        <a:lnTo>
                          <a:pt x="648582" y="42033"/>
                        </a:lnTo>
                        <a:lnTo>
                          <a:pt x="648582" y="44135"/>
                        </a:lnTo>
                        <a:cubicBezTo>
                          <a:pt x="648582" y="45886"/>
                          <a:pt x="649223" y="47812"/>
                          <a:pt x="650504" y="49038"/>
                        </a:cubicBezTo>
                        <a:cubicBezTo>
                          <a:pt x="651786" y="50264"/>
                          <a:pt x="653227" y="50965"/>
                          <a:pt x="654989" y="51140"/>
                        </a:cubicBezTo>
                        <a:cubicBezTo>
                          <a:pt x="655310" y="52191"/>
                          <a:pt x="655790" y="53067"/>
                          <a:pt x="656591" y="53767"/>
                        </a:cubicBezTo>
                        <a:cubicBezTo>
                          <a:pt x="657713" y="54993"/>
                          <a:pt x="659475" y="55869"/>
                          <a:pt x="661076" y="55869"/>
                        </a:cubicBezTo>
                        <a:lnTo>
                          <a:pt x="684784" y="55869"/>
                        </a:lnTo>
                        <a:cubicBezTo>
                          <a:pt x="685104" y="57095"/>
                          <a:pt x="685584" y="57970"/>
                          <a:pt x="686385" y="58846"/>
                        </a:cubicBezTo>
                        <a:cubicBezTo>
                          <a:pt x="687507" y="60072"/>
                          <a:pt x="689269" y="60948"/>
                          <a:pt x="690870" y="60948"/>
                        </a:cubicBezTo>
                        <a:lnTo>
                          <a:pt x="771282" y="60948"/>
                        </a:lnTo>
                        <a:cubicBezTo>
                          <a:pt x="771603" y="61823"/>
                          <a:pt x="772083" y="62874"/>
                          <a:pt x="772724" y="63575"/>
                        </a:cubicBezTo>
                        <a:cubicBezTo>
                          <a:pt x="773845" y="64801"/>
                          <a:pt x="775607" y="65676"/>
                          <a:pt x="777209" y="65676"/>
                        </a:cubicBezTo>
                        <a:lnTo>
                          <a:pt x="815813" y="65676"/>
                        </a:lnTo>
                        <a:cubicBezTo>
                          <a:pt x="816134" y="66727"/>
                          <a:pt x="816614" y="67603"/>
                          <a:pt x="817415" y="68479"/>
                        </a:cubicBezTo>
                        <a:cubicBezTo>
                          <a:pt x="818536" y="69705"/>
                          <a:pt x="820298" y="70580"/>
                          <a:pt x="821900" y="70580"/>
                        </a:cubicBezTo>
                        <a:lnTo>
                          <a:pt x="896225" y="70580"/>
                        </a:lnTo>
                        <a:cubicBezTo>
                          <a:pt x="896546" y="71806"/>
                          <a:pt x="897026" y="72857"/>
                          <a:pt x="897827" y="73908"/>
                        </a:cubicBezTo>
                        <a:cubicBezTo>
                          <a:pt x="898949" y="75134"/>
                          <a:pt x="900711" y="76010"/>
                          <a:pt x="902312" y="76010"/>
                        </a:cubicBezTo>
                        <a:lnTo>
                          <a:pt x="964624" y="76010"/>
                        </a:lnTo>
                        <a:cubicBezTo>
                          <a:pt x="964944" y="77236"/>
                          <a:pt x="965424" y="78286"/>
                          <a:pt x="966386" y="79162"/>
                        </a:cubicBezTo>
                        <a:cubicBezTo>
                          <a:pt x="966706" y="79512"/>
                          <a:pt x="967026" y="79863"/>
                          <a:pt x="967507" y="80213"/>
                        </a:cubicBezTo>
                        <a:cubicBezTo>
                          <a:pt x="967507" y="81964"/>
                          <a:pt x="968308" y="83716"/>
                          <a:pt x="969429" y="84942"/>
                        </a:cubicBezTo>
                        <a:cubicBezTo>
                          <a:pt x="970550" y="86343"/>
                          <a:pt x="972312" y="87043"/>
                          <a:pt x="973914" y="87043"/>
                        </a:cubicBezTo>
                        <a:lnTo>
                          <a:pt x="997621" y="87043"/>
                        </a:lnTo>
                        <a:cubicBezTo>
                          <a:pt x="997942" y="88094"/>
                          <a:pt x="998422" y="89145"/>
                          <a:pt x="999223" y="89845"/>
                        </a:cubicBezTo>
                        <a:cubicBezTo>
                          <a:pt x="1000345" y="91071"/>
                          <a:pt x="1001946" y="91947"/>
                          <a:pt x="1003708" y="91947"/>
                        </a:cubicBezTo>
                        <a:lnTo>
                          <a:pt x="1122725" y="91947"/>
                        </a:lnTo>
                        <a:cubicBezTo>
                          <a:pt x="1123045" y="92998"/>
                          <a:pt x="1123526" y="94049"/>
                          <a:pt x="1124326" y="94749"/>
                        </a:cubicBezTo>
                        <a:cubicBezTo>
                          <a:pt x="1125448" y="95975"/>
                          <a:pt x="1127210" y="96851"/>
                          <a:pt x="1128811" y="96851"/>
                        </a:cubicBezTo>
                        <a:lnTo>
                          <a:pt x="1164212" y="96851"/>
                        </a:lnTo>
                        <a:lnTo>
                          <a:pt x="1164212" y="97376"/>
                        </a:lnTo>
                        <a:cubicBezTo>
                          <a:pt x="1164212" y="99128"/>
                          <a:pt x="1164853" y="100879"/>
                          <a:pt x="1166134" y="102280"/>
                        </a:cubicBezTo>
                        <a:cubicBezTo>
                          <a:pt x="1167256" y="103506"/>
                          <a:pt x="1169018" y="104207"/>
                          <a:pt x="1170619" y="104207"/>
                        </a:cubicBezTo>
                        <a:lnTo>
                          <a:pt x="1268652" y="104207"/>
                        </a:lnTo>
                        <a:cubicBezTo>
                          <a:pt x="1268972" y="105433"/>
                          <a:pt x="1269453" y="106659"/>
                          <a:pt x="1270414" y="107534"/>
                        </a:cubicBezTo>
                        <a:cubicBezTo>
                          <a:pt x="1271535" y="108760"/>
                          <a:pt x="1273137" y="109636"/>
                          <a:pt x="1274899" y="109636"/>
                        </a:cubicBezTo>
                        <a:lnTo>
                          <a:pt x="1334166" y="109636"/>
                        </a:lnTo>
                        <a:cubicBezTo>
                          <a:pt x="1334166" y="111212"/>
                          <a:pt x="1334967" y="112788"/>
                          <a:pt x="1335928" y="114014"/>
                        </a:cubicBezTo>
                        <a:cubicBezTo>
                          <a:pt x="1337050" y="115240"/>
                          <a:pt x="1338812" y="115941"/>
                          <a:pt x="1340414" y="115941"/>
                        </a:cubicBezTo>
                        <a:lnTo>
                          <a:pt x="1355150" y="115941"/>
                        </a:lnTo>
                        <a:cubicBezTo>
                          <a:pt x="1355471" y="116992"/>
                          <a:pt x="1355951" y="117867"/>
                          <a:pt x="1356752" y="118743"/>
                        </a:cubicBezTo>
                        <a:cubicBezTo>
                          <a:pt x="1357873" y="119969"/>
                          <a:pt x="1359636" y="120845"/>
                          <a:pt x="1361237" y="120845"/>
                        </a:cubicBezTo>
                        <a:lnTo>
                          <a:pt x="1378857" y="120845"/>
                        </a:lnTo>
                        <a:cubicBezTo>
                          <a:pt x="1379178" y="122071"/>
                          <a:pt x="1379658" y="123121"/>
                          <a:pt x="1380459" y="123997"/>
                        </a:cubicBezTo>
                        <a:cubicBezTo>
                          <a:pt x="1381581" y="125223"/>
                          <a:pt x="1383343" y="126099"/>
                          <a:pt x="1384945" y="126099"/>
                        </a:cubicBezTo>
                        <a:lnTo>
                          <a:pt x="1387668" y="126099"/>
                        </a:lnTo>
                        <a:cubicBezTo>
                          <a:pt x="1387988" y="127325"/>
                          <a:pt x="1388469" y="128376"/>
                          <a:pt x="1389270" y="129251"/>
                        </a:cubicBezTo>
                        <a:cubicBezTo>
                          <a:pt x="1390391" y="130477"/>
                          <a:pt x="1392153" y="131353"/>
                          <a:pt x="1393755" y="131353"/>
                        </a:cubicBezTo>
                        <a:lnTo>
                          <a:pt x="1411375" y="131353"/>
                        </a:lnTo>
                        <a:cubicBezTo>
                          <a:pt x="1411535" y="132579"/>
                          <a:pt x="1412176" y="133805"/>
                          <a:pt x="1413137" y="134856"/>
                        </a:cubicBezTo>
                        <a:cubicBezTo>
                          <a:pt x="1414258" y="136082"/>
                          <a:pt x="1416020" y="136957"/>
                          <a:pt x="1417622" y="136957"/>
                        </a:cubicBezTo>
                        <a:lnTo>
                          <a:pt x="1426272" y="136957"/>
                        </a:lnTo>
                        <a:cubicBezTo>
                          <a:pt x="1426432" y="138358"/>
                          <a:pt x="1427073" y="139760"/>
                          <a:pt x="1428034" y="140810"/>
                        </a:cubicBezTo>
                        <a:cubicBezTo>
                          <a:pt x="1429155" y="142036"/>
                          <a:pt x="1430917" y="142912"/>
                          <a:pt x="1432519" y="142912"/>
                        </a:cubicBezTo>
                        <a:lnTo>
                          <a:pt x="1524624" y="142912"/>
                        </a:lnTo>
                        <a:cubicBezTo>
                          <a:pt x="1524945" y="144138"/>
                          <a:pt x="1525425" y="145364"/>
                          <a:pt x="1526386" y="146240"/>
                        </a:cubicBezTo>
                        <a:cubicBezTo>
                          <a:pt x="1526707" y="146590"/>
                          <a:pt x="1527187" y="146940"/>
                          <a:pt x="1527508" y="147290"/>
                        </a:cubicBezTo>
                        <a:cubicBezTo>
                          <a:pt x="1527668" y="148867"/>
                          <a:pt x="1528308" y="150268"/>
                          <a:pt x="1529270" y="151319"/>
                        </a:cubicBezTo>
                        <a:cubicBezTo>
                          <a:pt x="1530391" y="152545"/>
                          <a:pt x="1532153" y="153420"/>
                          <a:pt x="1533755" y="153420"/>
                        </a:cubicBezTo>
                        <a:lnTo>
                          <a:pt x="1587096" y="153420"/>
                        </a:lnTo>
                        <a:cubicBezTo>
                          <a:pt x="1587416" y="154646"/>
                          <a:pt x="1587897" y="155872"/>
                          <a:pt x="1588858" y="156923"/>
                        </a:cubicBezTo>
                        <a:cubicBezTo>
                          <a:pt x="1589979" y="158149"/>
                          <a:pt x="1591741" y="159025"/>
                          <a:pt x="1593343" y="159025"/>
                        </a:cubicBezTo>
                        <a:lnTo>
                          <a:pt x="1601833" y="159025"/>
                        </a:lnTo>
                        <a:lnTo>
                          <a:pt x="1601833" y="164804"/>
                        </a:lnTo>
                        <a:cubicBezTo>
                          <a:pt x="1601833" y="166556"/>
                          <a:pt x="1602473" y="168482"/>
                          <a:pt x="1603755" y="169708"/>
                        </a:cubicBezTo>
                        <a:cubicBezTo>
                          <a:pt x="1604876" y="170934"/>
                          <a:pt x="1606638" y="171810"/>
                          <a:pt x="1608240" y="171810"/>
                        </a:cubicBezTo>
                        <a:lnTo>
                          <a:pt x="1685448" y="171810"/>
                        </a:lnTo>
                        <a:cubicBezTo>
                          <a:pt x="1685769" y="173036"/>
                          <a:pt x="1686249" y="174262"/>
                          <a:pt x="1687210" y="175312"/>
                        </a:cubicBezTo>
                        <a:cubicBezTo>
                          <a:pt x="1688332" y="176538"/>
                          <a:pt x="1690094" y="177414"/>
                          <a:pt x="1691696" y="177414"/>
                        </a:cubicBezTo>
                        <a:lnTo>
                          <a:pt x="1828332" y="177414"/>
                        </a:lnTo>
                        <a:cubicBezTo>
                          <a:pt x="1828332" y="178990"/>
                          <a:pt x="1829133" y="180567"/>
                          <a:pt x="1830254" y="181792"/>
                        </a:cubicBezTo>
                        <a:cubicBezTo>
                          <a:pt x="1831375" y="183018"/>
                          <a:pt x="1833137" y="183894"/>
                          <a:pt x="1834739" y="183894"/>
                        </a:cubicBezTo>
                        <a:lnTo>
                          <a:pt x="1882314" y="183894"/>
                        </a:lnTo>
                        <a:cubicBezTo>
                          <a:pt x="1882634" y="185120"/>
                          <a:pt x="1883115" y="186171"/>
                          <a:pt x="1883916" y="187047"/>
                        </a:cubicBezTo>
                        <a:cubicBezTo>
                          <a:pt x="1885037" y="188273"/>
                          <a:pt x="1886799" y="189148"/>
                          <a:pt x="1888401" y="189148"/>
                        </a:cubicBezTo>
                        <a:lnTo>
                          <a:pt x="1911948" y="189148"/>
                        </a:lnTo>
                        <a:cubicBezTo>
                          <a:pt x="1912108" y="190549"/>
                          <a:pt x="1912748" y="191950"/>
                          <a:pt x="1913709" y="193001"/>
                        </a:cubicBezTo>
                        <a:cubicBezTo>
                          <a:pt x="1914831" y="194227"/>
                          <a:pt x="1916593" y="195103"/>
                          <a:pt x="1918195" y="195103"/>
                        </a:cubicBezTo>
                        <a:lnTo>
                          <a:pt x="2111376" y="195103"/>
                        </a:lnTo>
                        <a:cubicBezTo>
                          <a:pt x="2111536" y="196679"/>
                          <a:pt x="2112177" y="198080"/>
                          <a:pt x="2113138" y="199306"/>
                        </a:cubicBezTo>
                        <a:cubicBezTo>
                          <a:pt x="2114259" y="200532"/>
                          <a:pt x="2115701" y="201233"/>
                          <a:pt x="2117302" y="201408"/>
                        </a:cubicBezTo>
                        <a:cubicBezTo>
                          <a:pt x="2117302" y="202984"/>
                          <a:pt x="2118103" y="204560"/>
                          <a:pt x="2119064" y="205611"/>
                        </a:cubicBezTo>
                        <a:cubicBezTo>
                          <a:pt x="2120186" y="206837"/>
                          <a:pt x="2121948" y="207713"/>
                          <a:pt x="2123550" y="207713"/>
                        </a:cubicBezTo>
                        <a:lnTo>
                          <a:pt x="2132200" y="207713"/>
                        </a:lnTo>
                        <a:cubicBezTo>
                          <a:pt x="2132360" y="209289"/>
                          <a:pt x="2133000" y="210690"/>
                          <a:pt x="2133961" y="211741"/>
                        </a:cubicBezTo>
                        <a:cubicBezTo>
                          <a:pt x="2135083" y="212967"/>
                          <a:pt x="2136845" y="213843"/>
                          <a:pt x="2138447" y="213843"/>
                        </a:cubicBezTo>
                        <a:lnTo>
                          <a:pt x="2194671" y="213843"/>
                        </a:lnTo>
                        <a:cubicBezTo>
                          <a:pt x="2194671" y="215769"/>
                          <a:pt x="2195312" y="217696"/>
                          <a:pt x="2196593" y="218922"/>
                        </a:cubicBezTo>
                        <a:cubicBezTo>
                          <a:pt x="2197715" y="220148"/>
                          <a:pt x="2199477" y="221023"/>
                          <a:pt x="2201078" y="221023"/>
                        </a:cubicBezTo>
                        <a:lnTo>
                          <a:pt x="2364465" y="221023"/>
                        </a:lnTo>
                        <a:cubicBezTo>
                          <a:pt x="2364465" y="222775"/>
                          <a:pt x="2365266" y="224351"/>
                          <a:pt x="2366387" y="225577"/>
                        </a:cubicBezTo>
                        <a:cubicBezTo>
                          <a:pt x="2367509" y="226803"/>
                          <a:pt x="2369271" y="227678"/>
                          <a:pt x="2370873" y="227678"/>
                        </a:cubicBezTo>
                        <a:lnTo>
                          <a:pt x="2388332" y="227678"/>
                        </a:lnTo>
                        <a:cubicBezTo>
                          <a:pt x="2388332" y="229430"/>
                          <a:pt x="2389133" y="230831"/>
                          <a:pt x="2390095" y="232057"/>
                        </a:cubicBezTo>
                        <a:cubicBezTo>
                          <a:pt x="2391216" y="233283"/>
                          <a:pt x="2392978" y="234159"/>
                          <a:pt x="2394580" y="234159"/>
                        </a:cubicBezTo>
                        <a:lnTo>
                          <a:pt x="2421010" y="234159"/>
                        </a:lnTo>
                        <a:cubicBezTo>
                          <a:pt x="2421010" y="235735"/>
                          <a:pt x="2421811" y="237311"/>
                          <a:pt x="2422772" y="238537"/>
                        </a:cubicBezTo>
                        <a:cubicBezTo>
                          <a:pt x="2423893" y="239763"/>
                          <a:pt x="2425655" y="240639"/>
                          <a:pt x="2427257" y="240639"/>
                        </a:cubicBezTo>
                        <a:lnTo>
                          <a:pt x="2453688" y="240639"/>
                        </a:lnTo>
                        <a:cubicBezTo>
                          <a:pt x="2453688" y="242390"/>
                          <a:pt x="2454328" y="244141"/>
                          <a:pt x="2455610" y="245542"/>
                        </a:cubicBezTo>
                        <a:cubicBezTo>
                          <a:pt x="2456731" y="246768"/>
                          <a:pt x="2458493" y="247644"/>
                          <a:pt x="2460095" y="247644"/>
                        </a:cubicBezTo>
                        <a:lnTo>
                          <a:pt x="2471628" y="247644"/>
                        </a:lnTo>
                        <a:lnTo>
                          <a:pt x="2471628" y="248345"/>
                        </a:lnTo>
                        <a:cubicBezTo>
                          <a:pt x="2471628" y="250096"/>
                          <a:pt x="2472268" y="252023"/>
                          <a:pt x="2473550" y="253249"/>
                        </a:cubicBezTo>
                        <a:cubicBezTo>
                          <a:pt x="2474831" y="254474"/>
                          <a:pt x="2476433" y="255350"/>
                          <a:pt x="2478035" y="255350"/>
                        </a:cubicBezTo>
                        <a:lnTo>
                          <a:pt x="2587761" y="255350"/>
                        </a:lnTo>
                        <a:lnTo>
                          <a:pt x="2587761" y="256226"/>
                        </a:lnTo>
                        <a:cubicBezTo>
                          <a:pt x="2587761" y="257977"/>
                          <a:pt x="2588401" y="259904"/>
                          <a:pt x="2589683" y="261130"/>
                        </a:cubicBezTo>
                        <a:cubicBezTo>
                          <a:pt x="2590804" y="262356"/>
                          <a:pt x="2592566" y="263231"/>
                          <a:pt x="2594168" y="263231"/>
                        </a:cubicBezTo>
                        <a:lnTo>
                          <a:pt x="2683070" y="263231"/>
                        </a:lnTo>
                        <a:lnTo>
                          <a:pt x="2683070" y="264983"/>
                        </a:lnTo>
                        <a:cubicBezTo>
                          <a:pt x="2683070" y="266734"/>
                          <a:pt x="2683710" y="268661"/>
                          <a:pt x="2684992" y="269887"/>
                        </a:cubicBezTo>
                        <a:cubicBezTo>
                          <a:pt x="2686113" y="271113"/>
                          <a:pt x="2687875" y="271988"/>
                          <a:pt x="2689477" y="271988"/>
                        </a:cubicBezTo>
                        <a:lnTo>
                          <a:pt x="2811216" y="271988"/>
                        </a:lnTo>
                        <a:lnTo>
                          <a:pt x="2811216" y="274966"/>
                        </a:lnTo>
                        <a:cubicBezTo>
                          <a:pt x="2811216" y="276892"/>
                          <a:pt x="2811857" y="278643"/>
                          <a:pt x="2813138" y="279869"/>
                        </a:cubicBezTo>
                        <a:cubicBezTo>
                          <a:pt x="2814260" y="281095"/>
                          <a:pt x="2816022" y="281971"/>
                          <a:pt x="2817623" y="281971"/>
                        </a:cubicBezTo>
                        <a:lnTo>
                          <a:pt x="2966114" y="281971"/>
                        </a:lnTo>
                        <a:lnTo>
                          <a:pt x="2966114" y="287050"/>
                        </a:lnTo>
                        <a:cubicBezTo>
                          <a:pt x="2966114" y="288801"/>
                          <a:pt x="2966754" y="290728"/>
                          <a:pt x="2968036" y="291954"/>
                        </a:cubicBezTo>
                        <a:cubicBezTo>
                          <a:pt x="2969317" y="293180"/>
                          <a:pt x="2970919" y="294055"/>
                          <a:pt x="2972521" y="294055"/>
                        </a:cubicBezTo>
                        <a:lnTo>
                          <a:pt x="2989981" y="294055"/>
                        </a:lnTo>
                        <a:lnTo>
                          <a:pt x="2989981" y="300185"/>
                        </a:lnTo>
                        <a:cubicBezTo>
                          <a:pt x="2989981" y="301937"/>
                          <a:pt x="2990622" y="303863"/>
                          <a:pt x="2991903" y="305089"/>
                        </a:cubicBezTo>
                        <a:cubicBezTo>
                          <a:pt x="2993024" y="306315"/>
                          <a:pt x="2994787" y="307191"/>
                          <a:pt x="2996388" y="307191"/>
                        </a:cubicBezTo>
                        <a:lnTo>
                          <a:pt x="3144878" y="307191"/>
                        </a:lnTo>
                        <a:lnTo>
                          <a:pt x="3144878" y="319976"/>
                        </a:lnTo>
                        <a:cubicBezTo>
                          <a:pt x="3144878" y="321727"/>
                          <a:pt x="3145519" y="323654"/>
                          <a:pt x="3146800" y="324880"/>
                        </a:cubicBezTo>
                        <a:cubicBezTo>
                          <a:pt x="3147922" y="326106"/>
                          <a:pt x="3149683" y="326981"/>
                          <a:pt x="3151285" y="326981"/>
                        </a:cubicBezTo>
                        <a:lnTo>
                          <a:pt x="3183322" y="326981"/>
                        </a:lnTo>
                        <a:lnTo>
                          <a:pt x="3183322" y="313145"/>
                        </a:lnTo>
                        <a:lnTo>
                          <a:pt x="3157693" y="313145"/>
                        </a:lnTo>
                        <a:lnTo>
                          <a:pt x="3157693" y="300360"/>
                        </a:lnTo>
                        <a:cubicBezTo>
                          <a:pt x="3157693" y="298609"/>
                          <a:pt x="3157052" y="296683"/>
                          <a:pt x="3155771" y="295457"/>
                        </a:cubicBezTo>
                        <a:cubicBezTo>
                          <a:pt x="3154489" y="294231"/>
                          <a:pt x="3152887" y="293355"/>
                          <a:pt x="3151285" y="293355"/>
                        </a:cubicBezTo>
                        <a:lnTo>
                          <a:pt x="3002796" y="293355"/>
                        </a:lnTo>
                        <a:lnTo>
                          <a:pt x="3002796" y="287225"/>
                        </a:lnTo>
                        <a:cubicBezTo>
                          <a:pt x="3002796" y="285474"/>
                          <a:pt x="3002155" y="283547"/>
                          <a:pt x="3000873" y="282321"/>
                        </a:cubicBezTo>
                        <a:cubicBezTo>
                          <a:pt x="2999752" y="281095"/>
                          <a:pt x="2997990" y="280220"/>
                          <a:pt x="2996388" y="280220"/>
                        </a:cubicBezTo>
                        <a:lnTo>
                          <a:pt x="2978928" y="280220"/>
                        </a:lnTo>
                        <a:lnTo>
                          <a:pt x="2978928" y="275141"/>
                        </a:lnTo>
                        <a:cubicBezTo>
                          <a:pt x="2978928" y="273389"/>
                          <a:pt x="2978288" y="271463"/>
                          <a:pt x="2977006" y="270237"/>
                        </a:cubicBezTo>
                        <a:cubicBezTo>
                          <a:pt x="2975725" y="269011"/>
                          <a:pt x="2974123" y="268135"/>
                          <a:pt x="2972521" y="268135"/>
                        </a:cubicBezTo>
                        <a:lnTo>
                          <a:pt x="2824031" y="268135"/>
                        </a:lnTo>
                        <a:lnTo>
                          <a:pt x="2824031" y="265158"/>
                        </a:lnTo>
                        <a:cubicBezTo>
                          <a:pt x="2824031" y="263406"/>
                          <a:pt x="2823390" y="261480"/>
                          <a:pt x="2822109" y="260254"/>
                        </a:cubicBezTo>
                        <a:cubicBezTo>
                          <a:pt x="2820988" y="259028"/>
                          <a:pt x="2819225" y="258152"/>
                          <a:pt x="2817623" y="258152"/>
                        </a:cubicBezTo>
                        <a:lnTo>
                          <a:pt x="2695885" y="258152"/>
                        </a:lnTo>
                        <a:lnTo>
                          <a:pt x="2695885" y="256401"/>
                        </a:lnTo>
                        <a:cubicBezTo>
                          <a:pt x="2695885" y="254650"/>
                          <a:pt x="2695244" y="252723"/>
                          <a:pt x="2693962" y="251497"/>
                        </a:cubicBezTo>
                        <a:cubicBezTo>
                          <a:pt x="2692841" y="250271"/>
                          <a:pt x="2691079" y="249395"/>
                          <a:pt x="2689477" y="249395"/>
                        </a:cubicBezTo>
                        <a:lnTo>
                          <a:pt x="2600575" y="249395"/>
                        </a:lnTo>
                        <a:lnTo>
                          <a:pt x="2600575" y="248520"/>
                        </a:lnTo>
                        <a:cubicBezTo>
                          <a:pt x="2600575" y="246593"/>
                          <a:pt x="2599934" y="244842"/>
                          <a:pt x="2598653" y="243616"/>
                        </a:cubicBezTo>
                        <a:cubicBezTo>
                          <a:pt x="2597532" y="242390"/>
                          <a:pt x="2595930" y="241514"/>
                          <a:pt x="2594168" y="241514"/>
                        </a:cubicBezTo>
                        <a:lnTo>
                          <a:pt x="2484442" y="241514"/>
                        </a:lnTo>
                        <a:lnTo>
                          <a:pt x="2484442" y="240814"/>
                        </a:lnTo>
                        <a:cubicBezTo>
                          <a:pt x="2484442" y="238887"/>
                          <a:pt x="2483802" y="237136"/>
                          <a:pt x="2482520" y="235910"/>
                        </a:cubicBezTo>
                        <a:cubicBezTo>
                          <a:pt x="2481239" y="234684"/>
                          <a:pt x="2479637" y="233808"/>
                          <a:pt x="2478035" y="233808"/>
                        </a:cubicBezTo>
                        <a:lnTo>
                          <a:pt x="2466502" y="233808"/>
                        </a:lnTo>
                        <a:cubicBezTo>
                          <a:pt x="2466502" y="232057"/>
                          <a:pt x="2465861" y="230306"/>
                          <a:pt x="2464580" y="228904"/>
                        </a:cubicBezTo>
                        <a:cubicBezTo>
                          <a:pt x="2463458" y="227678"/>
                          <a:pt x="2461697" y="226803"/>
                          <a:pt x="2460095" y="226803"/>
                        </a:cubicBezTo>
                        <a:lnTo>
                          <a:pt x="2433665" y="226803"/>
                        </a:lnTo>
                        <a:cubicBezTo>
                          <a:pt x="2433665" y="225051"/>
                          <a:pt x="2432863" y="223475"/>
                          <a:pt x="2431902" y="222424"/>
                        </a:cubicBezTo>
                        <a:cubicBezTo>
                          <a:pt x="2430781" y="221198"/>
                          <a:pt x="2429179" y="220323"/>
                          <a:pt x="2427417" y="220323"/>
                        </a:cubicBezTo>
                        <a:lnTo>
                          <a:pt x="2400987" y="220323"/>
                        </a:lnTo>
                        <a:cubicBezTo>
                          <a:pt x="2400987" y="218571"/>
                          <a:pt x="2400186" y="217170"/>
                          <a:pt x="2399225" y="215944"/>
                        </a:cubicBezTo>
                        <a:cubicBezTo>
                          <a:pt x="2398104" y="214718"/>
                          <a:pt x="2396342" y="213843"/>
                          <a:pt x="2394740" y="213843"/>
                        </a:cubicBezTo>
                        <a:lnTo>
                          <a:pt x="2377280" y="213843"/>
                        </a:lnTo>
                        <a:cubicBezTo>
                          <a:pt x="2377280" y="212091"/>
                          <a:pt x="2376479" y="210515"/>
                          <a:pt x="2375358" y="209289"/>
                        </a:cubicBezTo>
                        <a:cubicBezTo>
                          <a:pt x="2374236" y="208063"/>
                          <a:pt x="2372475" y="207187"/>
                          <a:pt x="2370873" y="207187"/>
                        </a:cubicBezTo>
                        <a:lnTo>
                          <a:pt x="2207486" y="207187"/>
                        </a:lnTo>
                        <a:cubicBezTo>
                          <a:pt x="2207486" y="205086"/>
                          <a:pt x="2206845" y="203334"/>
                          <a:pt x="2205563" y="202108"/>
                        </a:cubicBezTo>
                        <a:cubicBezTo>
                          <a:pt x="2204442" y="200882"/>
                          <a:pt x="2202680" y="200007"/>
                          <a:pt x="2201078" y="200007"/>
                        </a:cubicBezTo>
                        <a:lnTo>
                          <a:pt x="2144854" y="200007"/>
                        </a:lnTo>
                        <a:cubicBezTo>
                          <a:pt x="2144694" y="198431"/>
                          <a:pt x="2144053" y="197029"/>
                          <a:pt x="2143092" y="195979"/>
                        </a:cubicBezTo>
                        <a:cubicBezTo>
                          <a:pt x="2141971" y="194753"/>
                          <a:pt x="2140209" y="193877"/>
                          <a:pt x="2138607" y="193877"/>
                        </a:cubicBezTo>
                        <a:lnTo>
                          <a:pt x="2129957" y="193877"/>
                        </a:lnTo>
                        <a:cubicBezTo>
                          <a:pt x="2129957" y="192301"/>
                          <a:pt x="2129156" y="190724"/>
                          <a:pt x="2128195" y="189674"/>
                        </a:cubicBezTo>
                        <a:cubicBezTo>
                          <a:pt x="2127074" y="188448"/>
                          <a:pt x="2125632" y="187747"/>
                          <a:pt x="2124030" y="187572"/>
                        </a:cubicBezTo>
                        <a:cubicBezTo>
                          <a:pt x="2124030" y="185996"/>
                          <a:pt x="2123229" y="184595"/>
                          <a:pt x="2122268" y="183369"/>
                        </a:cubicBezTo>
                        <a:cubicBezTo>
                          <a:pt x="2121147" y="182143"/>
                          <a:pt x="2119385" y="181267"/>
                          <a:pt x="2117783" y="181267"/>
                        </a:cubicBezTo>
                        <a:lnTo>
                          <a:pt x="1924442" y="181267"/>
                        </a:lnTo>
                        <a:cubicBezTo>
                          <a:pt x="1924282" y="179866"/>
                          <a:pt x="1923641" y="178465"/>
                          <a:pt x="1922680" y="177414"/>
                        </a:cubicBezTo>
                        <a:cubicBezTo>
                          <a:pt x="1921558" y="176188"/>
                          <a:pt x="1919796" y="175312"/>
                          <a:pt x="1918195" y="175312"/>
                        </a:cubicBezTo>
                        <a:lnTo>
                          <a:pt x="1894648" y="175312"/>
                        </a:lnTo>
                        <a:cubicBezTo>
                          <a:pt x="1894327" y="174086"/>
                          <a:pt x="1893847" y="173036"/>
                          <a:pt x="1893046" y="172160"/>
                        </a:cubicBezTo>
                        <a:cubicBezTo>
                          <a:pt x="1891925" y="170934"/>
                          <a:pt x="1890163" y="170058"/>
                          <a:pt x="1888561" y="170058"/>
                        </a:cubicBezTo>
                        <a:lnTo>
                          <a:pt x="1841307" y="170058"/>
                        </a:lnTo>
                        <a:cubicBezTo>
                          <a:pt x="1841307" y="168482"/>
                          <a:pt x="1840506" y="166906"/>
                          <a:pt x="1839384" y="165680"/>
                        </a:cubicBezTo>
                        <a:cubicBezTo>
                          <a:pt x="1838263" y="164454"/>
                          <a:pt x="1836501" y="163578"/>
                          <a:pt x="1834899" y="163578"/>
                        </a:cubicBezTo>
                        <a:lnTo>
                          <a:pt x="1698103" y="163578"/>
                        </a:lnTo>
                        <a:cubicBezTo>
                          <a:pt x="1697782" y="162352"/>
                          <a:pt x="1697302" y="161126"/>
                          <a:pt x="1696341" y="160075"/>
                        </a:cubicBezTo>
                        <a:cubicBezTo>
                          <a:pt x="1695219" y="158850"/>
                          <a:pt x="1693457" y="157974"/>
                          <a:pt x="1691856" y="157974"/>
                        </a:cubicBezTo>
                        <a:lnTo>
                          <a:pt x="1614808" y="157974"/>
                        </a:lnTo>
                        <a:lnTo>
                          <a:pt x="1614808" y="152194"/>
                        </a:lnTo>
                        <a:cubicBezTo>
                          <a:pt x="1614808" y="150443"/>
                          <a:pt x="1614167" y="148516"/>
                          <a:pt x="1612885" y="147290"/>
                        </a:cubicBezTo>
                        <a:cubicBezTo>
                          <a:pt x="1611764" y="146064"/>
                          <a:pt x="1610002" y="145189"/>
                          <a:pt x="1608400" y="145189"/>
                        </a:cubicBezTo>
                        <a:lnTo>
                          <a:pt x="1599750" y="145189"/>
                        </a:lnTo>
                        <a:cubicBezTo>
                          <a:pt x="1599430" y="143788"/>
                          <a:pt x="1598949" y="142737"/>
                          <a:pt x="1597988" y="141686"/>
                        </a:cubicBezTo>
                        <a:cubicBezTo>
                          <a:pt x="1596867" y="140460"/>
                          <a:pt x="1595105" y="139584"/>
                          <a:pt x="1593503" y="139584"/>
                        </a:cubicBezTo>
                        <a:lnTo>
                          <a:pt x="1540002" y="139584"/>
                        </a:lnTo>
                        <a:cubicBezTo>
                          <a:pt x="1539682" y="138358"/>
                          <a:pt x="1539201" y="137483"/>
                          <a:pt x="1538400" y="136607"/>
                        </a:cubicBezTo>
                        <a:cubicBezTo>
                          <a:pt x="1538080" y="136257"/>
                          <a:pt x="1537599" y="135907"/>
                          <a:pt x="1537279" y="135556"/>
                        </a:cubicBezTo>
                        <a:cubicBezTo>
                          <a:pt x="1537279" y="133805"/>
                          <a:pt x="1536478" y="132229"/>
                          <a:pt x="1535357" y="131178"/>
                        </a:cubicBezTo>
                        <a:cubicBezTo>
                          <a:pt x="1534235" y="129952"/>
                          <a:pt x="1532473" y="129076"/>
                          <a:pt x="1530871" y="129076"/>
                        </a:cubicBezTo>
                        <a:lnTo>
                          <a:pt x="1438926" y="129076"/>
                        </a:lnTo>
                        <a:cubicBezTo>
                          <a:pt x="1438766" y="127675"/>
                          <a:pt x="1438125" y="126274"/>
                          <a:pt x="1437164" y="125223"/>
                        </a:cubicBezTo>
                        <a:cubicBezTo>
                          <a:pt x="1436043" y="123997"/>
                          <a:pt x="1434281" y="123121"/>
                          <a:pt x="1432679" y="123121"/>
                        </a:cubicBezTo>
                        <a:lnTo>
                          <a:pt x="1424029" y="123121"/>
                        </a:lnTo>
                        <a:cubicBezTo>
                          <a:pt x="1423869" y="121896"/>
                          <a:pt x="1423228" y="120670"/>
                          <a:pt x="1422267" y="119619"/>
                        </a:cubicBezTo>
                        <a:cubicBezTo>
                          <a:pt x="1421146" y="118393"/>
                          <a:pt x="1419384" y="117517"/>
                          <a:pt x="1417782" y="117517"/>
                        </a:cubicBezTo>
                        <a:lnTo>
                          <a:pt x="1400002" y="117517"/>
                        </a:lnTo>
                        <a:cubicBezTo>
                          <a:pt x="1399681" y="116291"/>
                          <a:pt x="1399201" y="115240"/>
                          <a:pt x="1398400" y="114365"/>
                        </a:cubicBezTo>
                        <a:cubicBezTo>
                          <a:pt x="1397279" y="113139"/>
                          <a:pt x="1395517" y="112263"/>
                          <a:pt x="1393915" y="112263"/>
                        </a:cubicBezTo>
                        <a:lnTo>
                          <a:pt x="1391192" y="112263"/>
                        </a:lnTo>
                        <a:cubicBezTo>
                          <a:pt x="1390871" y="111037"/>
                          <a:pt x="1390391" y="109986"/>
                          <a:pt x="1389590" y="109111"/>
                        </a:cubicBezTo>
                        <a:cubicBezTo>
                          <a:pt x="1388469" y="107885"/>
                          <a:pt x="1386707" y="107184"/>
                          <a:pt x="1385105" y="107184"/>
                        </a:cubicBezTo>
                        <a:lnTo>
                          <a:pt x="1367324" y="107184"/>
                        </a:lnTo>
                        <a:cubicBezTo>
                          <a:pt x="1367004" y="106133"/>
                          <a:pt x="1366524" y="105258"/>
                          <a:pt x="1365723" y="104382"/>
                        </a:cubicBezTo>
                        <a:cubicBezTo>
                          <a:pt x="1364601" y="103156"/>
                          <a:pt x="1362839" y="102280"/>
                          <a:pt x="1361237" y="102280"/>
                        </a:cubicBezTo>
                        <a:lnTo>
                          <a:pt x="1346661" y="102280"/>
                        </a:lnTo>
                        <a:cubicBezTo>
                          <a:pt x="1346661" y="100704"/>
                          <a:pt x="1345860" y="99128"/>
                          <a:pt x="1344899" y="97902"/>
                        </a:cubicBezTo>
                        <a:cubicBezTo>
                          <a:pt x="1343778" y="96676"/>
                          <a:pt x="1342016" y="95800"/>
                          <a:pt x="1340414" y="95800"/>
                        </a:cubicBezTo>
                        <a:lnTo>
                          <a:pt x="1280985" y="95800"/>
                        </a:lnTo>
                        <a:cubicBezTo>
                          <a:pt x="1280665" y="94574"/>
                          <a:pt x="1280185" y="93348"/>
                          <a:pt x="1279224" y="92472"/>
                        </a:cubicBezTo>
                        <a:cubicBezTo>
                          <a:pt x="1278102" y="91247"/>
                          <a:pt x="1276340" y="90546"/>
                          <a:pt x="1274738" y="90546"/>
                        </a:cubicBezTo>
                        <a:lnTo>
                          <a:pt x="1176866" y="90546"/>
                        </a:lnTo>
                        <a:lnTo>
                          <a:pt x="1176866" y="90021"/>
                        </a:lnTo>
                        <a:cubicBezTo>
                          <a:pt x="1176866" y="88094"/>
                          <a:pt x="1176226" y="86343"/>
                          <a:pt x="1174944" y="85117"/>
                        </a:cubicBezTo>
                        <a:cubicBezTo>
                          <a:pt x="1173663" y="83891"/>
                          <a:pt x="1172061" y="83015"/>
                          <a:pt x="1170459" y="83015"/>
                        </a:cubicBezTo>
                        <a:lnTo>
                          <a:pt x="1134898" y="83015"/>
                        </a:lnTo>
                        <a:cubicBezTo>
                          <a:pt x="1134578" y="81964"/>
                          <a:pt x="1134097" y="80913"/>
                          <a:pt x="1133297" y="80213"/>
                        </a:cubicBezTo>
                        <a:cubicBezTo>
                          <a:pt x="1132175" y="78987"/>
                          <a:pt x="1130413" y="78111"/>
                          <a:pt x="1128811" y="78111"/>
                        </a:cubicBezTo>
                        <a:lnTo>
                          <a:pt x="1009795" y="78111"/>
                        </a:lnTo>
                        <a:cubicBezTo>
                          <a:pt x="1009475" y="77060"/>
                          <a:pt x="1008994" y="76010"/>
                          <a:pt x="1008193" y="75309"/>
                        </a:cubicBezTo>
                        <a:cubicBezTo>
                          <a:pt x="1007072" y="74083"/>
                          <a:pt x="1005310" y="73207"/>
                          <a:pt x="1003708" y="73207"/>
                        </a:cubicBezTo>
                        <a:lnTo>
                          <a:pt x="980161" y="73207"/>
                        </a:lnTo>
                        <a:cubicBezTo>
                          <a:pt x="980001" y="71806"/>
                          <a:pt x="979361" y="70580"/>
                          <a:pt x="978399" y="69529"/>
                        </a:cubicBezTo>
                        <a:cubicBezTo>
                          <a:pt x="978079" y="69179"/>
                          <a:pt x="977599" y="68829"/>
                          <a:pt x="977278" y="68479"/>
                        </a:cubicBezTo>
                        <a:cubicBezTo>
                          <a:pt x="977278" y="66902"/>
                          <a:pt x="976477" y="65326"/>
                          <a:pt x="975516" y="64275"/>
                        </a:cubicBezTo>
                        <a:cubicBezTo>
                          <a:pt x="974395" y="63049"/>
                          <a:pt x="972633" y="62174"/>
                          <a:pt x="971031" y="62174"/>
                        </a:cubicBezTo>
                        <a:lnTo>
                          <a:pt x="908720" y="62174"/>
                        </a:lnTo>
                        <a:cubicBezTo>
                          <a:pt x="908399" y="60948"/>
                          <a:pt x="907919" y="59897"/>
                          <a:pt x="907118" y="59021"/>
                        </a:cubicBezTo>
                        <a:cubicBezTo>
                          <a:pt x="906317" y="58146"/>
                          <a:pt x="905356" y="57620"/>
                          <a:pt x="904395" y="57270"/>
                        </a:cubicBezTo>
                        <a:lnTo>
                          <a:pt x="1099178" y="57270"/>
                        </a:lnTo>
                        <a:lnTo>
                          <a:pt x="1099178" y="71981"/>
                        </a:lnTo>
                        <a:lnTo>
                          <a:pt x="1608560" y="71981"/>
                        </a:lnTo>
                        <a:lnTo>
                          <a:pt x="1608560" y="78286"/>
                        </a:lnTo>
                        <a:lnTo>
                          <a:pt x="1692016" y="78286"/>
                        </a:lnTo>
                        <a:lnTo>
                          <a:pt x="1692016" y="83365"/>
                        </a:lnTo>
                        <a:lnTo>
                          <a:pt x="1805265" y="83365"/>
                        </a:lnTo>
                        <a:lnTo>
                          <a:pt x="1805265" y="98602"/>
                        </a:lnTo>
                        <a:lnTo>
                          <a:pt x="1840986" y="98602"/>
                        </a:lnTo>
                        <a:lnTo>
                          <a:pt x="1840986" y="111212"/>
                        </a:lnTo>
                        <a:lnTo>
                          <a:pt x="2138927" y="111212"/>
                        </a:lnTo>
                        <a:lnTo>
                          <a:pt x="2138927" y="116291"/>
                        </a:lnTo>
                        <a:lnTo>
                          <a:pt x="2201399" y="116291"/>
                        </a:lnTo>
                        <a:lnTo>
                          <a:pt x="2201399" y="122596"/>
                        </a:lnTo>
                        <a:lnTo>
                          <a:pt x="2371193" y="122596"/>
                        </a:lnTo>
                        <a:lnTo>
                          <a:pt x="2371193" y="128551"/>
                        </a:lnTo>
                        <a:lnTo>
                          <a:pt x="2395060" y="128551"/>
                        </a:lnTo>
                        <a:lnTo>
                          <a:pt x="2395060" y="134330"/>
                        </a:lnTo>
                        <a:lnTo>
                          <a:pt x="2427737" y="134330"/>
                        </a:lnTo>
                        <a:lnTo>
                          <a:pt x="2427737" y="140110"/>
                        </a:lnTo>
                        <a:lnTo>
                          <a:pt x="2460575" y="140110"/>
                        </a:lnTo>
                        <a:lnTo>
                          <a:pt x="2460575" y="146240"/>
                        </a:lnTo>
                        <a:lnTo>
                          <a:pt x="2478516" y="146240"/>
                        </a:lnTo>
                        <a:lnTo>
                          <a:pt x="2478516" y="152895"/>
                        </a:lnTo>
                        <a:lnTo>
                          <a:pt x="2594649" y="152895"/>
                        </a:lnTo>
                        <a:lnTo>
                          <a:pt x="2594649" y="159900"/>
                        </a:lnTo>
                        <a:lnTo>
                          <a:pt x="2689958" y="159900"/>
                        </a:lnTo>
                        <a:lnTo>
                          <a:pt x="2689958" y="167431"/>
                        </a:lnTo>
                        <a:lnTo>
                          <a:pt x="2817944" y="167431"/>
                        </a:lnTo>
                        <a:lnTo>
                          <a:pt x="2817944" y="175663"/>
                        </a:lnTo>
                        <a:lnTo>
                          <a:pt x="2972841" y="175663"/>
                        </a:lnTo>
                        <a:lnTo>
                          <a:pt x="2972841" y="185295"/>
                        </a:lnTo>
                        <a:lnTo>
                          <a:pt x="2996709" y="185295"/>
                        </a:lnTo>
                        <a:lnTo>
                          <a:pt x="2996709" y="195453"/>
                        </a:lnTo>
                        <a:lnTo>
                          <a:pt x="3151606" y="195453"/>
                        </a:lnTo>
                        <a:lnTo>
                          <a:pt x="3151606" y="208764"/>
                        </a:lnTo>
                        <a:lnTo>
                          <a:pt x="3183642" y="208764"/>
                        </a:lnTo>
                        <a:lnTo>
                          <a:pt x="3183642" y="419804"/>
                        </a:lnTo>
                      </a:path>
                    </a:pathLst>
                  </a:custGeom>
                  <a:grpFill/>
                  <a:ln w="1600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70" name="Freihandform: Form 369">
                    <a:extLst>
                      <a:ext uri="{FF2B5EF4-FFF2-40B4-BE49-F238E27FC236}">
                        <a16:creationId xmlns:a16="http://schemas.microsoft.com/office/drawing/2014/main" id="{BCA386CE-8C30-1A77-A93B-82E7834492C7}"/>
                      </a:ext>
                    </a:extLst>
                  </p:cNvPr>
                  <p:cNvSpPr/>
                  <p:nvPr/>
                </p:nvSpPr>
                <p:spPr>
                  <a:xfrm>
                    <a:off x="2149064" y="1787345"/>
                    <a:ext cx="232425" cy="7180"/>
                  </a:xfrm>
                  <a:custGeom>
                    <a:avLst/>
                    <a:gdLst>
                      <a:gd name="connsiteX0" fmla="*/ 77529 w 232425"/>
                      <a:gd name="connsiteY0" fmla="*/ 175 h 7180"/>
                      <a:gd name="connsiteX1" fmla="*/ 0 w 232425"/>
                      <a:gd name="connsiteY1" fmla="*/ 175 h 7180"/>
                      <a:gd name="connsiteX2" fmla="*/ 77529 w 232425"/>
                      <a:gd name="connsiteY2" fmla="*/ 175 h 7180"/>
                      <a:gd name="connsiteX3" fmla="*/ 232266 w 232425"/>
                      <a:gd name="connsiteY3" fmla="*/ 7005 h 7180"/>
                      <a:gd name="connsiteX4" fmla="*/ 77529 w 232425"/>
                      <a:gd name="connsiteY4" fmla="*/ 7005 h 7180"/>
                      <a:gd name="connsiteX5" fmla="*/ 77529 w 232425"/>
                      <a:gd name="connsiteY5" fmla="*/ 0 h 7180"/>
                      <a:gd name="connsiteX6" fmla="*/ 157941 w 232425"/>
                      <a:gd name="connsiteY6" fmla="*/ 0 h 7180"/>
                      <a:gd name="connsiteX7" fmla="*/ 157941 w 232425"/>
                      <a:gd name="connsiteY7" fmla="*/ 2627 h 7180"/>
                      <a:gd name="connsiteX8" fmla="*/ 229382 w 232425"/>
                      <a:gd name="connsiteY8" fmla="*/ 2627 h 7180"/>
                      <a:gd name="connsiteX9" fmla="*/ 229382 w 232425"/>
                      <a:gd name="connsiteY9" fmla="*/ 5079 h 7180"/>
                      <a:gd name="connsiteX10" fmla="*/ 232426 w 232425"/>
                      <a:gd name="connsiteY10" fmla="*/ 5079 h 7180"/>
                      <a:gd name="connsiteX11" fmla="*/ 232426 w 232425"/>
                      <a:gd name="connsiteY11" fmla="*/ 7181 h 718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</a:cxnLst>
                    <a:rect l="l" t="t" r="r" b="b"/>
                    <a:pathLst>
                      <a:path w="232425" h="7180">
                        <a:moveTo>
                          <a:pt x="77529" y="175"/>
                        </a:moveTo>
                        <a:lnTo>
                          <a:pt x="0" y="175"/>
                        </a:lnTo>
                        <a:lnTo>
                          <a:pt x="77529" y="175"/>
                        </a:lnTo>
                        <a:moveTo>
                          <a:pt x="232266" y="7005"/>
                        </a:moveTo>
                        <a:lnTo>
                          <a:pt x="77529" y="7005"/>
                        </a:lnTo>
                        <a:lnTo>
                          <a:pt x="77529" y="0"/>
                        </a:lnTo>
                        <a:lnTo>
                          <a:pt x="157941" y="0"/>
                        </a:lnTo>
                        <a:lnTo>
                          <a:pt x="157941" y="2627"/>
                        </a:lnTo>
                        <a:lnTo>
                          <a:pt x="229382" y="2627"/>
                        </a:lnTo>
                        <a:lnTo>
                          <a:pt x="229382" y="5079"/>
                        </a:lnTo>
                        <a:lnTo>
                          <a:pt x="232426" y="5079"/>
                        </a:lnTo>
                        <a:lnTo>
                          <a:pt x="232426" y="7181"/>
                        </a:lnTo>
                      </a:path>
                    </a:pathLst>
                  </a:custGeom>
                  <a:grpFill/>
                  <a:ln w="1600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71" name="Freihandform: Form 370">
                    <a:extLst>
                      <a:ext uri="{FF2B5EF4-FFF2-40B4-BE49-F238E27FC236}">
                        <a16:creationId xmlns:a16="http://schemas.microsoft.com/office/drawing/2014/main" id="{3A1FDE16-DC9A-DAB5-1A27-C00833DFDEC7}"/>
                      </a:ext>
                    </a:extLst>
                  </p:cNvPr>
                  <p:cNvSpPr/>
                  <p:nvPr/>
                </p:nvSpPr>
                <p:spPr>
                  <a:xfrm>
                    <a:off x="3730713" y="1954951"/>
                    <a:ext cx="2394739" cy="260078"/>
                  </a:xfrm>
                  <a:custGeom>
                    <a:avLst/>
                    <a:gdLst>
                      <a:gd name="connsiteX0" fmla="*/ 157140 w 2394739"/>
                      <a:gd name="connsiteY0" fmla="*/ 76710 h 260078"/>
                      <a:gd name="connsiteX1" fmla="*/ 38604 w 2394739"/>
                      <a:gd name="connsiteY1" fmla="*/ 76710 h 260078"/>
                      <a:gd name="connsiteX2" fmla="*/ 38604 w 2394739"/>
                      <a:gd name="connsiteY2" fmla="*/ 68829 h 260078"/>
                      <a:gd name="connsiteX3" fmla="*/ 77369 w 2394739"/>
                      <a:gd name="connsiteY3" fmla="*/ 68829 h 260078"/>
                      <a:gd name="connsiteX4" fmla="*/ 78650 w 2394739"/>
                      <a:gd name="connsiteY4" fmla="*/ 71106 h 260078"/>
                      <a:gd name="connsiteX5" fmla="*/ 83135 w 2394739"/>
                      <a:gd name="connsiteY5" fmla="*/ 73207 h 260078"/>
                      <a:gd name="connsiteX6" fmla="*/ 154577 w 2394739"/>
                      <a:gd name="connsiteY6" fmla="*/ 73207 h 260078"/>
                      <a:gd name="connsiteX7" fmla="*/ 156179 w 2394739"/>
                      <a:gd name="connsiteY7" fmla="*/ 76010 h 260078"/>
                      <a:gd name="connsiteX8" fmla="*/ 156980 w 2394739"/>
                      <a:gd name="connsiteY8" fmla="*/ 76710 h 260078"/>
                      <a:gd name="connsiteX9" fmla="*/ 522678 w 2394739"/>
                      <a:gd name="connsiteY9" fmla="*/ 149392 h 260078"/>
                      <a:gd name="connsiteX10" fmla="*/ 256133 w 2394739"/>
                      <a:gd name="connsiteY10" fmla="*/ 149392 h 260078"/>
                      <a:gd name="connsiteX11" fmla="*/ 256133 w 2394739"/>
                      <a:gd name="connsiteY11" fmla="*/ 145189 h 260078"/>
                      <a:gd name="connsiteX12" fmla="*/ 250206 w 2394739"/>
                      <a:gd name="connsiteY12" fmla="*/ 145189 h 260078"/>
                      <a:gd name="connsiteX13" fmla="*/ 250206 w 2394739"/>
                      <a:gd name="connsiteY13" fmla="*/ 140285 h 260078"/>
                      <a:gd name="connsiteX14" fmla="*/ 241236 w 2394739"/>
                      <a:gd name="connsiteY14" fmla="*/ 140285 h 260078"/>
                      <a:gd name="connsiteX15" fmla="*/ 241236 w 2394739"/>
                      <a:gd name="connsiteY15" fmla="*/ 86868 h 260078"/>
                      <a:gd name="connsiteX16" fmla="*/ 244279 w 2394739"/>
                      <a:gd name="connsiteY16" fmla="*/ 86868 h 260078"/>
                      <a:gd name="connsiteX17" fmla="*/ 245721 w 2394739"/>
                      <a:gd name="connsiteY17" fmla="*/ 89320 h 260078"/>
                      <a:gd name="connsiteX18" fmla="*/ 250046 w 2394739"/>
                      <a:gd name="connsiteY18" fmla="*/ 91422 h 260078"/>
                      <a:gd name="connsiteX19" fmla="*/ 251808 w 2394739"/>
                      <a:gd name="connsiteY19" fmla="*/ 94749 h 260078"/>
                      <a:gd name="connsiteX20" fmla="*/ 256293 w 2394739"/>
                      <a:gd name="connsiteY20" fmla="*/ 96851 h 260078"/>
                      <a:gd name="connsiteX21" fmla="*/ 259337 w 2394739"/>
                      <a:gd name="connsiteY21" fmla="*/ 96851 h 260078"/>
                      <a:gd name="connsiteX22" fmla="*/ 260618 w 2394739"/>
                      <a:gd name="connsiteY22" fmla="*/ 98953 h 260078"/>
                      <a:gd name="connsiteX23" fmla="*/ 264783 w 2394739"/>
                      <a:gd name="connsiteY23" fmla="*/ 101054 h 260078"/>
                      <a:gd name="connsiteX24" fmla="*/ 266705 w 2394739"/>
                      <a:gd name="connsiteY24" fmla="*/ 105608 h 260078"/>
                      <a:gd name="connsiteX25" fmla="*/ 271190 w 2394739"/>
                      <a:gd name="connsiteY25" fmla="*/ 107709 h 260078"/>
                      <a:gd name="connsiteX26" fmla="*/ 271190 w 2394739"/>
                      <a:gd name="connsiteY26" fmla="*/ 107709 h 260078"/>
                      <a:gd name="connsiteX27" fmla="*/ 272632 w 2394739"/>
                      <a:gd name="connsiteY27" fmla="*/ 110161 h 260078"/>
                      <a:gd name="connsiteX28" fmla="*/ 277117 w 2394739"/>
                      <a:gd name="connsiteY28" fmla="*/ 112263 h 260078"/>
                      <a:gd name="connsiteX29" fmla="*/ 327575 w 2394739"/>
                      <a:gd name="connsiteY29" fmla="*/ 112263 h 260078"/>
                      <a:gd name="connsiteX30" fmla="*/ 329177 w 2394739"/>
                      <a:gd name="connsiteY30" fmla="*/ 115065 h 260078"/>
                      <a:gd name="connsiteX31" fmla="*/ 333662 w 2394739"/>
                      <a:gd name="connsiteY31" fmla="*/ 117167 h 260078"/>
                      <a:gd name="connsiteX32" fmla="*/ 375309 w 2394739"/>
                      <a:gd name="connsiteY32" fmla="*/ 117167 h 260078"/>
                      <a:gd name="connsiteX33" fmla="*/ 376911 w 2394739"/>
                      <a:gd name="connsiteY33" fmla="*/ 120144 h 260078"/>
                      <a:gd name="connsiteX34" fmla="*/ 381396 w 2394739"/>
                      <a:gd name="connsiteY34" fmla="*/ 122246 h 260078"/>
                      <a:gd name="connsiteX35" fmla="*/ 434898 w 2394739"/>
                      <a:gd name="connsiteY35" fmla="*/ 122246 h 260078"/>
                      <a:gd name="connsiteX36" fmla="*/ 436499 w 2394739"/>
                      <a:gd name="connsiteY36" fmla="*/ 125223 h 260078"/>
                      <a:gd name="connsiteX37" fmla="*/ 440985 w 2394739"/>
                      <a:gd name="connsiteY37" fmla="*/ 127325 h 260078"/>
                      <a:gd name="connsiteX38" fmla="*/ 467575 w 2394739"/>
                      <a:gd name="connsiteY38" fmla="*/ 127325 h 260078"/>
                      <a:gd name="connsiteX39" fmla="*/ 469177 w 2394739"/>
                      <a:gd name="connsiteY39" fmla="*/ 130302 h 260078"/>
                      <a:gd name="connsiteX40" fmla="*/ 473662 w 2394739"/>
                      <a:gd name="connsiteY40" fmla="*/ 132404 h 260078"/>
                      <a:gd name="connsiteX41" fmla="*/ 482472 w 2394739"/>
                      <a:gd name="connsiteY41" fmla="*/ 132404 h 260078"/>
                      <a:gd name="connsiteX42" fmla="*/ 484074 w 2394739"/>
                      <a:gd name="connsiteY42" fmla="*/ 135206 h 260078"/>
                      <a:gd name="connsiteX43" fmla="*/ 488399 w 2394739"/>
                      <a:gd name="connsiteY43" fmla="*/ 137308 h 260078"/>
                      <a:gd name="connsiteX44" fmla="*/ 490001 w 2394739"/>
                      <a:gd name="connsiteY44" fmla="*/ 140110 h 260078"/>
                      <a:gd name="connsiteX45" fmla="*/ 494486 w 2394739"/>
                      <a:gd name="connsiteY45" fmla="*/ 142211 h 260078"/>
                      <a:gd name="connsiteX46" fmla="*/ 497529 w 2394739"/>
                      <a:gd name="connsiteY46" fmla="*/ 142211 h 260078"/>
                      <a:gd name="connsiteX47" fmla="*/ 498971 w 2394739"/>
                      <a:gd name="connsiteY47" fmla="*/ 144839 h 260078"/>
                      <a:gd name="connsiteX48" fmla="*/ 503456 w 2394739"/>
                      <a:gd name="connsiteY48" fmla="*/ 146940 h 260078"/>
                      <a:gd name="connsiteX49" fmla="*/ 521076 w 2394739"/>
                      <a:gd name="connsiteY49" fmla="*/ 146940 h 260078"/>
                      <a:gd name="connsiteX50" fmla="*/ 522678 w 2394739"/>
                      <a:gd name="connsiteY50" fmla="*/ 150443 h 260078"/>
                      <a:gd name="connsiteX51" fmla="*/ 1864533 w 2394739"/>
                      <a:gd name="connsiteY51" fmla="*/ 220498 h 260078"/>
                      <a:gd name="connsiteX52" fmla="*/ 1355150 w 2394739"/>
                      <a:gd name="connsiteY52" fmla="*/ 220498 h 260078"/>
                      <a:gd name="connsiteX53" fmla="*/ 1355150 w 2394739"/>
                      <a:gd name="connsiteY53" fmla="*/ 205786 h 260078"/>
                      <a:gd name="connsiteX54" fmla="*/ 1160368 w 2394739"/>
                      <a:gd name="connsiteY54" fmla="*/ 205786 h 260078"/>
                      <a:gd name="connsiteX55" fmla="*/ 1158606 w 2394739"/>
                      <a:gd name="connsiteY55" fmla="*/ 205436 h 260078"/>
                      <a:gd name="connsiteX56" fmla="*/ 1137782 w 2394739"/>
                      <a:gd name="connsiteY56" fmla="*/ 205436 h 260078"/>
                      <a:gd name="connsiteX57" fmla="*/ 1137782 w 2394739"/>
                      <a:gd name="connsiteY57" fmla="*/ 164629 h 260078"/>
                      <a:gd name="connsiteX58" fmla="*/ 771122 w 2394739"/>
                      <a:gd name="connsiteY58" fmla="*/ 164629 h 260078"/>
                      <a:gd name="connsiteX59" fmla="*/ 769841 w 2394739"/>
                      <a:gd name="connsiteY59" fmla="*/ 162703 h 260078"/>
                      <a:gd name="connsiteX60" fmla="*/ 765516 w 2394739"/>
                      <a:gd name="connsiteY60" fmla="*/ 160601 h 260078"/>
                      <a:gd name="connsiteX61" fmla="*/ 763914 w 2394739"/>
                      <a:gd name="connsiteY61" fmla="*/ 157448 h 260078"/>
                      <a:gd name="connsiteX62" fmla="*/ 759429 w 2394739"/>
                      <a:gd name="connsiteY62" fmla="*/ 155347 h 260078"/>
                      <a:gd name="connsiteX63" fmla="*/ 649223 w 2394739"/>
                      <a:gd name="connsiteY63" fmla="*/ 155347 h 260078"/>
                      <a:gd name="connsiteX64" fmla="*/ 649223 w 2394739"/>
                      <a:gd name="connsiteY64" fmla="*/ 149042 h 260078"/>
                      <a:gd name="connsiteX65" fmla="*/ 591717 w 2394739"/>
                      <a:gd name="connsiteY65" fmla="*/ 149042 h 260078"/>
                      <a:gd name="connsiteX66" fmla="*/ 591236 w 2394739"/>
                      <a:gd name="connsiteY66" fmla="*/ 148341 h 260078"/>
                      <a:gd name="connsiteX67" fmla="*/ 586751 w 2394739"/>
                      <a:gd name="connsiteY67" fmla="*/ 146240 h 260078"/>
                      <a:gd name="connsiteX68" fmla="*/ 577781 w 2394739"/>
                      <a:gd name="connsiteY68" fmla="*/ 146240 h 260078"/>
                      <a:gd name="connsiteX69" fmla="*/ 576339 w 2394739"/>
                      <a:gd name="connsiteY69" fmla="*/ 143613 h 260078"/>
                      <a:gd name="connsiteX70" fmla="*/ 571854 w 2394739"/>
                      <a:gd name="connsiteY70" fmla="*/ 141511 h 260078"/>
                      <a:gd name="connsiteX71" fmla="*/ 559841 w 2394739"/>
                      <a:gd name="connsiteY71" fmla="*/ 141511 h 260078"/>
                      <a:gd name="connsiteX72" fmla="*/ 558399 w 2394739"/>
                      <a:gd name="connsiteY72" fmla="*/ 139059 h 260078"/>
                      <a:gd name="connsiteX73" fmla="*/ 553914 w 2394739"/>
                      <a:gd name="connsiteY73" fmla="*/ 136957 h 260078"/>
                      <a:gd name="connsiteX74" fmla="*/ 533410 w 2394739"/>
                      <a:gd name="connsiteY74" fmla="*/ 136957 h 260078"/>
                      <a:gd name="connsiteX75" fmla="*/ 531648 w 2394739"/>
                      <a:gd name="connsiteY75" fmla="*/ 133455 h 260078"/>
                      <a:gd name="connsiteX76" fmla="*/ 527163 w 2394739"/>
                      <a:gd name="connsiteY76" fmla="*/ 131353 h 260078"/>
                      <a:gd name="connsiteX77" fmla="*/ 509223 w 2394739"/>
                      <a:gd name="connsiteY77" fmla="*/ 131353 h 260078"/>
                      <a:gd name="connsiteX78" fmla="*/ 507781 w 2394739"/>
                      <a:gd name="connsiteY78" fmla="*/ 128901 h 260078"/>
                      <a:gd name="connsiteX79" fmla="*/ 503296 w 2394739"/>
                      <a:gd name="connsiteY79" fmla="*/ 126799 h 260078"/>
                      <a:gd name="connsiteX80" fmla="*/ 500412 w 2394739"/>
                      <a:gd name="connsiteY80" fmla="*/ 126799 h 260078"/>
                      <a:gd name="connsiteX81" fmla="*/ 498811 w 2394739"/>
                      <a:gd name="connsiteY81" fmla="*/ 123997 h 260078"/>
                      <a:gd name="connsiteX82" fmla="*/ 494486 w 2394739"/>
                      <a:gd name="connsiteY82" fmla="*/ 121896 h 260078"/>
                      <a:gd name="connsiteX83" fmla="*/ 492884 w 2394739"/>
                      <a:gd name="connsiteY83" fmla="*/ 119093 h 260078"/>
                      <a:gd name="connsiteX84" fmla="*/ 488399 w 2394739"/>
                      <a:gd name="connsiteY84" fmla="*/ 116992 h 260078"/>
                      <a:gd name="connsiteX85" fmla="*/ 479589 w 2394739"/>
                      <a:gd name="connsiteY85" fmla="*/ 116992 h 260078"/>
                      <a:gd name="connsiteX86" fmla="*/ 477987 w 2394739"/>
                      <a:gd name="connsiteY86" fmla="*/ 114014 h 260078"/>
                      <a:gd name="connsiteX87" fmla="*/ 473502 w 2394739"/>
                      <a:gd name="connsiteY87" fmla="*/ 111913 h 260078"/>
                      <a:gd name="connsiteX88" fmla="*/ 446911 w 2394739"/>
                      <a:gd name="connsiteY88" fmla="*/ 111913 h 260078"/>
                      <a:gd name="connsiteX89" fmla="*/ 445310 w 2394739"/>
                      <a:gd name="connsiteY89" fmla="*/ 108935 h 260078"/>
                      <a:gd name="connsiteX90" fmla="*/ 440824 w 2394739"/>
                      <a:gd name="connsiteY90" fmla="*/ 106834 h 260078"/>
                      <a:gd name="connsiteX91" fmla="*/ 387323 w 2394739"/>
                      <a:gd name="connsiteY91" fmla="*/ 106834 h 260078"/>
                      <a:gd name="connsiteX92" fmla="*/ 385721 w 2394739"/>
                      <a:gd name="connsiteY92" fmla="*/ 103856 h 260078"/>
                      <a:gd name="connsiteX93" fmla="*/ 381236 w 2394739"/>
                      <a:gd name="connsiteY93" fmla="*/ 101755 h 260078"/>
                      <a:gd name="connsiteX94" fmla="*/ 339589 w 2394739"/>
                      <a:gd name="connsiteY94" fmla="*/ 101755 h 260078"/>
                      <a:gd name="connsiteX95" fmla="*/ 337987 w 2394739"/>
                      <a:gd name="connsiteY95" fmla="*/ 98953 h 260078"/>
                      <a:gd name="connsiteX96" fmla="*/ 333502 w 2394739"/>
                      <a:gd name="connsiteY96" fmla="*/ 96851 h 260078"/>
                      <a:gd name="connsiteX97" fmla="*/ 282884 w 2394739"/>
                      <a:gd name="connsiteY97" fmla="*/ 96851 h 260078"/>
                      <a:gd name="connsiteX98" fmla="*/ 281442 w 2394739"/>
                      <a:gd name="connsiteY98" fmla="*/ 94399 h 260078"/>
                      <a:gd name="connsiteX99" fmla="*/ 277277 w 2394739"/>
                      <a:gd name="connsiteY99" fmla="*/ 92297 h 260078"/>
                      <a:gd name="connsiteX100" fmla="*/ 275515 w 2394739"/>
                      <a:gd name="connsiteY100" fmla="*/ 87744 h 260078"/>
                      <a:gd name="connsiteX101" fmla="*/ 271030 w 2394739"/>
                      <a:gd name="connsiteY101" fmla="*/ 85642 h 260078"/>
                      <a:gd name="connsiteX102" fmla="*/ 271030 w 2394739"/>
                      <a:gd name="connsiteY102" fmla="*/ 85642 h 260078"/>
                      <a:gd name="connsiteX103" fmla="*/ 269749 w 2394739"/>
                      <a:gd name="connsiteY103" fmla="*/ 83540 h 260078"/>
                      <a:gd name="connsiteX104" fmla="*/ 265264 w 2394739"/>
                      <a:gd name="connsiteY104" fmla="*/ 81439 h 260078"/>
                      <a:gd name="connsiteX105" fmla="*/ 262540 w 2394739"/>
                      <a:gd name="connsiteY105" fmla="*/ 81439 h 260078"/>
                      <a:gd name="connsiteX106" fmla="*/ 260778 w 2394739"/>
                      <a:gd name="connsiteY106" fmla="*/ 78111 h 260078"/>
                      <a:gd name="connsiteX107" fmla="*/ 256293 w 2394739"/>
                      <a:gd name="connsiteY107" fmla="*/ 76010 h 260078"/>
                      <a:gd name="connsiteX108" fmla="*/ 256293 w 2394739"/>
                      <a:gd name="connsiteY108" fmla="*/ 76010 h 260078"/>
                      <a:gd name="connsiteX109" fmla="*/ 254852 w 2394739"/>
                      <a:gd name="connsiteY109" fmla="*/ 73558 h 260078"/>
                      <a:gd name="connsiteX110" fmla="*/ 250367 w 2394739"/>
                      <a:gd name="connsiteY110" fmla="*/ 71456 h 260078"/>
                      <a:gd name="connsiteX111" fmla="*/ 214485 w 2394739"/>
                      <a:gd name="connsiteY111" fmla="*/ 71456 h 260078"/>
                      <a:gd name="connsiteX112" fmla="*/ 213204 w 2394739"/>
                      <a:gd name="connsiteY112" fmla="*/ 69179 h 260078"/>
                      <a:gd name="connsiteX113" fmla="*/ 208719 w 2394739"/>
                      <a:gd name="connsiteY113" fmla="*/ 67078 h 260078"/>
                      <a:gd name="connsiteX114" fmla="*/ 181808 w 2394739"/>
                      <a:gd name="connsiteY114" fmla="*/ 67078 h 260078"/>
                      <a:gd name="connsiteX115" fmla="*/ 180366 w 2394739"/>
                      <a:gd name="connsiteY115" fmla="*/ 64626 h 260078"/>
                      <a:gd name="connsiteX116" fmla="*/ 175881 w 2394739"/>
                      <a:gd name="connsiteY116" fmla="*/ 62524 h 260078"/>
                      <a:gd name="connsiteX117" fmla="*/ 167071 w 2394739"/>
                      <a:gd name="connsiteY117" fmla="*/ 62524 h 260078"/>
                      <a:gd name="connsiteX118" fmla="*/ 165469 w 2394739"/>
                      <a:gd name="connsiteY118" fmla="*/ 59722 h 260078"/>
                      <a:gd name="connsiteX119" fmla="*/ 160984 w 2394739"/>
                      <a:gd name="connsiteY119" fmla="*/ 57620 h 260078"/>
                      <a:gd name="connsiteX120" fmla="*/ 89382 w 2394739"/>
                      <a:gd name="connsiteY120" fmla="*/ 57620 h 260078"/>
                      <a:gd name="connsiteX121" fmla="*/ 87941 w 2394739"/>
                      <a:gd name="connsiteY121" fmla="*/ 55343 h 260078"/>
                      <a:gd name="connsiteX122" fmla="*/ 83455 w 2394739"/>
                      <a:gd name="connsiteY122" fmla="*/ 53242 h 260078"/>
                      <a:gd name="connsiteX123" fmla="*/ 38764 w 2394739"/>
                      <a:gd name="connsiteY123" fmla="*/ 53242 h 260078"/>
                      <a:gd name="connsiteX124" fmla="*/ 38764 w 2394739"/>
                      <a:gd name="connsiteY124" fmla="*/ 28723 h 260078"/>
                      <a:gd name="connsiteX125" fmla="*/ 0 w 2394739"/>
                      <a:gd name="connsiteY125" fmla="*/ 28723 h 260078"/>
                      <a:gd name="connsiteX126" fmla="*/ 0 w 2394739"/>
                      <a:gd name="connsiteY126" fmla="*/ 0 h 260078"/>
                      <a:gd name="connsiteX127" fmla="*/ 83455 w 2394739"/>
                      <a:gd name="connsiteY127" fmla="*/ 0 h 260078"/>
                      <a:gd name="connsiteX128" fmla="*/ 83455 w 2394739"/>
                      <a:gd name="connsiteY128" fmla="*/ 3853 h 260078"/>
                      <a:gd name="connsiteX129" fmla="*/ 160984 w 2394739"/>
                      <a:gd name="connsiteY129" fmla="*/ 3853 h 260078"/>
                      <a:gd name="connsiteX130" fmla="*/ 160984 w 2394739"/>
                      <a:gd name="connsiteY130" fmla="*/ 8056 h 260078"/>
                      <a:gd name="connsiteX131" fmla="*/ 175881 w 2394739"/>
                      <a:gd name="connsiteY131" fmla="*/ 8056 h 260078"/>
                      <a:gd name="connsiteX132" fmla="*/ 175881 w 2394739"/>
                      <a:gd name="connsiteY132" fmla="*/ 12084 h 260078"/>
                      <a:gd name="connsiteX133" fmla="*/ 208719 w 2394739"/>
                      <a:gd name="connsiteY133" fmla="*/ 12084 h 260078"/>
                      <a:gd name="connsiteX134" fmla="*/ 208719 w 2394739"/>
                      <a:gd name="connsiteY134" fmla="*/ 15937 h 260078"/>
                      <a:gd name="connsiteX135" fmla="*/ 235149 w 2394739"/>
                      <a:gd name="connsiteY135" fmla="*/ 15937 h 260078"/>
                      <a:gd name="connsiteX136" fmla="*/ 235149 w 2394739"/>
                      <a:gd name="connsiteY136" fmla="*/ 17514 h 260078"/>
                      <a:gd name="connsiteX137" fmla="*/ 237071 w 2394739"/>
                      <a:gd name="connsiteY137" fmla="*/ 22418 h 260078"/>
                      <a:gd name="connsiteX138" fmla="*/ 241556 w 2394739"/>
                      <a:gd name="connsiteY138" fmla="*/ 24519 h 260078"/>
                      <a:gd name="connsiteX139" fmla="*/ 256453 w 2394739"/>
                      <a:gd name="connsiteY139" fmla="*/ 24519 h 260078"/>
                      <a:gd name="connsiteX140" fmla="*/ 265424 w 2394739"/>
                      <a:gd name="connsiteY140" fmla="*/ 24519 h 260078"/>
                      <a:gd name="connsiteX141" fmla="*/ 265424 w 2394739"/>
                      <a:gd name="connsiteY141" fmla="*/ 28372 h 260078"/>
                      <a:gd name="connsiteX142" fmla="*/ 271350 w 2394739"/>
                      <a:gd name="connsiteY142" fmla="*/ 28372 h 260078"/>
                      <a:gd name="connsiteX143" fmla="*/ 271350 w 2394739"/>
                      <a:gd name="connsiteY143" fmla="*/ 33802 h 260078"/>
                      <a:gd name="connsiteX144" fmla="*/ 277277 w 2394739"/>
                      <a:gd name="connsiteY144" fmla="*/ 33802 h 260078"/>
                      <a:gd name="connsiteX145" fmla="*/ 277277 w 2394739"/>
                      <a:gd name="connsiteY145" fmla="*/ 37830 h 260078"/>
                      <a:gd name="connsiteX146" fmla="*/ 333822 w 2394739"/>
                      <a:gd name="connsiteY146" fmla="*/ 37830 h 260078"/>
                      <a:gd name="connsiteX147" fmla="*/ 333822 w 2394739"/>
                      <a:gd name="connsiteY147" fmla="*/ 42208 h 260078"/>
                      <a:gd name="connsiteX148" fmla="*/ 381557 w 2394739"/>
                      <a:gd name="connsiteY148" fmla="*/ 42208 h 260078"/>
                      <a:gd name="connsiteX149" fmla="*/ 381557 w 2394739"/>
                      <a:gd name="connsiteY149" fmla="*/ 46587 h 260078"/>
                      <a:gd name="connsiteX150" fmla="*/ 441145 w 2394739"/>
                      <a:gd name="connsiteY150" fmla="*/ 46587 h 260078"/>
                      <a:gd name="connsiteX151" fmla="*/ 441145 w 2394739"/>
                      <a:gd name="connsiteY151" fmla="*/ 50965 h 260078"/>
                      <a:gd name="connsiteX152" fmla="*/ 473822 w 2394739"/>
                      <a:gd name="connsiteY152" fmla="*/ 50965 h 260078"/>
                      <a:gd name="connsiteX153" fmla="*/ 473822 w 2394739"/>
                      <a:gd name="connsiteY153" fmla="*/ 55519 h 260078"/>
                      <a:gd name="connsiteX154" fmla="*/ 488719 w 2394739"/>
                      <a:gd name="connsiteY154" fmla="*/ 55519 h 260078"/>
                      <a:gd name="connsiteX155" fmla="*/ 488719 w 2394739"/>
                      <a:gd name="connsiteY155" fmla="*/ 59722 h 260078"/>
                      <a:gd name="connsiteX156" fmla="*/ 494646 w 2394739"/>
                      <a:gd name="connsiteY156" fmla="*/ 59722 h 260078"/>
                      <a:gd name="connsiteX157" fmla="*/ 494646 w 2394739"/>
                      <a:gd name="connsiteY157" fmla="*/ 64100 h 260078"/>
                      <a:gd name="connsiteX158" fmla="*/ 503616 w 2394739"/>
                      <a:gd name="connsiteY158" fmla="*/ 64100 h 260078"/>
                      <a:gd name="connsiteX159" fmla="*/ 503616 w 2394739"/>
                      <a:gd name="connsiteY159" fmla="*/ 68304 h 260078"/>
                      <a:gd name="connsiteX160" fmla="*/ 527484 w 2394739"/>
                      <a:gd name="connsiteY160" fmla="*/ 68304 h 260078"/>
                      <a:gd name="connsiteX161" fmla="*/ 527484 w 2394739"/>
                      <a:gd name="connsiteY161" fmla="*/ 73207 h 260078"/>
                      <a:gd name="connsiteX162" fmla="*/ 554234 w 2394739"/>
                      <a:gd name="connsiteY162" fmla="*/ 73207 h 260078"/>
                      <a:gd name="connsiteX163" fmla="*/ 554234 w 2394739"/>
                      <a:gd name="connsiteY163" fmla="*/ 77236 h 260078"/>
                      <a:gd name="connsiteX164" fmla="*/ 572175 w 2394739"/>
                      <a:gd name="connsiteY164" fmla="*/ 77236 h 260078"/>
                      <a:gd name="connsiteX165" fmla="*/ 572175 w 2394739"/>
                      <a:gd name="connsiteY165" fmla="*/ 81264 h 260078"/>
                      <a:gd name="connsiteX166" fmla="*/ 587072 w 2394739"/>
                      <a:gd name="connsiteY166" fmla="*/ 81264 h 260078"/>
                      <a:gd name="connsiteX167" fmla="*/ 587072 w 2394739"/>
                      <a:gd name="connsiteY167" fmla="*/ 85467 h 260078"/>
                      <a:gd name="connsiteX168" fmla="*/ 643616 w 2394739"/>
                      <a:gd name="connsiteY168" fmla="*/ 85467 h 260078"/>
                      <a:gd name="connsiteX169" fmla="*/ 643616 w 2394739"/>
                      <a:gd name="connsiteY169" fmla="*/ 89495 h 260078"/>
                      <a:gd name="connsiteX170" fmla="*/ 759749 w 2394739"/>
                      <a:gd name="connsiteY170" fmla="*/ 89495 h 260078"/>
                      <a:gd name="connsiteX171" fmla="*/ 759749 w 2394739"/>
                      <a:gd name="connsiteY171" fmla="*/ 94049 h 260078"/>
                      <a:gd name="connsiteX172" fmla="*/ 765676 w 2394739"/>
                      <a:gd name="connsiteY172" fmla="*/ 94049 h 260078"/>
                      <a:gd name="connsiteX173" fmla="*/ 765676 w 2394739"/>
                      <a:gd name="connsiteY173" fmla="*/ 98427 h 260078"/>
                      <a:gd name="connsiteX174" fmla="*/ 798514 w 2394739"/>
                      <a:gd name="connsiteY174" fmla="*/ 98427 h 260078"/>
                      <a:gd name="connsiteX175" fmla="*/ 798514 w 2394739"/>
                      <a:gd name="connsiteY175" fmla="*/ 103156 h 260078"/>
                      <a:gd name="connsiteX176" fmla="*/ 858102 w 2394739"/>
                      <a:gd name="connsiteY176" fmla="*/ 103156 h 260078"/>
                      <a:gd name="connsiteX177" fmla="*/ 858102 w 2394739"/>
                      <a:gd name="connsiteY177" fmla="*/ 108760 h 260078"/>
                      <a:gd name="connsiteX178" fmla="*/ 911763 w 2394739"/>
                      <a:gd name="connsiteY178" fmla="*/ 108760 h 260078"/>
                      <a:gd name="connsiteX179" fmla="*/ 911763 w 2394739"/>
                      <a:gd name="connsiteY179" fmla="*/ 116992 h 260078"/>
                      <a:gd name="connsiteX180" fmla="*/ 917690 w 2394739"/>
                      <a:gd name="connsiteY180" fmla="*/ 116992 h 260078"/>
                      <a:gd name="connsiteX181" fmla="*/ 917690 w 2394739"/>
                      <a:gd name="connsiteY181" fmla="*/ 121370 h 260078"/>
                      <a:gd name="connsiteX182" fmla="*/ 947484 w 2394739"/>
                      <a:gd name="connsiteY182" fmla="*/ 121370 h 260078"/>
                      <a:gd name="connsiteX183" fmla="*/ 947484 w 2394739"/>
                      <a:gd name="connsiteY183" fmla="*/ 125924 h 260078"/>
                      <a:gd name="connsiteX184" fmla="*/ 1033823 w 2394739"/>
                      <a:gd name="connsiteY184" fmla="*/ 125924 h 260078"/>
                      <a:gd name="connsiteX185" fmla="*/ 1033823 w 2394739"/>
                      <a:gd name="connsiteY185" fmla="*/ 130127 h 260078"/>
                      <a:gd name="connsiteX186" fmla="*/ 1078514 w 2394739"/>
                      <a:gd name="connsiteY186" fmla="*/ 130127 h 260078"/>
                      <a:gd name="connsiteX187" fmla="*/ 1078514 w 2394739"/>
                      <a:gd name="connsiteY187" fmla="*/ 134505 h 260078"/>
                      <a:gd name="connsiteX188" fmla="*/ 1158926 w 2394739"/>
                      <a:gd name="connsiteY188" fmla="*/ 134505 h 260078"/>
                      <a:gd name="connsiteX189" fmla="*/ 1158926 w 2394739"/>
                      <a:gd name="connsiteY189" fmla="*/ 139234 h 260078"/>
                      <a:gd name="connsiteX190" fmla="*/ 1227484 w 2394739"/>
                      <a:gd name="connsiteY190" fmla="*/ 139234 h 260078"/>
                      <a:gd name="connsiteX191" fmla="*/ 1227484 w 2394739"/>
                      <a:gd name="connsiteY191" fmla="*/ 144138 h 260078"/>
                      <a:gd name="connsiteX192" fmla="*/ 1230528 w 2394739"/>
                      <a:gd name="connsiteY192" fmla="*/ 144138 h 260078"/>
                      <a:gd name="connsiteX193" fmla="*/ 1230528 w 2394739"/>
                      <a:gd name="connsiteY193" fmla="*/ 149217 h 260078"/>
                      <a:gd name="connsiteX194" fmla="*/ 1260322 w 2394739"/>
                      <a:gd name="connsiteY194" fmla="*/ 149217 h 260078"/>
                      <a:gd name="connsiteX195" fmla="*/ 1260322 w 2394739"/>
                      <a:gd name="connsiteY195" fmla="*/ 153595 h 260078"/>
                      <a:gd name="connsiteX196" fmla="*/ 1385425 w 2394739"/>
                      <a:gd name="connsiteY196" fmla="*/ 153595 h 260078"/>
                      <a:gd name="connsiteX197" fmla="*/ 1385425 w 2394739"/>
                      <a:gd name="connsiteY197" fmla="*/ 158149 h 260078"/>
                      <a:gd name="connsiteX198" fmla="*/ 1427073 w 2394739"/>
                      <a:gd name="connsiteY198" fmla="*/ 158149 h 260078"/>
                      <a:gd name="connsiteX199" fmla="*/ 1427073 w 2394739"/>
                      <a:gd name="connsiteY199" fmla="*/ 164629 h 260078"/>
                      <a:gd name="connsiteX200" fmla="*/ 1531352 w 2394739"/>
                      <a:gd name="connsiteY200" fmla="*/ 164629 h 260078"/>
                      <a:gd name="connsiteX201" fmla="*/ 1531352 w 2394739"/>
                      <a:gd name="connsiteY201" fmla="*/ 169533 h 260078"/>
                      <a:gd name="connsiteX202" fmla="*/ 1596867 w 2394739"/>
                      <a:gd name="connsiteY202" fmla="*/ 169533 h 260078"/>
                      <a:gd name="connsiteX203" fmla="*/ 1596867 w 2394739"/>
                      <a:gd name="connsiteY203" fmla="*/ 175312 h 260078"/>
                      <a:gd name="connsiteX204" fmla="*/ 1617691 w 2394739"/>
                      <a:gd name="connsiteY204" fmla="*/ 175312 h 260078"/>
                      <a:gd name="connsiteX205" fmla="*/ 1617691 w 2394739"/>
                      <a:gd name="connsiteY205" fmla="*/ 179691 h 260078"/>
                      <a:gd name="connsiteX206" fmla="*/ 1641558 w 2394739"/>
                      <a:gd name="connsiteY206" fmla="*/ 179691 h 260078"/>
                      <a:gd name="connsiteX207" fmla="*/ 1641558 w 2394739"/>
                      <a:gd name="connsiteY207" fmla="*/ 184244 h 260078"/>
                      <a:gd name="connsiteX208" fmla="*/ 1650528 w 2394739"/>
                      <a:gd name="connsiteY208" fmla="*/ 184244 h 260078"/>
                      <a:gd name="connsiteX209" fmla="*/ 1650528 w 2394739"/>
                      <a:gd name="connsiteY209" fmla="*/ 188973 h 260078"/>
                      <a:gd name="connsiteX210" fmla="*/ 1674396 w 2394739"/>
                      <a:gd name="connsiteY210" fmla="*/ 188973 h 260078"/>
                      <a:gd name="connsiteX211" fmla="*/ 1674396 w 2394739"/>
                      <a:gd name="connsiteY211" fmla="*/ 194052 h 260078"/>
                      <a:gd name="connsiteX212" fmla="*/ 1689293 w 2394739"/>
                      <a:gd name="connsiteY212" fmla="*/ 194052 h 260078"/>
                      <a:gd name="connsiteX213" fmla="*/ 1689293 w 2394739"/>
                      <a:gd name="connsiteY213" fmla="*/ 199306 h 260078"/>
                      <a:gd name="connsiteX214" fmla="*/ 1787485 w 2394739"/>
                      <a:gd name="connsiteY214" fmla="*/ 199306 h 260078"/>
                      <a:gd name="connsiteX215" fmla="*/ 1787485 w 2394739"/>
                      <a:gd name="connsiteY215" fmla="*/ 204210 h 260078"/>
                      <a:gd name="connsiteX216" fmla="*/ 1790529 w 2394739"/>
                      <a:gd name="connsiteY216" fmla="*/ 204210 h 260078"/>
                      <a:gd name="connsiteX217" fmla="*/ 1790529 w 2394739"/>
                      <a:gd name="connsiteY217" fmla="*/ 208939 h 260078"/>
                      <a:gd name="connsiteX218" fmla="*/ 1850117 w 2394739"/>
                      <a:gd name="connsiteY218" fmla="*/ 208939 h 260078"/>
                      <a:gd name="connsiteX219" fmla="*/ 1850117 w 2394739"/>
                      <a:gd name="connsiteY219" fmla="*/ 214018 h 260078"/>
                      <a:gd name="connsiteX220" fmla="*/ 1865014 w 2394739"/>
                      <a:gd name="connsiteY220" fmla="*/ 214018 h 260078"/>
                      <a:gd name="connsiteX221" fmla="*/ 1865014 w 2394739"/>
                      <a:gd name="connsiteY221" fmla="*/ 219097 h 260078"/>
                      <a:gd name="connsiteX222" fmla="*/ 2394740 w 2394739"/>
                      <a:gd name="connsiteY222" fmla="*/ 259904 h 260078"/>
                      <a:gd name="connsiteX223" fmla="*/ 2096799 w 2394739"/>
                      <a:gd name="connsiteY223" fmla="*/ 259904 h 260078"/>
                      <a:gd name="connsiteX224" fmla="*/ 2096799 w 2394739"/>
                      <a:gd name="connsiteY224" fmla="*/ 247294 h 260078"/>
                      <a:gd name="connsiteX225" fmla="*/ 2061078 w 2394739"/>
                      <a:gd name="connsiteY225" fmla="*/ 247294 h 260078"/>
                      <a:gd name="connsiteX226" fmla="*/ 2061078 w 2394739"/>
                      <a:gd name="connsiteY226" fmla="*/ 232057 h 260078"/>
                      <a:gd name="connsiteX227" fmla="*/ 2090872 w 2394739"/>
                      <a:gd name="connsiteY227" fmla="*/ 232057 h 260078"/>
                      <a:gd name="connsiteX228" fmla="*/ 2090872 w 2394739"/>
                      <a:gd name="connsiteY228" fmla="*/ 237836 h 260078"/>
                      <a:gd name="connsiteX229" fmla="*/ 2144534 w 2394739"/>
                      <a:gd name="connsiteY229" fmla="*/ 237836 h 260078"/>
                      <a:gd name="connsiteX230" fmla="*/ 2144534 w 2394739"/>
                      <a:gd name="connsiteY230" fmla="*/ 242565 h 260078"/>
                      <a:gd name="connsiteX231" fmla="*/ 2174328 w 2394739"/>
                      <a:gd name="connsiteY231" fmla="*/ 242565 h 260078"/>
                      <a:gd name="connsiteX232" fmla="*/ 2174328 w 2394739"/>
                      <a:gd name="connsiteY232" fmla="*/ 247994 h 260078"/>
                      <a:gd name="connsiteX233" fmla="*/ 2373916 w 2394739"/>
                      <a:gd name="connsiteY233" fmla="*/ 247994 h 260078"/>
                      <a:gd name="connsiteX234" fmla="*/ 2373916 w 2394739"/>
                      <a:gd name="connsiteY234" fmla="*/ 253599 h 260078"/>
                      <a:gd name="connsiteX235" fmla="*/ 2379843 w 2394739"/>
                      <a:gd name="connsiteY235" fmla="*/ 253599 h 260078"/>
                      <a:gd name="connsiteX236" fmla="*/ 2379843 w 2394739"/>
                      <a:gd name="connsiteY236" fmla="*/ 259378 h 260078"/>
                      <a:gd name="connsiteX237" fmla="*/ 2394740 w 2394739"/>
                      <a:gd name="connsiteY237" fmla="*/ 259378 h 260078"/>
                      <a:gd name="connsiteX238" fmla="*/ 2394740 w 2394739"/>
                      <a:gd name="connsiteY238" fmla="*/ 260079 h 26007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  <a:cxn ang="0">
                        <a:pos x="connsiteX81" y="connsiteY81"/>
                      </a:cxn>
                      <a:cxn ang="0">
                        <a:pos x="connsiteX82" y="connsiteY82"/>
                      </a:cxn>
                      <a:cxn ang="0">
                        <a:pos x="connsiteX83" y="connsiteY83"/>
                      </a:cxn>
                      <a:cxn ang="0">
                        <a:pos x="connsiteX84" y="connsiteY84"/>
                      </a:cxn>
                      <a:cxn ang="0">
                        <a:pos x="connsiteX85" y="connsiteY85"/>
                      </a:cxn>
                      <a:cxn ang="0">
                        <a:pos x="connsiteX86" y="connsiteY86"/>
                      </a:cxn>
                      <a:cxn ang="0">
                        <a:pos x="connsiteX87" y="connsiteY87"/>
                      </a:cxn>
                      <a:cxn ang="0">
                        <a:pos x="connsiteX88" y="connsiteY88"/>
                      </a:cxn>
                      <a:cxn ang="0">
                        <a:pos x="connsiteX89" y="connsiteY89"/>
                      </a:cxn>
                      <a:cxn ang="0">
                        <a:pos x="connsiteX90" y="connsiteY90"/>
                      </a:cxn>
                      <a:cxn ang="0">
                        <a:pos x="connsiteX91" y="connsiteY91"/>
                      </a:cxn>
                      <a:cxn ang="0">
                        <a:pos x="connsiteX92" y="connsiteY92"/>
                      </a:cxn>
                      <a:cxn ang="0">
                        <a:pos x="connsiteX93" y="connsiteY93"/>
                      </a:cxn>
                      <a:cxn ang="0">
                        <a:pos x="connsiteX94" y="connsiteY94"/>
                      </a:cxn>
                      <a:cxn ang="0">
                        <a:pos x="connsiteX95" y="connsiteY95"/>
                      </a:cxn>
                      <a:cxn ang="0">
                        <a:pos x="connsiteX96" y="connsiteY96"/>
                      </a:cxn>
                      <a:cxn ang="0">
                        <a:pos x="connsiteX97" y="connsiteY97"/>
                      </a:cxn>
                      <a:cxn ang="0">
                        <a:pos x="connsiteX98" y="connsiteY98"/>
                      </a:cxn>
                      <a:cxn ang="0">
                        <a:pos x="connsiteX99" y="connsiteY99"/>
                      </a:cxn>
                      <a:cxn ang="0">
                        <a:pos x="connsiteX100" y="connsiteY100"/>
                      </a:cxn>
                      <a:cxn ang="0">
                        <a:pos x="connsiteX101" y="connsiteY101"/>
                      </a:cxn>
                      <a:cxn ang="0">
                        <a:pos x="connsiteX102" y="connsiteY102"/>
                      </a:cxn>
                      <a:cxn ang="0">
                        <a:pos x="connsiteX103" y="connsiteY103"/>
                      </a:cxn>
                      <a:cxn ang="0">
                        <a:pos x="connsiteX104" y="connsiteY104"/>
                      </a:cxn>
                      <a:cxn ang="0">
                        <a:pos x="connsiteX105" y="connsiteY105"/>
                      </a:cxn>
                      <a:cxn ang="0">
                        <a:pos x="connsiteX106" y="connsiteY106"/>
                      </a:cxn>
                      <a:cxn ang="0">
                        <a:pos x="connsiteX107" y="connsiteY107"/>
                      </a:cxn>
                      <a:cxn ang="0">
                        <a:pos x="connsiteX108" y="connsiteY108"/>
                      </a:cxn>
                      <a:cxn ang="0">
                        <a:pos x="connsiteX109" y="connsiteY109"/>
                      </a:cxn>
                      <a:cxn ang="0">
                        <a:pos x="connsiteX110" y="connsiteY110"/>
                      </a:cxn>
                      <a:cxn ang="0">
                        <a:pos x="connsiteX111" y="connsiteY111"/>
                      </a:cxn>
                      <a:cxn ang="0">
                        <a:pos x="connsiteX112" y="connsiteY112"/>
                      </a:cxn>
                      <a:cxn ang="0">
                        <a:pos x="connsiteX113" y="connsiteY113"/>
                      </a:cxn>
                      <a:cxn ang="0">
                        <a:pos x="connsiteX114" y="connsiteY114"/>
                      </a:cxn>
                      <a:cxn ang="0">
                        <a:pos x="connsiteX115" y="connsiteY115"/>
                      </a:cxn>
                      <a:cxn ang="0">
                        <a:pos x="connsiteX116" y="connsiteY116"/>
                      </a:cxn>
                      <a:cxn ang="0">
                        <a:pos x="connsiteX117" y="connsiteY117"/>
                      </a:cxn>
                      <a:cxn ang="0">
                        <a:pos x="connsiteX118" y="connsiteY118"/>
                      </a:cxn>
                      <a:cxn ang="0">
                        <a:pos x="connsiteX119" y="connsiteY119"/>
                      </a:cxn>
                      <a:cxn ang="0">
                        <a:pos x="connsiteX120" y="connsiteY120"/>
                      </a:cxn>
                      <a:cxn ang="0">
                        <a:pos x="connsiteX121" y="connsiteY121"/>
                      </a:cxn>
                      <a:cxn ang="0">
                        <a:pos x="connsiteX122" y="connsiteY122"/>
                      </a:cxn>
                      <a:cxn ang="0">
                        <a:pos x="connsiteX123" y="connsiteY123"/>
                      </a:cxn>
                      <a:cxn ang="0">
                        <a:pos x="connsiteX124" y="connsiteY124"/>
                      </a:cxn>
                      <a:cxn ang="0">
                        <a:pos x="connsiteX125" y="connsiteY125"/>
                      </a:cxn>
                      <a:cxn ang="0">
                        <a:pos x="connsiteX126" y="connsiteY126"/>
                      </a:cxn>
                      <a:cxn ang="0">
                        <a:pos x="connsiteX127" y="connsiteY127"/>
                      </a:cxn>
                      <a:cxn ang="0">
                        <a:pos x="connsiteX128" y="connsiteY128"/>
                      </a:cxn>
                      <a:cxn ang="0">
                        <a:pos x="connsiteX129" y="connsiteY129"/>
                      </a:cxn>
                      <a:cxn ang="0">
                        <a:pos x="connsiteX130" y="connsiteY130"/>
                      </a:cxn>
                      <a:cxn ang="0">
                        <a:pos x="connsiteX131" y="connsiteY131"/>
                      </a:cxn>
                      <a:cxn ang="0">
                        <a:pos x="connsiteX132" y="connsiteY132"/>
                      </a:cxn>
                      <a:cxn ang="0">
                        <a:pos x="connsiteX133" y="connsiteY133"/>
                      </a:cxn>
                      <a:cxn ang="0">
                        <a:pos x="connsiteX134" y="connsiteY134"/>
                      </a:cxn>
                      <a:cxn ang="0">
                        <a:pos x="connsiteX135" y="connsiteY135"/>
                      </a:cxn>
                      <a:cxn ang="0">
                        <a:pos x="connsiteX136" y="connsiteY136"/>
                      </a:cxn>
                      <a:cxn ang="0">
                        <a:pos x="connsiteX137" y="connsiteY137"/>
                      </a:cxn>
                      <a:cxn ang="0">
                        <a:pos x="connsiteX138" y="connsiteY138"/>
                      </a:cxn>
                      <a:cxn ang="0">
                        <a:pos x="connsiteX139" y="connsiteY139"/>
                      </a:cxn>
                      <a:cxn ang="0">
                        <a:pos x="connsiteX140" y="connsiteY140"/>
                      </a:cxn>
                      <a:cxn ang="0">
                        <a:pos x="connsiteX141" y="connsiteY141"/>
                      </a:cxn>
                      <a:cxn ang="0">
                        <a:pos x="connsiteX142" y="connsiteY142"/>
                      </a:cxn>
                      <a:cxn ang="0">
                        <a:pos x="connsiteX143" y="connsiteY143"/>
                      </a:cxn>
                      <a:cxn ang="0">
                        <a:pos x="connsiteX144" y="connsiteY144"/>
                      </a:cxn>
                      <a:cxn ang="0">
                        <a:pos x="connsiteX145" y="connsiteY145"/>
                      </a:cxn>
                      <a:cxn ang="0">
                        <a:pos x="connsiteX146" y="connsiteY146"/>
                      </a:cxn>
                      <a:cxn ang="0">
                        <a:pos x="connsiteX147" y="connsiteY147"/>
                      </a:cxn>
                      <a:cxn ang="0">
                        <a:pos x="connsiteX148" y="connsiteY148"/>
                      </a:cxn>
                      <a:cxn ang="0">
                        <a:pos x="connsiteX149" y="connsiteY149"/>
                      </a:cxn>
                      <a:cxn ang="0">
                        <a:pos x="connsiteX150" y="connsiteY150"/>
                      </a:cxn>
                      <a:cxn ang="0">
                        <a:pos x="connsiteX151" y="connsiteY151"/>
                      </a:cxn>
                      <a:cxn ang="0">
                        <a:pos x="connsiteX152" y="connsiteY152"/>
                      </a:cxn>
                      <a:cxn ang="0">
                        <a:pos x="connsiteX153" y="connsiteY153"/>
                      </a:cxn>
                      <a:cxn ang="0">
                        <a:pos x="connsiteX154" y="connsiteY154"/>
                      </a:cxn>
                      <a:cxn ang="0">
                        <a:pos x="connsiteX155" y="connsiteY155"/>
                      </a:cxn>
                      <a:cxn ang="0">
                        <a:pos x="connsiteX156" y="connsiteY156"/>
                      </a:cxn>
                      <a:cxn ang="0">
                        <a:pos x="connsiteX157" y="connsiteY157"/>
                      </a:cxn>
                      <a:cxn ang="0">
                        <a:pos x="connsiteX158" y="connsiteY158"/>
                      </a:cxn>
                      <a:cxn ang="0">
                        <a:pos x="connsiteX159" y="connsiteY159"/>
                      </a:cxn>
                      <a:cxn ang="0">
                        <a:pos x="connsiteX160" y="connsiteY160"/>
                      </a:cxn>
                      <a:cxn ang="0">
                        <a:pos x="connsiteX161" y="connsiteY161"/>
                      </a:cxn>
                      <a:cxn ang="0">
                        <a:pos x="connsiteX162" y="connsiteY162"/>
                      </a:cxn>
                      <a:cxn ang="0">
                        <a:pos x="connsiteX163" y="connsiteY163"/>
                      </a:cxn>
                      <a:cxn ang="0">
                        <a:pos x="connsiteX164" y="connsiteY164"/>
                      </a:cxn>
                      <a:cxn ang="0">
                        <a:pos x="connsiteX165" y="connsiteY165"/>
                      </a:cxn>
                      <a:cxn ang="0">
                        <a:pos x="connsiteX166" y="connsiteY166"/>
                      </a:cxn>
                      <a:cxn ang="0">
                        <a:pos x="connsiteX167" y="connsiteY167"/>
                      </a:cxn>
                      <a:cxn ang="0">
                        <a:pos x="connsiteX168" y="connsiteY168"/>
                      </a:cxn>
                      <a:cxn ang="0">
                        <a:pos x="connsiteX169" y="connsiteY169"/>
                      </a:cxn>
                      <a:cxn ang="0">
                        <a:pos x="connsiteX170" y="connsiteY170"/>
                      </a:cxn>
                      <a:cxn ang="0">
                        <a:pos x="connsiteX171" y="connsiteY171"/>
                      </a:cxn>
                      <a:cxn ang="0">
                        <a:pos x="connsiteX172" y="connsiteY172"/>
                      </a:cxn>
                      <a:cxn ang="0">
                        <a:pos x="connsiteX173" y="connsiteY173"/>
                      </a:cxn>
                      <a:cxn ang="0">
                        <a:pos x="connsiteX174" y="connsiteY174"/>
                      </a:cxn>
                      <a:cxn ang="0">
                        <a:pos x="connsiteX175" y="connsiteY175"/>
                      </a:cxn>
                      <a:cxn ang="0">
                        <a:pos x="connsiteX176" y="connsiteY176"/>
                      </a:cxn>
                      <a:cxn ang="0">
                        <a:pos x="connsiteX177" y="connsiteY177"/>
                      </a:cxn>
                      <a:cxn ang="0">
                        <a:pos x="connsiteX178" y="connsiteY178"/>
                      </a:cxn>
                      <a:cxn ang="0">
                        <a:pos x="connsiteX179" y="connsiteY179"/>
                      </a:cxn>
                      <a:cxn ang="0">
                        <a:pos x="connsiteX180" y="connsiteY180"/>
                      </a:cxn>
                      <a:cxn ang="0">
                        <a:pos x="connsiteX181" y="connsiteY181"/>
                      </a:cxn>
                      <a:cxn ang="0">
                        <a:pos x="connsiteX182" y="connsiteY182"/>
                      </a:cxn>
                      <a:cxn ang="0">
                        <a:pos x="connsiteX183" y="connsiteY183"/>
                      </a:cxn>
                      <a:cxn ang="0">
                        <a:pos x="connsiteX184" y="connsiteY184"/>
                      </a:cxn>
                      <a:cxn ang="0">
                        <a:pos x="connsiteX185" y="connsiteY185"/>
                      </a:cxn>
                      <a:cxn ang="0">
                        <a:pos x="connsiteX186" y="connsiteY186"/>
                      </a:cxn>
                      <a:cxn ang="0">
                        <a:pos x="connsiteX187" y="connsiteY187"/>
                      </a:cxn>
                      <a:cxn ang="0">
                        <a:pos x="connsiteX188" y="connsiteY188"/>
                      </a:cxn>
                      <a:cxn ang="0">
                        <a:pos x="connsiteX189" y="connsiteY189"/>
                      </a:cxn>
                      <a:cxn ang="0">
                        <a:pos x="connsiteX190" y="connsiteY190"/>
                      </a:cxn>
                      <a:cxn ang="0">
                        <a:pos x="connsiteX191" y="connsiteY191"/>
                      </a:cxn>
                      <a:cxn ang="0">
                        <a:pos x="connsiteX192" y="connsiteY192"/>
                      </a:cxn>
                      <a:cxn ang="0">
                        <a:pos x="connsiteX193" y="connsiteY193"/>
                      </a:cxn>
                      <a:cxn ang="0">
                        <a:pos x="connsiteX194" y="connsiteY194"/>
                      </a:cxn>
                      <a:cxn ang="0">
                        <a:pos x="connsiteX195" y="connsiteY195"/>
                      </a:cxn>
                      <a:cxn ang="0">
                        <a:pos x="connsiteX196" y="connsiteY196"/>
                      </a:cxn>
                      <a:cxn ang="0">
                        <a:pos x="connsiteX197" y="connsiteY197"/>
                      </a:cxn>
                      <a:cxn ang="0">
                        <a:pos x="connsiteX198" y="connsiteY198"/>
                      </a:cxn>
                      <a:cxn ang="0">
                        <a:pos x="connsiteX199" y="connsiteY199"/>
                      </a:cxn>
                      <a:cxn ang="0">
                        <a:pos x="connsiteX200" y="connsiteY200"/>
                      </a:cxn>
                      <a:cxn ang="0">
                        <a:pos x="connsiteX201" y="connsiteY201"/>
                      </a:cxn>
                      <a:cxn ang="0">
                        <a:pos x="connsiteX202" y="connsiteY202"/>
                      </a:cxn>
                      <a:cxn ang="0">
                        <a:pos x="connsiteX203" y="connsiteY203"/>
                      </a:cxn>
                      <a:cxn ang="0">
                        <a:pos x="connsiteX204" y="connsiteY204"/>
                      </a:cxn>
                      <a:cxn ang="0">
                        <a:pos x="connsiteX205" y="connsiteY205"/>
                      </a:cxn>
                      <a:cxn ang="0">
                        <a:pos x="connsiteX206" y="connsiteY206"/>
                      </a:cxn>
                      <a:cxn ang="0">
                        <a:pos x="connsiteX207" y="connsiteY207"/>
                      </a:cxn>
                      <a:cxn ang="0">
                        <a:pos x="connsiteX208" y="connsiteY208"/>
                      </a:cxn>
                      <a:cxn ang="0">
                        <a:pos x="connsiteX209" y="connsiteY209"/>
                      </a:cxn>
                      <a:cxn ang="0">
                        <a:pos x="connsiteX210" y="connsiteY210"/>
                      </a:cxn>
                      <a:cxn ang="0">
                        <a:pos x="connsiteX211" y="connsiteY211"/>
                      </a:cxn>
                      <a:cxn ang="0">
                        <a:pos x="connsiteX212" y="connsiteY212"/>
                      </a:cxn>
                      <a:cxn ang="0">
                        <a:pos x="connsiteX213" y="connsiteY213"/>
                      </a:cxn>
                      <a:cxn ang="0">
                        <a:pos x="connsiteX214" y="connsiteY214"/>
                      </a:cxn>
                      <a:cxn ang="0">
                        <a:pos x="connsiteX215" y="connsiteY215"/>
                      </a:cxn>
                      <a:cxn ang="0">
                        <a:pos x="connsiteX216" y="connsiteY216"/>
                      </a:cxn>
                      <a:cxn ang="0">
                        <a:pos x="connsiteX217" y="connsiteY217"/>
                      </a:cxn>
                      <a:cxn ang="0">
                        <a:pos x="connsiteX218" y="connsiteY218"/>
                      </a:cxn>
                      <a:cxn ang="0">
                        <a:pos x="connsiteX219" y="connsiteY219"/>
                      </a:cxn>
                      <a:cxn ang="0">
                        <a:pos x="connsiteX220" y="connsiteY220"/>
                      </a:cxn>
                      <a:cxn ang="0">
                        <a:pos x="connsiteX221" y="connsiteY221"/>
                      </a:cxn>
                      <a:cxn ang="0">
                        <a:pos x="connsiteX222" y="connsiteY222"/>
                      </a:cxn>
                      <a:cxn ang="0">
                        <a:pos x="connsiteX223" y="connsiteY223"/>
                      </a:cxn>
                      <a:cxn ang="0">
                        <a:pos x="connsiteX224" y="connsiteY224"/>
                      </a:cxn>
                      <a:cxn ang="0">
                        <a:pos x="connsiteX225" y="connsiteY225"/>
                      </a:cxn>
                      <a:cxn ang="0">
                        <a:pos x="connsiteX226" y="connsiteY226"/>
                      </a:cxn>
                      <a:cxn ang="0">
                        <a:pos x="connsiteX227" y="connsiteY227"/>
                      </a:cxn>
                      <a:cxn ang="0">
                        <a:pos x="connsiteX228" y="connsiteY228"/>
                      </a:cxn>
                      <a:cxn ang="0">
                        <a:pos x="connsiteX229" y="connsiteY229"/>
                      </a:cxn>
                      <a:cxn ang="0">
                        <a:pos x="connsiteX230" y="connsiteY230"/>
                      </a:cxn>
                      <a:cxn ang="0">
                        <a:pos x="connsiteX231" y="connsiteY231"/>
                      </a:cxn>
                      <a:cxn ang="0">
                        <a:pos x="connsiteX232" y="connsiteY232"/>
                      </a:cxn>
                      <a:cxn ang="0">
                        <a:pos x="connsiteX233" y="connsiteY233"/>
                      </a:cxn>
                      <a:cxn ang="0">
                        <a:pos x="connsiteX234" y="connsiteY234"/>
                      </a:cxn>
                      <a:cxn ang="0">
                        <a:pos x="connsiteX235" y="connsiteY235"/>
                      </a:cxn>
                      <a:cxn ang="0">
                        <a:pos x="connsiteX236" y="connsiteY236"/>
                      </a:cxn>
                      <a:cxn ang="0">
                        <a:pos x="connsiteX237" y="connsiteY237"/>
                      </a:cxn>
                      <a:cxn ang="0">
                        <a:pos x="connsiteX238" y="connsiteY238"/>
                      </a:cxn>
                    </a:cxnLst>
                    <a:rect l="l" t="t" r="r" b="b"/>
                    <a:pathLst>
                      <a:path w="2394739" h="260078">
                        <a:moveTo>
                          <a:pt x="157140" y="76710"/>
                        </a:moveTo>
                        <a:lnTo>
                          <a:pt x="38604" y="76710"/>
                        </a:lnTo>
                        <a:lnTo>
                          <a:pt x="38604" y="68829"/>
                        </a:lnTo>
                        <a:lnTo>
                          <a:pt x="77369" y="68829"/>
                        </a:lnTo>
                        <a:cubicBezTo>
                          <a:pt x="77369" y="68829"/>
                          <a:pt x="78170" y="70405"/>
                          <a:pt x="78650" y="71106"/>
                        </a:cubicBezTo>
                        <a:cubicBezTo>
                          <a:pt x="79771" y="72332"/>
                          <a:pt x="81533" y="73207"/>
                          <a:pt x="83135" y="73207"/>
                        </a:cubicBezTo>
                        <a:lnTo>
                          <a:pt x="154577" y="73207"/>
                        </a:lnTo>
                        <a:cubicBezTo>
                          <a:pt x="154897" y="74258"/>
                          <a:pt x="155378" y="75309"/>
                          <a:pt x="156179" y="76010"/>
                        </a:cubicBezTo>
                        <a:cubicBezTo>
                          <a:pt x="156499" y="76360"/>
                          <a:pt x="156659" y="76535"/>
                          <a:pt x="156980" y="76710"/>
                        </a:cubicBezTo>
                        <a:moveTo>
                          <a:pt x="522678" y="149392"/>
                        </a:moveTo>
                        <a:lnTo>
                          <a:pt x="256133" y="149392"/>
                        </a:lnTo>
                        <a:lnTo>
                          <a:pt x="256133" y="145189"/>
                        </a:lnTo>
                        <a:lnTo>
                          <a:pt x="250206" y="145189"/>
                        </a:lnTo>
                        <a:lnTo>
                          <a:pt x="250206" y="140285"/>
                        </a:lnTo>
                        <a:lnTo>
                          <a:pt x="241236" y="140285"/>
                        </a:lnTo>
                        <a:lnTo>
                          <a:pt x="241236" y="86868"/>
                        </a:lnTo>
                        <a:lnTo>
                          <a:pt x="244279" y="86868"/>
                        </a:lnTo>
                        <a:cubicBezTo>
                          <a:pt x="244600" y="87744"/>
                          <a:pt x="245080" y="88619"/>
                          <a:pt x="245721" y="89320"/>
                        </a:cubicBezTo>
                        <a:cubicBezTo>
                          <a:pt x="246842" y="90546"/>
                          <a:pt x="248444" y="91247"/>
                          <a:pt x="250046" y="91422"/>
                        </a:cubicBezTo>
                        <a:cubicBezTo>
                          <a:pt x="250367" y="92648"/>
                          <a:pt x="250847" y="93874"/>
                          <a:pt x="251808" y="94749"/>
                        </a:cubicBezTo>
                        <a:cubicBezTo>
                          <a:pt x="252929" y="95975"/>
                          <a:pt x="254531" y="96851"/>
                          <a:pt x="256293" y="96851"/>
                        </a:cubicBezTo>
                        <a:lnTo>
                          <a:pt x="259337" y="96851"/>
                        </a:lnTo>
                        <a:cubicBezTo>
                          <a:pt x="259337" y="96851"/>
                          <a:pt x="260138" y="98427"/>
                          <a:pt x="260618" y="98953"/>
                        </a:cubicBezTo>
                        <a:cubicBezTo>
                          <a:pt x="261740" y="100179"/>
                          <a:pt x="263181" y="100879"/>
                          <a:pt x="264783" y="101054"/>
                        </a:cubicBezTo>
                        <a:cubicBezTo>
                          <a:pt x="264783" y="102806"/>
                          <a:pt x="265584" y="104382"/>
                          <a:pt x="266705" y="105608"/>
                        </a:cubicBezTo>
                        <a:cubicBezTo>
                          <a:pt x="267826" y="106834"/>
                          <a:pt x="269588" y="107709"/>
                          <a:pt x="271190" y="107709"/>
                        </a:cubicBezTo>
                        <a:lnTo>
                          <a:pt x="271190" y="107709"/>
                        </a:lnTo>
                        <a:cubicBezTo>
                          <a:pt x="271511" y="108585"/>
                          <a:pt x="271991" y="109461"/>
                          <a:pt x="272632" y="110161"/>
                        </a:cubicBezTo>
                        <a:cubicBezTo>
                          <a:pt x="273753" y="111387"/>
                          <a:pt x="275515" y="112263"/>
                          <a:pt x="277117" y="112263"/>
                        </a:cubicBezTo>
                        <a:lnTo>
                          <a:pt x="327575" y="112263"/>
                        </a:lnTo>
                        <a:cubicBezTo>
                          <a:pt x="327895" y="113314"/>
                          <a:pt x="328376" y="114365"/>
                          <a:pt x="329177" y="115065"/>
                        </a:cubicBezTo>
                        <a:cubicBezTo>
                          <a:pt x="330298" y="116291"/>
                          <a:pt x="332060" y="117167"/>
                          <a:pt x="333662" y="117167"/>
                        </a:cubicBezTo>
                        <a:lnTo>
                          <a:pt x="375309" y="117167"/>
                        </a:lnTo>
                        <a:cubicBezTo>
                          <a:pt x="375630" y="118218"/>
                          <a:pt x="376110" y="119268"/>
                          <a:pt x="376911" y="120144"/>
                        </a:cubicBezTo>
                        <a:cubicBezTo>
                          <a:pt x="378032" y="121370"/>
                          <a:pt x="379795" y="122246"/>
                          <a:pt x="381396" y="122246"/>
                        </a:cubicBezTo>
                        <a:lnTo>
                          <a:pt x="434898" y="122246"/>
                        </a:lnTo>
                        <a:cubicBezTo>
                          <a:pt x="435218" y="123297"/>
                          <a:pt x="435699" y="124347"/>
                          <a:pt x="436499" y="125223"/>
                        </a:cubicBezTo>
                        <a:cubicBezTo>
                          <a:pt x="437621" y="126449"/>
                          <a:pt x="439383" y="127325"/>
                          <a:pt x="440985" y="127325"/>
                        </a:cubicBezTo>
                        <a:lnTo>
                          <a:pt x="467575" y="127325"/>
                        </a:lnTo>
                        <a:cubicBezTo>
                          <a:pt x="467895" y="128551"/>
                          <a:pt x="468376" y="129602"/>
                          <a:pt x="469177" y="130302"/>
                        </a:cubicBezTo>
                        <a:cubicBezTo>
                          <a:pt x="470298" y="131528"/>
                          <a:pt x="472060" y="132404"/>
                          <a:pt x="473662" y="132404"/>
                        </a:cubicBezTo>
                        <a:lnTo>
                          <a:pt x="482472" y="132404"/>
                        </a:lnTo>
                        <a:cubicBezTo>
                          <a:pt x="482792" y="133455"/>
                          <a:pt x="483273" y="134330"/>
                          <a:pt x="484074" y="135206"/>
                        </a:cubicBezTo>
                        <a:cubicBezTo>
                          <a:pt x="485195" y="136432"/>
                          <a:pt x="486797" y="137308"/>
                          <a:pt x="488399" y="137308"/>
                        </a:cubicBezTo>
                        <a:cubicBezTo>
                          <a:pt x="488719" y="138358"/>
                          <a:pt x="489200" y="139409"/>
                          <a:pt x="490001" y="140110"/>
                        </a:cubicBezTo>
                        <a:cubicBezTo>
                          <a:pt x="491122" y="141336"/>
                          <a:pt x="492884" y="142211"/>
                          <a:pt x="494486" y="142211"/>
                        </a:cubicBezTo>
                        <a:lnTo>
                          <a:pt x="497529" y="142211"/>
                        </a:lnTo>
                        <a:cubicBezTo>
                          <a:pt x="497850" y="143087"/>
                          <a:pt x="498330" y="143963"/>
                          <a:pt x="498971" y="144839"/>
                        </a:cubicBezTo>
                        <a:cubicBezTo>
                          <a:pt x="500092" y="146064"/>
                          <a:pt x="501854" y="146940"/>
                          <a:pt x="503456" y="146940"/>
                        </a:cubicBezTo>
                        <a:lnTo>
                          <a:pt x="521076" y="146940"/>
                        </a:lnTo>
                        <a:cubicBezTo>
                          <a:pt x="521236" y="148166"/>
                          <a:pt x="521877" y="149392"/>
                          <a:pt x="522678" y="150443"/>
                        </a:cubicBezTo>
                        <a:moveTo>
                          <a:pt x="1864533" y="220498"/>
                        </a:moveTo>
                        <a:lnTo>
                          <a:pt x="1355150" y="220498"/>
                        </a:lnTo>
                        <a:lnTo>
                          <a:pt x="1355150" y="205786"/>
                        </a:lnTo>
                        <a:lnTo>
                          <a:pt x="1160368" y="205786"/>
                        </a:lnTo>
                        <a:cubicBezTo>
                          <a:pt x="1160368" y="205786"/>
                          <a:pt x="1159246" y="205436"/>
                          <a:pt x="1158606" y="205436"/>
                        </a:cubicBezTo>
                        <a:lnTo>
                          <a:pt x="1137782" y="205436"/>
                        </a:lnTo>
                        <a:lnTo>
                          <a:pt x="1137782" y="164629"/>
                        </a:lnTo>
                        <a:lnTo>
                          <a:pt x="771122" y="164629"/>
                        </a:lnTo>
                        <a:cubicBezTo>
                          <a:pt x="771122" y="164629"/>
                          <a:pt x="770321" y="163228"/>
                          <a:pt x="769841" y="162703"/>
                        </a:cubicBezTo>
                        <a:cubicBezTo>
                          <a:pt x="768719" y="161477"/>
                          <a:pt x="767118" y="160776"/>
                          <a:pt x="765516" y="160601"/>
                        </a:cubicBezTo>
                        <a:cubicBezTo>
                          <a:pt x="765195" y="159375"/>
                          <a:pt x="764715" y="158324"/>
                          <a:pt x="763914" y="157448"/>
                        </a:cubicBezTo>
                        <a:cubicBezTo>
                          <a:pt x="762793" y="156047"/>
                          <a:pt x="761031" y="155347"/>
                          <a:pt x="759429" y="155347"/>
                        </a:cubicBezTo>
                        <a:lnTo>
                          <a:pt x="649223" y="155347"/>
                        </a:lnTo>
                        <a:lnTo>
                          <a:pt x="649223" y="149042"/>
                        </a:lnTo>
                        <a:lnTo>
                          <a:pt x="591717" y="149042"/>
                        </a:lnTo>
                        <a:cubicBezTo>
                          <a:pt x="591717" y="149042"/>
                          <a:pt x="591397" y="148516"/>
                          <a:pt x="591236" y="148341"/>
                        </a:cubicBezTo>
                        <a:cubicBezTo>
                          <a:pt x="590115" y="147115"/>
                          <a:pt x="588353" y="146240"/>
                          <a:pt x="586751" y="146240"/>
                        </a:cubicBezTo>
                        <a:lnTo>
                          <a:pt x="577781" y="146240"/>
                        </a:lnTo>
                        <a:cubicBezTo>
                          <a:pt x="577461" y="145364"/>
                          <a:pt x="576980" y="144488"/>
                          <a:pt x="576339" y="143613"/>
                        </a:cubicBezTo>
                        <a:cubicBezTo>
                          <a:pt x="575218" y="142387"/>
                          <a:pt x="573456" y="141511"/>
                          <a:pt x="571854" y="141511"/>
                        </a:cubicBezTo>
                        <a:lnTo>
                          <a:pt x="559841" y="141511"/>
                        </a:lnTo>
                        <a:cubicBezTo>
                          <a:pt x="559520" y="140635"/>
                          <a:pt x="559040" y="139760"/>
                          <a:pt x="558399" y="139059"/>
                        </a:cubicBezTo>
                        <a:cubicBezTo>
                          <a:pt x="557278" y="137833"/>
                          <a:pt x="555516" y="136957"/>
                          <a:pt x="553914" y="136957"/>
                        </a:cubicBezTo>
                        <a:lnTo>
                          <a:pt x="533410" y="136957"/>
                        </a:lnTo>
                        <a:cubicBezTo>
                          <a:pt x="533250" y="135556"/>
                          <a:pt x="532609" y="134330"/>
                          <a:pt x="531648" y="133455"/>
                        </a:cubicBezTo>
                        <a:cubicBezTo>
                          <a:pt x="530527" y="132229"/>
                          <a:pt x="528765" y="131353"/>
                          <a:pt x="527163" y="131353"/>
                        </a:cubicBezTo>
                        <a:lnTo>
                          <a:pt x="509223" y="131353"/>
                        </a:lnTo>
                        <a:cubicBezTo>
                          <a:pt x="508902" y="130477"/>
                          <a:pt x="508422" y="129602"/>
                          <a:pt x="507781" y="128901"/>
                        </a:cubicBezTo>
                        <a:cubicBezTo>
                          <a:pt x="506660" y="127675"/>
                          <a:pt x="504898" y="126799"/>
                          <a:pt x="503296" y="126799"/>
                        </a:cubicBezTo>
                        <a:lnTo>
                          <a:pt x="500412" y="126799"/>
                        </a:lnTo>
                        <a:cubicBezTo>
                          <a:pt x="500092" y="125749"/>
                          <a:pt x="499612" y="124873"/>
                          <a:pt x="498811" y="123997"/>
                        </a:cubicBezTo>
                        <a:cubicBezTo>
                          <a:pt x="497689" y="122771"/>
                          <a:pt x="496088" y="122071"/>
                          <a:pt x="494486" y="121896"/>
                        </a:cubicBezTo>
                        <a:cubicBezTo>
                          <a:pt x="494165" y="120845"/>
                          <a:pt x="493685" y="119794"/>
                          <a:pt x="492884" y="119093"/>
                        </a:cubicBezTo>
                        <a:cubicBezTo>
                          <a:pt x="491763" y="117867"/>
                          <a:pt x="490001" y="116992"/>
                          <a:pt x="488399" y="116992"/>
                        </a:cubicBezTo>
                        <a:lnTo>
                          <a:pt x="479589" y="116992"/>
                        </a:lnTo>
                        <a:cubicBezTo>
                          <a:pt x="479268" y="115941"/>
                          <a:pt x="478788" y="114890"/>
                          <a:pt x="477987" y="114014"/>
                        </a:cubicBezTo>
                        <a:cubicBezTo>
                          <a:pt x="476866" y="112788"/>
                          <a:pt x="475103" y="111913"/>
                          <a:pt x="473502" y="111913"/>
                        </a:cubicBezTo>
                        <a:lnTo>
                          <a:pt x="446911" y="111913"/>
                        </a:lnTo>
                        <a:cubicBezTo>
                          <a:pt x="446591" y="110862"/>
                          <a:pt x="446110" y="109811"/>
                          <a:pt x="445310" y="108935"/>
                        </a:cubicBezTo>
                        <a:cubicBezTo>
                          <a:pt x="444188" y="107709"/>
                          <a:pt x="442426" y="106834"/>
                          <a:pt x="440824" y="106834"/>
                        </a:cubicBezTo>
                        <a:lnTo>
                          <a:pt x="387323" y="106834"/>
                        </a:lnTo>
                        <a:cubicBezTo>
                          <a:pt x="387003" y="105783"/>
                          <a:pt x="386522" y="104732"/>
                          <a:pt x="385721" y="103856"/>
                        </a:cubicBezTo>
                        <a:cubicBezTo>
                          <a:pt x="384600" y="102630"/>
                          <a:pt x="382838" y="101755"/>
                          <a:pt x="381236" y="101755"/>
                        </a:cubicBezTo>
                        <a:lnTo>
                          <a:pt x="339589" y="101755"/>
                        </a:lnTo>
                        <a:cubicBezTo>
                          <a:pt x="339268" y="100704"/>
                          <a:pt x="338788" y="99653"/>
                          <a:pt x="337987" y="98953"/>
                        </a:cubicBezTo>
                        <a:cubicBezTo>
                          <a:pt x="336865" y="97727"/>
                          <a:pt x="335103" y="96851"/>
                          <a:pt x="333502" y="96851"/>
                        </a:cubicBezTo>
                        <a:lnTo>
                          <a:pt x="282884" y="96851"/>
                        </a:lnTo>
                        <a:cubicBezTo>
                          <a:pt x="282563" y="95975"/>
                          <a:pt x="282083" y="95100"/>
                          <a:pt x="281442" y="94399"/>
                        </a:cubicBezTo>
                        <a:cubicBezTo>
                          <a:pt x="280321" y="93173"/>
                          <a:pt x="278879" y="92472"/>
                          <a:pt x="277277" y="92297"/>
                        </a:cubicBezTo>
                        <a:cubicBezTo>
                          <a:pt x="277277" y="90546"/>
                          <a:pt x="276476" y="88970"/>
                          <a:pt x="275515" y="87744"/>
                        </a:cubicBezTo>
                        <a:cubicBezTo>
                          <a:pt x="274394" y="86518"/>
                          <a:pt x="272632" y="85642"/>
                          <a:pt x="271030" y="85642"/>
                        </a:cubicBezTo>
                        <a:lnTo>
                          <a:pt x="271030" y="85642"/>
                        </a:lnTo>
                        <a:cubicBezTo>
                          <a:pt x="271030" y="85642"/>
                          <a:pt x="270229" y="84066"/>
                          <a:pt x="269749" y="83540"/>
                        </a:cubicBezTo>
                        <a:cubicBezTo>
                          <a:pt x="268627" y="82315"/>
                          <a:pt x="266865" y="81439"/>
                          <a:pt x="265264" y="81439"/>
                        </a:cubicBezTo>
                        <a:lnTo>
                          <a:pt x="262540" y="81439"/>
                        </a:lnTo>
                        <a:cubicBezTo>
                          <a:pt x="262220" y="80213"/>
                          <a:pt x="261740" y="78987"/>
                          <a:pt x="260778" y="78111"/>
                        </a:cubicBezTo>
                        <a:cubicBezTo>
                          <a:pt x="259657" y="76885"/>
                          <a:pt x="257895" y="76010"/>
                          <a:pt x="256293" y="76010"/>
                        </a:cubicBezTo>
                        <a:lnTo>
                          <a:pt x="256293" y="76010"/>
                        </a:lnTo>
                        <a:cubicBezTo>
                          <a:pt x="255973" y="75134"/>
                          <a:pt x="255492" y="74258"/>
                          <a:pt x="254852" y="73558"/>
                        </a:cubicBezTo>
                        <a:cubicBezTo>
                          <a:pt x="253730" y="72332"/>
                          <a:pt x="251968" y="71456"/>
                          <a:pt x="250367" y="71456"/>
                        </a:cubicBezTo>
                        <a:lnTo>
                          <a:pt x="214485" y="71456"/>
                        </a:lnTo>
                        <a:cubicBezTo>
                          <a:pt x="214485" y="71456"/>
                          <a:pt x="213685" y="69880"/>
                          <a:pt x="213204" y="69179"/>
                        </a:cubicBezTo>
                        <a:cubicBezTo>
                          <a:pt x="212083" y="67953"/>
                          <a:pt x="210321" y="67078"/>
                          <a:pt x="208719" y="67078"/>
                        </a:cubicBezTo>
                        <a:lnTo>
                          <a:pt x="181808" y="67078"/>
                        </a:lnTo>
                        <a:cubicBezTo>
                          <a:pt x="181488" y="66202"/>
                          <a:pt x="181007" y="65326"/>
                          <a:pt x="180366" y="64626"/>
                        </a:cubicBezTo>
                        <a:cubicBezTo>
                          <a:pt x="179245" y="63400"/>
                          <a:pt x="177483" y="62524"/>
                          <a:pt x="175881" y="62524"/>
                        </a:cubicBezTo>
                        <a:lnTo>
                          <a:pt x="167071" y="62524"/>
                        </a:lnTo>
                        <a:cubicBezTo>
                          <a:pt x="166751" y="61473"/>
                          <a:pt x="166270" y="60422"/>
                          <a:pt x="165469" y="59722"/>
                        </a:cubicBezTo>
                        <a:cubicBezTo>
                          <a:pt x="164348" y="58496"/>
                          <a:pt x="162586" y="57620"/>
                          <a:pt x="160984" y="57620"/>
                        </a:cubicBezTo>
                        <a:lnTo>
                          <a:pt x="89382" y="57620"/>
                        </a:lnTo>
                        <a:cubicBezTo>
                          <a:pt x="89382" y="57620"/>
                          <a:pt x="88581" y="56044"/>
                          <a:pt x="87941" y="55343"/>
                        </a:cubicBezTo>
                        <a:cubicBezTo>
                          <a:pt x="86819" y="54117"/>
                          <a:pt x="85057" y="53242"/>
                          <a:pt x="83455" y="53242"/>
                        </a:cubicBezTo>
                        <a:lnTo>
                          <a:pt x="38764" y="53242"/>
                        </a:lnTo>
                        <a:lnTo>
                          <a:pt x="38764" y="28723"/>
                        </a:lnTo>
                        <a:lnTo>
                          <a:pt x="0" y="28723"/>
                        </a:lnTo>
                        <a:lnTo>
                          <a:pt x="0" y="0"/>
                        </a:lnTo>
                        <a:lnTo>
                          <a:pt x="83455" y="0"/>
                        </a:lnTo>
                        <a:lnTo>
                          <a:pt x="83455" y="3853"/>
                        </a:lnTo>
                        <a:lnTo>
                          <a:pt x="160984" y="3853"/>
                        </a:lnTo>
                        <a:lnTo>
                          <a:pt x="160984" y="8056"/>
                        </a:lnTo>
                        <a:lnTo>
                          <a:pt x="175881" y="8056"/>
                        </a:lnTo>
                        <a:lnTo>
                          <a:pt x="175881" y="12084"/>
                        </a:lnTo>
                        <a:lnTo>
                          <a:pt x="208719" y="12084"/>
                        </a:lnTo>
                        <a:lnTo>
                          <a:pt x="208719" y="15937"/>
                        </a:lnTo>
                        <a:lnTo>
                          <a:pt x="235149" y="15937"/>
                        </a:lnTo>
                        <a:lnTo>
                          <a:pt x="235149" y="17514"/>
                        </a:lnTo>
                        <a:cubicBezTo>
                          <a:pt x="235149" y="19265"/>
                          <a:pt x="235790" y="21192"/>
                          <a:pt x="237071" y="22418"/>
                        </a:cubicBezTo>
                        <a:cubicBezTo>
                          <a:pt x="238193" y="23644"/>
                          <a:pt x="239955" y="24519"/>
                          <a:pt x="241556" y="24519"/>
                        </a:cubicBezTo>
                        <a:lnTo>
                          <a:pt x="256453" y="24519"/>
                        </a:lnTo>
                        <a:cubicBezTo>
                          <a:pt x="256453" y="24519"/>
                          <a:pt x="265424" y="24519"/>
                          <a:pt x="265424" y="24519"/>
                        </a:cubicBezTo>
                        <a:lnTo>
                          <a:pt x="265424" y="28372"/>
                        </a:lnTo>
                        <a:lnTo>
                          <a:pt x="271350" y="28372"/>
                        </a:lnTo>
                        <a:lnTo>
                          <a:pt x="271350" y="33802"/>
                        </a:lnTo>
                        <a:lnTo>
                          <a:pt x="277277" y="33802"/>
                        </a:lnTo>
                        <a:lnTo>
                          <a:pt x="277277" y="37830"/>
                        </a:lnTo>
                        <a:lnTo>
                          <a:pt x="333822" y="37830"/>
                        </a:lnTo>
                        <a:lnTo>
                          <a:pt x="333822" y="42208"/>
                        </a:lnTo>
                        <a:lnTo>
                          <a:pt x="381557" y="42208"/>
                        </a:lnTo>
                        <a:lnTo>
                          <a:pt x="381557" y="46587"/>
                        </a:lnTo>
                        <a:lnTo>
                          <a:pt x="441145" y="46587"/>
                        </a:lnTo>
                        <a:lnTo>
                          <a:pt x="441145" y="50965"/>
                        </a:lnTo>
                        <a:lnTo>
                          <a:pt x="473822" y="50965"/>
                        </a:lnTo>
                        <a:lnTo>
                          <a:pt x="473822" y="55519"/>
                        </a:lnTo>
                        <a:lnTo>
                          <a:pt x="488719" y="55519"/>
                        </a:lnTo>
                        <a:lnTo>
                          <a:pt x="488719" y="59722"/>
                        </a:lnTo>
                        <a:lnTo>
                          <a:pt x="494646" y="59722"/>
                        </a:lnTo>
                        <a:lnTo>
                          <a:pt x="494646" y="64100"/>
                        </a:lnTo>
                        <a:lnTo>
                          <a:pt x="503616" y="64100"/>
                        </a:lnTo>
                        <a:lnTo>
                          <a:pt x="503616" y="68304"/>
                        </a:lnTo>
                        <a:lnTo>
                          <a:pt x="527484" y="68304"/>
                        </a:lnTo>
                        <a:lnTo>
                          <a:pt x="527484" y="73207"/>
                        </a:lnTo>
                        <a:lnTo>
                          <a:pt x="554234" y="73207"/>
                        </a:lnTo>
                        <a:lnTo>
                          <a:pt x="554234" y="77236"/>
                        </a:lnTo>
                        <a:lnTo>
                          <a:pt x="572175" y="77236"/>
                        </a:lnTo>
                        <a:lnTo>
                          <a:pt x="572175" y="81264"/>
                        </a:lnTo>
                        <a:lnTo>
                          <a:pt x="587072" y="81264"/>
                        </a:lnTo>
                        <a:lnTo>
                          <a:pt x="587072" y="85467"/>
                        </a:lnTo>
                        <a:lnTo>
                          <a:pt x="643616" y="85467"/>
                        </a:lnTo>
                        <a:lnTo>
                          <a:pt x="643616" y="89495"/>
                        </a:lnTo>
                        <a:lnTo>
                          <a:pt x="759749" y="89495"/>
                        </a:lnTo>
                        <a:lnTo>
                          <a:pt x="759749" y="94049"/>
                        </a:lnTo>
                        <a:lnTo>
                          <a:pt x="765676" y="94049"/>
                        </a:lnTo>
                        <a:lnTo>
                          <a:pt x="765676" y="98427"/>
                        </a:lnTo>
                        <a:lnTo>
                          <a:pt x="798514" y="98427"/>
                        </a:lnTo>
                        <a:lnTo>
                          <a:pt x="798514" y="103156"/>
                        </a:lnTo>
                        <a:lnTo>
                          <a:pt x="858102" y="103156"/>
                        </a:lnTo>
                        <a:lnTo>
                          <a:pt x="858102" y="108760"/>
                        </a:lnTo>
                        <a:lnTo>
                          <a:pt x="911763" y="108760"/>
                        </a:lnTo>
                        <a:lnTo>
                          <a:pt x="911763" y="116992"/>
                        </a:lnTo>
                        <a:lnTo>
                          <a:pt x="917690" y="116992"/>
                        </a:lnTo>
                        <a:lnTo>
                          <a:pt x="917690" y="121370"/>
                        </a:lnTo>
                        <a:lnTo>
                          <a:pt x="947484" y="121370"/>
                        </a:lnTo>
                        <a:lnTo>
                          <a:pt x="947484" y="125924"/>
                        </a:lnTo>
                        <a:lnTo>
                          <a:pt x="1033823" y="125924"/>
                        </a:lnTo>
                        <a:lnTo>
                          <a:pt x="1033823" y="130127"/>
                        </a:lnTo>
                        <a:lnTo>
                          <a:pt x="1078514" y="130127"/>
                        </a:lnTo>
                        <a:lnTo>
                          <a:pt x="1078514" y="134505"/>
                        </a:lnTo>
                        <a:lnTo>
                          <a:pt x="1158926" y="134505"/>
                        </a:lnTo>
                        <a:lnTo>
                          <a:pt x="1158926" y="139234"/>
                        </a:lnTo>
                        <a:lnTo>
                          <a:pt x="1227484" y="139234"/>
                        </a:lnTo>
                        <a:lnTo>
                          <a:pt x="1227484" y="144138"/>
                        </a:lnTo>
                        <a:lnTo>
                          <a:pt x="1230528" y="144138"/>
                        </a:lnTo>
                        <a:lnTo>
                          <a:pt x="1230528" y="149217"/>
                        </a:lnTo>
                        <a:lnTo>
                          <a:pt x="1260322" y="149217"/>
                        </a:lnTo>
                        <a:lnTo>
                          <a:pt x="1260322" y="153595"/>
                        </a:lnTo>
                        <a:lnTo>
                          <a:pt x="1385425" y="153595"/>
                        </a:lnTo>
                        <a:lnTo>
                          <a:pt x="1385425" y="158149"/>
                        </a:lnTo>
                        <a:lnTo>
                          <a:pt x="1427073" y="158149"/>
                        </a:lnTo>
                        <a:lnTo>
                          <a:pt x="1427073" y="164629"/>
                        </a:lnTo>
                        <a:lnTo>
                          <a:pt x="1531352" y="164629"/>
                        </a:lnTo>
                        <a:lnTo>
                          <a:pt x="1531352" y="169533"/>
                        </a:lnTo>
                        <a:lnTo>
                          <a:pt x="1596867" y="169533"/>
                        </a:lnTo>
                        <a:lnTo>
                          <a:pt x="1596867" y="175312"/>
                        </a:lnTo>
                        <a:lnTo>
                          <a:pt x="1617691" y="175312"/>
                        </a:lnTo>
                        <a:lnTo>
                          <a:pt x="1617691" y="179691"/>
                        </a:lnTo>
                        <a:lnTo>
                          <a:pt x="1641558" y="179691"/>
                        </a:lnTo>
                        <a:lnTo>
                          <a:pt x="1641558" y="184244"/>
                        </a:lnTo>
                        <a:lnTo>
                          <a:pt x="1650528" y="184244"/>
                        </a:lnTo>
                        <a:lnTo>
                          <a:pt x="1650528" y="188973"/>
                        </a:lnTo>
                        <a:lnTo>
                          <a:pt x="1674396" y="188973"/>
                        </a:lnTo>
                        <a:lnTo>
                          <a:pt x="1674396" y="194052"/>
                        </a:lnTo>
                        <a:lnTo>
                          <a:pt x="1689293" y="194052"/>
                        </a:lnTo>
                        <a:lnTo>
                          <a:pt x="1689293" y="199306"/>
                        </a:lnTo>
                        <a:lnTo>
                          <a:pt x="1787485" y="199306"/>
                        </a:lnTo>
                        <a:lnTo>
                          <a:pt x="1787485" y="204210"/>
                        </a:lnTo>
                        <a:lnTo>
                          <a:pt x="1790529" y="204210"/>
                        </a:lnTo>
                        <a:lnTo>
                          <a:pt x="1790529" y="208939"/>
                        </a:lnTo>
                        <a:lnTo>
                          <a:pt x="1850117" y="208939"/>
                        </a:lnTo>
                        <a:lnTo>
                          <a:pt x="1850117" y="214018"/>
                        </a:lnTo>
                        <a:lnTo>
                          <a:pt x="1865014" y="214018"/>
                        </a:lnTo>
                        <a:lnTo>
                          <a:pt x="1865014" y="219097"/>
                        </a:lnTo>
                        <a:moveTo>
                          <a:pt x="2394740" y="259904"/>
                        </a:moveTo>
                        <a:lnTo>
                          <a:pt x="2096799" y="259904"/>
                        </a:lnTo>
                        <a:lnTo>
                          <a:pt x="2096799" y="247294"/>
                        </a:lnTo>
                        <a:lnTo>
                          <a:pt x="2061078" y="247294"/>
                        </a:lnTo>
                        <a:lnTo>
                          <a:pt x="2061078" y="232057"/>
                        </a:lnTo>
                        <a:lnTo>
                          <a:pt x="2090872" y="232057"/>
                        </a:lnTo>
                        <a:lnTo>
                          <a:pt x="2090872" y="237836"/>
                        </a:lnTo>
                        <a:lnTo>
                          <a:pt x="2144534" y="237836"/>
                        </a:lnTo>
                        <a:lnTo>
                          <a:pt x="2144534" y="242565"/>
                        </a:lnTo>
                        <a:lnTo>
                          <a:pt x="2174328" y="242565"/>
                        </a:lnTo>
                        <a:lnTo>
                          <a:pt x="2174328" y="247994"/>
                        </a:lnTo>
                        <a:lnTo>
                          <a:pt x="2373916" y="247994"/>
                        </a:lnTo>
                        <a:lnTo>
                          <a:pt x="2373916" y="253599"/>
                        </a:lnTo>
                        <a:lnTo>
                          <a:pt x="2379843" y="253599"/>
                        </a:lnTo>
                        <a:lnTo>
                          <a:pt x="2379843" y="259378"/>
                        </a:lnTo>
                        <a:lnTo>
                          <a:pt x="2394740" y="259378"/>
                        </a:lnTo>
                        <a:lnTo>
                          <a:pt x="2394740" y="260079"/>
                        </a:lnTo>
                      </a:path>
                    </a:pathLst>
                  </a:custGeom>
                  <a:grpFill/>
                  <a:ln w="1600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72" name="Freihandform: Form 371">
                    <a:extLst>
                      <a:ext uri="{FF2B5EF4-FFF2-40B4-BE49-F238E27FC236}">
                        <a16:creationId xmlns:a16="http://schemas.microsoft.com/office/drawing/2014/main" id="{5010536A-0C2D-A9CB-4196-2733DE4887CB}"/>
                      </a:ext>
                    </a:extLst>
                  </p:cNvPr>
                  <p:cNvSpPr/>
                  <p:nvPr/>
                </p:nvSpPr>
                <p:spPr>
                  <a:xfrm>
                    <a:off x="2900643" y="1857049"/>
                    <a:ext cx="761511" cy="97726"/>
                  </a:xfrm>
                  <a:custGeom>
                    <a:avLst/>
                    <a:gdLst>
                      <a:gd name="connsiteX0" fmla="*/ 61510 w 761511"/>
                      <a:gd name="connsiteY0" fmla="*/ 3328 h 97726"/>
                      <a:gd name="connsiteX1" fmla="*/ 13936 w 761511"/>
                      <a:gd name="connsiteY1" fmla="*/ 3328 h 97726"/>
                      <a:gd name="connsiteX2" fmla="*/ 0 w 761511"/>
                      <a:gd name="connsiteY2" fmla="*/ 0 h 97726"/>
                      <a:gd name="connsiteX3" fmla="*/ 61510 w 761511"/>
                      <a:gd name="connsiteY3" fmla="*/ 0 h 97726"/>
                      <a:gd name="connsiteX4" fmla="*/ 61510 w 761511"/>
                      <a:gd name="connsiteY4" fmla="*/ 3328 h 97726"/>
                      <a:gd name="connsiteX5" fmla="*/ 192701 w 761511"/>
                      <a:gd name="connsiteY5" fmla="*/ 20141 h 97726"/>
                      <a:gd name="connsiteX6" fmla="*/ 124142 w 761511"/>
                      <a:gd name="connsiteY6" fmla="*/ 20141 h 97726"/>
                      <a:gd name="connsiteX7" fmla="*/ 124142 w 761511"/>
                      <a:gd name="connsiteY7" fmla="*/ 6830 h 97726"/>
                      <a:gd name="connsiteX8" fmla="*/ 168833 w 761511"/>
                      <a:gd name="connsiteY8" fmla="*/ 6830 h 97726"/>
                      <a:gd name="connsiteX9" fmla="*/ 168833 w 761511"/>
                      <a:gd name="connsiteY9" fmla="*/ 10333 h 97726"/>
                      <a:gd name="connsiteX10" fmla="*/ 183730 w 761511"/>
                      <a:gd name="connsiteY10" fmla="*/ 10333 h 97726"/>
                      <a:gd name="connsiteX11" fmla="*/ 183730 w 761511"/>
                      <a:gd name="connsiteY11" fmla="*/ 18039 h 97726"/>
                      <a:gd name="connsiteX12" fmla="*/ 192701 w 761511"/>
                      <a:gd name="connsiteY12" fmla="*/ 18039 h 97726"/>
                      <a:gd name="connsiteX13" fmla="*/ 192701 w 761511"/>
                      <a:gd name="connsiteY13" fmla="*/ 20141 h 97726"/>
                      <a:gd name="connsiteX14" fmla="*/ 761511 w 761511"/>
                      <a:gd name="connsiteY14" fmla="*/ 97727 h 97726"/>
                      <a:gd name="connsiteX15" fmla="*/ 740688 w 761511"/>
                      <a:gd name="connsiteY15" fmla="*/ 97727 h 97726"/>
                      <a:gd name="connsiteX16" fmla="*/ 740688 w 761511"/>
                      <a:gd name="connsiteY16" fmla="*/ 94924 h 97726"/>
                      <a:gd name="connsiteX17" fmla="*/ 761511 w 761511"/>
                      <a:gd name="connsiteY17" fmla="*/ 94924 h 97726"/>
                      <a:gd name="connsiteX18" fmla="*/ 761511 w 761511"/>
                      <a:gd name="connsiteY18" fmla="*/ 97727 h 9772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</a:cxnLst>
                    <a:rect l="l" t="t" r="r" b="b"/>
                    <a:pathLst>
                      <a:path w="761511" h="97726">
                        <a:moveTo>
                          <a:pt x="61510" y="3328"/>
                        </a:moveTo>
                        <a:lnTo>
                          <a:pt x="13936" y="3328"/>
                        </a:lnTo>
                        <a:lnTo>
                          <a:pt x="0" y="0"/>
                        </a:lnTo>
                        <a:lnTo>
                          <a:pt x="61510" y="0"/>
                        </a:lnTo>
                        <a:lnTo>
                          <a:pt x="61510" y="3328"/>
                        </a:lnTo>
                        <a:moveTo>
                          <a:pt x="192701" y="20141"/>
                        </a:moveTo>
                        <a:lnTo>
                          <a:pt x="124142" y="20141"/>
                        </a:lnTo>
                        <a:lnTo>
                          <a:pt x="124142" y="6830"/>
                        </a:lnTo>
                        <a:lnTo>
                          <a:pt x="168833" y="6830"/>
                        </a:lnTo>
                        <a:lnTo>
                          <a:pt x="168833" y="10333"/>
                        </a:lnTo>
                        <a:lnTo>
                          <a:pt x="183730" y="10333"/>
                        </a:lnTo>
                        <a:lnTo>
                          <a:pt x="183730" y="18039"/>
                        </a:lnTo>
                        <a:lnTo>
                          <a:pt x="192701" y="18039"/>
                        </a:lnTo>
                        <a:lnTo>
                          <a:pt x="192701" y="20141"/>
                        </a:lnTo>
                        <a:moveTo>
                          <a:pt x="761511" y="97727"/>
                        </a:moveTo>
                        <a:lnTo>
                          <a:pt x="740688" y="97727"/>
                        </a:lnTo>
                        <a:lnTo>
                          <a:pt x="740688" y="94924"/>
                        </a:lnTo>
                        <a:lnTo>
                          <a:pt x="761511" y="94924"/>
                        </a:lnTo>
                        <a:lnTo>
                          <a:pt x="761511" y="97727"/>
                        </a:lnTo>
                      </a:path>
                    </a:pathLst>
                  </a:custGeom>
                  <a:grpFill/>
                  <a:ln w="1600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sp>
            <p:nvSpPr>
              <p:cNvPr id="366" name="Freihandform: Form 365">
                <a:extLst>
                  <a:ext uri="{FF2B5EF4-FFF2-40B4-BE49-F238E27FC236}">
                    <a16:creationId xmlns:a16="http://schemas.microsoft.com/office/drawing/2014/main" id="{BE2349C9-5F67-1E0E-291D-16F735AB5629}"/>
                  </a:ext>
                </a:extLst>
              </p:cNvPr>
              <p:cNvSpPr/>
              <p:nvPr/>
            </p:nvSpPr>
            <p:spPr>
              <a:xfrm>
                <a:off x="3965542" y="1972465"/>
                <a:ext cx="21304" cy="8581"/>
              </a:xfrm>
              <a:custGeom>
                <a:avLst/>
                <a:gdLst>
                  <a:gd name="connsiteX0" fmla="*/ 21304 w 21304"/>
                  <a:gd name="connsiteY0" fmla="*/ 8582 h 8581"/>
                  <a:gd name="connsiteX1" fmla="*/ 6407 w 21304"/>
                  <a:gd name="connsiteY1" fmla="*/ 8582 h 8581"/>
                  <a:gd name="connsiteX2" fmla="*/ 1922 w 21304"/>
                  <a:gd name="connsiteY2" fmla="*/ 6480 h 8581"/>
                  <a:gd name="connsiteX3" fmla="*/ 0 w 21304"/>
                  <a:gd name="connsiteY3" fmla="*/ 1576 h 8581"/>
                  <a:gd name="connsiteX4" fmla="*/ 0 w 21304"/>
                  <a:gd name="connsiteY4" fmla="*/ 0 h 8581"/>
                  <a:gd name="connsiteX5" fmla="*/ 15378 w 21304"/>
                  <a:gd name="connsiteY5" fmla="*/ 0 h 8581"/>
                  <a:gd name="connsiteX6" fmla="*/ 15378 w 21304"/>
                  <a:gd name="connsiteY6" fmla="*/ 4028 h 8581"/>
                  <a:gd name="connsiteX7" fmla="*/ 21304 w 21304"/>
                  <a:gd name="connsiteY7" fmla="*/ 4028 h 8581"/>
                  <a:gd name="connsiteX8" fmla="*/ 21304 w 21304"/>
                  <a:gd name="connsiteY8" fmla="*/ 8582 h 85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1304" h="8581">
                    <a:moveTo>
                      <a:pt x="21304" y="8582"/>
                    </a:moveTo>
                    <a:lnTo>
                      <a:pt x="6407" y="8582"/>
                    </a:lnTo>
                    <a:cubicBezTo>
                      <a:pt x="4805" y="8582"/>
                      <a:pt x="3043" y="7881"/>
                      <a:pt x="1922" y="6480"/>
                    </a:cubicBezTo>
                    <a:cubicBezTo>
                      <a:pt x="801" y="5254"/>
                      <a:pt x="0" y="3328"/>
                      <a:pt x="0" y="1576"/>
                    </a:cubicBezTo>
                    <a:lnTo>
                      <a:pt x="0" y="0"/>
                    </a:lnTo>
                    <a:lnTo>
                      <a:pt x="15378" y="0"/>
                    </a:lnTo>
                    <a:lnTo>
                      <a:pt x="15378" y="4028"/>
                    </a:lnTo>
                    <a:lnTo>
                      <a:pt x="21304" y="4028"/>
                    </a:lnTo>
                    <a:lnTo>
                      <a:pt x="21304" y="8582"/>
                    </a:lnTo>
                  </a:path>
                </a:pathLst>
              </a:custGeom>
              <a:grpFill/>
              <a:ln w="16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sp>
        <p:nvSpPr>
          <p:cNvPr id="7" name="Textfeld 6">
            <a:extLst>
              <a:ext uri="{FF2B5EF4-FFF2-40B4-BE49-F238E27FC236}">
                <a16:creationId xmlns:a16="http://schemas.microsoft.com/office/drawing/2014/main" id="{53E5F95A-65D2-9619-9D7B-DC8B065C653B}"/>
              </a:ext>
            </a:extLst>
          </p:cNvPr>
          <p:cNvSpPr txBox="1"/>
          <p:nvPr/>
        </p:nvSpPr>
        <p:spPr>
          <a:xfrm>
            <a:off x="8648699" y="6334695"/>
            <a:ext cx="2835133" cy="2144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  <a:buNone/>
            </a:pPr>
            <a:r>
              <a:rPr lang="en-US" sz="800" kern="1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Lodde GC et al. </a:t>
            </a:r>
            <a:r>
              <a:rPr lang="en-US" sz="800" i="1" kern="1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J Clin Oncol</a:t>
            </a:r>
            <a:r>
              <a:rPr lang="en-US" sz="800" kern="1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. 2025;43(25):2793-2805</a:t>
            </a:r>
            <a:endParaRPr lang="de-DE" sz="800" kern="100" dirty="0">
              <a:effectLst/>
              <a:latin typeface="Arial" panose="020B060402020202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5205934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25B019-87A4-3DEE-0CBB-12DF384F4EE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F4419B0-2078-A604-AD52-7C8BC50F4D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azi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6E4F6F8-0215-A946-7AD3-946CC7C1C2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3CB0E19-F4C8-4F98-96D2-CE1ECDE59975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9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C2E338F3-C141-A933-54C1-61C39759A22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4837" y="6051550"/>
            <a:ext cx="5254943" cy="587375"/>
          </a:xfrm>
        </p:spPr>
        <p:txBody>
          <a:bodyPr/>
          <a:lstStyle/>
          <a:p>
            <a:r>
              <a:rPr lang="de-DE" b="1" dirty="0"/>
              <a:t>BRAF </a:t>
            </a:r>
            <a:r>
              <a:rPr lang="de-DE" dirty="0"/>
              <a:t>Serin/Threonin-Kinase B-</a:t>
            </a:r>
            <a:r>
              <a:rPr lang="de-DE" dirty="0" err="1"/>
              <a:t>Raf</a:t>
            </a:r>
            <a:r>
              <a:rPr lang="de-DE" dirty="0"/>
              <a:t>. </a:t>
            </a:r>
            <a:r>
              <a:rPr lang="de-DE" b="1" dirty="0" err="1"/>
              <a:t>DeCOG</a:t>
            </a:r>
            <a:r>
              <a:rPr lang="de-DE" dirty="0"/>
              <a:t> </a:t>
            </a:r>
            <a:r>
              <a:rPr lang="de-DE" i="1" dirty="0" err="1"/>
              <a:t>Dermatologic</a:t>
            </a:r>
            <a:r>
              <a:rPr lang="de-DE" i="1" dirty="0"/>
              <a:t> </a:t>
            </a:r>
            <a:r>
              <a:rPr lang="de-DE" i="1" dirty="0" err="1"/>
              <a:t>Cooperative</a:t>
            </a:r>
            <a:r>
              <a:rPr lang="de-DE" i="1" dirty="0"/>
              <a:t> </a:t>
            </a:r>
            <a:r>
              <a:rPr lang="de-DE" i="1" dirty="0" err="1"/>
              <a:t>Oncology</a:t>
            </a:r>
            <a:r>
              <a:rPr lang="de-DE" i="1" dirty="0"/>
              <a:t> Group.</a:t>
            </a:r>
            <a:r>
              <a:rPr lang="de-DE" b="1" i="1" dirty="0"/>
              <a:t> </a:t>
            </a:r>
            <a:r>
              <a:rPr lang="de-DE" b="1" dirty="0"/>
              <a:t>OS</a:t>
            </a:r>
            <a:r>
              <a:rPr lang="de-DE" dirty="0"/>
              <a:t> Gesamtüberleben. </a:t>
            </a:r>
            <a:r>
              <a:rPr lang="de-DE" b="1" dirty="0"/>
              <a:t>PD1</a:t>
            </a:r>
            <a:r>
              <a:rPr lang="de-DE" dirty="0"/>
              <a:t> </a:t>
            </a:r>
            <a:r>
              <a:rPr lang="en-US" i="1" dirty="0"/>
              <a:t>Programmed Cell Death Protein 1</a:t>
            </a:r>
            <a:r>
              <a:rPr lang="de-DE" dirty="0"/>
              <a:t>. </a:t>
            </a:r>
            <a:r>
              <a:rPr lang="de-DE" b="1" dirty="0"/>
              <a:t>RFS</a:t>
            </a:r>
            <a:r>
              <a:rPr lang="de-DE" dirty="0"/>
              <a:t> Rezidivfreies Überleben. </a:t>
            </a:r>
          </a:p>
          <a:p>
            <a:endParaRPr lang="de-DE" dirty="0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D00C26E8-FD5D-8AB3-BF9B-9A8435C2444E}"/>
              </a:ext>
            </a:extLst>
          </p:cNvPr>
          <p:cNvSpPr txBox="1"/>
          <p:nvPr/>
        </p:nvSpPr>
        <p:spPr>
          <a:xfrm>
            <a:off x="695193" y="1376364"/>
            <a:ext cx="9267826" cy="4460796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lvl="2">
              <a:spcAft>
                <a:spcPts val="1200"/>
              </a:spcAft>
              <a:buClr>
                <a:schemeClr val="accent2"/>
              </a:buClr>
            </a:pPr>
            <a:r>
              <a:rPr lang="de-DE" dirty="0">
                <a:solidFill>
                  <a:schemeClr val="tx2"/>
                </a:solidFill>
              </a:rPr>
              <a:t>Die </a:t>
            </a:r>
            <a:r>
              <a:rPr lang="de-DE" b="1" dirty="0" err="1">
                <a:solidFill>
                  <a:schemeClr val="tx2"/>
                </a:solidFill>
              </a:rPr>
              <a:t>DeCOG</a:t>
            </a:r>
            <a:r>
              <a:rPr lang="de-DE" b="1" dirty="0">
                <a:solidFill>
                  <a:schemeClr val="tx2"/>
                </a:solidFill>
              </a:rPr>
              <a:t>-Studie</a:t>
            </a:r>
            <a:r>
              <a:rPr lang="de-DE" dirty="0">
                <a:solidFill>
                  <a:schemeClr val="tx2"/>
                </a:solidFill>
              </a:rPr>
              <a:t> lieferte direkte Vergleichsdaten zur Wirksamkeit von PD1-Inhibitoren und zielgerichteter Therapie im adjuvanten Therapiesetting unter </a:t>
            </a:r>
            <a:r>
              <a:rPr lang="de-DE" i="1" dirty="0">
                <a:solidFill>
                  <a:schemeClr val="tx2"/>
                </a:solidFill>
              </a:rPr>
              <a:t>Real-World</a:t>
            </a:r>
            <a:r>
              <a:rPr lang="de-DE" dirty="0">
                <a:solidFill>
                  <a:schemeClr val="tx2"/>
                </a:solidFill>
              </a:rPr>
              <a:t>-Bedingungen, mit dem bisher </a:t>
            </a:r>
            <a:r>
              <a:rPr lang="de-DE" b="1" dirty="0">
                <a:solidFill>
                  <a:schemeClr val="tx2"/>
                </a:solidFill>
              </a:rPr>
              <a:t>längsten Follow-</a:t>
            </a:r>
            <a:r>
              <a:rPr lang="de-DE" b="1" dirty="0" err="1">
                <a:solidFill>
                  <a:schemeClr val="tx2"/>
                </a:solidFill>
              </a:rPr>
              <a:t>up</a:t>
            </a:r>
            <a:r>
              <a:rPr lang="de-DE" b="1" dirty="0">
                <a:solidFill>
                  <a:schemeClr val="tx2"/>
                </a:solidFill>
              </a:rPr>
              <a:t>-Zeitraum</a:t>
            </a:r>
            <a:endParaRPr lang="de-DE" dirty="0">
              <a:solidFill>
                <a:schemeClr val="tx2"/>
              </a:solidFill>
            </a:endParaRPr>
          </a:p>
          <a:p>
            <a:pPr lvl="2">
              <a:spcAft>
                <a:spcPts val="1200"/>
              </a:spcAft>
              <a:buClr>
                <a:schemeClr val="accent2"/>
              </a:buClr>
            </a:pPr>
            <a:r>
              <a:rPr lang="de-DE" dirty="0">
                <a:solidFill>
                  <a:schemeClr val="tx2"/>
                </a:solidFill>
              </a:rPr>
              <a:t>Die </a:t>
            </a:r>
            <a:r>
              <a:rPr lang="de-DE" b="1" dirty="0">
                <a:solidFill>
                  <a:schemeClr val="tx2"/>
                </a:solidFill>
              </a:rPr>
              <a:t>zielgerichtete Therapie </a:t>
            </a:r>
            <a:r>
              <a:rPr lang="de-DE" dirty="0">
                <a:solidFill>
                  <a:schemeClr val="tx2"/>
                </a:solidFill>
              </a:rPr>
              <a:t>mit Dabrafenib und Trametinib zeigte einen </a:t>
            </a:r>
            <a:r>
              <a:rPr lang="de-DE" b="1" dirty="0">
                <a:solidFill>
                  <a:schemeClr val="tx2"/>
                </a:solidFill>
              </a:rPr>
              <a:t>klinisch relevanten RFS-Vorteil </a:t>
            </a:r>
            <a:r>
              <a:rPr lang="de-DE" dirty="0">
                <a:solidFill>
                  <a:schemeClr val="tx2"/>
                </a:solidFill>
              </a:rPr>
              <a:t>im Vergleich zur PD1-Inhibition </a:t>
            </a:r>
          </a:p>
          <a:p>
            <a:pPr lvl="2">
              <a:spcAft>
                <a:spcPts val="1200"/>
              </a:spcAft>
              <a:buClr>
                <a:schemeClr val="accent2"/>
              </a:buClr>
            </a:pPr>
            <a:r>
              <a:rPr lang="de-DE" dirty="0">
                <a:solidFill>
                  <a:schemeClr val="tx2"/>
                </a:solidFill>
              </a:rPr>
              <a:t>Dieser </a:t>
            </a:r>
            <a:r>
              <a:rPr lang="de-DE" b="1" dirty="0">
                <a:solidFill>
                  <a:schemeClr val="tx2"/>
                </a:solidFill>
              </a:rPr>
              <a:t>Vorteil bleibt bestehen</a:t>
            </a:r>
            <a:r>
              <a:rPr lang="de-DE" dirty="0">
                <a:solidFill>
                  <a:schemeClr val="tx2"/>
                </a:solidFill>
              </a:rPr>
              <a:t>, auch wenn ausschließlich </a:t>
            </a:r>
            <a:r>
              <a:rPr lang="de-DE" b="1" dirty="0">
                <a:solidFill>
                  <a:schemeClr val="tx2"/>
                </a:solidFill>
              </a:rPr>
              <a:t>Patient*innen mit </a:t>
            </a:r>
            <a:r>
              <a:rPr lang="de-DE" b="1" i="1" dirty="0">
                <a:solidFill>
                  <a:schemeClr val="tx2"/>
                </a:solidFill>
              </a:rPr>
              <a:t>BRAF</a:t>
            </a:r>
            <a:r>
              <a:rPr lang="de-DE" b="1" dirty="0">
                <a:solidFill>
                  <a:schemeClr val="tx2"/>
                </a:solidFill>
              </a:rPr>
              <a:t>-Mutation</a:t>
            </a:r>
            <a:r>
              <a:rPr lang="de-DE" dirty="0">
                <a:solidFill>
                  <a:schemeClr val="tx2"/>
                </a:solidFill>
              </a:rPr>
              <a:t> betrachtet werden</a:t>
            </a:r>
            <a:endParaRPr lang="de-DE" dirty="0">
              <a:solidFill>
                <a:schemeClr val="tx2"/>
              </a:solidFill>
              <a:highlight>
                <a:srgbClr val="FFFF00"/>
              </a:highlight>
            </a:endParaRPr>
          </a:p>
          <a:p>
            <a:pPr lvl="2">
              <a:spcAft>
                <a:spcPts val="1200"/>
              </a:spcAft>
              <a:buClr>
                <a:schemeClr val="accent2"/>
              </a:buClr>
            </a:pPr>
            <a:r>
              <a:rPr lang="de-DE" dirty="0">
                <a:solidFill>
                  <a:schemeClr val="tx2"/>
                </a:solidFill>
              </a:rPr>
              <a:t>Für das OS zeigte sich ein </a:t>
            </a:r>
            <a:r>
              <a:rPr lang="de-DE" b="1" dirty="0">
                <a:solidFill>
                  <a:schemeClr val="tx2"/>
                </a:solidFill>
              </a:rPr>
              <a:t>Trend zugunsten der zielgerichteten Therapie</a:t>
            </a:r>
          </a:p>
          <a:p>
            <a:pPr lvl="3">
              <a:spcAft>
                <a:spcPts val="1200"/>
              </a:spcAft>
              <a:buClr>
                <a:schemeClr val="accent2"/>
              </a:buClr>
            </a:pP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solidFill>
                  <a:srgbClr val="00206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e Daten deuten darauf hin, dass </a:t>
            </a:r>
            <a:r>
              <a:rPr kumimoji="0" lang="de-DE" b="1" i="0" u="none" strike="noStrike" kern="1200" cap="none" spc="0" normalizeH="0" baseline="0" noProof="0" dirty="0" err="1">
                <a:ln>
                  <a:noFill/>
                </a:ln>
                <a:solidFill>
                  <a:srgbClr val="00206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lanompatient</a:t>
            </a: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solidFill>
                  <a:srgbClr val="00206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innen im Stadium III stärker von einer </a:t>
            </a:r>
            <a:r>
              <a:rPr lang="de-DE" b="1" dirty="0">
                <a:solidFill>
                  <a:srgbClr val="002068"/>
                </a:solidFill>
                <a:latin typeface="Arial" panose="020B0604020202020204"/>
              </a:rPr>
              <a:t>zielgerichteten Therapie profitieren als von einer PD1-Inhibition </a:t>
            </a:r>
            <a:endParaRPr kumimoji="0" lang="de-DE" b="1" i="0" u="none" strike="noStrike" kern="1200" cap="none" spc="0" normalizeH="0" baseline="0" noProof="0" dirty="0">
              <a:ln>
                <a:noFill/>
              </a:ln>
              <a:solidFill>
                <a:srgbClr val="00206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6" name="Grafik 15" descr="Ein Bild, das Kreis, Grafiken, Farbigkeit, orange enthält.&#10;&#10;KI-generierte Inhalte können fehlerhaft sein.">
            <a:extLst>
              <a:ext uri="{FF2B5EF4-FFF2-40B4-BE49-F238E27FC236}">
                <a16:creationId xmlns:a16="http://schemas.microsoft.com/office/drawing/2014/main" id="{A8A8F6E1-45AD-7591-8161-7ED97AC9A51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9841" y="1590754"/>
            <a:ext cx="612000" cy="612000"/>
          </a:xfrm>
          <a:prstGeom prst="rect">
            <a:avLst/>
          </a:prstGeom>
        </p:spPr>
      </p:pic>
      <p:sp>
        <p:nvSpPr>
          <p:cNvPr id="4" name="Pfeil: nach rechts 3">
            <a:extLst>
              <a:ext uri="{FF2B5EF4-FFF2-40B4-BE49-F238E27FC236}">
                <a16:creationId xmlns:a16="http://schemas.microsoft.com/office/drawing/2014/main" id="{F916BC8B-1FD6-2797-D72B-6B874ECD93C9}"/>
              </a:ext>
            </a:extLst>
          </p:cNvPr>
          <p:cNvSpPr/>
          <p:nvPr/>
        </p:nvSpPr>
        <p:spPr>
          <a:xfrm>
            <a:off x="1574820" y="4808551"/>
            <a:ext cx="600076" cy="428532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Grafik 7" descr="Ein Bild, das Kreis, Grafiken enthält.&#10;&#10;KI-generierte Inhalte können fehlerhaft sein.">
            <a:extLst>
              <a:ext uri="{FF2B5EF4-FFF2-40B4-BE49-F238E27FC236}">
                <a16:creationId xmlns:a16="http://schemas.microsoft.com/office/drawing/2014/main" id="{E13FEB97-BC28-3B85-9D6A-3F0B603B9B3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9841" y="2855518"/>
            <a:ext cx="612000" cy="612000"/>
          </a:xfrm>
          <a:prstGeom prst="rect">
            <a:avLst/>
          </a:prstGeom>
        </p:spPr>
      </p:pic>
      <p:pic>
        <p:nvPicPr>
          <p:cNvPr id="10" name="Grafik 9" descr="Ein Bild, das Grafiken, Kreis, Design enthält.&#10;&#10;KI-generierte Inhalte können fehlerhaft sein.">
            <a:extLst>
              <a:ext uri="{FF2B5EF4-FFF2-40B4-BE49-F238E27FC236}">
                <a16:creationId xmlns:a16="http://schemas.microsoft.com/office/drawing/2014/main" id="{5B70F831-586A-95AD-60A7-DD5DEEE129A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9841" y="4157540"/>
            <a:ext cx="612000" cy="612000"/>
          </a:xfrm>
          <a:prstGeom prst="rect">
            <a:avLst/>
          </a:prstGeom>
        </p:spPr>
      </p:pic>
      <p:pic>
        <p:nvPicPr>
          <p:cNvPr id="13" name="Grafik 12" descr="Ein Bild, das Grafiken, Kreis, Design enthält.&#10;&#10;KI-generierte Inhalte können fehlerhaft sein.">
            <a:extLst>
              <a:ext uri="{FF2B5EF4-FFF2-40B4-BE49-F238E27FC236}">
                <a16:creationId xmlns:a16="http://schemas.microsoft.com/office/drawing/2014/main" id="{4C8E6BCF-5BD4-2750-0D05-E470ADC8B21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9841" y="3506529"/>
            <a:ext cx="612000" cy="612000"/>
          </a:xfrm>
          <a:prstGeom prst="rect">
            <a:avLst/>
          </a:prstGeom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DECD07C3-3EDF-2E9A-7AD3-E421BB121984}"/>
              </a:ext>
            </a:extLst>
          </p:cNvPr>
          <p:cNvSpPr txBox="1"/>
          <p:nvPr/>
        </p:nvSpPr>
        <p:spPr>
          <a:xfrm>
            <a:off x="8648699" y="6334695"/>
            <a:ext cx="2835133" cy="2144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  <a:buNone/>
            </a:pPr>
            <a:r>
              <a:rPr lang="en-US" sz="800" kern="1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Lodde GC et al. </a:t>
            </a:r>
            <a:r>
              <a:rPr lang="en-US" sz="800" i="1" kern="1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J Clin Oncol</a:t>
            </a:r>
            <a:r>
              <a:rPr lang="en-US" sz="800" kern="1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. 2025;43(25):2793-2805</a:t>
            </a:r>
            <a:endParaRPr lang="de-DE" sz="800" kern="100" dirty="0">
              <a:effectLst/>
              <a:latin typeface="Arial" panose="020B060402020202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13538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ovartis | Reimagining Medicine">
  <a:themeElements>
    <a:clrScheme name="Novartis RM">
      <a:dk1>
        <a:srgbClr val="000000"/>
      </a:dk1>
      <a:lt1>
        <a:srgbClr val="FFFFFF"/>
      </a:lt1>
      <a:dk2>
        <a:srgbClr val="002068"/>
      </a:dk2>
      <a:lt2>
        <a:srgbClr val="FFFFFF"/>
      </a:lt2>
      <a:accent1>
        <a:srgbClr val="002068"/>
      </a:accent1>
      <a:accent2>
        <a:srgbClr val="FF585D"/>
      </a:accent2>
      <a:accent3>
        <a:srgbClr val="FFC100"/>
      </a:accent3>
      <a:accent4>
        <a:srgbClr val="A7A8AA"/>
      </a:accent4>
      <a:accent5>
        <a:srgbClr val="D0D0D0"/>
      </a:accent5>
      <a:accent6>
        <a:srgbClr val="0460A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12700">
          <a:solidFill>
            <a:srgbClr val="0460A9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vartis_PPT_16x9_Novartis_RMLogo" id="{C76F9B20-1BBC-C442-B890-D454BDE65356}" vid="{AC1AA6F3-C969-A54D-9C38-3DDAFD142B7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9a2d18e2-57c2-4645-9977-553537026fde">
      <Terms xmlns="http://schemas.microsoft.com/office/infopath/2007/PartnerControls"/>
    </lcf76f155ced4ddcb4097134ff3c332f>
    <TaxCatchAll xmlns="8765a40b-f084-498f-b24f-37d590220da5" xsi:nil="true"/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B88DFA984CC8D4D970F27E3B7A19A22" ma:contentTypeVersion="18" ma:contentTypeDescription="Create a new document." ma:contentTypeScope="" ma:versionID="a2a3a8694f0d09149d21d46654eb069d">
  <xsd:schema xmlns:xsd="http://www.w3.org/2001/XMLSchema" xmlns:xs="http://www.w3.org/2001/XMLSchema" xmlns:p="http://schemas.microsoft.com/office/2006/metadata/properties" xmlns:ns1="http://schemas.microsoft.com/sharepoint/v3" xmlns:ns2="8765a40b-f084-498f-b24f-37d590220da5" xmlns:ns3="9a2d18e2-57c2-4645-9977-553537026fde" targetNamespace="http://schemas.microsoft.com/office/2006/metadata/properties" ma:root="true" ma:fieldsID="2e1e66837e18f93bad8858d0164491fd" ns1:_="" ns2:_="" ns3:_="">
    <xsd:import namespace="http://schemas.microsoft.com/sharepoint/v3"/>
    <xsd:import namespace="8765a40b-f084-498f-b24f-37d590220da5"/>
    <xsd:import namespace="9a2d18e2-57c2-4645-9977-553537026fde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SearchProperties" minOccurs="0"/>
                <xsd:element ref="ns3:MediaServiceObjectDetectorVersions" minOccurs="0"/>
                <xsd:element ref="ns3:lcf76f155ced4ddcb4097134ff3c332f" minOccurs="0"/>
                <xsd:element ref="ns2:TaxCatchAll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LengthInSeconds" minOccurs="0"/>
                <xsd:element ref="ns3:MediaServiceLocation" minOccurs="0"/>
                <xsd:element ref="ns3:MediaServiceBillingMetadata" minOccurs="0"/>
                <xsd:element ref="ns1:_ip_UnifiedCompliancePolicyProperties" minOccurs="0"/>
                <xsd:element ref="ns1:_ip_UnifiedCompliancePolicyUIAc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4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5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765a40b-f084-498f-b24f-37d590220da5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c0cf50e0-7893-487b-961d-a899d54f2a9e}" ma:internalName="TaxCatchAll" ma:showField="CatchAllData" ma:web="8765a40b-f084-498f-b24f-37d590220da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a2d18e2-57c2-4645-9977-553537026fd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737bc47b-3997-4ccb-824d-08e9c3bde3a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2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  <xsd:element name="MediaServiceBillingMetadata" ma:index="23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1D59ACC-9A8F-4C47-9F40-A86A6538FAAC}">
  <ds:schemaRefs>
    <ds:schemaRef ds:uri="http://purl.org/dc/dcmitype/"/>
    <ds:schemaRef ds:uri="8765a40b-f084-498f-b24f-37d590220da5"/>
    <ds:schemaRef ds:uri="http://purl.org/dc/elements/1.1/"/>
    <ds:schemaRef ds:uri="http://purl.org/dc/terms/"/>
    <ds:schemaRef ds:uri="9a2d18e2-57c2-4645-9977-553537026fde"/>
    <ds:schemaRef ds:uri="http://schemas.microsoft.com/office/2006/documentManagement/types"/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  <ds:schemaRef ds:uri="http://schemas.microsoft.com/sharepoint/v3"/>
  </ds:schemaRefs>
</ds:datastoreItem>
</file>

<file path=customXml/itemProps2.xml><?xml version="1.0" encoding="utf-8"?>
<ds:datastoreItem xmlns:ds="http://schemas.openxmlformats.org/officeDocument/2006/customXml" ds:itemID="{A040492B-BE09-43DA-8432-018744B1171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0D023A0-FCAE-47A9-AD64-65B3C856574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8765a40b-f084-498f-b24f-37d590220da5"/>
    <ds:schemaRef ds:uri="9a2d18e2-57c2-4645-9977-553537026fd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3c9bec58-8084-492e-8360-0e1cfe36408c}" enabled="1" method="Standard" siteId="{f35a6974-607f-47d4-82d7-ff31d7dc53a5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481</Words>
  <Application>Microsoft Office PowerPoint</Application>
  <PresentationFormat>Breitbild</PresentationFormat>
  <Paragraphs>243</Paragraphs>
  <Slides>6</Slides>
  <Notes>6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6</vt:i4>
      </vt:variant>
    </vt:vector>
  </HeadingPairs>
  <TitlesOfParts>
    <vt:vector size="11" baseType="lpstr">
      <vt:lpstr>Arial</vt:lpstr>
      <vt:lpstr>Calibri</vt:lpstr>
      <vt:lpstr>Ping LCG Medium</vt:lpstr>
      <vt:lpstr>Novartis | Reimagining Medicine</vt:lpstr>
      <vt:lpstr>think-cell Folie</vt:lpstr>
      <vt:lpstr>Long-term follow-up of real-world adjuvant anti-PD1 checkpoint inhibition and targeted therapy in stage III melanoma patients</vt:lpstr>
      <vt:lpstr>Hintergrund und Studienziel</vt:lpstr>
      <vt:lpstr>Ergebnisse der 4-Jahres-Analyse der DeCOG-Studie: RFSa</vt:lpstr>
      <vt:lpstr>Ergebnisse der 4-Jahres-Analyse der DeCOG-Studie  RFS mit Fokus auf Patient*innen mit BRAF-Mutation</vt:lpstr>
      <vt:lpstr>Ergebnisse der 4-Jahres-Analyse der DeCOG-Studie Gesamtüberleben</vt:lpstr>
      <vt:lpstr>Fazi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riefing Science Snippet: Lodde et al 4 Jahresdaten</dc:title>
  <dc:creator>Tagari, Eleni</dc:creator>
  <cp:lastModifiedBy>Tagari, Eleni</cp:lastModifiedBy>
  <cp:revision>34</cp:revision>
  <dcterms:created xsi:type="dcterms:W3CDTF">2024-10-22T16:53:22Z</dcterms:created>
  <dcterms:modified xsi:type="dcterms:W3CDTF">2025-09-04T11:31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3c9bec58-8084-492e-8360-0e1cfe36408c_Enabled">
    <vt:lpwstr>true</vt:lpwstr>
  </property>
  <property fmtid="{D5CDD505-2E9C-101B-9397-08002B2CF9AE}" pid="3" name="MSIP_Label_3c9bec58-8084-492e-8360-0e1cfe36408c_SetDate">
    <vt:lpwstr>2023-10-12T11:34:02Z</vt:lpwstr>
  </property>
  <property fmtid="{D5CDD505-2E9C-101B-9397-08002B2CF9AE}" pid="4" name="MSIP_Label_3c9bec58-8084-492e-8360-0e1cfe36408c_Method">
    <vt:lpwstr>Standard</vt:lpwstr>
  </property>
  <property fmtid="{D5CDD505-2E9C-101B-9397-08002B2CF9AE}" pid="5" name="MSIP_Label_3c9bec58-8084-492e-8360-0e1cfe36408c_Name">
    <vt:lpwstr>Not Protected -Pilot</vt:lpwstr>
  </property>
  <property fmtid="{D5CDD505-2E9C-101B-9397-08002B2CF9AE}" pid="6" name="MSIP_Label_3c9bec58-8084-492e-8360-0e1cfe36408c_SiteId">
    <vt:lpwstr>f35a6974-607f-47d4-82d7-ff31d7dc53a5</vt:lpwstr>
  </property>
  <property fmtid="{D5CDD505-2E9C-101B-9397-08002B2CF9AE}" pid="7" name="MSIP_Label_3c9bec58-8084-492e-8360-0e1cfe36408c_ActionId">
    <vt:lpwstr>9929b886-7866-4465-9bf7-3a0ab3cdd5a5</vt:lpwstr>
  </property>
  <property fmtid="{D5CDD505-2E9C-101B-9397-08002B2CF9AE}" pid="8" name="MSIP_Label_3c9bec58-8084-492e-8360-0e1cfe36408c_ContentBits">
    <vt:lpwstr>0</vt:lpwstr>
  </property>
  <property fmtid="{D5CDD505-2E9C-101B-9397-08002B2CF9AE}" pid="9" name="MSIP_Label_8e19d756-792e-42a1-bcad-4cb9051ddd2d_Enabled">
    <vt:lpwstr>true</vt:lpwstr>
  </property>
  <property fmtid="{D5CDD505-2E9C-101B-9397-08002B2CF9AE}" pid="10" name="MSIP_Label_8e19d756-792e-42a1-bcad-4cb9051ddd2d_SetDate">
    <vt:lpwstr>2024-09-09T16:18:40Z</vt:lpwstr>
  </property>
  <property fmtid="{D5CDD505-2E9C-101B-9397-08002B2CF9AE}" pid="11" name="MSIP_Label_8e19d756-792e-42a1-bcad-4cb9051ddd2d_Method">
    <vt:lpwstr>Standard</vt:lpwstr>
  </property>
  <property fmtid="{D5CDD505-2E9C-101B-9397-08002B2CF9AE}" pid="12" name="MSIP_Label_8e19d756-792e-42a1-bcad-4cb9051ddd2d_Name">
    <vt:lpwstr>Confidential</vt:lpwstr>
  </property>
  <property fmtid="{D5CDD505-2E9C-101B-9397-08002B2CF9AE}" pid="13" name="MSIP_Label_8e19d756-792e-42a1-bcad-4cb9051ddd2d_SiteId">
    <vt:lpwstr>41eb501a-f671-4ce0-a5bf-b64168c3705f</vt:lpwstr>
  </property>
  <property fmtid="{D5CDD505-2E9C-101B-9397-08002B2CF9AE}" pid="14" name="MSIP_Label_8e19d756-792e-42a1-bcad-4cb9051ddd2d_ActionId">
    <vt:lpwstr>d58f9b7f-cfa6-497f-99fd-0229cc3642c4</vt:lpwstr>
  </property>
  <property fmtid="{D5CDD505-2E9C-101B-9397-08002B2CF9AE}" pid="15" name="MSIP_Label_8e19d756-792e-42a1-bcad-4cb9051ddd2d_ContentBits">
    <vt:lpwstr>2</vt:lpwstr>
  </property>
  <property fmtid="{D5CDD505-2E9C-101B-9397-08002B2CF9AE}" pid="16" name="ClassificationContentMarkingFooterLocations">
    <vt:lpwstr>Novartis | Reimagining Medicine:7</vt:lpwstr>
  </property>
  <property fmtid="{D5CDD505-2E9C-101B-9397-08002B2CF9AE}" pid="17" name="ClassificationContentMarkingFooterText">
    <vt:lpwstr>Confidential - Not for Public Consumption or Distribution</vt:lpwstr>
  </property>
  <property fmtid="{D5CDD505-2E9C-101B-9397-08002B2CF9AE}" pid="18" name="ContentTypeId">
    <vt:lpwstr>0x0101004B88DFA984CC8D4D970F27E3B7A19A22</vt:lpwstr>
  </property>
  <property fmtid="{D5CDD505-2E9C-101B-9397-08002B2CF9AE}" pid="19" name="MediaServiceImageTags">
    <vt:lpwstr/>
  </property>
</Properties>
</file>